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78" r:id="rId4"/>
    <p:sldMasterId id="2147483725" r:id="rId5"/>
  </p:sldMasterIdLst>
  <p:notesMasterIdLst>
    <p:notesMasterId r:id="rId55"/>
  </p:notesMasterIdLst>
  <p:handoutMasterIdLst>
    <p:handoutMasterId r:id="rId56"/>
  </p:handoutMasterIdLst>
  <p:sldIdLst>
    <p:sldId id="256" r:id="rId6"/>
    <p:sldId id="2147308343" r:id="rId7"/>
    <p:sldId id="10116" r:id="rId8"/>
    <p:sldId id="2147308338" r:id="rId9"/>
    <p:sldId id="10117" r:id="rId10"/>
    <p:sldId id="10118" r:id="rId11"/>
    <p:sldId id="2147308307" r:id="rId12"/>
    <p:sldId id="2147308313" r:id="rId13"/>
    <p:sldId id="2147308341" r:id="rId14"/>
    <p:sldId id="777" r:id="rId15"/>
    <p:sldId id="2147308326" r:id="rId16"/>
    <p:sldId id="2147308308" r:id="rId17"/>
    <p:sldId id="2147308306" r:id="rId18"/>
    <p:sldId id="2147308316" r:id="rId19"/>
    <p:sldId id="5743" r:id="rId20"/>
    <p:sldId id="10121" r:id="rId21"/>
    <p:sldId id="2147308299" r:id="rId22"/>
    <p:sldId id="2147308309" r:id="rId23"/>
    <p:sldId id="2147308334" r:id="rId24"/>
    <p:sldId id="2147308310" r:id="rId25"/>
    <p:sldId id="258" r:id="rId26"/>
    <p:sldId id="257" r:id="rId27"/>
    <p:sldId id="2147308312" r:id="rId28"/>
    <p:sldId id="2147308280" r:id="rId29"/>
    <p:sldId id="2134391534" r:id="rId30"/>
    <p:sldId id="334" r:id="rId31"/>
    <p:sldId id="316" r:id="rId32"/>
    <p:sldId id="757" r:id="rId33"/>
    <p:sldId id="2147308317" r:id="rId34"/>
    <p:sldId id="230717524" r:id="rId35"/>
    <p:sldId id="2147308275" r:id="rId36"/>
    <p:sldId id="333" r:id="rId37"/>
    <p:sldId id="10124" r:id="rId38"/>
    <p:sldId id="2147308321" r:id="rId39"/>
    <p:sldId id="2147308348" r:id="rId40"/>
    <p:sldId id="2147308328" r:id="rId41"/>
    <p:sldId id="2147308333" r:id="rId42"/>
    <p:sldId id="2147308329" r:id="rId43"/>
    <p:sldId id="2147308330" r:id="rId44"/>
    <p:sldId id="2147308331" r:id="rId45"/>
    <p:sldId id="2147308336" r:id="rId46"/>
    <p:sldId id="10127" r:id="rId47"/>
    <p:sldId id="2147308282" r:id="rId48"/>
    <p:sldId id="2147308344" r:id="rId49"/>
    <p:sldId id="2147308335" r:id="rId50"/>
    <p:sldId id="2147308345" r:id="rId51"/>
    <p:sldId id="230717728" r:id="rId52"/>
    <p:sldId id="230717717" r:id="rId53"/>
    <p:sldId id="267" r:id="rId54"/>
  </p:sldIdLst>
  <p:sldSz cx="12192000" cy="6858000"/>
  <p:notesSz cx="12192000" cy="6858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p15:clr>
            <a:srgbClr val="A4A3A4"/>
          </p15:clr>
        </p15:guide>
        <p15:guide id="2" pos="240" userDrawn="1">
          <p15:clr>
            <a:srgbClr val="A4A3A4"/>
          </p15:clr>
        </p15:guide>
        <p15:guide id="3" pos="5040" userDrawn="1">
          <p15:clr>
            <a:srgbClr val="A4A3A4"/>
          </p15:clr>
        </p15:guide>
        <p15:guide id="4" pos="739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agwekar, Vinay" initials="NV" lastIdx="14" clrIdx="0">
    <p:extLst>
      <p:ext uri="{19B8F6BF-5375-455C-9EA6-DF929625EA0E}">
        <p15:presenceInfo xmlns:p15="http://schemas.microsoft.com/office/powerpoint/2012/main" userId="S::vinay.nagwekar@atos.net::94793da1-ac16-42c4-a410-3f3cc3d704a1" providerId="AD"/>
      </p:ext>
    </p:extLst>
  </p:cmAuthor>
  <p:cmAuthor id="2" name="Samat, Rishi" initials="SR" lastIdx="3" clrIdx="1">
    <p:extLst>
      <p:ext uri="{19B8F6BF-5375-455C-9EA6-DF929625EA0E}">
        <p15:presenceInfo xmlns:p15="http://schemas.microsoft.com/office/powerpoint/2012/main" userId="S::rishi.samat@atos.net::e743917b-4b93-4935-800b-4900cc36c28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B3FF"/>
    <a:srgbClr val="0066A1"/>
    <a:srgbClr val="CDEDFF"/>
    <a:srgbClr val="D54505"/>
    <a:srgbClr val="FF5269"/>
    <a:srgbClr val="3F9C35"/>
    <a:srgbClr val="1359B4"/>
    <a:srgbClr val="A626AA"/>
    <a:srgbClr val="47DC57"/>
    <a:srgbClr val="8DE64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81ECEC0-016B-E843-700F-93FBC7318E9D}" v="15" dt="2021-11-22T14:35:41.629"/>
    <p1510:client id="{18C48F3B-4E3B-AF4B-8F08-C2898E2096C9}" v="69" dt="2021-11-22T15:09:28.904"/>
    <p1510:client id="{2C99B50B-668E-8325-E3D2-5DD23300828B}" v="24" dt="2021-11-22T14:46:42.606"/>
    <p1510:client id="{2ED94A4B-013A-2C2D-6B8F-AC6924B61F19}" v="70" dt="2021-11-22T14:25:31.459"/>
    <p1510:client id="{47180818-27E1-4841-AB3E-C0A411241894}" v="45" dt="2021-11-22T14:23:39.289"/>
    <p1510:client id="{5F88343F-1B3C-5B48-9223-74BC2F7F3869}" v="16" dt="2021-11-22T14:55:15.048"/>
    <p1510:client id="{799A23ED-EBB1-4079-A452-9F7A8AD7A345}" v="429" dt="2021-11-22T14:20:54.286"/>
    <p1510:client id="{83FC54EC-409C-6A23-0CCC-4D3CF9105ADF}" v="137" dt="2021-11-22T14:44:08.553"/>
    <p1510:client id="{AF4CB2AC-EE7E-74F4-E091-5D4A384A3507}" v="57" dt="2021-11-22T15:03:04.046"/>
    <p1510:client id="{B0D2D4BB-D26A-E945-F0DC-70D2453D6F32}" v="97" dt="2021-11-22T14:33:49.911"/>
    <p1510:client id="{CEDAF50F-B282-4BFD-91A3-FB6577DE4AE7}" v="672" dt="2021-11-22T14:35:32.347"/>
    <p1510:client id="{F9DBF58A-88AD-41E5-AA86-CF3D1B40D0B0}" v="8" dt="2021-11-22T13:51:58.169"/>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4" d="100"/>
          <a:sy n="64" d="100"/>
        </p:scale>
        <p:origin x="954" y="60"/>
      </p:cViewPr>
      <p:guideLst>
        <p:guide orient="horz" pos="2880"/>
        <p:guide pos="240"/>
        <p:guide pos="5040"/>
        <p:guide pos="7392"/>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notesMaster" Target="notesMasters/notesMaster1.xml"/><Relationship Id="rId63"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slide" Target="slides/slide49.xml"/><Relationship Id="rId62"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commentAuthors" Target="commentAuthors.xml"/><Relationship Id="rId61"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handoutMaster" Target="handoutMasters/handoutMaster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BEERALY, MANSUR AHAMAD" userId="S::mansur-ahamad.sabeeraly@atos.net::37f2f6ae-b9e4-4ac3-a795-93a6abe48c2a" providerId="AD" clId="Web-{2ED94A4B-013A-2C2D-6B8F-AC6924B61F19}"/>
    <pc:docChg chg="modSld">
      <pc:chgData name="SABEERALY, MANSUR AHAMAD" userId="S::mansur-ahamad.sabeeraly@atos.net::37f2f6ae-b9e4-4ac3-a795-93a6abe48c2a" providerId="AD" clId="Web-{2ED94A4B-013A-2C2D-6B8F-AC6924B61F19}" dt="2021-11-22T14:25:31.459" v="66"/>
      <pc:docMkLst>
        <pc:docMk/>
      </pc:docMkLst>
      <pc:sldChg chg="modSp">
        <pc:chgData name="SABEERALY, MANSUR AHAMAD" userId="S::mansur-ahamad.sabeeraly@atos.net::37f2f6ae-b9e4-4ac3-a795-93a6abe48c2a" providerId="AD" clId="Web-{2ED94A4B-013A-2C2D-6B8F-AC6924B61F19}" dt="2021-11-22T14:25:31.459" v="66"/>
        <pc:sldMkLst>
          <pc:docMk/>
          <pc:sldMk cId="2839583103" sldId="2147308321"/>
        </pc:sldMkLst>
        <pc:graphicFrameChg chg="mod modGraphic">
          <ac:chgData name="SABEERALY, MANSUR AHAMAD" userId="S::mansur-ahamad.sabeeraly@atos.net::37f2f6ae-b9e4-4ac3-a795-93a6abe48c2a" providerId="AD" clId="Web-{2ED94A4B-013A-2C2D-6B8F-AC6924B61F19}" dt="2021-11-22T14:25:31.459" v="66"/>
          <ac:graphicFrameMkLst>
            <pc:docMk/>
            <pc:sldMk cId="2839583103" sldId="2147308321"/>
            <ac:graphicFrameMk id="4" creationId="{4F30E4FC-EF05-4D90-BAA1-1BBCBECE9D99}"/>
          </ac:graphicFrameMkLst>
        </pc:graphicFrameChg>
      </pc:sldChg>
    </pc:docChg>
  </pc:docChgLst>
  <pc:docChgLst>
    <pc:chgData name="SABEERALY, MANSUR AHAMAD" userId="S::mansur-ahamad.sabeeraly@atos.net::37f2f6ae-b9e4-4ac3-a795-93a6abe48c2a" providerId="AD" clId="Web-{2C99B50B-668E-8325-E3D2-5DD23300828B}"/>
    <pc:docChg chg="modSld">
      <pc:chgData name="SABEERALY, MANSUR AHAMAD" userId="S::mansur-ahamad.sabeeraly@atos.net::37f2f6ae-b9e4-4ac3-a795-93a6abe48c2a" providerId="AD" clId="Web-{2C99B50B-668E-8325-E3D2-5DD23300828B}" dt="2021-11-22T14:46:25.215" v="22" actId="20577"/>
      <pc:docMkLst>
        <pc:docMk/>
      </pc:docMkLst>
      <pc:sldChg chg="modSp">
        <pc:chgData name="SABEERALY, MANSUR AHAMAD" userId="S::mansur-ahamad.sabeeraly@atos.net::37f2f6ae-b9e4-4ac3-a795-93a6abe48c2a" providerId="AD" clId="Web-{2C99B50B-668E-8325-E3D2-5DD23300828B}" dt="2021-11-22T14:46:25.215" v="22" actId="20577"/>
        <pc:sldMkLst>
          <pc:docMk/>
          <pc:sldMk cId="3215845862" sldId="2147308299"/>
        </pc:sldMkLst>
        <pc:spChg chg="mod">
          <ac:chgData name="SABEERALY, MANSUR AHAMAD" userId="S::mansur-ahamad.sabeeraly@atos.net::37f2f6ae-b9e4-4ac3-a795-93a6abe48c2a" providerId="AD" clId="Web-{2C99B50B-668E-8325-E3D2-5DD23300828B}" dt="2021-11-22T14:46:25.215" v="22" actId="20577"/>
          <ac:spMkLst>
            <pc:docMk/>
            <pc:sldMk cId="3215845862" sldId="2147308299"/>
            <ac:spMk id="84" creationId="{AF6565D8-17E4-42E0-9A65-F0EE5DEC232A}"/>
          </ac:spMkLst>
        </pc:spChg>
      </pc:sldChg>
    </pc:docChg>
  </pc:docChgLst>
  <pc:docChgLst>
    <pc:chgData name="Kulkarni, Ravi" userId="658fd972-6709-4d00-bd01-b90d5c761744" providerId="ADAL" clId="{F9DBF58A-88AD-41E5-AA86-CF3D1B40D0B0}"/>
    <pc:docChg chg="undo custSel modSld">
      <pc:chgData name="Kulkarni, Ravi" userId="658fd972-6709-4d00-bd01-b90d5c761744" providerId="ADAL" clId="{F9DBF58A-88AD-41E5-AA86-CF3D1B40D0B0}" dt="2021-11-22T13:51:58.169" v="5"/>
      <pc:docMkLst>
        <pc:docMk/>
      </pc:docMkLst>
      <pc:sldChg chg="addSp delSp modSp mod">
        <pc:chgData name="Kulkarni, Ravi" userId="658fd972-6709-4d00-bd01-b90d5c761744" providerId="ADAL" clId="{F9DBF58A-88AD-41E5-AA86-CF3D1B40D0B0}" dt="2021-11-22T13:51:58.169" v="5"/>
        <pc:sldMkLst>
          <pc:docMk/>
          <pc:sldMk cId="406882959" sldId="5743"/>
        </pc:sldMkLst>
        <pc:spChg chg="del mod">
          <ac:chgData name="Kulkarni, Ravi" userId="658fd972-6709-4d00-bd01-b90d5c761744" providerId="ADAL" clId="{F9DBF58A-88AD-41E5-AA86-CF3D1B40D0B0}" dt="2021-11-22T13:51:48.609" v="4" actId="478"/>
          <ac:spMkLst>
            <pc:docMk/>
            <pc:sldMk cId="406882959" sldId="5743"/>
            <ac:spMk id="4" creationId="{8F564ED4-4F3D-42DF-ADC0-7FC678B81FF7}"/>
          </ac:spMkLst>
        </pc:spChg>
        <pc:spChg chg="del">
          <ac:chgData name="Kulkarni, Ravi" userId="658fd972-6709-4d00-bd01-b90d5c761744" providerId="ADAL" clId="{F9DBF58A-88AD-41E5-AA86-CF3D1B40D0B0}" dt="2021-11-22T13:51:48.609" v="4" actId="478"/>
          <ac:spMkLst>
            <pc:docMk/>
            <pc:sldMk cId="406882959" sldId="5743"/>
            <ac:spMk id="5" creationId="{DCC28ADC-30AE-491B-AC24-408ADB55820D}"/>
          </ac:spMkLst>
        </pc:spChg>
        <pc:spChg chg="del">
          <ac:chgData name="Kulkarni, Ravi" userId="658fd972-6709-4d00-bd01-b90d5c761744" providerId="ADAL" clId="{F9DBF58A-88AD-41E5-AA86-CF3D1B40D0B0}" dt="2021-11-22T13:51:48.609" v="4" actId="478"/>
          <ac:spMkLst>
            <pc:docMk/>
            <pc:sldMk cId="406882959" sldId="5743"/>
            <ac:spMk id="6" creationId="{8D945F8C-B7AE-47B0-BEA6-6F56FCFE48B6}"/>
          </ac:spMkLst>
        </pc:spChg>
        <pc:spChg chg="del">
          <ac:chgData name="Kulkarni, Ravi" userId="658fd972-6709-4d00-bd01-b90d5c761744" providerId="ADAL" clId="{F9DBF58A-88AD-41E5-AA86-CF3D1B40D0B0}" dt="2021-11-22T13:51:48.609" v="4" actId="478"/>
          <ac:spMkLst>
            <pc:docMk/>
            <pc:sldMk cId="406882959" sldId="5743"/>
            <ac:spMk id="14" creationId="{00000000-0000-0000-0000-000000000000}"/>
          </ac:spMkLst>
        </pc:spChg>
        <pc:spChg chg="del">
          <ac:chgData name="Kulkarni, Ravi" userId="658fd972-6709-4d00-bd01-b90d5c761744" providerId="ADAL" clId="{F9DBF58A-88AD-41E5-AA86-CF3D1B40D0B0}" dt="2021-11-22T13:51:48.609" v="4" actId="478"/>
          <ac:spMkLst>
            <pc:docMk/>
            <pc:sldMk cId="406882959" sldId="5743"/>
            <ac:spMk id="17" creationId="{00000000-0000-0000-0000-000000000000}"/>
          </ac:spMkLst>
        </pc:spChg>
        <pc:spChg chg="del">
          <ac:chgData name="Kulkarni, Ravi" userId="658fd972-6709-4d00-bd01-b90d5c761744" providerId="ADAL" clId="{F9DBF58A-88AD-41E5-AA86-CF3D1B40D0B0}" dt="2021-11-22T13:51:48.609" v="4" actId="478"/>
          <ac:spMkLst>
            <pc:docMk/>
            <pc:sldMk cId="406882959" sldId="5743"/>
            <ac:spMk id="21" creationId="{00000000-0000-0000-0000-000000000000}"/>
          </ac:spMkLst>
        </pc:spChg>
        <pc:spChg chg="del">
          <ac:chgData name="Kulkarni, Ravi" userId="658fd972-6709-4d00-bd01-b90d5c761744" providerId="ADAL" clId="{F9DBF58A-88AD-41E5-AA86-CF3D1B40D0B0}" dt="2021-11-22T13:51:48.609" v="4" actId="478"/>
          <ac:spMkLst>
            <pc:docMk/>
            <pc:sldMk cId="406882959" sldId="5743"/>
            <ac:spMk id="22" creationId="{00000000-0000-0000-0000-000000000000}"/>
          </ac:spMkLst>
        </pc:spChg>
        <pc:spChg chg="del">
          <ac:chgData name="Kulkarni, Ravi" userId="658fd972-6709-4d00-bd01-b90d5c761744" providerId="ADAL" clId="{F9DBF58A-88AD-41E5-AA86-CF3D1B40D0B0}" dt="2021-11-22T13:51:48.609" v="4" actId="478"/>
          <ac:spMkLst>
            <pc:docMk/>
            <pc:sldMk cId="406882959" sldId="5743"/>
            <ac:spMk id="23" creationId="{00000000-0000-0000-0000-000000000000}"/>
          </ac:spMkLst>
        </pc:spChg>
        <pc:spChg chg="del">
          <ac:chgData name="Kulkarni, Ravi" userId="658fd972-6709-4d00-bd01-b90d5c761744" providerId="ADAL" clId="{F9DBF58A-88AD-41E5-AA86-CF3D1B40D0B0}" dt="2021-11-22T13:51:48.609" v="4" actId="478"/>
          <ac:spMkLst>
            <pc:docMk/>
            <pc:sldMk cId="406882959" sldId="5743"/>
            <ac:spMk id="24" creationId="{00000000-0000-0000-0000-000000000000}"/>
          </ac:spMkLst>
        </pc:spChg>
        <pc:spChg chg="del">
          <ac:chgData name="Kulkarni, Ravi" userId="658fd972-6709-4d00-bd01-b90d5c761744" providerId="ADAL" clId="{F9DBF58A-88AD-41E5-AA86-CF3D1B40D0B0}" dt="2021-11-22T13:51:48.609" v="4" actId="478"/>
          <ac:spMkLst>
            <pc:docMk/>
            <pc:sldMk cId="406882959" sldId="5743"/>
            <ac:spMk id="25" creationId="{00000000-0000-0000-0000-000000000000}"/>
          </ac:spMkLst>
        </pc:spChg>
        <pc:spChg chg="del">
          <ac:chgData name="Kulkarni, Ravi" userId="658fd972-6709-4d00-bd01-b90d5c761744" providerId="ADAL" clId="{F9DBF58A-88AD-41E5-AA86-CF3D1B40D0B0}" dt="2021-11-22T13:51:48.609" v="4" actId="478"/>
          <ac:spMkLst>
            <pc:docMk/>
            <pc:sldMk cId="406882959" sldId="5743"/>
            <ac:spMk id="26" creationId="{00000000-0000-0000-0000-000000000000}"/>
          </ac:spMkLst>
        </pc:spChg>
        <pc:spChg chg="del">
          <ac:chgData name="Kulkarni, Ravi" userId="658fd972-6709-4d00-bd01-b90d5c761744" providerId="ADAL" clId="{F9DBF58A-88AD-41E5-AA86-CF3D1B40D0B0}" dt="2021-11-22T13:51:48.609" v="4" actId="478"/>
          <ac:spMkLst>
            <pc:docMk/>
            <pc:sldMk cId="406882959" sldId="5743"/>
            <ac:spMk id="27" creationId="{00000000-0000-0000-0000-000000000000}"/>
          </ac:spMkLst>
        </pc:spChg>
        <pc:spChg chg="del">
          <ac:chgData name="Kulkarni, Ravi" userId="658fd972-6709-4d00-bd01-b90d5c761744" providerId="ADAL" clId="{F9DBF58A-88AD-41E5-AA86-CF3D1B40D0B0}" dt="2021-11-22T13:51:48.609" v="4" actId="478"/>
          <ac:spMkLst>
            <pc:docMk/>
            <pc:sldMk cId="406882959" sldId="5743"/>
            <ac:spMk id="31" creationId="{00000000-0000-0000-0000-000000000000}"/>
          </ac:spMkLst>
        </pc:spChg>
        <pc:spChg chg="del">
          <ac:chgData name="Kulkarni, Ravi" userId="658fd972-6709-4d00-bd01-b90d5c761744" providerId="ADAL" clId="{F9DBF58A-88AD-41E5-AA86-CF3D1B40D0B0}" dt="2021-11-22T13:51:48.609" v="4" actId="478"/>
          <ac:spMkLst>
            <pc:docMk/>
            <pc:sldMk cId="406882959" sldId="5743"/>
            <ac:spMk id="43" creationId="{00000000-0000-0000-0000-000000000000}"/>
          </ac:spMkLst>
        </pc:spChg>
        <pc:spChg chg="del">
          <ac:chgData name="Kulkarni, Ravi" userId="658fd972-6709-4d00-bd01-b90d5c761744" providerId="ADAL" clId="{F9DBF58A-88AD-41E5-AA86-CF3D1B40D0B0}" dt="2021-11-22T13:51:48.609" v="4" actId="478"/>
          <ac:spMkLst>
            <pc:docMk/>
            <pc:sldMk cId="406882959" sldId="5743"/>
            <ac:spMk id="44" creationId="{00000000-0000-0000-0000-000000000000}"/>
          </ac:spMkLst>
        </pc:spChg>
        <pc:spChg chg="del">
          <ac:chgData name="Kulkarni, Ravi" userId="658fd972-6709-4d00-bd01-b90d5c761744" providerId="ADAL" clId="{F9DBF58A-88AD-41E5-AA86-CF3D1B40D0B0}" dt="2021-11-22T13:51:48.609" v="4" actId="478"/>
          <ac:spMkLst>
            <pc:docMk/>
            <pc:sldMk cId="406882959" sldId="5743"/>
            <ac:spMk id="45" creationId="{00000000-0000-0000-0000-000000000000}"/>
          </ac:spMkLst>
        </pc:spChg>
        <pc:spChg chg="del">
          <ac:chgData name="Kulkarni, Ravi" userId="658fd972-6709-4d00-bd01-b90d5c761744" providerId="ADAL" clId="{F9DBF58A-88AD-41E5-AA86-CF3D1B40D0B0}" dt="2021-11-22T13:51:48.609" v="4" actId="478"/>
          <ac:spMkLst>
            <pc:docMk/>
            <pc:sldMk cId="406882959" sldId="5743"/>
            <ac:spMk id="46" creationId="{00000000-0000-0000-0000-000000000000}"/>
          </ac:spMkLst>
        </pc:spChg>
        <pc:spChg chg="del">
          <ac:chgData name="Kulkarni, Ravi" userId="658fd972-6709-4d00-bd01-b90d5c761744" providerId="ADAL" clId="{F9DBF58A-88AD-41E5-AA86-CF3D1B40D0B0}" dt="2021-11-22T13:51:48.609" v="4" actId="478"/>
          <ac:spMkLst>
            <pc:docMk/>
            <pc:sldMk cId="406882959" sldId="5743"/>
            <ac:spMk id="47" creationId="{00000000-0000-0000-0000-000000000000}"/>
          </ac:spMkLst>
        </pc:spChg>
        <pc:spChg chg="del">
          <ac:chgData name="Kulkarni, Ravi" userId="658fd972-6709-4d00-bd01-b90d5c761744" providerId="ADAL" clId="{F9DBF58A-88AD-41E5-AA86-CF3D1B40D0B0}" dt="2021-11-22T13:51:48.609" v="4" actId="478"/>
          <ac:spMkLst>
            <pc:docMk/>
            <pc:sldMk cId="406882959" sldId="5743"/>
            <ac:spMk id="48" creationId="{00000000-0000-0000-0000-000000000000}"/>
          </ac:spMkLst>
        </pc:spChg>
        <pc:spChg chg="del">
          <ac:chgData name="Kulkarni, Ravi" userId="658fd972-6709-4d00-bd01-b90d5c761744" providerId="ADAL" clId="{F9DBF58A-88AD-41E5-AA86-CF3D1B40D0B0}" dt="2021-11-22T13:51:48.609" v="4" actId="478"/>
          <ac:spMkLst>
            <pc:docMk/>
            <pc:sldMk cId="406882959" sldId="5743"/>
            <ac:spMk id="61" creationId="{00000000-0000-0000-0000-000000000000}"/>
          </ac:spMkLst>
        </pc:spChg>
        <pc:spChg chg="del">
          <ac:chgData name="Kulkarni, Ravi" userId="658fd972-6709-4d00-bd01-b90d5c761744" providerId="ADAL" clId="{F9DBF58A-88AD-41E5-AA86-CF3D1B40D0B0}" dt="2021-11-22T13:51:48.609" v="4" actId="478"/>
          <ac:spMkLst>
            <pc:docMk/>
            <pc:sldMk cId="406882959" sldId="5743"/>
            <ac:spMk id="62" creationId="{00000000-0000-0000-0000-000000000000}"/>
          </ac:spMkLst>
        </pc:spChg>
        <pc:spChg chg="del">
          <ac:chgData name="Kulkarni, Ravi" userId="658fd972-6709-4d00-bd01-b90d5c761744" providerId="ADAL" clId="{F9DBF58A-88AD-41E5-AA86-CF3D1B40D0B0}" dt="2021-11-22T13:51:48.609" v="4" actId="478"/>
          <ac:spMkLst>
            <pc:docMk/>
            <pc:sldMk cId="406882959" sldId="5743"/>
            <ac:spMk id="63" creationId="{00000000-0000-0000-0000-000000000000}"/>
          </ac:spMkLst>
        </pc:spChg>
        <pc:spChg chg="del">
          <ac:chgData name="Kulkarni, Ravi" userId="658fd972-6709-4d00-bd01-b90d5c761744" providerId="ADAL" clId="{F9DBF58A-88AD-41E5-AA86-CF3D1B40D0B0}" dt="2021-11-22T13:51:48.609" v="4" actId="478"/>
          <ac:spMkLst>
            <pc:docMk/>
            <pc:sldMk cId="406882959" sldId="5743"/>
            <ac:spMk id="64" creationId="{00000000-0000-0000-0000-000000000000}"/>
          </ac:spMkLst>
        </pc:spChg>
        <pc:spChg chg="del">
          <ac:chgData name="Kulkarni, Ravi" userId="658fd972-6709-4d00-bd01-b90d5c761744" providerId="ADAL" clId="{F9DBF58A-88AD-41E5-AA86-CF3D1B40D0B0}" dt="2021-11-22T13:51:48.609" v="4" actId="478"/>
          <ac:spMkLst>
            <pc:docMk/>
            <pc:sldMk cId="406882959" sldId="5743"/>
            <ac:spMk id="65" creationId="{00000000-0000-0000-0000-000000000000}"/>
          </ac:spMkLst>
        </pc:spChg>
        <pc:spChg chg="del">
          <ac:chgData name="Kulkarni, Ravi" userId="658fd972-6709-4d00-bd01-b90d5c761744" providerId="ADAL" clId="{F9DBF58A-88AD-41E5-AA86-CF3D1B40D0B0}" dt="2021-11-22T13:51:48.609" v="4" actId="478"/>
          <ac:spMkLst>
            <pc:docMk/>
            <pc:sldMk cId="406882959" sldId="5743"/>
            <ac:spMk id="66" creationId="{00000000-0000-0000-0000-000000000000}"/>
          </ac:spMkLst>
        </pc:spChg>
        <pc:spChg chg="del">
          <ac:chgData name="Kulkarni, Ravi" userId="658fd972-6709-4d00-bd01-b90d5c761744" providerId="ADAL" clId="{F9DBF58A-88AD-41E5-AA86-CF3D1B40D0B0}" dt="2021-11-22T13:51:48.609" v="4" actId="478"/>
          <ac:spMkLst>
            <pc:docMk/>
            <pc:sldMk cId="406882959" sldId="5743"/>
            <ac:spMk id="67" creationId="{00000000-0000-0000-0000-000000000000}"/>
          </ac:spMkLst>
        </pc:spChg>
        <pc:spChg chg="del">
          <ac:chgData name="Kulkarni, Ravi" userId="658fd972-6709-4d00-bd01-b90d5c761744" providerId="ADAL" clId="{F9DBF58A-88AD-41E5-AA86-CF3D1B40D0B0}" dt="2021-11-22T13:51:48.609" v="4" actId="478"/>
          <ac:spMkLst>
            <pc:docMk/>
            <pc:sldMk cId="406882959" sldId="5743"/>
            <ac:spMk id="68" creationId="{00000000-0000-0000-0000-000000000000}"/>
          </ac:spMkLst>
        </pc:spChg>
        <pc:spChg chg="add mod">
          <ac:chgData name="Kulkarni, Ravi" userId="658fd972-6709-4d00-bd01-b90d5c761744" providerId="ADAL" clId="{F9DBF58A-88AD-41E5-AA86-CF3D1B40D0B0}" dt="2021-11-22T13:51:41.410" v="2" actId="571"/>
          <ac:spMkLst>
            <pc:docMk/>
            <pc:sldMk cId="406882959" sldId="5743"/>
            <ac:spMk id="69" creationId="{D778BFC0-9C8D-4DDC-9929-22CF23B02B88}"/>
          </ac:spMkLst>
        </pc:spChg>
        <pc:spChg chg="add mod">
          <ac:chgData name="Kulkarni, Ravi" userId="658fd972-6709-4d00-bd01-b90d5c761744" providerId="ADAL" clId="{F9DBF58A-88AD-41E5-AA86-CF3D1B40D0B0}" dt="2021-11-22T13:51:41.410" v="2" actId="571"/>
          <ac:spMkLst>
            <pc:docMk/>
            <pc:sldMk cId="406882959" sldId="5743"/>
            <ac:spMk id="70" creationId="{3E8BB37A-6112-46CB-97A3-27F977C27F39}"/>
          </ac:spMkLst>
        </pc:spChg>
        <pc:spChg chg="add mod">
          <ac:chgData name="Kulkarni, Ravi" userId="658fd972-6709-4d00-bd01-b90d5c761744" providerId="ADAL" clId="{F9DBF58A-88AD-41E5-AA86-CF3D1B40D0B0}" dt="2021-11-22T13:51:41.410" v="2" actId="571"/>
          <ac:spMkLst>
            <pc:docMk/>
            <pc:sldMk cId="406882959" sldId="5743"/>
            <ac:spMk id="71" creationId="{AD56B7DC-BB31-4AEF-AF7C-C8D158E9FCEF}"/>
          </ac:spMkLst>
        </pc:spChg>
        <pc:spChg chg="add mod">
          <ac:chgData name="Kulkarni, Ravi" userId="658fd972-6709-4d00-bd01-b90d5c761744" providerId="ADAL" clId="{F9DBF58A-88AD-41E5-AA86-CF3D1B40D0B0}" dt="2021-11-22T13:51:41.410" v="2" actId="571"/>
          <ac:spMkLst>
            <pc:docMk/>
            <pc:sldMk cId="406882959" sldId="5743"/>
            <ac:spMk id="72" creationId="{C9A81EF4-4D92-4327-9E6A-3DA4FD811F9D}"/>
          </ac:spMkLst>
        </pc:spChg>
        <pc:spChg chg="del">
          <ac:chgData name="Kulkarni, Ravi" userId="658fd972-6709-4d00-bd01-b90d5c761744" providerId="ADAL" clId="{F9DBF58A-88AD-41E5-AA86-CF3D1B40D0B0}" dt="2021-11-22T13:51:48.609" v="4" actId="478"/>
          <ac:spMkLst>
            <pc:docMk/>
            <pc:sldMk cId="406882959" sldId="5743"/>
            <ac:spMk id="73" creationId="{00000000-0000-0000-0000-000000000000}"/>
          </ac:spMkLst>
        </pc:spChg>
        <pc:spChg chg="del">
          <ac:chgData name="Kulkarni, Ravi" userId="658fd972-6709-4d00-bd01-b90d5c761744" providerId="ADAL" clId="{F9DBF58A-88AD-41E5-AA86-CF3D1B40D0B0}" dt="2021-11-22T13:51:48.609" v="4" actId="478"/>
          <ac:spMkLst>
            <pc:docMk/>
            <pc:sldMk cId="406882959" sldId="5743"/>
            <ac:spMk id="74" creationId="{00000000-0000-0000-0000-000000000000}"/>
          </ac:spMkLst>
        </pc:spChg>
        <pc:spChg chg="del">
          <ac:chgData name="Kulkarni, Ravi" userId="658fd972-6709-4d00-bd01-b90d5c761744" providerId="ADAL" clId="{F9DBF58A-88AD-41E5-AA86-CF3D1B40D0B0}" dt="2021-11-22T13:51:48.609" v="4" actId="478"/>
          <ac:spMkLst>
            <pc:docMk/>
            <pc:sldMk cId="406882959" sldId="5743"/>
            <ac:spMk id="75" creationId="{9E7E3FA5-6072-449E-9CA3-F4C390229C22}"/>
          </ac:spMkLst>
        </pc:spChg>
        <pc:spChg chg="add mod">
          <ac:chgData name="Kulkarni, Ravi" userId="658fd972-6709-4d00-bd01-b90d5c761744" providerId="ADAL" clId="{F9DBF58A-88AD-41E5-AA86-CF3D1B40D0B0}" dt="2021-11-22T13:51:41.410" v="2" actId="571"/>
          <ac:spMkLst>
            <pc:docMk/>
            <pc:sldMk cId="406882959" sldId="5743"/>
            <ac:spMk id="77" creationId="{0CC18A2E-53FC-4512-B2A6-AB29CB40C1EA}"/>
          </ac:spMkLst>
        </pc:spChg>
        <pc:spChg chg="add mod">
          <ac:chgData name="Kulkarni, Ravi" userId="658fd972-6709-4d00-bd01-b90d5c761744" providerId="ADAL" clId="{F9DBF58A-88AD-41E5-AA86-CF3D1B40D0B0}" dt="2021-11-22T13:51:41.410" v="2" actId="571"/>
          <ac:spMkLst>
            <pc:docMk/>
            <pc:sldMk cId="406882959" sldId="5743"/>
            <ac:spMk id="78" creationId="{90ABDA0A-DEE8-4BFF-A551-CD086A73E9A8}"/>
          </ac:spMkLst>
        </pc:spChg>
        <pc:spChg chg="add mod">
          <ac:chgData name="Kulkarni, Ravi" userId="658fd972-6709-4d00-bd01-b90d5c761744" providerId="ADAL" clId="{F9DBF58A-88AD-41E5-AA86-CF3D1B40D0B0}" dt="2021-11-22T13:51:41.410" v="2" actId="571"/>
          <ac:spMkLst>
            <pc:docMk/>
            <pc:sldMk cId="406882959" sldId="5743"/>
            <ac:spMk id="79" creationId="{4C53BED3-26EA-4363-8002-080322597F68}"/>
          </ac:spMkLst>
        </pc:spChg>
        <pc:spChg chg="add mod">
          <ac:chgData name="Kulkarni, Ravi" userId="658fd972-6709-4d00-bd01-b90d5c761744" providerId="ADAL" clId="{F9DBF58A-88AD-41E5-AA86-CF3D1B40D0B0}" dt="2021-11-22T13:51:41.410" v="2" actId="571"/>
          <ac:spMkLst>
            <pc:docMk/>
            <pc:sldMk cId="406882959" sldId="5743"/>
            <ac:spMk id="80" creationId="{285C62FC-1E45-4A41-87C3-80FA41EC62F1}"/>
          </ac:spMkLst>
        </pc:spChg>
        <pc:spChg chg="del">
          <ac:chgData name="Kulkarni, Ravi" userId="658fd972-6709-4d00-bd01-b90d5c761744" providerId="ADAL" clId="{F9DBF58A-88AD-41E5-AA86-CF3D1B40D0B0}" dt="2021-11-22T13:51:48.609" v="4" actId="478"/>
          <ac:spMkLst>
            <pc:docMk/>
            <pc:sldMk cId="406882959" sldId="5743"/>
            <ac:spMk id="81" creationId="{C64DDC7F-1171-4762-8396-B0DC7348DD78}"/>
          </ac:spMkLst>
        </pc:spChg>
        <pc:spChg chg="del">
          <ac:chgData name="Kulkarni, Ravi" userId="658fd972-6709-4d00-bd01-b90d5c761744" providerId="ADAL" clId="{F9DBF58A-88AD-41E5-AA86-CF3D1B40D0B0}" dt="2021-11-22T13:51:48.609" v="4" actId="478"/>
          <ac:spMkLst>
            <pc:docMk/>
            <pc:sldMk cId="406882959" sldId="5743"/>
            <ac:spMk id="82" creationId="{30308061-6068-4EC6-ACB8-972EAFD18E7C}"/>
          </ac:spMkLst>
        </pc:spChg>
        <pc:spChg chg="add mod">
          <ac:chgData name="Kulkarni, Ravi" userId="658fd972-6709-4d00-bd01-b90d5c761744" providerId="ADAL" clId="{F9DBF58A-88AD-41E5-AA86-CF3D1B40D0B0}" dt="2021-11-22T13:51:41.410" v="2" actId="571"/>
          <ac:spMkLst>
            <pc:docMk/>
            <pc:sldMk cId="406882959" sldId="5743"/>
            <ac:spMk id="83" creationId="{1BA88EF8-59E3-4E22-9A13-5690A394B66F}"/>
          </ac:spMkLst>
        </pc:spChg>
        <pc:spChg chg="del">
          <ac:chgData name="Kulkarni, Ravi" userId="658fd972-6709-4d00-bd01-b90d5c761744" providerId="ADAL" clId="{F9DBF58A-88AD-41E5-AA86-CF3D1B40D0B0}" dt="2021-11-22T13:51:48.609" v="4" actId="478"/>
          <ac:spMkLst>
            <pc:docMk/>
            <pc:sldMk cId="406882959" sldId="5743"/>
            <ac:spMk id="84" creationId="{8EC1B283-0108-4F80-AB36-97FA88FF7F72}"/>
          </ac:spMkLst>
        </pc:spChg>
        <pc:spChg chg="del">
          <ac:chgData name="Kulkarni, Ravi" userId="658fd972-6709-4d00-bd01-b90d5c761744" providerId="ADAL" clId="{F9DBF58A-88AD-41E5-AA86-CF3D1B40D0B0}" dt="2021-11-22T13:51:48.609" v="4" actId="478"/>
          <ac:spMkLst>
            <pc:docMk/>
            <pc:sldMk cId="406882959" sldId="5743"/>
            <ac:spMk id="85" creationId="{4E1D62EF-1CD8-4F9A-BAF6-716E0F7EFA83}"/>
          </ac:spMkLst>
        </pc:spChg>
        <pc:spChg chg="del">
          <ac:chgData name="Kulkarni, Ravi" userId="658fd972-6709-4d00-bd01-b90d5c761744" providerId="ADAL" clId="{F9DBF58A-88AD-41E5-AA86-CF3D1B40D0B0}" dt="2021-11-22T13:51:48.609" v="4" actId="478"/>
          <ac:spMkLst>
            <pc:docMk/>
            <pc:sldMk cId="406882959" sldId="5743"/>
            <ac:spMk id="86" creationId="{02FD904D-1039-4736-9A18-341823146391}"/>
          </ac:spMkLst>
        </pc:spChg>
        <pc:spChg chg="add mod">
          <ac:chgData name="Kulkarni, Ravi" userId="658fd972-6709-4d00-bd01-b90d5c761744" providerId="ADAL" clId="{F9DBF58A-88AD-41E5-AA86-CF3D1B40D0B0}" dt="2021-11-22T13:51:41.410" v="2" actId="571"/>
          <ac:spMkLst>
            <pc:docMk/>
            <pc:sldMk cId="406882959" sldId="5743"/>
            <ac:spMk id="87" creationId="{249EFBEC-23C5-4C52-94A6-18C05E0FA820}"/>
          </ac:spMkLst>
        </pc:spChg>
        <pc:spChg chg="del">
          <ac:chgData name="Kulkarni, Ravi" userId="658fd972-6709-4d00-bd01-b90d5c761744" providerId="ADAL" clId="{F9DBF58A-88AD-41E5-AA86-CF3D1B40D0B0}" dt="2021-11-22T13:51:48.609" v="4" actId="478"/>
          <ac:spMkLst>
            <pc:docMk/>
            <pc:sldMk cId="406882959" sldId="5743"/>
            <ac:spMk id="88" creationId="{E0D96CCC-1DD0-4203-9870-CCDD874DCE51}"/>
          </ac:spMkLst>
        </pc:spChg>
        <pc:spChg chg="del">
          <ac:chgData name="Kulkarni, Ravi" userId="658fd972-6709-4d00-bd01-b90d5c761744" providerId="ADAL" clId="{F9DBF58A-88AD-41E5-AA86-CF3D1B40D0B0}" dt="2021-11-22T13:51:48.609" v="4" actId="478"/>
          <ac:spMkLst>
            <pc:docMk/>
            <pc:sldMk cId="406882959" sldId="5743"/>
            <ac:spMk id="89" creationId="{7E877CD4-E506-4D92-B6FE-8C8328E217E6}"/>
          </ac:spMkLst>
        </pc:spChg>
        <pc:spChg chg="del">
          <ac:chgData name="Kulkarni, Ravi" userId="658fd972-6709-4d00-bd01-b90d5c761744" providerId="ADAL" clId="{F9DBF58A-88AD-41E5-AA86-CF3D1B40D0B0}" dt="2021-11-22T13:51:48.609" v="4" actId="478"/>
          <ac:spMkLst>
            <pc:docMk/>
            <pc:sldMk cId="406882959" sldId="5743"/>
            <ac:spMk id="90" creationId="{62B9FC88-D991-47B9-A9B5-7426F2739487}"/>
          </ac:spMkLst>
        </pc:spChg>
        <pc:spChg chg="del">
          <ac:chgData name="Kulkarni, Ravi" userId="658fd972-6709-4d00-bd01-b90d5c761744" providerId="ADAL" clId="{F9DBF58A-88AD-41E5-AA86-CF3D1B40D0B0}" dt="2021-11-22T13:51:48.609" v="4" actId="478"/>
          <ac:spMkLst>
            <pc:docMk/>
            <pc:sldMk cId="406882959" sldId="5743"/>
            <ac:spMk id="91" creationId="{74F40F9A-EED5-498B-AA5B-E8ADECB9DE60}"/>
          </ac:spMkLst>
        </pc:spChg>
        <pc:spChg chg="del">
          <ac:chgData name="Kulkarni, Ravi" userId="658fd972-6709-4d00-bd01-b90d5c761744" providerId="ADAL" clId="{F9DBF58A-88AD-41E5-AA86-CF3D1B40D0B0}" dt="2021-11-22T13:51:48.609" v="4" actId="478"/>
          <ac:spMkLst>
            <pc:docMk/>
            <pc:sldMk cId="406882959" sldId="5743"/>
            <ac:spMk id="92" creationId="{DC7032FE-BA2F-4F52-8B8C-24B6B56D537F}"/>
          </ac:spMkLst>
        </pc:spChg>
        <pc:spChg chg="add mod">
          <ac:chgData name="Kulkarni, Ravi" userId="658fd972-6709-4d00-bd01-b90d5c761744" providerId="ADAL" clId="{F9DBF58A-88AD-41E5-AA86-CF3D1B40D0B0}" dt="2021-11-22T13:51:41.410" v="2" actId="571"/>
          <ac:spMkLst>
            <pc:docMk/>
            <pc:sldMk cId="406882959" sldId="5743"/>
            <ac:spMk id="93" creationId="{57BA2A2E-E1C9-4F9A-A0D6-A2536A56C9F6}"/>
          </ac:spMkLst>
        </pc:spChg>
        <pc:spChg chg="add mod">
          <ac:chgData name="Kulkarni, Ravi" userId="658fd972-6709-4d00-bd01-b90d5c761744" providerId="ADAL" clId="{F9DBF58A-88AD-41E5-AA86-CF3D1B40D0B0}" dt="2021-11-22T13:51:41.410" v="2" actId="571"/>
          <ac:spMkLst>
            <pc:docMk/>
            <pc:sldMk cId="406882959" sldId="5743"/>
            <ac:spMk id="94" creationId="{FFEC4D21-90CB-46FC-A864-B8747B9CE42C}"/>
          </ac:spMkLst>
        </pc:spChg>
        <pc:spChg chg="del">
          <ac:chgData name="Kulkarni, Ravi" userId="658fd972-6709-4d00-bd01-b90d5c761744" providerId="ADAL" clId="{F9DBF58A-88AD-41E5-AA86-CF3D1B40D0B0}" dt="2021-11-22T13:51:48.609" v="4" actId="478"/>
          <ac:spMkLst>
            <pc:docMk/>
            <pc:sldMk cId="406882959" sldId="5743"/>
            <ac:spMk id="95" creationId="{5FEE5905-FDCB-4BB4-9B00-FB3F97356C9E}"/>
          </ac:spMkLst>
        </pc:spChg>
        <pc:spChg chg="add mod">
          <ac:chgData name="Kulkarni, Ravi" userId="658fd972-6709-4d00-bd01-b90d5c761744" providerId="ADAL" clId="{F9DBF58A-88AD-41E5-AA86-CF3D1B40D0B0}" dt="2021-11-22T13:51:41.410" v="2" actId="571"/>
          <ac:spMkLst>
            <pc:docMk/>
            <pc:sldMk cId="406882959" sldId="5743"/>
            <ac:spMk id="96" creationId="{5DC03FF1-8A47-4575-8FFB-BE1E9BD05032}"/>
          </ac:spMkLst>
        </pc:spChg>
        <pc:spChg chg="add mod">
          <ac:chgData name="Kulkarni, Ravi" userId="658fd972-6709-4d00-bd01-b90d5c761744" providerId="ADAL" clId="{F9DBF58A-88AD-41E5-AA86-CF3D1B40D0B0}" dt="2021-11-22T13:51:41.410" v="2" actId="571"/>
          <ac:spMkLst>
            <pc:docMk/>
            <pc:sldMk cId="406882959" sldId="5743"/>
            <ac:spMk id="97" creationId="{89635894-24DE-4585-867C-BF89A98205CE}"/>
          </ac:spMkLst>
        </pc:spChg>
        <pc:spChg chg="add mod">
          <ac:chgData name="Kulkarni, Ravi" userId="658fd972-6709-4d00-bd01-b90d5c761744" providerId="ADAL" clId="{F9DBF58A-88AD-41E5-AA86-CF3D1B40D0B0}" dt="2021-11-22T13:51:41.410" v="2" actId="571"/>
          <ac:spMkLst>
            <pc:docMk/>
            <pc:sldMk cId="406882959" sldId="5743"/>
            <ac:spMk id="98" creationId="{DA78FB12-BADB-4F89-9B9C-E82411C51021}"/>
          </ac:spMkLst>
        </pc:spChg>
        <pc:spChg chg="add mod">
          <ac:chgData name="Kulkarni, Ravi" userId="658fd972-6709-4d00-bd01-b90d5c761744" providerId="ADAL" clId="{F9DBF58A-88AD-41E5-AA86-CF3D1B40D0B0}" dt="2021-11-22T13:51:41.410" v="2" actId="571"/>
          <ac:spMkLst>
            <pc:docMk/>
            <pc:sldMk cId="406882959" sldId="5743"/>
            <ac:spMk id="99" creationId="{7FC3645C-45D4-4706-9495-508BBE9EDBCC}"/>
          </ac:spMkLst>
        </pc:spChg>
        <pc:spChg chg="add mod">
          <ac:chgData name="Kulkarni, Ravi" userId="658fd972-6709-4d00-bd01-b90d5c761744" providerId="ADAL" clId="{F9DBF58A-88AD-41E5-AA86-CF3D1B40D0B0}" dt="2021-11-22T13:51:41.410" v="2" actId="571"/>
          <ac:spMkLst>
            <pc:docMk/>
            <pc:sldMk cId="406882959" sldId="5743"/>
            <ac:spMk id="101" creationId="{A1288D1D-AD23-4E33-BA30-31ED67405125}"/>
          </ac:spMkLst>
        </pc:spChg>
        <pc:spChg chg="add mod">
          <ac:chgData name="Kulkarni, Ravi" userId="658fd972-6709-4d00-bd01-b90d5c761744" providerId="ADAL" clId="{F9DBF58A-88AD-41E5-AA86-CF3D1B40D0B0}" dt="2021-11-22T13:51:41.410" v="2" actId="571"/>
          <ac:spMkLst>
            <pc:docMk/>
            <pc:sldMk cId="406882959" sldId="5743"/>
            <ac:spMk id="102" creationId="{56F4BA69-D293-47F6-97BB-2A49017D9B91}"/>
          </ac:spMkLst>
        </pc:spChg>
        <pc:spChg chg="add mod">
          <ac:chgData name="Kulkarni, Ravi" userId="658fd972-6709-4d00-bd01-b90d5c761744" providerId="ADAL" clId="{F9DBF58A-88AD-41E5-AA86-CF3D1B40D0B0}" dt="2021-11-22T13:51:41.410" v="2" actId="571"/>
          <ac:spMkLst>
            <pc:docMk/>
            <pc:sldMk cId="406882959" sldId="5743"/>
            <ac:spMk id="117" creationId="{3648431A-CBF9-4C2A-AECC-5CC7337A5F3D}"/>
          </ac:spMkLst>
        </pc:spChg>
        <pc:spChg chg="add mod">
          <ac:chgData name="Kulkarni, Ravi" userId="658fd972-6709-4d00-bd01-b90d5c761744" providerId="ADAL" clId="{F9DBF58A-88AD-41E5-AA86-CF3D1B40D0B0}" dt="2021-11-22T13:51:41.410" v="2" actId="571"/>
          <ac:spMkLst>
            <pc:docMk/>
            <pc:sldMk cId="406882959" sldId="5743"/>
            <ac:spMk id="118" creationId="{FB06F5EF-349A-47E2-9BD2-AC4EDF909F77}"/>
          </ac:spMkLst>
        </pc:spChg>
        <pc:spChg chg="add mod">
          <ac:chgData name="Kulkarni, Ravi" userId="658fd972-6709-4d00-bd01-b90d5c761744" providerId="ADAL" clId="{F9DBF58A-88AD-41E5-AA86-CF3D1B40D0B0}" dt="2021-11-22T13:51:41.410" v="2" actId="571"/>
          <ac:spMkLst>
            <pc:docMk/>
            <pc:sldMk cId="406882959" sldId="5743"/>
            <ac:spMk id="119" creationId="{C195B7EF-26CC-44AE-AB7E-10AE7746436F}"/>
          </ac:spMkLst>
        </pc:spChg>
        <pc:spChg chg="add mod">
          <ac:chgData name="Kulkarni, Ravi" userId="658fd972-6709-4d00-bd01-b90d5c761744" providerId="ADAL" clId="{F9DBF58A-88AD-41E5-AA86-CF3D1B40D0B0}" dt="2021-11-22T13:51:41.410" v="2" actId="571"/>
          <ac:spMkLst>
            <pc:docMk/>
            <pc:sldMk cId="406882959" sldId="5743"/>
            <ac:spMk id="120" creationId="{AAF1BCA1-74AD-4E9A-A004-A5594384F7D1}"/>
          </ac:spMkLst>
        </pc:spChg>
        <pc:spChg chg="add mod">
          <ac:chgData name="Kulkarni, Ravi" userId="658fd972-6709-4d00-bd01-b90d5c761744" providerId="ADAL" clId="{F9DBF58A-88AD-41E5-AA86-CF3D1B40D0B0}" dt="2021-11-22T13:51:41.410" v="2" actId="571"/>
          <ac:spMkLst>
            <pc:docMk/>
            <pc:sldMk cId="406882959" sldId="5743"/>
            <ac:spMk id="121" creationId="{A950E896-577B-474A-9314-9F6A0C48621F}"/>
          </ac:spMkLst>
        </pc:spChg>
        <pc:spChg chg="add mod">
          <ac:chgData name="Kulkarni, Ravi" userId="658fd972-6709-4d00-bd01-b90d5c761744" providerId="ADAL" clId="{F9DBF58A-88AD-41E5-AA86-CF3D1B40D0B0}" dt="2021-11-22T13:51:41.410" v="2" actId="571"/>
          <ac:spMkLst>
            <pc:docMk/>
            <pc:sldMk cId="406882959" sldId="5743"/>
            <ac:spMk id="122" creationId="{98A18713-BD94-4948-A07A-E0D0D27B5761}"/>
          </ac:spMkLst>
        </pc:spChg>
        <pc:spChg chg="add mod">
          <ac:chgData name="Kulkarni, Ravi" userId="658fd972-6709-4d00-bd01-b90d5c761744" providerId="ADAL" clId="{F9DBF58A-88AD-41E5-AA86-CF3D1B40D0B0}" dt="2021-11-22T13:51:41.410" v="2" actId="571"/>
          <ac:spMkLst>
            <pc:docMk/>
            <pc:sldMk cId="406882959" sldId="5743"/>
            <ac:spMk id="123" creationId="{2FB4B8FC-D8AC-460B-ADCB-294B1E64AC56}"/>
          </ac:spMkLst>
        </pc:spChg>
        <pc:spChg chg="add mod">
          <ac:chgData name="Kulkarni, Ravi" userId="658fd972-6709-4d00-bd01-b90d5c761744" providerId="ADAL" clId="{F9DBF58A-88AD-41E5-AA86-CF3D1B40D0B0}" dt="2021-11-22T13:51:41.410" v="2" actId="571"/>
          <ac:spMkLst>
            <pc:docMk/>
            <pc:sldMk cId="406882959" sldId="5743"/>
            <ac:spMk id="124" creationId="{9F425196-DC8C-4EE3-A646-F63777AEAC89}"/>
          </ac:spMkLst>
        </pc:spChg>
        <pc:spChg chg="add mod">
          <ac:chgData name="Kulkarni, Ravi" userId="658fd972-6709-4d00-bd01-b90d5c761744" providerId="ADAL" clId="{F9DBF58A-88AD-41E5-AA86-CF3D1B40D0B0}" dt="2021-11-22T13:51:41.410" v="2" actId="571"/>
          <ac:spMkLst>
            <pc:docMk/>
            <pc:sldMk cId="406882959" sldId="5743"/>
            <ac:spMk id="125" creationId="{9F10F7D8-BF62-499F-B213-CA6219B2E848}"/>
          </ac:spMkLst>
        </pc:spChg>
        <pc:spChg chg="add mod">
          <ac:chgData name="Kulkarni, Ravi" userId="658fd972-6709-4d00-bd01-b90d5c761744" providerId="ADAL" clId="{F9DBF58A-88AD-41E5-AA86-CF3D1B40D0B0}" dt="2021-11-22T13:51:41.410" v="2" actId="571"/>
          <ac:spMkLst>
            <pc:docMk/>
            <pc:sldMk cId="406882959" sldId="5743"/>
            <ac:spMk id="126" creationId="{DAC3106E-7BFA-405C-8147-4A421FD660EF}"/>
          </ac:spMkLst>
        </pc:spChg>
        <pc:spChg chg="del">
          <ac:chgData name="Kulkarni, Ravi" userId="658fd972-6709-4d00-bd01-b90d5c761744" providerId="ADAL" clId="{F9DBF58A-88AD-41E5-AA86-CF3D1B40D0B0}" dt="2021-11-22T13:51:48.609" v="4" actId="478"/>
          <ac:spMkLst>
            <pc:docMk/>
            <pc:sldMk cId="406882959" sldId="5743"/>
            <ac:spMk id="132" creationId="{8B308385-FFE3-4809-B10A-AEA672541CB6}"/>
          </ac:spMkLst>
        </pc:spChg>
        <pc:spChg chg="mod">
          <ac:chgData name="Kulkarni, Ravi" userId="658fd972-6709-4d00-bd01-b90d5c761744" providerId="ADAL" clId="{F9DBF58A-88AD-41E5-AA86-CF3D1B40D0B0}" dt="2021-11-22T13:51:41.410" v="2" actId="571"/>
          <ac:spMkLst>
            <pc:docMk/>
            <pc:sldMk cId="406882959" sldId="5743"/>
            <ac:spMk id="133" creationId="{8DF57163-BD3A-4687-AF20-A55F922CB7E6}"/>
          </ac:spMkLst>
        </pc:spChg>
        <pc:spChg chg="mod">
          <ac:chgData name="Kulkarni, Ravi" userId="658fd972-6709-4d00-bd01-b90d5c761744" providerId="ADAL" clId="{F9DBF58A-88AD-41E5-AA86-CF3D1B40D0B0}" dt="2021-11-22T13:51:41.410" v="2" actId="571"/>
          <ac:spMkLst>
            <pc:docMk/>
            <pc:sldMk cId="406882959" sldId="5743"/>
            <ac:spMk id="134" creationId="{2933982F-F5E9-4B2F-9D3E-2278A877DBE2}"/>
          </ac:spMkLst>
        </pc:spChg>
        <pc:spChg chg="mod">
          <ac:chgData name="Kulkarni, Ravi" userId="658fd972-6709-4d00-bd01-b90d5c761744" providerId="ADAL" clId="{F9DBF58A-88AD-41E5-AA86-CF3D1B40D0B0}" dt="2021-11-22T13:51:41.410" v="2" actId="571"/>
          <ac:spMkLst>
            <pc:docMk/>
            <pc:sldMk cId="406882959" sldId="5743"/>
            <ac:spMk id="135" creationId="{664287F6-6654-4E6B-9224-C9DAEC07D148}"/>
          </ac:spMkLst>
        </pc:spChg>
        <pc:spChg chg="mod">
          <ac:chgData name="Kulkarni, Ravi" userId="658fd972-6709-4d00-bd01-b90d5c761744" providerId="ADAL" clId="{F9DBF58A-88AD-41E5-AA86-CF3D1B40D0B0}" dt="2021-11-22T13:51:41.410" v="2" actId="571"/>
          <ac:spMkLst>
            <pc:docMk/>
            <pc:sldMk cId="406882959" sldId="5743"/>
            <ac:spMk id="136" creationId="{E8ABF4C6-C12A-474E-92CA-33F80145D419}"/>
          </ac:spMkLst>
        </pc:spChg>
        <pc:spChg chg="mod">
          <ac:chgData name="Kulkarni, Ravi" userId="658fd972-6709-4d00-bd01-b90d5c761744" providerId="ADAL" clId="{F9DBF58A-88AD-41E5-AA86-CF3D1B40D0B0}" dt="2021-11-22T13:51:41.410" v="2" actId="571"/>
          <ac:spMkLst>
            <pc:docMk/>
            <pc:sldMk cId="406882959" sldId="5743"/>
            <ac:spMk id="137" creationId="{B063FEF4-CD76-4640-B293-38D1167139B8}"/>
          </ac:spMkLst>
        </pc:spChg>
        <pc:spChg chg="add mod">
          <ac:chgData name="Kulkarni, Ravi" userId="658fd972-6709-4d00-bd01-b90d5c761744" providerId="ADAL" clId="{F9DBF58A-88AD-41E5-AA86-CF3D1B40D0B0}" dt="2021-11-22T13:51:41.410" v="2" actId="571"/>
          <ac:spMkLst>
            <pc:docMk/>
            <pc:sldMk cId="406882959" sldId="5743"/>
            <ac:spMk id="144" creationId="{F3C07442-F8CE-41F2-9A4D-6FEA0B3CF1ED}"/>
          </ac:spMkLst>
        </pc:spChg>
        <pc:spChg chg="add mod">
          <ac:chgData name="Kulkarni, Ravi" userId="658fd972-6709-4d00-bd01-b90d5c761744" providerId="ADAL" clId="{F9DBF58A-88AD-41E5-AA86-CF3D1B40D0B0}" dt="2021-11-22T13:51:41.410" v="2" actId="571"/>
          <ac:spMkLst>
            <pc:docMk/>
            <pc:sldMk cId="406882959" sldId="5743"/>
            <ac:spMk id="145" creationId="{7CAB9265-D6E7-47E9-9EB2-9B9888A7E0E4}"/>
          </ac:spMkLst>
        </pc:spChg>
        <pc:spChg chg="add mod">
          <ac:chgData name="Kulkarni, Ravi" userId="658fd972-6709-4d00-bd01-b90d5c761744" providerId="ADAL" clId="{F9DBF58A-88AD-41E5-AA86-CF3D1B40D0B0}" dt="2021-11-22T13:51:41.410" v="2" actId="571"/>
          <ac:spMkLst>
            <pc:docMk/>
            <pc:sldMk cId="406882959" sldId="5743"/>
            <ac:spMk id="146" creationId="{31459285-5E3E-4516-ACBE-D2220AD46379}"/>
          </ac:spMkLst>
        </pc:spChg>
        <pc:spChg chg="add mod">
          <ac:chgData name="Kulkarni, Ravi" userId="658fd972-6709-4d00-bd01-b90d5c761744" providerId="ADAL" clId="{F9DBF58A-88AD-41E5-AA86-CF3D1B40D0B0}" dt="2021-11-22T13:51:41.410" v="2" actId="571"/>
          <ac:spMkLst>
            <pc:docMk/>
            <pc:sldMk cId="406882959" sldId="5743"/>
            <ac:spMk id="147" creationId="{6AE46373-32C7-49DD-9717-5C2756CCC70C}"/>
          </ac:spMkLst>
        </pc:spChg>
        <pc:spChg chg="add mod">
          <ac:chgData name="Kulkarni, Ravi" userId="658fd972-6709-4d00-bd01-b90d5c761744" providerId="ADAL" clId="{F9DBF58A-88AD-41E5-AA86-CF3D1B40D0B0}" dt="2021-11-22T13:51:41.410" v="2" actId="571"/>
          <ac:spMkLst>
            <pc:docMk/>
            <pc:sldMk cId="406882959" sldId="5743"/>
            <ac:spMk id="148" creationId="{ED644E40-8612-44EC-B983-6ED5A9F66D9C}"/>
          </ac:spMkLst>
        </pc:spChg>
        <pc:spChg chg="add mod">
          <ac:chgData name="Kulkarni, Ravi" userId="658fd972-6709-4d00-bd01-b90d5c761744" providerId="ADAL" clId="{F9DBF58A-88AD-41E5-AA86-CF3D1B40D0B0}" dt="2021-11-22T13:51:41.410" v="2" actId="571"/>
          <ac:spMkLst>
            <pc:docMk/>
            <pc:sldMk cId="406882959" sldId="5743"/>
            <ac:spMk id="149" creationId="{12C038E2-415A-4021-9971-5074D0C295A3}"/>
          </ac:spMkLst>
        </pc:spChg>
        <pc:spChg chg="add mod">
          <ac:chgData name="Kulkarni, Ravi" userId="658fd972-6709-4d00-bd01-b90d5c761744" providerId="ADAL" clId="{F9DBF58A-88AD-41E5-AA86-CF3D1B40D0B0}" dt="2021-11-22T13:51:41.410" v="2" actId="571"/>
          <ac:spMkLst>
            <pc:docMk/>
            <pc:sldMk cId="406882959" sldId="5743"/>
            <ac:spMk id="150" creationId="{BE317186-560A-47F0-B1F9-5D2CB6F9EA35}"/>
          </ac:spMkLst>
        </pc:spChg>
        <pc:spChg chg="add mod">
          <ac:chgData name="Kulkarni, Ravi" userId="658fd972-6709-4d00-bd01-b90d5c761744" providerId="ADAL" clId="{F9DBF58A-88AD-41E5-AA86-CF3D1B40D0B0}" dt="2021-11-22T13:51:41.410" v="2" actId="571"/>
          <ac:spMkLst>
            <pc:docMk/>
            <pc:sldMk cId="406882959" sldId="5743"/>
            <ac:spMk id="152" creationId="{F2F14069-5293-4E0C-ADD7-D3B9DEBFAC76}"/>
          </ac:spMkLst>
        </pc:spChg>
        <pc:spChg chg="add mod">
          <ac:chgData name="Kulkarni, Ravi" userId="658fd972-6709-4d00-bd01-b90d5c761744" providerId="ADAL" clId="{F9DBF58A-88AD-41E5-AA86-CF3D1B40D0B0}" dt="2021-11-22T13:51:41.410" v="2" actId="571"/>
          <ac:spMkLst>
            <pc:docMk/>
            <pc:sldMk cId="406882959" sldId="5743"/>
            <ac:spMk id="153" creationId="{AB903375-2902-4DD3-89F4-3189329B8576}"/>
          </ac:spMkLst>
        </pc:spChg>
        <pc:spChg chg="del">
          <ac:chgData name="Kulkarni, Ravi" userId="658fd972-6709-4d00-bd01-b90d5c761744" providerId="ADAL" clId="{F9DBF58A-88AD-41E5-AA86-CF3D1B40D0B0}" dt="2021-11-22T13:51:48.609" v="4" actId="478"/>
          <ac:spMkLst>
            <pc:docMk/>
            <pc:sldMk cId="406882959" sldId="5743"/>
            <ac:spMk id="154" creationId="{9A7CF6B5-F167-4FE2-9601-486C8F7EB58C}"/>
          </ac:spMkLst>
        </pc:spChg>
        <pc:spChg chg="add mod">
          <ac:chgData name="Kulkarni, Ravi" userId="658fd972-6709-4d00-bd01-b90d5c761744" providerId="ADAL" clId="{F9DBF58A-88AD-41E5-AA86-CF3D1B40D0B0}" dt="2021-11-22T13:51:41.410" v="2" actId="571"/>
          <ac:spMkLst>
            <pc:docMk/>
            <pc:sldMk cId="406882959" sldId="5743"/>
            <ac:spMk id="155" creationId="{B855D895-DC14-43BA-8C9C-643555AFCA0A}"/>
          </ac:spMkLst>
        </pc:spChg>
        <pc:spChg chg="add mod">
          <ac:chgData name="Kulkarni, Ravi" userId="658fd972-6709-4d00-bd01-b90d5c761744" providerId="ADAL" clId="{F9DBF58A-88AD-41E5-AA86-CF3D1B40D0B0}" dt="2021-11-22T13:51:41.410" v="2" actId="571"/>
          <ac:spMkLst>
            <pc:docMk/>
            <pc:sldMk cId="406882959" sldId="5743"/>
            <ac:spMk id="156" creationId="{A013A58A-2ABB-41BD-B5B2-6BA8BB73AB2F}"/>
          </ac:spMkLst>
        </pc:spChg>
        <pc:spChg chg="add mod">
          <ac:chgData name="Kulkarni, Ravi" userId="658fd972-6709-4d00-bd01-b90d5c761744" providerId="ADAL" clId="{F9DBF58A-88AD-41E5-AA86-CF3D1B40D0B0}" dt="2021-11-22T13:51:41.410" v="2" actId="571"/>
          <ac:spMkLst>
            <pc:docMk/>
            <pc:sldMk cId="406882959" sldId="5743"/>
            <ac:spMk id="157" creationId="{8524A6BB-7C29-42E8-AE95-BDBB10AF73E3}"/>
          </ac:spMkLst>
        </pc:spChg>
        <pc:spChg chg="add mod">
          <ac:chgData name="Kulkarni, Ravi" userId="658fd972-6709-4d00-bd01-b90d5c761744" providerId="ADAL" clId="{F9DBF58A-88AD-41E5-AA86-CF3D1B40D0B0}" dt="2021-11-22T13:51:41.410" v="2" actId="571"/>
          <ac:spMkLst>
            <pc:docMk/>
            <pc:sldMk cId="406882959" sldId="5743"/>
            <ac:spMk id="158" creationId="{F825331B-F652-40B0-BFF6-D67C0CC9495C}"/>
          </ac:spMkLst>
        </pc:spChg>
        <pc:spChg chg="add mod">
          <ac:chgData name="Kulkarni, Ravi" userId="658fd972-6709-4d00-bd01-b90d5c761744" providerId="ADAL" clId="{F9DBF58A-88AD-41E5-AA86-CF3D1B40D0B0}" dt="2021-11-22T13:51:41.410" v="2" actId="571"/>
          <ac:spMkLst>
            <pc:docMk/>
            <pc:sldMk cId="406882959" sldId="5743"/>
            <ac:spMk id="159" creationId="{18415AFD-2FF4-439B-B5BB-8F30ECDAF5C6}"/>
          </ac:spMkLst>
        </pc:spChg>
        <pc:spChg chg="add mod">
          <ac:chgData name="Kulkarni, Ravi" userId="658fd972-6709-4d00-bd01-b90d5c761744" providerId="ADAL" clId="{F9DBF58A-88AD-41E5-AA86-CF3D1B40D0B0}" dt="2021-11-22T13:51:41.410" v="2" actId="571"/>
          <ac:spMkLst>
            <pc:docMk/>
            <pc:sldMk cId="406882959" sldId="5743"/>
            <ac:spMk id="160" creationId="{806EBD4D-A82E-41A0-896D-AE498311F13B}"/>
          </ac:spMkLst>
        </pc:spChg>
        <pc:spChg chg="add mod">
          <ac:chgData name="Kulkarni, Ravi" userId="658fd972-6709-4d00-bd01-b90d5c761744" providerId="ADAL" clId="{F9DBF58A-88AD-41E5-AA86-CF3D1B40D0B0}" dt="2021-11-22T13:51:41.410" v="2" actId="571"/>
          <ac:spMkLst>
            <pc:docMk/>
            <pc:sldMk cId="406882959" sldId="5743"/>
            <ac:spMk id="161" creationId="{4B088495-0989-485E-B484-5424D6FDB698}"/>
          </ac:spMkLst>
        </pc:spChg>
        <pc:spChg chg="add mod">
          <ac:chgData name="Kulkarni, Ravi" userId="658fd972-6709-4d00-bd01-b90d5c761744" providerId="ADAL" clId="{F9DBF58A-88AD-41E5-AA86-CF3D1B40D0B0}" dt="2021-11-22T13:51:41.410" v="2" actId="571"/>
          <ac:spMkLst>
            <pc:docMk/>
            <pc:sldMk cId="406882959" sldId="5743"/>
            <ac:spMk id="162" creationId="{252DD192-7358-4E3A-86E9-3E5474D1D829}"/>
          </ac:spMkLst>
        </pc:spChg>
        <pc:spChg chg="add mod">
          <ac:chgData name="Kulkarni, Ravi" userId="658fd972-6709-4d00-bd01-b90d5c761744" providerId="ADAL" clId="{F9DBF58A-88AD-41E5-AA86-CF3D1B40D0B0}" dt="2021-11-22T13:51:41.410" v="2" actId="571"/>
          <ac:spMkLst>
            <pc:docMk/>
            <pc:sldMk cId="406882959" sldId="5743"/>
            <ac:spMk id="163" creationId="{6AE93A43-9065-418F-A30D-FBA0655EDC6A}"/>
          </ac:spMkLst>
        </pc:spChg>
        <pc:spChg chg="mod">
          <ac:chgData name="Kulkarni, Ravi" userId="658fd972-6709-4d00-bd01-b90d5c761744" providerId="ADAL" clId="{F9DBF58A-88AD-41E5-AA86-CF3D1B40D0B0}" dt="2021-11-22T13:51:58.169" v="5"/>
          <ac:spMkLst>
            <pc:docMk/>
            <pc:sldMk cId="406882959" sldId="5743"/>
            <ac:spMk id="165" creationId="{3AA72CFA-C611-4EFB-A05E-110F9AD1B5EA}"/>
          </ac:spMkLst>
        </pc:spChg>
        <pc:spChg chg="mod">
          <ac:chgData name="Kulkarni, Ravi" userId="658fd972-6709-4d00-bd01-b90d5c761744" providerId="ADAL" clId="{F9DBF58A-88AD-41E5-AA86-CF3D1B40D0B0}" dt="2021-11-22T13:51:58.169" v="5"/>
          <ac:spMkLst>
            <pc:docMk/>
            <pc:sldMk cId="406882959" sldId="5743"/>
            <ac:spMk id="166" creationId="{F30FC3AD-3BA3-4D30-BD04-56912D87B4AB}"/>
          </ac:spMkLst>
        </pc:spChg>
        <pc:spChg chg="mod">
          <ac:chgData name="Kulkarni, Ravi" userId="658fd972-6709-4d00-bd01-b90d5c761744" providerId="ADAL" clId="{F9DBF58A-88AD-41E5-AA86-CF3D1B40D0B0}" dt="2021-11-22T13:51:58.169" v="5"/>
          <ac:spMkLst>
            <pc:docMk/>
            <pc:sldMk cId="406882959" sldId="5743"/>
            <ac:spMk id="167" creationId="{FD66A827-40A0-4668-B91F-354117AB12CD}"/>
          </ac:spMkLst>
        </pc:spChg>
        <pc:spChg chg="mod">
          <ac:chgData name="Kulkarni, Ravi" userId="658fd972-6709-4d00-bd01-b90d5c761744" providerId="ADAL" clId="{F9DBF58A-88AD-41E5-AA86-CF3D1B40D0B0}" dt="2021-11-22T13:51:58.169" v="5"/>
          <ac:spMkLst>
            <pc:docMk/>
            <pc:sldMk cId="406882959" sldId="5743"/>
            <ac:spMk id="168" creationId="{62A01610-1390-459F-93ED-4EEF3E727DAC}"/>
          </ac:spMkLst>
        </pc:spChg>
        <pc:spChg chg="mod">
          <ac:chgData name="Kulkarni, Ravi" userId="658fd972-6709-4d00-bd01-b90d5c761744" providerId="ADAL" clId="{F9DBF58A-88AD-41E5-AA86-CF3D1B40D0B0}" dt="2021-11-22T13:51:58.169" v="5"/>
          <ac:spMkLst>
            <pc:docMk/>
            <pc:sldMk cId="406882959" sldId="5743"/>
            <ac:spMk id="169" creationId="{1A19C1E7-A09C-4383-92BA-4271BED1D53C}"/>
          </ac:spMkLst>
        </pc:spChg>
        <pc:spChg chg="mod">
          <ac:chgData name="Kulkarni, Ravi" userId="658fd972-6709-4d00-bd01-b90d5c761744" providerId="ADAL" clId="{F9DBF58A-88AD-41E5-AA86-CF3D1B40D0B0}" dt="2021-11-22T13:51:58.169" v="5"/>
          <ac:spMkLst>
            <pc:docMk/>
            <pc:sldMk cId="406882959" sldId="5743"/>
            <ac:spMk id="170" creationId="{263D43C4-8543-4A65-8B8D-DAC64AF1E66D}"/>
          </ac:spMkLst>
        </pc:spChg>
        <pc:spChg chg="mod">
          <ac:chgData name="Kulkarni, Ravi" userId="658fd972-6709-4d00-bd01-b90d5c761744" providerId="ADAL" clId="{F9DBF58A-88AD-41E5-AA86-CF3D1B40D0B0}" dt="2021-11-22T13:51:58.169" v="5"/>
          <ac:spMkLst>
            <pc:docMk/>
            <pc:sldMk cId="406882959" sldId="5743"/>
            <ac:spMk id="171" creationId="{5729DE0C-5381-4D98-9E50-2714955B9403}"/>
          </ac:spMkLst>
        </pc:spChg>
        <pc:spChg chg="mod">
          <ac:chgData name="Kulkarni, Ravi" userId="658fd972-6709-4d00-bd01-b90d5c761744" providerId="ADAL" clId="{F9DBF58A-88AD-41E5-AA86-CF3D1B40D0B0}" dt="2021-11-22T13:51:58.169" v="5"/>
          <ac:spMkLst>
            <pc:docMk/>
            <pc:sldMk cId="406882959" sldId="5743"/>
            <ac:spMk id="172" creationId="{19519804-C2CB-4013-8659-EAA0A83B3103}"/>
          </ac:spMkLst>
        </pc:spChg>
        <pc:spChg chg="mod">
          <ac:chgData name="Kulkarni, Ravi" userId="658fd972-6709-4d00-bd01-b90d5c761744" providerId="ADAL" clId="{F9DBF58A-88AD-41E5-AA86-CF3D1B40D0B0}" dt="2021-11-22T13:51:58.169" v="5"/>
          <ac:spMkLst>
            <pc:docMk/>
            <pc:sldMk cId="406882959" sldId="5743"/>
            <ac:spMk id="173" creationId="{90FC3B86-FE77-479E-9B41-430DF88D056D}"/>
          </ac:spMkLst>
        </pc:spChg>
        <pc:spChg chg="mod">
          <ac:chgData name="Kulkarni, Ravi" userId="658fd972-6709-4d00-bd01-b90d5c761744" providerId="ADAL" clId="{F9DBF58A-88AD-41E5-AA86-CF3D1B40D0B0}" dt="2021-11-22T13:51:58.169" v="5"/>
          <ac:spMkLst>
            <pc:docMk/>
            <pc:sldMk cId="406882959" sldId="5743"/>
            <ac:spMk id="174" creationId="{B933A310-9B0C-4F61-8457-382823F3F997}"/>
          </ac:spMkLst>
        </pc:spChg>
        <pc:spChg chg="mod">
          <ac:chgData name="Kulkarni, Ravi" userId="658fd972-6709-4d00-bd01-b90d5c761744" providerId="ADAL" clId="{F9DBF58A-88AD-41E5-AA86-CF3D1B40D0B0}" dt="2021-11-22T13:51:58.169" v="5"/>
          <ac:spMkLst>
            <pc:docMk/>
            <pc:sldMk cId="406882959" sldId="5743"/>
            <ac:spMk id="175" creationId="{77E7F5D5-3E6C-4CDB-8F09-897E2E76302C}"/>
          </ac:spMkLst>
        </pc:spChg>
        <pc:spChg chg="mod">
          <ac:chgData name="Kulkarni, Ravi" userId="658fd972-6709-4d00-bd01-b90d5c761744" providerId="ADAL" clId="{F9DBF58A-88AD-41E5-AA86-CF3D1B40D0B0}" dt="2021-11-22T13:51:58.169" v="5"/>
          <ac:spMkLst>
            <pc:docMk/>
            <pc:sldMk cId="406882959" sldId="5743"/>
            <ac:spMk id="177" creationId="{640A8249-DCE6-499F-9894-17FE93DA72E9}"/>
          </ac:spMkLst>
        </pc:spChg>
        <pc:spChg chg="mod">
          <ac:chgData name="Kulkarni, Ravi" userId="658fd972-6709-4d00-bd01-b90d5c761744" providerId="ADAL" clId="{F9DBF58A-88AD-41E5-AA86-CF3D1B40D0B0}" dt="2021-11-22T13:51:58.169" v="5"/>
          <ac:spMkLst>
            <pc:docMk/>
            <pc:sldMk cId="406882959" sldId="5743"/>
            <ac:spMk id="178" creationId="{F71ECE78-C683-4557-A6F0-F13FF359E1C0}"/>
          </ac:spMkLst>
        </pc:spChg>
        <pc:spChg chg="mod">
          <ac:chgData name="Kulkarni, Ravi" userId="658fd972-6709-4d00-bd01-b90d5c761744" providerId="ADAL" clId="{F9DBF58A-88AD-41E5-AA86-CF3D1B40D0B0}" dt="2021-11-22T13:51:58.169" v="5"/>
          <ac:spMkLst>
            <pc:docMk/>
            <pc:sldMk cId="406882959" sldId="5743"/>
            <ac:spMk id="181" creationId="{B08A43CC-FACD-488F-931C-074FDC6E7676}"/>
          </ac:spMkLst>
        </pc:spChg>
        <pc:spChg chg="mod">
          <ac:chgData name="Kulkarni, Ravi" userId="658fd972-6709-4d00-bd01-b90d5c761744" providerId="ADAL" clId="{F9DBF58A-88AD-41E5-AA86-CF3D1B40D0B0}" dt="2021-11-22T13:51:58.169" v="5"/>
          <ac:spMkLst>
            <pc:docMk/>
            <pc:sldMk cId="406882959" sldId="5743"/>
            <ac:spMk id="182" creationId="{A35D85DE-4EF5-46CB-BCB9-C8A81BC73E6B}"/>
          </ac:spMkLst>
        </pc:spChg>
        <pc:spChg chg="mod">
          <ac:chgData name="Kulkarni, Ravi" userId="658fd972-6709-4d00-bd01-b90d5c761744" providerId="ADAL" clId="{F9DBF58A-88AD-41E5-AA86-CF3D1B40D0B0}" dt="2021-11-22T13:51:58.169" v="5"/>
          <ac:spMkLst>
            <pc:docMk/>
            <pc:sldMk cId="406882959" sldId="5743"/>
            <ac:spMk id="183" creationId="{76CC24DE-FE20-402B-A571-7809F19816C5}"/>
          </ac:spMkLst>
        </pc:spChg>
        <pc:spChg chg="mod">
          <ac:chgData name="Kulkarni, Ravi" userId="658fd972-6709-4d00-bd01-b90d5c761744" providerId="ADAL" clId="{F9DBF58A-88AD-41E5-AA86-CF3D1B40D0B0}" dt="2021-11-22T13:51:58.169" v="5"/>
          <ac:spMkLst>
            <pc:docMk/>
            <pc:sldMk cId="406882959" sldId="5743"/>
            <ac:spMk id="184" creationId="{938DD29B-2DDB-4648-9D13-4E387355A62C}"/>
          </ac:spMkLst>
        </pc:spChg>
        <pc:spChg chg="mod">
          <ac:chgData name="Kulkarni, Ravi" userId="658fd972-6709-4d00-bd01-b90d5c761744" providerId="ADAL" clId="{F9DBF58A-88AD-41E5-AA86-CF3D1B40D0B0}" dt="2021-11-22T13:51:58.169" v="5"/>
          <ac:spMkLst>
            <pc:docMk/>
            <pc:sldMk cId="406882959" sldId="5743"/>
            <ac:spMk id="185" creationId="{C7ED1FCC-72CE-4BCC-A434-A9C3016E74AA}"/>
          </ac:spMkLst>
        </pc:spChg>
        <pc:spChg chg="mod">
          <ac:chgData name="Kulkarni, Ravi" userId="658fd972-6709-4d00-bd01-b90d5c761744" providerId="ADAL" clId="{F9DBF58A-88AD-41E5-AA86-CF3D1B40D0B0}" dt="2021-11-22T13:51:58.169" v="5"/>
          <ac:spMkLst>
            <pc:docMk/>
            <pc:sldMk cId="406882959" sldId="5743"/>
            <ac:spMk id="186" creationId="{2D3A1AD7-2246-45A6-846B-ADCCC4588C49}"/>
          </ac:spMkLst>
        </pc:spChg>
        <pc:spChg chg="mod">
          <ac:chgData name="Kulkarni, Ravi" userId="658fd972-6709-4d00-bd01-b90d5c761744" providerId="ADAL" clId="{F9DBF58A-88AD-41E5-AA86-CF3D1B40D0B0}" dt="2021-11-22T13:51:58.169" v="5"/>
          <ac:spMkLst>
            <pc:docMk/>
            <pc:sldMk cId="406882959" sldId="5743"/>
            <ac:spMk id="187" creationId="{2E70D21E-C2E6-44F1-89CD-FDA226C0DD00}"/>
          </ac:spMkLst>
        </pc:spChg>
        <pc:spChg chg="mod">
          <ac:chgData name="Kulkarni, Ravi" userId="658fd972-6709-4d00-bd01-b90d5c761744" providerId="ADAL" clId="{F9DBF58A-88AD-41E5-AA86-CF3D1B40D0B0}" dt="2021-11-22T13:51:58.169" v="5"/>
          <ac:spMkLst>
            <pc:docMk/>
            <pc:sldMk cId="406882959" sldId="5743"/>
            <ac:spMk id="188" creationId="{B25EB33D-5F25-4B35-AC33-9F340C9F7D06}"/>
          </ac:spMkLst>
        </pc:spChg>
        <pc:spChg chg="mod">
          <ac:chgData name="Kulkarni, Ravi" userId="658fd972-6709-4d00-bd01-b90d5c761744" providerId="ADAL" clId="{F9DBF58A-88AD-41E5-AA86-CF3D1B40D0B0}" dt="2021-11-22T13:51:58.169" v="5"/>
          <ac:spMkLst>
            <pc:docMk/>
            <pc:sldMk cId="406882959" sldId="5743"/>
            <ac:spMk id="189" creationId="{92DF6FEB-CB4E-4444-98C0-2F961B7285A2}"/>
          </ac:spMkLst>
        </pc:spChg>
        <pc:spChg chg="mod">
          <ac:chgData name="Kulkarni, Ravi" userId="658fd972-6709-4d00-bd01-b90d5c761744" providerId="ADAL" clId="{F9DBF58A-88AD-41E5-AA86-CF3D1B40D0B0}" dt="2021-11-22T13:51:58.169" v="5"/>
          <ac:spMkLst>
            <pc:docMk/>
            <pc:sldMk cId="406882959" sldId="5743"/>
            <ac:spMk id="195" creationId="{D32819E4-5A7C-4879-B6E6-9B6AE22E6469}"/>
          </ac:spMkLst>
        </pc:spChg>
        <pc:spChg chg="mod">
          <ac:chgData name="Kulkarni, Ravi" userId="658fd972-6709-4d00-bd01-b90d5c761744" providerId="ADAL" clId="{F9DBF58A-88AD-41E5-AA86-CF3D1B40D0B0}" dt="2021-11-22T13:51:58.169" v="5"/>
          <ac:spMkLst>
            <pc:docMk/>
            <pc:sldMk cId="406882959" sldId="5743"/>
            <ac:spMk id="196" creationId="{46986050-A251-4F95-AD0F-2CED779C03A9}"/>
          </ac:spMkLst>
        </pc:spChg>
        <pc:spChg chg="mod">
          <ac:chgData name="Kulkarni, Ravi" userId="658fd972-6709-4d00-bd01-b90d5c761744" providerId="ADAL" clId="{F9DBF58A-88AD-41E5-AA86-CF3D1B40D0B0}" dt="2021-11-22T13:51:58.169" v="5"/>
          <ac:spMkLst>
            <pc:docMk/>
            <pc:sldMk cId="406882959" sldId="5743"/>
            <ac:spMk id="197" creationId="{8F35211E-E473-43B8-9FEA-E2A7DF88B58E}"/>
          </ac:spMkLst>
        </pc:spChg>
        <pc:spChg chg="mod">
          <ac:chgData name="Kulkarni, Ravi" userId="658fd972-6709-4d00-bd01-b90d5c761744" providerId="ADAL" clId="{F9DBF58A-88AD-41E5-AA86-CF3D1B40D0B0}" dt="2021-11-22T13:51:58.169" v="5"/>
          <ac:spMkLst>
            <pc:docMk/>
            <pc:sldMk cId="406882959" sldId="5743"/>
            <ac:spMk id="198" creationId="{D50A7987-4C48-49AD-B702-C1B12C31D48F}"/>
          </ac:spMkLst>
        </pc:spChg>
        <pc:spChg chg="mod">
          <ac:chgData name="Kulkarni, Ravi" userId="658fd972-6709-4d00-bd01-b90d5c761744" providerId="ADAL" clId="{F9DBF58A-88AD-41E5-AA86-CF3D1B40D0B0}" dt="2021-11-22T13:51:58.169" v="5"/>
          <ac:spMkLst>
            <pc:docMk/>
            <pc:sldMk cId="406882959" sldId="5743"/>
            <ac:spMk id="199" creationId="{618188AB-DEB7-41DB-8454-3233D93D7773}"/>
          </ac:spMkLst>
        </pc:spChg>
        <pc:spChg chg="mod">
          <ac:chgData name="Kulkarni, Ravi" userId="658fd972-6709-4d00-bd01-b90d5c761744" providerId="ADAL" clId="{F9DBF58A-88AD-41E5-AA86-CF3D1B40D0B0}" dt="2021-11-22T13:51:58.169" v="5"/>
          <ac:spMkLst>
            <pc:docMk/>
            <pc:sldMk cId="406882959" sldId="5743"/>
            <ac:spMk id="208" creationId="{7B3BC328-7E30-4BBA-BCAE-86B5FCF73F80}"/>
          </ac:spMkLst>
        </pc:spChg>
        <pc:spChg chg="mod">
          <ac:chgData name="Kulkarni, Ravi" userId="658fd972-6709-4d00-bd01-b90d5c761744" providerId="ADAL" clId="{F9DBF58A-88AD-41E5-AA86-CF3D1B40D0B0}" dt="2021-11-22T13:51:58.169" v="5"/>
          <ac:spMkLst>
            <pc:docMk/>
            <pc:sldMk cId="406882959" sldId="5743"/>
            <ac:spMk id="210" creationId="{7D3D6648-C7EC-4B5D-80E0-3644D830DDBA}"/>
          </ac:spMkLst>
        </pc:spChg>
        <pc:spChg chg="mod">
          <ac:chgData name="Kulkarni, Ravi" userId="658fd972-6709-4d00-bd01-b90d5c761744" providerId="ADAL" clId="{F9DBF58A-88AD-41E5-AA86-CF3D1B40D0B0}" dt="2021-11-22T13:51:58.169" v="5"/>
          <ac:spMkLst>
            <pc:docMk/>
            <pc:sldMk cId="406882959" sldId="5743"/>
            <ac:spMk id="211" creationId="{C7B9CB22-8B47-4BAB-82E4-00E1FAC86640}"/>
          </ac:spMkLst>
        </pc:spChg>
        <pc:spChg chg="mod">
          <ac:chgData name="Kulkarni, Ravi" userId="658fd972-6709-4d00-bd01-b90d5c761744" providerId="ADAL" clId="{F9DBF58A-88AD-41E5-AA86-CF3D1B40D0B0}" dt="2021-11-22T13:51:58.169" v="5"/>
          <ac:spMkLst>
            <pc:docMk/>
            <pc:sldMk cId="406882959" sldId="5743"/>
            <ac:spMk id="212" creationId="{E9104E06-8BDD-410B-94E3-4F467B8F531E}"/>
          </ac:spMkLst>
        </pc:spChg>
        <pc:spChg chg="mod">
          <ac:chgData name="Kulkarni, Ravi" userId="658fd972-6709-4d00-bd01-b90d5c761744" providerId="ADAL" clId="{F9DBF58A-88AD-41E5-AA86-CF3D1B40D0B0}" dt="2021-11-22T13:51:58.169" v="5"/>
          <ac:spMkLst>
            <pc:docMk/>
            <pc:sldMk cId="406882959" sldId="5743"/>
            <ac:spMk id="213" creationId="{355C19B4-C8B7-4EF4-AC93-0B0A1CC44EBC}"/>
          </ac:spMkLst>
        </pc:spChg>
        <pc:spChg chg="mod">
          <ac:chgData name="Kulkarni, Ravi" userId="658fd972-6709-4d00-bd01-b90d5c761744" providerId="ADAL" clId="{F9DBF58A-88AD-41E5-AA86-CF3D1B40D0B0}" dt="2021-11-22T13:51:58.169" v="5"/>
          <ac:spMkLst>
            <pc:docMk/>
            <pc:sldMk cId="406882959" sldId="5743"/>
            <ac:spMk id="214" creationId="{7C7396AB-4231-4648-99D4-75C6CC9B1F7A}"/>
          </ac:spMkLst>
        </pc:spChg>
        <pc:spChg chg="mod">
          <ac:chgData name="Kulkarni, Ravi" userId="658fd972-6709-4d00-bd01-b90d5c761744" providerId="ADAL" clId="{F9DBF58A-88AD-41E5-AA86-CF3D1B40D0B0}" dt="2021-11-22T13:51:58.169" v="5"/>
          <ac:spMkLst>
            <pc:docMk/>
            <pc:sldMk cId="406882959" sldId="5743"/>
            <ac:spMk id="215" creationId="{C8477481-44BB-4132-9727-772F4E1867AA}"/>
          </ac:spMkLst>
        </pc:spChg>
        <pc:spChg chg="mod">
          <ac:chgData name="Kulkarni, Ravi" userId="658fd972-6709-4d00-bd01-b90d5c761744" providerId="ADAL" clId="{F9DBF58A-88AD-41E5-AA86-CF3D1B40D0B0}" dt="2021-11-22T13:51:58.169" v="5"/>
          <ac:spMkLst>
            <pc:docMk/>
            <pc:sldMk cId="406882959" sldId="5743"/>
            <ac:spMk id="217" creationId="{F577AFD7-0731-4BA4-950A-A0D5152E633A}"/>
          </ac:spMkLst>
        </pc:spChg>
        <pc:spChg chg="del">
          <ac:chgData name="Kulkarni, Ravi" userId="658fd972-6709-4d00-bd01-b90d5c761744" providerId="ADAL" clId="{F9DBF58A-88AD-41E5-AA86-CF3D1B40D0B0}" dt="2021-11-22T13:51:48.609" v="4" actId="478"/>
          <ac:spMkLst>
            <pc:docMk/>
            <pc:sldMk cId="406882959" sldId="5743"/>
            <ac:spMk id="219" creationId="{00000000-0000-0000-0000-000000000000}"/>
          </ac:spMkLst>
        </pc:spChg>
        <pc:spChg chg="mod">
          <ac:chgData name="Kulkarni, Ravi" userId="658fd972-6709-4d00-bd01-b90d5c761744" providerId="ADAL" clId="{F9DBF58A-88AD-41E5-AA86-CF3D1B40D0B0}" dt="2021-11-22T13:51:58.169" v="5"/>
          <ac:spMkLst>
            <pc:docMk/>
            <pc:sldMk cId="406882959" sldId="5743"/>
            <ac:spMk id="220" creationId="{666E9FE2-6C8D-4622-9831-ABC7F5FE67F8}"/>
          </ac:spMkLst>
        </pc:spChg>
        <pc:spChg chg="mod">
          <ac:chgData name="Kulkarni, Ravi" userId="658fd972-6709-4d00-bd01-b90d5c761744" providerId="ADAL" clId="{F9DBF58A-88AD-41E5-AA86-CF3D1B40D0B0}" dt="2021-11-22T13:51:58.169" v="5"/>
          <ac:spMkLst>
            <pc:docMk/>
            <pc:sldMk cId="406882959" sldId="5743"/>
            <ac:spMk id="221" creationId="{D56E0023-1667-43E3-A3E6-98059DD1B278}"/>
          </ac:spMkLst>
        </pc:spChg>
        <pc:spChg chg="mod">
          <ac:chgData name="Kulkarni, Ravi" userId="658fd972-6709-4d00-bd01-b90d5c761744" providerId="ADAL" clId="{F9DBF58A-88AD-41E5-AA86-CF3D1B40D0B0}" dt="2021-11-22T13:51:58.169" v="5"/>
          <ac:spMkLst>
            <pc:docMk/>
            <pc:sldMk cId="406882959" sldId="5743"/>
            <ac:spMk id="222" creationId="{3E78201B-24B3-4B3A-A63A-63B0E236A2BD}"/>
          </ac:spMkLst>
        </pc:spChg>
        <pc:spChg chg="mod">
          <ac:chgData name="Kulkarni, Ravi" userId="658fd972-6709-4d00-bd01-b90d5c761744" providerId="ADAL" clId="{F9DBF58A-88AD-41E5-AA86-CF3D1B40D0B0}" dt="2021-11-22T13:51:58.169" v="5"/>
          <ac:spMkLst>
            <pc:docMk/>
            <pc:sldMk cId="406882959" sldId="5743"/>
            <ac:spMk id="223" creationId="{55680F62-F46B-468E-93C0-920097990ECE}"/>
          </ac:spMkLst>
        </pc:spChg>
        <pc:spChg chg="mod">
          <ac:chgData name="Kulkarni, Ravi" userId="658fd972-6709-4d00-bd01-b90d5c761744" providerId="ADAL" clId="{F9DBF58A-88AD-41E5-AA86-CF3D1B40D0B0}" dt="2021-11-22T13:51:58.169" v="5"/>
          <ac:spMkLst>
            <pc:docMk/>
            <pc:sldMk cId="406882959" sldId="5743"/>
            <ac:spMk id="228" creationId="{50E288E9-25DF-4343-A5F9-8C0A1178A3B1}"/>
          </ac:spMkLst>
        </pc:spChg>
        <pc:spChg chg="mod">
          <ac:chgData name="Kulkarni, Ravi" userId="658fd972-6709-4d00-bd01-b90d5c761744" providerId="ADAL" clId="{F9DBF58A-88AD-41E5-AA86-CF3D1B40D0B0}" dt="2021-11-22T13:51:58.169" v="5"/>
          <ac:spMkLst>
            <pc:docMk/>
            <pc:sldMk cId="406882959" sldId="5743"/>
            <ac:spMk id="230" creationId="{CAA202B4-AF34-4290-A324-B6A9410F3A4E}"/>
          </ac:spMkLst>
        </pc:spChg>
        <pc:spChg chg="mod">
          <ac:chgData name="Kulkarni, Ravi" userId="658fd972-6709-4d00-bd01-b90d5c761744" providerId="ADAL" clId="{F9DBF58A-88AD-41E5-AA86-CF3D1B40D0B0}" dt="2021-11-22T13:51:58.169" v="5"/>
          <ac:spMkLst>
            <pc:docMk/>
            <pc:sldMk cId="406882959" sldId="5743"/>
            <ac:spMk id="231" creationId="{1C5EEE72-3B58-46FB-AC8E-2DE90D16738A}"/>
          </ac:spMkLst>
        </pc:spChg>
        <pc:spChg chg="mod">
          <ac:chgData name="Kulkarni, Ravi" userId="658fd972-6709-4d00-bd01-b90d5c761744" providerId="ADAL" clId="{F9DBF58A-88AD-41E5-AA86-CF3D1B40D0B0}" dt="2021-11-22T13:51:58.169" v="5"/>
          <ac:spMkLst>
            <pc:docMk/>
            <pc:sldMk cId="406882959" sldId="5743"/>
            <ac:spMk id="232" creationId="{431AE863-70BC-4666-81CB-A80215AC1B09}"/>
          </ac:spMkLst>
        </pc:spChg>
        <pc:spChg chg="mod">
          <ac:chgData name="Kulkarni, Ravi" userId="658fd972-6709-4d00-bd01-b90d5c761744" providerId="ADAL" clId="{F9DBF58A-88AD-41E5-AA86-CF3D1B40D0B0}" dt="2021-11-22T13:51:58.169" v="5"/>
          <ac:spMkLst>
            <pc:docMk/>
            <pc:sldMk cId="406882959" sldId="5743"/>
            <ac:spMk id="233" creationId="{C809A9A5-B5D2-4D23-90DE-94F627DCEB8B}"/>
          </ac:spMkLst>
        </pc:spChg>
        <pc:spChg chg="mod">
          <ac:chgData name="Kulkarni, Ravi" userId="658fd972-6709-4d00-bd01-b90d5c761744" providerId="ADAL" clId="{F9DBF58A-88AD-41E5-AA86-CF3D1B40D0B0}" dt="2021-11-22T13:51:58.169" v="5"/>
          <ac:spMkLst>
            <pc:docMk/>
            <pc:sldMk cId="406882959" sldId="5743"/>
            <ac:spMk id="234" creationId="{EBACC692-A918-4F6E-B167-A52F406BCB33}"/>
          </ac:spMkLst>
        </pc:spChg>
        <pc:spChg chg="mod">
          <ac:chgData name="Kulkarni, Ravi" userId="658fd972-6709-4d00-bd01-b90d5c761744" providerId="ADAL" clId="{F9DBF58A-88AD-41E5-AA86-CF3D1B40D0B0}" dt="2021-11-22T13:51:58.169" v="5"/>
          <ac:spMkLst>
            <pc:docMk/>
            <pc:sldMk cId="406882959" sldId="5743"/>
            <ac:spMk id="235" creationId="{DF7C96A6-6C9D-4912-830C-3856723F6B00}"/>
          </ac:spMkLst>
        </pc:spChg>
        <pc:spChg chg="mod">
          <ac:chgData name="Kulkarni, Ravi" userId="658fd972-6709-4d00-bd01-b90d5c761744" providerId="ADAL" clId="{F9DBF58A-88AD-41E5-AA86-CF3D1B40D0B0}" dt="2021-11-22T13:51:58.169" v="5"/>
          <ac:spMkLst>
            <pc:docMk/>
            <pc:sldMk cId="406882959" sldId="5743"/>
            <ac:spMk id="236" creationId="{CB3EF90B-7FD7-4881-BB0F-793786AE9BCD}"/>
          </ac:spMkLst>
        </pc:spChg>
        <pc:spChg chg="mod">
          <ac:chgData name="Kulkarni, Ravi" userId="658fd972-6709-4d00-bd01-b90d5c761744" providerId="ADAL" clId="{F9DBF58A-88AD-41E5-AA86-CF3D1B40D0B0}" dt="2021-11-22T13:51:58.169" v="5"/>
          <ac:spMkLst>
            <pc:docMk/>
            <pc:sldMk cId="406882959" sldId="5743"/>
            <ac:spMk id="237" creationId="{70EC516B-6E77-47BF-A649-F282FF80E3F3}"/>
          </ac:spMkLst>
        </pc:spChg>
        <pc:spChg chg="mod">
          <ac:chgData name="Kulkarni, Ravi" userId="658fd972-6709-4d00-bd01-b90d5c761744" providerId="ADAL" clId="{F9DBF58A-88AD-41E5-AA86-CF3D1B40D0B0}" dt="2021-11-22T13:51:58.169" v="5"/>
          <ac:spMkLst>
            <pc:docMk/>
            <pc:sldMk cId="406882959" sldId="5743"/>
            <ac:spMk id="238" creationId="{72B6A8A4-A9A5-489B-92E2-67BF8FF10685}"/>
          </ac:spMkLst>
        </pc:spChg>
        <pc:spChg chg="mod">
          <ac:chgData name="Kulkarni, Ravi" userId="658fd972-6709-4d00-bd01-b90d5c761744" providerId="ADAL" clId="{F9DBF58A-88AD-41E5-AA86-CF3D1B40D0B0}" dt="2021-11-22T13:51:58.169" v="5"/>
          <ac:spMkLst>
            <pc:docMk/>
            <pc:sldMk cId="406882959" sldId="5743"/>
            <ac:spMk id="239" creationId="{8CA03798-CABB-4546-A261-8E31CCE9A05A}"/>
          </ac:spMkLst>
        </pc:spChg>
        <pc:spChg chg="mod">
          <ac:chgData name="Kulkarni, Ravi" userId="658fd972-6709-4d00-bd01-b90d5c761744" providerId="ADAL" clId="{F9DBF58A-88AD-41E5-AA86-CF3D1B40D0B0}" dt="2021-11-22T13:51:58.169" v="5"/>
          <ac:spMkLst>
            <pc:docMk/>
            <pc:sldMk cId="406882959" sldId="5743"/>
            <ac:spMk id="244" creationId="{49078432-9C02-441E-B7F0-C7738911EF15}"/>
          </ac:spMkLst>
        </pc:spChg>
        <pc:spChg chg="mod">
          <ac:chgData name="Kulkarni, Ravi" userId="658fd972-6709-4d00-bd01-b90d5c761744" providerId="ADAL" clId="{F9DBF58A-88AD-41E5-AA86-CF3D1B40D0B0}" dt="2021-11-22T13:51:58.169" v="5"/>
          <ac:spMkLst>
            <pc:docMk/>
            <pc:sldMk cId="406882959" sldId="5743"/>
            <ac:spMk id="245" creationId="{4C812C2B-3BA2-4563-AE5A-07A6DD8E358E}"/>
          </ac:spMkLst>
        </pc:spChg>
        <pc:spChg chg="mod">
          <ac:chgData name="Kulkarni, Ravi" userId="658fd972-6709-4d00-bd01-b90d5c761744" providerId="ADAL" clId="{F9DBF58A-88AD-41E5-AA86-CF3D1B40D0B0}" dt="2021-11-22T13:51:58.169" v="5"/>
          <ac:spMkLst>
            <pc:docMk/>
            <pc:sldMk cId="406882959" sldId="5743"/>
            <ac:spMk id="246" creationId="{188C7DAA-25B1-44C5-8D73-7910A8816952}"/>
          </ac:spMkLst>
        </pc:spChg>
        <pc:spChg chg="mod">
          <ac:chgData name="Kulkarni, Ravi" userId="658fd972-6709-4d00-bd01-b90d5c761744" providerId="ADAL" clId="{F9DBF58A-88AD-41E5-AA86-CF3D1B40D0B0}" dt="2021-11-22T13:51:58.169" v="5"/>
          <ac:spMkLst>
            <pc:docMk/>
            <pc:sldMk cId="406882959" sldId="5743"/>
            <ac:spMk id="247" creationId="{30D0687D-6443-4B35-A407-59CE10244A67}"/>
          </ac:spMkLst>
        </pc:spChg>
        <pc:grpChg chg="del">
          <ac:chgData name="Kulkarni, Ravi" userId="658fd972-6709-4d00-bd01-b90d5c761744" providerId="ADAL" clId="{F9DBF58A-88AD-41E5-AA86-CF3D1B40D0B0}" dt="2021-11-22T13:51:48.609" v="4" actId="478"/>
          <ac:grpSpMkLst>
            <pc:docMk/>
            <pc:sldMk cId="406882959" sldId="5743"/>
            <ac:grpSpMk id="2" creationId="{00000000-0000-0000-0000-000000000000}"/>
          </ac:grpSpMkLst>
        </pc:grpChg>
        <pc:grpChg chg="add mod">
          <ac:chgData name="Kulkarni, Ravi" userId="658fd972-6709-4d00-bd01-b90d5c761744" providerId="ADAL" clId="{F9DBF58A-88AD-41E5-AA86-CF3D1B40D0B0}" dt="2021-11-22T13:51:41.410" v="2" actId="571"/>
          <ac:grpSpMkLst>
            <pc:docMk/>
            <pc:sldMk cId="406882959" sldId="5743"/>
            <ac:grpSpMk id="131" creationId="{867F480B-DBEA-45AF-9747-8B08DB2D3AEA}"/>
          </ac:grpSpMkLst>
        </pc:grpChg>
        <pc:grpChg chg="add mod">
          <ac:chgData name="Kulkarni, Ravi" userId="658fd972-6709-4d00-bd01-b90d5c761744" providerId="ADAL" clId="{F9DBF58A-88AD-41E5-AA86-CF3D1B40D0B0}" dt="2021-11-22T13:51:58.169" v="5"/>
          <ac:grpSpMkLst>
            <pc:docMk/>
            <pc:sldMk cId="406882959" sldId="5743"/>
            <ac:grpSpMk id="164" creationId="{DFE0239B-7D62-4430-A052-139FC163CB28}"/>
          </ac:grpSpMkLst>
        </pc:grpChg>
        <pc:grpChg chg="mod">
          <ac:chgData name="Kulkarni, Ravi" userId="658fd972-6709-4d00-bd01-b90d5c761744" providerId="ADAL" clId="{F9DBF58A-88AD-41E5-AA86-CF3D1B40D0B0}" dt="2021-11-22T13:51:58.169" v="5"/>
          <ac:grpSpMkLst>
            <pc:docMk/>
            <pc:sldMk cId="406882959" sldId="5743"/>
            <ac:grpSpMk id="176" creationId="{2DA2342E-BBBD-45DC-88E2-FA3726659191}"/>
          </ac:grpSpMkLst>
        </pc:grpChg>
        <pc:grpChg chg="mod">
          <ac:chgData name="Kulkarni, Ravi" userId="658fd972-6709-4d00-bd01-b90d5c761744" providerId="ADAL" clId="{F9DBF58A-88AD-41E5-AA86-CF3D1B40D0B0}" dt="2021-11-22T13:51:58.169" v="5"/>
          <ac:grpSpMkLst>
            <pc:docMk/>
            <pc:sldMk cId="406882959" sldId="5743"/>
            <ac:grpSpMk id="192" creationId="{5DA41BA1-B3E3-46C9-B02E-9F4395749BED}"/>
          </ac:grpSpMkLst>
        </pc:grpChg>
        <pc:grpChg chg="mod">
          <ac:chgData name="Kulkarni, Ravi" userId="658fd972-6709-4d00-bd01-b90d5c761744" providerId="ADAL" clId="{F9DBF58A-88AD-41E5-AA86-CF3D1B40D0B0}" dt="2021-11-22T13:51:58.169" v="5"/>
          <ac:grpSpMkLst>
            <pc:docMk/>
            <pc:sldMk cId="406882959" sldId="5743"/>
            <ac:grpSpMk id="201" creationId="{893BE65B-D8B9-49E7-9C82-59ADF00A7FC8}"/>
          </ac:grpSpMkLst>
        </pc:grpChg>
        <pc:grpChg chg="mod">
          <ac:chgData name="Kulkarni, Ravi" userId="658fd972-6709-4d00-bd01-b90d5c761744" providerId="ADAL" clId="{F9DBF58A-88AD-41E5-AA86-CF3D1B40D0B0}" dt="2021-11-22T13:51:58.169" v="5"/>
          <ac:grpSpMkLst>
            <pc:docMk/>
            <pc:sldMk cId="406882959" sldId="5743"/>
            <ac:grpSpMk id="202" creationId="{F9E62F87-6339-4F2F-A66A-3F99B9A1CA98}"/>
          </ac:grpSpMkLst>
        </pc:grpChg>
        <pc:grpChg chg="mod">
          <ac:chgData name="Kulkarni, Ravi" userId="658fd972-6709-4d00-bd01-b90d5c761744" providerId="ADAL" clId="{F9DBF58A-88AD-41E5-AA86-CF3D1B40D0B0}" dt="2021-11-22T13:51:58.169" v="5"/>
          <ac:grpSpMkLst>
            <pc:docMk/>
            <pc:sldMk cId="406882959" sldId="5743"/>
            <ac:grpSpMk id="203" creationId="{0E7A68F4-1F80-4049-8294-C2965BB99E78}"/>
          </ac:grpSpMkLst>
        </pc:grpChg>
        <pc:grpChg chg="mod">
          <ac:chgData name="Kulkarni, Ravi" userId="658fd972-6709-4d00-bd01-b90d5c761744" providerId="ADAL" clId="{F9DBF58A-88AD-41E5-AA86-CF3D1B40D0B0}" dt="2021-11-22T13:51:58.169" v="5"/>
          <ac:grpSpMkLst>
            <pc:docMk/>
            <pc:sldMk cId="406882959" sldId="5743"/>
            <ac:grpSpMk id="209" creationId="{E016AE5C-8FD0-4ED9-A110-E2E90E21F12A}"/>
          </ac:grpSpMkLst>
        </pc:grpChg>
        <pc:grpChg chg="mod">
          <ac:chgData name="Kulkarni, Ravi" userId="658fd972-6709-4d00-bd01-b90d5c761744" providerId="ADAL" clId="{F9DBF58A-88AD-41E5-AA86-CF3D1B40D0B0}" dt="2021-11-22T13:51:58.169" v="5"/>
          <ac:grpSpMkLst>
            <pc:docMk/>
            <pc:sldMk cId="406882959" sldId="5743"/>
            <ac:grpSpMk id="229" creationId="{EFD44B12-8E34-42C7-8D46-A4C8B82DFF97}"/>
          </ac:grpSpMkLst>
        </pc:grpChg>
        <pc:picChg chg="add mod">
          <ac:chgData name="Kulkarni, Ravi" userId="658fd972-6709-4d00-bd01-b90d5c761744" providerId="ADAL" clId="{F9DBF58A-88AD-41E5-AA86-CF3D1B40D0B0}" dt="2021-11-22T13:51:41.410" v="2" actId="571"/>
          <ac:picMkLst>
            <pc:docMk/>
            <pc:sldMk cId="406882959" sldId="5743"/>
            <ac:picMk id="142" creationId="{6FEAB4E2-E592-446D-8125-802B71BDFF36}"/>
          </ac:picMkLst>
        </pc:picChg>
        <pc:picChg chg="add mod">
          <ac:chgData name="Kulkarni, Ravi" userId="658fd972-6709-4d00-bd01-b90d5c761744" providerId="ADAL" clId="{F9DBF58A-88AD-41E5-AA86-CF3D1B40D0B0}" dt="2021-11-22T13:51:41.410" v="2" actId="571"/>
          <ac:picMkLst>
            <pc:docMk/>
            <pc:sldMk cId="406882959" sldId="5743"/>
            <ac:picMk id="143" creationId="{C140EFC6-F832-4271-B690-F9888E8574A0}"/>
          </ac:picMkLst>
        </pc:picChg>
        <pc:picChg chg="mod">
          <ac:chgData name="Kulkarni, Ravi" userId="658fd972-6709-4d00-bd01-b90d5c761744" providerId="ADAL" clId="{F9DBF58A-88AD-41E5-AA86-CF3D1B40D0B0}" dt="2021-11-22T13:51:58.169" v="5"/>
          <ac:picMkLst>
            <pc:docMk/>
            <pc:sldMk cId="406882959" sldId="5743"/>
            <ac:picMk id="193" creationId="{4C60C844-E999-44B8-A48C-7761FDBA4B4D}"/>
          </ac:picMkLst>
        </pc:picChg>
        <pc:picChg chg="mod">
          <ac:chgData name="Kulkarni, Ravi" userId="658fd972-6709-4d00-bd01-b90d5c761744" providerId="ADAL" clId="{F9DBF58A-88AD-41E5-AA86-CF3D1B40D0B0}" dt="2021-11-22T13:51:58.169" v="5"/>
          <ac:picMkLst>
            <pc:docMk/>
            <pc:sldMk cId="406882959" sldId="5743"/>
            <ac:picMk id="194" creationId="{AB647BF8-DCB5-4A0C-86E0-F51FACB61E17}"/>
          </ac:picMkLst>
        </pc:picChg>
        <pc:picChg chg="del">
          <ac:chgData name="Kulkarni, Ravi" userId="658fd972-6709-4d00-bd01-b90d5c761744" providerId="ADAL" clId="{F9DBF58A-88AD-41E5-AA86-CF3D1B40D0B0}" dt="2021-11-22T13:51:48.609" v="4" actId="478"/>
          <ac:picMkLst>
            <pc:docMk/>
            <pc:sldMk cId="406882959" sldId="5743"/>
            <ac:picMk id="216" creationId="{00000000-0000-0000-0000-000000000000}"/>
          </ac:picMkLst>
        </pc:picChg>
        <pc:picChg chg="del">
          <ac:chgData name="Kulkarni, Ravi" userId="658fd972-6709-4d00-bd01-b90d5c761744" providerId="ADAL" clId="{F9DBF58A-88AD-41E5-AA86-CF3D1B40D0B0}" dt="2021-11-22T13:51:48.609" v="4" actId="478"/>
          <ac:picMkLst>
            <pc:docMk/>
            <pc:sldMk cId="406882959" sldId="5743"/>
            <ac:picMk id="218" creationId="{00000000-0000-0000-0000-000000000000}"/>
          </ac:picMkLst>
        </pc:picChg>
        <pc:cxnChg chg="del">
          <ac:chgData name="Kulkarni, Ravi" userId="658fd972-6709-4d00-bd01-b90d5c761744" providerId="ADAL" clId="{F9DBF58A-88AD-41E5-AA86-CF3D1B40D0B0}" dt="2021-11-22T13:51:48.609" v="4" actId="478"/>
          <ac:cxnSpMkLst>
            <pc:docMk/>
            <pc:sldMk cId="406882959" sldId="5743"/>
            <ac:cxnSpMk id="58" creationId="{00000000-0000-0000-0000-000000000000}"/>
          </ac:cxnSpMkLst>
        </pc:cxnChg>
        <pc:cxnChg chg="del">
          <ac:chgData name="Kulkarni, Ravi" userId="658fd972-6709-4d00-bd01-b90d5c761744" providerId="ADAL" clId="{F9DBF58A-88AD-41E5-AA86-CF3D1B40D0B0}" dt="2021-11-22T13:51:48.609" v="4" actId="478"/>
          <ac:cxnSpMkLst>
            <pc:docMk/>
            <pc:sldMk cId="406882959" sldId="5743"/>
            <ac:cxnSpMk id="60" creationId="{00000000-0000-0000-0000-000000000000}"/>
          </ac:cxnSpMkLst>
        </pc:cxnChg>
        <pc:cxnChg chg="del">
          <ac:chgData name="Kulkarni, Ravi" userId="658fd972-6709-4d00-bd01-b90d5c761744" providerId="ADAL" clId="{F9DBF58A-88AD-41E5-AA86-CF3D1B40D0B0}" dt="2021-11-22T13:51:48.609" v="4" actId="478"/>
          <ac:cxnSpMkLst>
            <pc:docMk/>
            <pc:sldMk cId="406882959" sldId="5743"/>
            <ac:cxnSpMk id="76" creationId="{5102B38F-D094-4F73-A44B-06138A1F7114}"/>
          </ac:cxnSpMkLst>
        </pc:cxnChg>
        <pc:cxnChg chg="del">
          <ac:chgData name="Kulkarni, Ravi" userId="658fd972-6709-4d00-bd01-b90d5c761744" providerId="ADAL" clId="{F9DBF58A-88AD-41E5-AA86-CF3D1B40D0B0}" dt="2021-11-22T13:51:48.609" v="4" actId="478"/>
          <ac:cxnSpMkLst>
            <pc:docMk/>
            <pc:sldMk cId="406882959" sldId="5743"/>
            <ac:cxnSpMk id="100" creationId="{00000000-0000-0000-0000-000000000000}"/>
          </ac:cxnSpMkLst>
        </pc:cxnChg>
        <pc:cxnChg chg="add mod">
          <ac:chgData name="Kulkarni, Ravi" userId="658fd972-6709-4d00-bd01-b90d5c761744" providerId="ADAL" clId="{F9DBF58A-88AD-41E5-AA86-CF3D1B40D0B0}" dt="2021-11-22T13:51:41.410" v="2" actId="571"/>
          <ac:cxnSpMkLst>
            <pc:docMk/>
            <pc:sldMk cId="406882959" sldId="5743"/>
            <ac:cxnSpMk id="103" creationId="{5EE8096B-8404-407C-BCD2-27BAD1B16786}"/>
          </ac:cxnSpMkLst>
        </pc:cxnChg>
        <pc:cxnChg chg="del">
          <ac:chgData name="Kulkarni, Ravi" userId="658fd972-6709-4d00-bd01-b90d5c761744" providerId="ADAL" clId="{F9DBF58A-88AD-41E5-AA86-CF3D1B40D0B0}" dt="2021-11-22T13:51:48.609" v="4" actId="478"/>
          <ac:cxnSpMkLst>
            <pc:docMk/>
            <pc:sldMk cId="406882959" sldId="5743"/>
            <ac:cxnSpMk id="105" creationId="{00000000-0000-0000-0000-000000000000}"/>
          </ac:cxnSpMkLst>
        </pc:cxnChg>
        <pc:cxnChg chg="del">
          <ac:chgData name="Kulkarni, Ravi" userId="658fd972-6709-4d00-bd01-b90d5c761744" providerId="ADAL" clId="{F9DBF58A-88AD-41E5-AA86-CF3D1B40D0B0}" dt="2021-11-22T13:51:48.609" v="4" actId="478"/>
          <ac:cxnSpMkLst>
            <pc:docMk/>
            <pc:sldMk cId="406882959" sldId="5743"/>
            <ac:cxnSpMk id="106" creationId="{00000000-0000-0000-0000-000000000000}"/>
          </ac:cxnSpMkLst>
        </pc:cxnChg>
        <pc:cxnChg chg="del">
          <ac:chgData name="Kulkarni, Ravi" userId="658fd972-6709-4d00-bd01-b90d5c761744" providerId="ADAL" clId="{F9DBF58A-88AD-41E5-AA86-CF3D1B40D0B0}" dt="2021-11-22T13:51:48.609" v="4" actId="478"/>
          <ac:cxnSpMkLst>
            <pc:docMk/>
            <pc:sldMk cId="406882959" sldId="5743"/>
            <ac:cxnSpMk id="107" creationId="{00000000-0000-0000-0000-000000000000}"/>
          </ac:cxnSpMkLst>
        </pc:cxnChg>
        <pc:cxnChg chg="add mod">
          <ac:chgData name="Kulkarni, Ravi" userId="658fd972-6709-4d00-bd01-b90d5c761744" providerId="ADAL" clId="{F9DBF58A-88AD-41E5-AA86-CF3D1B40D0B0}" dt="2021-11-22T13:51:41.410" v="2" actId="571"/>
          <ac:cxnSpMkLst>
            <pc:docMk/>
            <pc:sldMk cId="406882959" sldId="5743"/>
            <ac:cxnSpMk id="113" creationId="{328A1B33-BB01-4F23-88B5-9536D134DF50}"/>
          </ac:cxnSpMkLst>
        </pc:cxnChg>
        <pc:cxnChg chg="add mod">
          <ac:chgData name="Kulkarni, Ravi" userId="658fd972-6709-4d00-bd01-b90d5c761744" providerId="ADAL" clId="{F9DBF58A-88AD-41E5-AA86-CF3D1B40D0B0}" dt="2021-11-22T13:51:41.410" v="2" actId="571"/>
          <ac:cxnSpMkLst>
            <pc:docMk/>
            <pc:sldMk cId="406882959" sldId="5743"/>
            <ac:cxnSpMk id="127" creationId="{2B2FEEAE-618F-4652-8341-BD66776F3753}"/>
          </ac:cxnSpMkLst>
        </pc:cxnChg>
        <pc:cxnChg chg="add mod">
          <ac:chgData name="Kulkarni, Ravi" userId="658fd972-6709-4d00-bd01-b90d5c761744" providerId="ADAL" clId="{F9DBF58A-88AD-41E5-AA86-CF3D1B40D0B0}" dt="2021-11-22T13:51:41.410" v="2" actId="571"/>
          <ac:cxnSpMkLst>
            <pc:docMk/>
            <pc:sldMk cId="406882959" sldId="5743"/>
            <ac:cxnSpMk id="128" creationId="{26F269D2-4446-428E-B662-5668D22D5A4F}"/>
          </ac:cxnSpMkLst>
        </pc:cxnChg>
        <pc:cxnChg chg="add mod">
          <ac:chgData name="Kulkarni, Ravi" userId="658fd972-6709-4d00-bd01-b90d5c761744" providerId="ADAL" clId="{F9DBF58A-88AD-41E5-AA86-CF3D1B40D0B0}" dt="2021-11-22T13:51:41.410" v="2" actId="571"/>
          <ac:cxnSpMkLst>
            <pc:docMk/>
            <pc:sldMk cId="406882959" sldId="5743"/>
            <ac:cxnSpMk id="129" creationId="{3DBAF9F6-171E-4772-8E39-CF268903D74A}"/>
          </ac:cxnSpMkLst>
        </pc:cxnChg>
        <pc:cxnChg chg="add mod">
          <ac:chgData name="Kulkarni, Ravi" userId="658fd972-6709-4d00-bd01-b90d5c761744" providerId="ADAL" clId="{F9DBF58A-88AD-41E5-AA86-CF3D1B40D0B0}" dt="2021-11-22T13:51:41.410" v="2" actId="571"/>
          <ac:cxnSpMkLst>
            <pc:docMk/>
            <pc:sldMk cId="406882959" sldId="5743"/>
            <ac:cxnSpMk id="130" creationId="{9DD7582A-4D78-439E-A31A-560288836A08}"/>
          </ac:cxnSpMkLst>
        </pc:cxnChg>
        <pc:cxnChg chg="mod">
          <ac:chgData name="Kulkarni, Ravi" userId="658fd972-6709-4d00-bd01-b90d5c761744" providerId="ADAL" clId="{F9DBF58A-88AD-41E5-AA86-CF3D1B40D0B0}" dt="2021-11-22T13:51:41.410" v="2" actId="571"/>
          <ac:cxnSpMkLst>
            <pc:docMk/>
            <pc:sldMk cId="406882959" sldId="5743"/>
            <ac:cxnSpMk id="138" creationId="{1D7AA93F-643A-4F8D-8355-6D54D8199B64}"/>
          </ac:cxnSpMkLst>
        </pc:cxnChg>
        <pc:cxnChg chg="mod">
          <ac:chgData name="Kulkarni, Ravi" userId="658fd972-6709-4d00-bd01-b90d5c761744" providerId="ADAL" clId="{F9DBF58A-88AD-41E5-AA86-CF3D1B40D0B0}" dt="2021-11-22T13:51:41.410" v="2" actId="571"/>
          <ac:cxnSpMkLst>
            <pc:docMk/>
            <pc:sldMk cId="406882959" sldId="5743"/>
            <ac:cxnSpMk id="139" creationId="{84425F45-9BAD-4D18-8F36-27D3C4D35276}"/>
          </ac:cxnSpMkLst>
        </pc:cxnChg>
        <pc:cxnChg chg="mod">
          <ac:chgData name="Kulkarni, Ravi" userId="658fd972-6709-4d00-bd01-b90d5c761744" providerId="ADAL" clId="{F9DBF58A-88AD-41E5-AA86-CF3D1B40D0B0}" dt="2021-11-22T13:51:41.410" v="2" actId="571"/>
          <ac:cxnSpMkLst>
            <pc:docMk/>
            <pc:sldMk cId="406882959" sldId="5743"/>
            <ac:cxnSpMk id="140" creationId="{7C29088B-BC78-431C-AEF3-7B0CD2EA69E1}"/>
          </ac:cxnSpMkLst>
        </pc:cxnChg>
        <pc:cxnChg chg="mod">
          <ac:chgData name="Kulkarni, Ravi" userId="658fd972-6709-4d00-bd01-b90d5c761744" providerId="ADAL" clId="{F9DBF58A-88AD-41E5-AA86-CF3D1B40D0B0}" dt="2021-11-22T13:51:41.410" v="2" actId="571"/>
          <ac:cxnSpMkLst>
            <pc:docMk/>
            <pc:sldMk cId="406882959" sldId="5743"/>
            <ac:cxnSpMk id="141" creationId="{3A7F331D-5CDD-40D4-9924-D797A77FBDDE}"/>
          </ac:cxnSpMkLst>
        </pc:cxnChg>
        <pc:cxnChg chg="add mod">
          <ac:chgData name="Kulkarni, Ravi" userId="658fd972-6709-4d00-bd01-b90d5c761744" providerId="ADAL" clId="{F9DBF58A-88AD-41E5-AA86-CF3D1B40D0B0}" dt="2021-11-22T13:51:41.410" v="2" actId="571"/>
          <ac:cxnSpMkLst>
            <pc:docMk/>
            <pc:sldMk cId="406882959" sldId="5743"/>
            <ac:cxnSpMk id="151" creationId="{0F4FEE4B-4568-4DDF-AA9A-C3CFA644DA02}"/>
          </ac:cxnSpMkLst>
        </pc:cxnChg>
        <pc:cxnChg chg="mod">
          <ac:chgData name="Kulkarni, Ravi" userId="658fd972-6709-4d00-bd01-b90d5c761744" providerId="ADAL" clId="{F9DBF58A-88AD-41E5-AA86-CF3D1B40D0B0}" dt="2021-11-22T13:51:58.169" v="5"/>
          <ac:cxnSpMkLst>
            <pc:docMk/>
            <pc:sldMk cId="406882959" sldId="5743"/>
            <ac:cxnSpMk id="179" creationId="{D88566BD-1AAC-41C7-8538-99D537C7AB01}"/>
          </ac:cxnSpMkLst>
        </pc:cxnChg>
        <pc:cxnChg chg="mod">
          <ac:chgData name="Kulkarni, Ravi" userId="658fd972-6709-4d00-bd01-b90d5c761744" providerId="ADAL" clId="{F9DBF58A-88AD-41E5-AA86-CF3D1B40D0B0}" dt="2021-11-22T13:51:58.169" v="5"/>
          <ac:cxnSpMkLst>
            <pc:docMk/>
            <pc:sldMk cId="406882959" sldId="5743"/>
            <ac:cxnSpMk id="180" creationId="{A0289657-3290-4D90-9A63-9F35177DC041}"/>
          </ac:cxnSpMkLst>
        </pc:cxnChg>
        <pc:cxnChg chg="mod">
          <ac:chgData name="Kulkarni, Ravi" userId="658fd972-6709-4d00-bd01-b90d5c761744" providerId="ADAL" clId="{F9DBF58A-88AD-41E5-AA86-CF3D1B40D0B0}" dt="2021-11-22T13:51:58.169" v="5"/>
          <ac:cxnSpMkLst>
            <pc:docMk/>
            <pc:sldMk cId="406882959" sldId="5743"/>
            <ac:cxnSpMk id="190" creationId="{3436B1FC-7C7D-49AD-8441-FD3D8E5ADBA1}"/>
          </ac:cxnSpMkLst>
        </pc:cxnChg>
        <pc:cxnChg chg="mod">
          <ac:chgData name="Kulkarni, Ravi" userId="658fd972-6709-4d00-bd01-b90d5c761744" providerId="ADAL" clId="{F9DBF58A-88AD-41E5-AA86-CF3D1B40D0B0}" dt="2021-11-22T13:51:58.169" v="5"/>
          <ac:cxnSpMkLst>
            <pc:docMk/>
            <pc:sldMk cId="406882959" sldId="5743"/>
            <ac:cxnSpMk id="191" creationId="{C5369EAD-79EE-418E-A514-206777E844F3}"/>
          </ac:cxnSpMkLst>
        </pc:cxnChg>
        <pc:cxnChg chg="mod">
          <ac:chgData name="Kulkarni, Ravi" userId="658fd972-6709-4d00-bd01-b90d5c761744" providerId="ADAL" clId="{F9DBF58A-88AD-41E5-AA86-CF3D1B40D0B0}" dt="2021-11-22T13:51:58.169" v="5"/>
          <ac:cxnSpMkLst>
            <pc:docMk/>
            <pc:sldMk cId="406882959" sldId="5743"/>
            <ac:cxnSpMk id="200" creationId="{F0BBD110-F323-4874-ABC5-55D0764A6449}"/>
          </ac:cxnSpMkLst>
        </pc:cxnChg>
        <pc:cxnChg chg="mod">
          <ac:chgData name="Kulkarni, Ravi" userId="658fd972-6709-4d00-bd01-b90d5c761744" providerId="ADAL" clId="{F9DBF58A-88AD-41E5-AA86-CF3D1B40D0B0}" dt="2021-11-22T13:51:58.169" v="5"/>
          <ac:cxnSpMkLst>
            <pc:docMk/>
            <pc:sldMk cId="406882959" sldId="5743"/>
            <ac:cxnSpMk id="204" creationId="{9BD66118-F4FF-4769-8226-52973C2E3401}"/>
          </ac:cxnSpMkLst>
        </pc:cxnChg>
        <pc:cxnChg chg="mod">
          <ac:chgData name="Kulkarni, Ravi" userId="658fd972-6709-4d00-bd01-b90d5c761744" providerId="ADAL" clId="{F9DBF58A-88AD-41E5-AA86-CF3D1B40D0B0}" dt="2021-11-22T13:51:58.169" v="5"/>
          <ac:cxnSpMkLst>
            <pc:docMk/>
            <pc:sldMk cId="406882959" sldId="5743"/>
            <ac:cxnSpMk id="205" creationId="{306757E8-B897-4BE7-A04C-8B9F23FD54DC}"/>
          </ac:cxnSpMkLst>
        </pc:cxnChg>
        <pc:cxnChg chg="mod">
          <ac:chgData name="Kulkarni, Ravi" userId="658fd972-6709-4d00-bd01-b90d5c761744" providerId="ADAL" clId="{F9DBF58A-88AD-41E5-AA86-CF3D1B40D0B0}" dt="2021-11-22T13:51:58.169" v="5"/>
          <ac:cxnSpMkLst>
            <pc:docMk/>
            <pc:sldMk cId="406882959" sldId="5743"/>
            <ac:cxnSpMk id="206" creationId="{E0695070-C9FC-44E2-B21F-7CBC98416404}"/>
          </ac:cxnSpMkLst>
        </pc:cxnChg>
        <pc:cxnChg chg="mod">
          <ac:chgData name="Kulkarni, Ravi" userId="658fd972-6709-4d00-bd01-b90d5c761744" providerId="ADAL" clId="{F9DBF58A-88AD-41E5-AA86-CF3D1B40D0B0}" dt="2021-11-22T13:51:58.169" v="5"/>
          <ac:cxnSpMkLst>
            <pc:docMk/>
            <pc:sldMk cId="406882959" sldId="5743"/>
            <ac:cxnSpMk id="207" creationId="{89112A7C-8B8E-46F7-B1CA-F0FA188318D9}"/>
          </ac:cxnSpMkLst>
        </pc:cxnChg>
        <pc:cxnChg chg="mod">
          <ac:chgData name="Kulkarni, Ravi" userId="658fd972-6709-4d00-bd01-b90d5c761744" providerId="ADAL" clId="{F9DBF58A-88AD-41E5-AA86-CF3D1B40D0B0}" dt="2021-11-22T13:51:58.169" v="5"/>
          <ac:cxnSpMkLst>
            <pc:docMk/>
            <pc:sldMk cId="406882959" sldId="5743"/>
            <ac:cxnSpMk id="224" creationId="{9E630C97-AF87-4204-9027-97FDD927DA05}"/>
          </ac:cxnSpMkLst>
        </pc:cxnChg>
        <pc:cxnChg chg="mod">
          <ac:chgData name="Kulkarni, Ravi" userId="658fd972-6709-4d00-bd01-b90d5c761744" providerId="ADAL" clId="{F9DBF58A-88AD-41E5-AA86-CF3D1B40D0B0}" dt="2021-11-22T13:51:58.169" v="5"/>
          <ac:cxnSpMkLst>
            <pc:docMk/>
            <pc:sldMk cId="406882959" sldId="5743"/>
            <ac:cxnSpMk id="225" creationId="{ED9FFFA6-E0D1-4283-ADFF-F28B44704E38}"/>
          </ac:cxnSpMkLst>
        </pc:cxnChg>
        <pc:cxnChg chg="mod">
          <ac:chgData name="Kulkarni, Ravi" userId="658fd972-6709-4d00-bd01-b90d5c761744" providerId="ADAL" clId="{F9DBF58A-88AD-41E5-AA86-CF3D1B40D0B0}" dt="2021-11-22T13:51:58.169" v="5"/>
          <ac:cxnSpMkLst>
            <pc:docMk/>
            <pc:sldMk cId="406882959" sldId="5743"/>
            <ac:cxnSpMk id="226" creationId="{30BBBEFB-C9C1-433E-A48F-FE16FA383DF5}"/>
          </ac:cxnSpMkLst>
        </pc:cxnChg>
        <pc:cxnChg chg="mod">
          <ac:chgData name="Kulkarni, Ravi" userId="658fd972-6709-4d00-bd01-b90d5c761744" providerId="ADAL" clId="{F9DBF58A-88AD-41E5-AA86-CF3D1B40D0B0}" dt="2021-11-22T13:51:58.169" v="5"/>
          <ac:cxnSpMkLst>
            <pc:docMk/>
            <pc:sldMk cId="406882959" sldId="5743"/>
            <ac:cxnSpMk id="227" creationId="{7C90530C-FACC-4C05-A733-F3F82A2EED4B}"/>
          </ac:cxnSpMkLst>
        </pc:cxnChg>
        <pc:cxnChg chg="mod">
          <ac:chgData name="Kulkarni, Ravi" userId="658fd972-6709-4d00-bd01-b90d5c761744" providerId="ADAL" clId="{F9DBF58A-88AD-41E5-AA86-CF3D1B40D0B0}" dt="2021-11-22T13:51:58.169" v="5"/>
          <ac:cxnSpMkLst>
            <pc:docMk/>
            <pc:sldMk cId="406882959" sldId="5743"/>
            <ac:cxnSpMk id="240" creationId="{1FCB9808-53BF-4D74-82C0-A921346984AE}"/>
          </ac:cxnSpMkLst>
        </pc:cxnChg>
        <pc:cxnChg chg="mod">
          <ac:chgData name="Kulkarni, Ravi" userId="658fd972-6709-4d00-bd01-b90d5c761744" providerId="ADAL" clId="{F9DBF58A-88AD-41E5-AA86-CF3D1B40D0B0}" dt="2021-11-22T13:51:58.169" v="5"/>
          <ac:cxnSpMkLst>
            <pc:docMk/>
            <pc:sldMk cId="406882959" sldId="5743"/>
            <ac:cxnSpMk id="241" creationId="{97E6BAB3-6ED6-47B8-A15D-65B869F66730}"/>
          </ac:cxnSpMkLst>
        </pc:cxnChg>
        <pc:cxnChg chg="mod">
          <ac:chgData name="Kulkarni, Ravi" userId="658fd972-6709-4d00-bd01-b90d5c761744" providerId="ADAL" clId="{F9DBF58A-88AD-41E5-AA86-CF3D1B40D0B0}" dt="2021-11-22T13:51:58.169" v="5"/>
          <ac:cxnSpMkLst>
            <pc:docMk/>
            <pc:sldMk cId="406882959" sldId="5743"/>
            <ac:cxnSpMk id="242" creationId="{0DA82645-DE71-44B2-9A35-2275E510B06A}"/>
          </ac:cxnSpMkLst>
        </pc:cxnChg>
        <pc:cxnChg chg="mod">
          <ac:chgData name="Kulkarni, Ravi" userId="658fd972-6709-4d00-bd01-b90d5c761744" providerId="ADAL" clId="{F9DBF58A-88AD-41E5-AA86-CF3D1B40D0B0}" dt="2021-11-22T13:51:58.169" v="5"/>
          <ac:cxnSpMkLst>
            <pc:docMk/>
            <pc:sldMk cId="406882959" sldId="5743"/>
            <ac:cxnSpMk id="243" creationId="{0750D9CA-44AB-439F-8DFA-4878C2B241BB}"/>
          </ac:cxnSpMkLst>
        </pc:cxnChg>
      </pc:sldChg>
    </pc:docChg>
  </pc:docChgLst>
  <pc:docChgLst>
    <pc:chgData name="SABEERALY, MANSUR AHAMAD" userId="S::mansur-ahamad.sabeeraly@atos.net::37f2f6ae-b9e4-4ac3-a795-93a6abe48c2a" providerId="AD" clId="Web-{83FC54EC-409C-6A23-0CCC-4D3CF9105ADF}"/>
    <pc:docChg chg="modSld">
      <pc:chgData name="SABEERALY, MANSUR AHAMAD" userId="S::mansur-ahamad.sabeeraly@atos.net::37f2f6ae-b9e4-4ac3-a795-93a6abe48c2a" providerId="AD" clId="Web-{83FC54EC-409C-6A23-0CCC-4D3CF9105ADF}" dt="2021-11-22T14:44:07.803" v="16" actId="20577"/>
      <pc:docMkLst>
        <pc:docMk/>
      </pc:docMkLst>
      <pc:sldChg chg="modSp">
        <pc:chgData name="SABEERALY, MANSUR AHAMAD" userId="S::mansur-ahamad.sabeeraly@atos.net::37f2f6ae-b9e4-4ac3-a795-93a6abe48c2a" providerId="AD" clId="Web-{83FC54EC-409C-6A23-0CCC-4D3CF9105ADF}" dt="2021-11-22T14:44:07.803" v="16" actId="20577"/>
        <pc:sldMkLst>
          <pc:docMk/>
          <pc:sldMk cId="1161225225" sldId="2147308334"/>
        </pc:sldMkLst>
        <pc:spChg chg="mod">
          <ac:chgData name="SABEERALY, MANSUR AHAMAD" userId="S::mansur-ahamad.sabeeraly@atos.net::37f2f6ae-b9e4-4ac3-a795-93a6abe48c2a" providerId="AD" clId="Web-{83FC54EC-409C-6A23-0CCC-4D3CF9105ADF}" dt="2021-11-22T14:42:09.738" v="1" actId="20577"/>
          <ac:spMkLst>
            <pc:docMk/>
            <pc:sldMk cId="1161225225" sldId="2147308334"/>
            <ac:spMk id="21" creationId="{A8C20BDB-1D2A-45E8-8A95-AED8050BA788}"/>
          </ac:spMkLst>
        </pc:spChg>
        <pc:spChg chg="mod">
          <ac:chgData name="SABEERALY, MANSUR AHAMAD" userId="S::mansur-ahamad.sabeeraly@atos.net::37f2f6ae-b9e4-4ac3-a795-93a6abe48c2a" providerId="AD" clId="Web-{83FC54EC-409C-6A23-0CCC-4D3CF9105ADF}" dt="2021-11-22T14:44:07.803" v="16" actId="20577"/>
          <ac:spMkLst>
            <pc:docMk/>
            <pc:sldMk cId="1161225225" sldId="2147308334"/>
            <ac:spMk id="33" creationId="{6BFCF277-D113-44CF-B59D-D1F9D4179864}"/>
          </ac:spMkLst>
        </pc:spChg>
        <pc:graphicFrameChg chg="mod modGraphic">
          <ac:chgData name="SABEERALY, MANSUR AHAMAD" userId="S::mansur-ahamad.sabeeraly@atos.net::37f2f6ae-b9e4-4ac3-a795-93a6abe48c2a" providerId="AD" clId="Web-{83FC54EC-409C-6A23-0CCC-4D3CF9105ADF}" dt="2021-11-22T14:43:22.646" v="13"/>
          <ac:graphicFrameMkLst>
            <pc:docMk/>
            <pc:sldMk cId="1161225225" sldId="2147308334"/>
            <ac:graphicFrameMk id="4" creationId="{E69F944F-3C88-495A-B12B-9236A7253C27}"/>
          </ac:graphicFrameMkLst>
        </pc:graphicFrameChg>
      </pc:sldChg>
    </pc:docChg>
  </pc:docChgLst>
  <pc:docChgLst>
    <pc:chgData name="SABEERALY, MANSUR AHAMAD" userId="S::mansur-ahamad.sabeeraly@atos.net::37f2f6ae-b9e4-4ac3-a795-93a6abe48c2a" providerId="AD" clId="Web-{799A23ED-EBB1-4079-A452-9F7A8AD7A345}"/>
    <pc:docChg chg="modSld">
      <pc:chgData name="SABEERALY, MANSUR AHAMAD" userId="S::mansur-ahamad.sabeeraly@atos.net::37f2f6ae-b9e4-4ac3-a795-93a6abe48c2a" providerId="AD" clId="Web-{799A23ED-EBB1-4079-A452-9F7A8AD7A345}" dt="2021-11-22T14:20:48.098" v="393"/>
      <pc:docMkLst>
        <pc:docMk/>
      </pc:docMkLst>
      <pc:sldChg chg="modSp">
        <pc:chgData name="SABEERALY, MANSUR AHAMAD" userId="S::mansur-ahamad.sabeeraly@atos.net::37f2f6ae-b9e4-4ac3-a795-93a6abe48c2a" providerId="AD" clId="Web-{799A23ED-EBB1-4079-A452-9F7A8AD7A345}" dt="2021-11-22T14:11:10.163" v="141" actId="14100"/>
        <pc:sldMkLst>
          <pc:docMk/>
          <pc:sldMk cId="3319188062" sldId="777"/>
        </pc:sldMkLst>
        <pc:spChg chg="mod">
          <ac:chgData name="SABEERALY, MANSUR AHAMAD" userId="S::mansur-ahamad.sabeeraly@atos.net::37f2f6ae-b9e4-4ac3-a795-93a6abe48c2a" providerId="AD" clId="Web-{799A23ED-EBB1-4079-A452-9F7A8AD7A345}" dt="2021-11-22T14:07:34.346" v="19" actId="20577"/>
          <ac:spMkLst>
            <pc:docMk/>
            <pc:sldMk cId="3319188062" sldId="777"/>
            <ac:spMk id="25" creationId="{00000000-0000-0000-0000-000000000000}"/>
          </ac:spMkLst>
        </pc:spChg>
        <pc:spChg chg="mod">
          <ac:chgData name="SABEERALY, MANSUR AHAMAD" userId="S::mansur-ahamad.sabeeraly@atos.net::37f2f6ae-b9e4-4ac3-a795-93a6abe48c2a" providerId="AD" clId="Web-{799A23ED-EBB1-4079-A452-9F7A8AD7A345}" dt="2021-11-22T14:10:53.007" v="134" actId="14100"/>
          <ac:spMkLst>
            <pc:docMk/>
            <pc:sldMk cId="3319188062" sldId="777"/>
            <ac:spMk id="31" creationId="{00000000-0000-0000-0000-000000000000}"/>
          </ac:spMkLst>
        </pc:spChg>
        <pc:spChg chg="mod">
          <ac:chgData name="SABEERALY, MANSUR AHAMAD" userId="S::mansur-ahamad.sabeeraly@atos.net::37f2f6ae-b9e4-4ac3-a795-93a6abe48c2a" providerId="AD" clId="Web-{799A23ED-EBB1-4079-A452-9F7A8AD7A345}" dt="2021-11-22T14:10:41.241" v="132" actId="14100"/>
          <ac:spMkLst>
            <pc:docMk/>
            <pc:sldMk cId="3319188062" sldId="777"/>
            <ac:spMk id="37" creationId="{00000000-0000-0000-0000-000000000000}"/>
          </ac:spMkLst>
        </pc:spChg>
        <pc:spChg chg="mod">
          <ac:chgData name="SABEERALY, MANSUR AHAMAD" userId="S::mansur-ahamad.sabeeraly@atos.net::37f2f6ae-b9e4-4ac3-a795-93a6abe48c2a" providerId="AD" clId="Web-{799A23ED-EBB1-4079-A452-9F7A8AD7A345}" dt="2021-11-22T14:11:09.991" v="138" actId="14100"/>
          <ac:spMkLst>
            <pc:docMk/>
            <pc:sldMk cId="3319188062" sldId="777"/>
            <ac:spMk id="63" creationId="{0893306F-63A6-4764-AF5C-20297C790409}"/>
          </ac:spMkLst>
        </pc:spChg>
        <pc:spChg chg="mod">
          <ac:chgData name="SABEERALY, MANSUR AHAMAD" userId="S::mansur-ahamad.sabeeraly@atos.net::37f2f6ae-b9e4-4ac3-a795-93a6abe48c2a" providerId="AD" clId="Web-{799A23ED-EBB1-4079-A452-9F7A8AD7A345}" dt="2021-11-22T14:11:10.038" v="139" actId="14100"/>
          <ac:spMkLst>
            <pc:docMk/>
            <pc:sldMk cId="3319188062" sldId="777"/>
            <ac:spMk id="64" creationId="{2D7B80DB-7F5D-4455-B3DC-85F6FB1BE777}"/>
          </ac:spMkLst>
        </pc:spChg>
        <pc:spChg chg="mod">
          <ac:chgData name="SABEERALY, MANSUR AHAMAD" userId="S::mansur-ahamad.sabeeraly@atos.net::37f2f6ae-b9e4-4ac3-a795-93a6abe48c2a" providerId="AD" clId="Web-{799A23ED-EBB1-4079-A452-9F7A8AD7A345}" dt="2021-11-22T14:11:10.101" v="140" actId="14100"/>
          <ac:spMkLst>
            <pc:docMk/>
            <pc:sldMk cId="3319188062" sldId="777"/>
            <ac:spMk id="65" creationId="{A00CFAB9-2569-4C8F-910D-66EC7341CEA4}"/>
          </ac:spMkLst>
        </pc:spChg>
        <pc:spChg chg="mod">
          <ac:chgData name="SABEERALY, MANSUR AHAMAD" userId="S::mansur-ahamad.sabeeraly@atos.net::37f2f6ae-b9e4-4ac3-a795-93a6abe48c2a" providerId="AD" clId="Web-{799A23ED-EBB1-4079-A452-9F7A8AD7A345}" dt="2021-11-22T14:11:10.163" v="141" actId="14100"/>
          <ac:spMkLst>
            <pc:docMk/>
            <pc:sldMk cId="3319188062" sldId="777"/>
            <ac:spMk id="66" creationId="{9B76FC80-9265-4000-A00E-29B8B6F3CEFF}"/>
          </ac:spMkLst>
        </pc:spChg>
        <pc:spChg chg="mod">
          <ac:chgData name="SABEERALY, MANSUR AHAMAD" userId="S::mansur-ahamad.sabeeraly@atos.net::37f2f6ae-b9e4-4ac3-a795-93a6abe48c2a" providerId="AD" clId="Web-{799A23ED-EBB1-4079-A452-9F7A8AD7A345}" dt="2021-11-22T14:10:41.194" v="131" actId="14100"/>
          <ac:spMkLst>
            <pc:docMk/>
            <pc:sldMk cId="3319188062" sldId="777"/>
            <ac:spMk id="67" creationId="{75180654-A49E-4189-91B8-64E5A284DDF6}"/>
          </ac:spMkLst>
        </pc:spChg>
        <pc:spChg chg="mod">
          <ac:chgData name="SABEERALY, MANSUR AHAMAD" userId="S::mansur-ahamad.sabeeraly@atos.net::37f2f6ae-b9e4-4ac3-a795-93a6abe48c2a" providerId="AD" clId="Web-{799A23ED-EBB1-4079-A452-9F7A8AD7A345}" dt="2021-11-22T14:10:53.069" v="135" actId="14100"/>
          <ac:spMkLst>
            <pc:docMk/>
            <pc:sldMk cId="3319188062" sldId="777"/>
            <ac:spMk id="68" creationId="{0DB5F0A8-53DF-472D-A689-569F583EFB1E}"/>
          </ac:spMkLst>
        </pc:spChg>
        <pc:spChg chg="mod">
          <ac:chgData name="SABEERALY, MANSUR AHAMAD" userId="S::mansur-ahamad.sabeeraly@atos.net::37f2f6ae-b9e4-4ac3-a795-93a6abe48c2a" providerId="AD" clId="Web-{799A23ED-EBB1-4079-A452-9F7A8AD7A345}" dt="2021-11-22T14:11:00.569" v="137" actId="1076"/>
          <ac:spMkLst>
            <pc:docMk/>
            <pc:sldMk cId="3319188062" sldId="777"/>
            <ac:spMk id="70" creationId="{EF8BEF99-D924-40AF-969E-CD355990B61B}"/>
          </ac:spMkLst>
        </pc:spChg>
      </pc:sldChg>
      <pc:sldChg chg="modSp">
        <pc:chgData name="SABEERALY, MANSUR AHAMAD" userId="S::mansur-ahamad.sabeeraly@atos.net::37f2f6ae-b9e4-4ac3-a795-93a6abe48c2a" providerId="AD" clId="Web-{799A23ED-EBB1-4079-A452-9F7A8AD7A345}" dt="2021-11-22T14:05:43.265" v="11" actId="20577"/>
        <pc:sldMkLst>
          <pc:docMk/>
          <pc:sldMk cId="882518092" sldId="2147308307"/>
        </pc:sldMkLst>
        <pc:spChg chg="mod">
          <ac:chgData name="SABEERALY, MANSUR AHAMAD" userId="S::mansur-ahamad.sabeeraly@atos.net::37f2f6ae-b9e4-4ac3-a795-93a6abe48c2a" providerId="AD" clId="Web-{799A23ED-EBB1-4079-A452-9F7A8AD7A345}" dt="2021-11-22T14:05:43.265" v="11" actId="20577"/>
          <ac:spMkLst>
            <pc:docMk/>
            <pc:sldMk cId="882518092" sldId="2147308307"/>
            <ac:spMk id="7" creationId="{58D47E40-2525-4896-937B-768A02FDCC94}"/>
          </ac:spMkLst>
        </pc:spChg>
      </pc:sldChg>
      <pc:sldChg chg="addSp modSp">
        <pc:chgData name="SABEERALY, MANSUR AHAMAD" userId="S::mansur-ahamad.sabeeraly@atos.net::37f2f6ae-b9e4-4ac3-a795-93a6abe48c2a" providerId="AD" clId="Web-{799A23ED-EBB1-4079-A452-9F7A8AD7A345}" dt="2021-11-22T14:16:18.108" v="347" actId="1076"/>
        <pc:sldMkLst>
          <pc:docMk/>
          <pc:sldMk cId="3076219686" sldId="2147308316"/>
        </pc:sldMkLst>
        <pc:spChg chg="add mod">
          <ac:chgData name="SABEERALY, MANSUR AHAMAD" userId="S::mansur-ahamad.sabeeraly@atos.net::37f2f6ae-b9e4-4ac3-a795-93a6abe48c2a" providerId="AD" clId="Web-{799A23ED-EBB1-4079-A452-9F7A8AD7A345}" dt="2021-11-22T14:16:18.108" v="347" actId="1076"/>
          <ac:spMkLst>
            <pc:docMk/>
            <pc:sldMk cId="3076219686" sldId="2147308316"/>
            <ac:spMk id="2" creationId="{3E93BD36-5DB2-4B5B-9111-E2E7C64DFD8C}"/>
          </ac:spMkLst>
        </pc:spChg>
      </pc:sldChg>
      <pc:sldChg chg="addSp delSp modSp">
        <pc:chgData name="SABEERALY, MANSUR AHAMAD" userId="S::mansur-ahamad.sabeeraly@atos.net::37f2f6ae-b9e4-4ac3-a795-93a6abe48c2a" providerId="AD" clId="Web-{799A23ED-EBB1-4079-A452-9F7A8AD7A345}" dt="2021-11-22T14:20:48.098" v="393"/>
        <pc:sldMkLst>
          <pc:docMk/>
          <pc:sldMk cId="2839583103" sldId="2147308321"/>
        </pc:sldMkLst>
        <pc:graphicFrameChg chg="del">
          <ac:chgData name="SABEERALY, MANSUR AHAMAD" userId="S::mansur-ahamad.sabeeraly@atos.net::37f2f6ae-b9e4-4ac3-a795-93a6abe48c2a" providerId="AD" clId="Web-{799A23ED-EBB1-4079-A452-9F7A8AD7A345}" dt="2021-11-22T14:17:33.266" v="351"/>
          <ac:graphicFrameMkLst>
            <pc:docMk/>
            <pc:sldMk cId="2839583103" sldId="2147308321"/>
            <ac:graphicFrameMk id="3" creationId="{AE11BB87-8F52-4BE9-ADBE-A03FC6D62EEA}"/>
          </ac:graphicFrameMkLst>
        </pc:graphicFrameChg>
        <pc:graphicFrameChg chg="add mod modGraphic">
          <ac:chgData name="SABEERALY, MANSUR AHAMAD" userId="S::mansur-ahamad.sabeeraly@atos.net::37f2f6ae-b9e4-4ac3-a795-93a6abe48c2a" providerId="AD" clId="Web-{799A23ED-EBB1-4079-A452-9F7A8AD7A345}" dt="2021-11-22T14:20:48.098" v="393"/>
          <ac:graphicFrameMkLst>
            <pc:docMk/>
            <pc:sldMk cId="2839583103" sldId="2147308321"/>
            <ac:graphicFrameMk id="4" creationId="{4F30E4FC-EF05-4D90-BAA1-1BBCBECE9D99}"/>
          </ac:graphicFrameMkLst>
        </pc:graphicFrameChg>
      </pc:sldChg>
      <pc:sldChg chg="modSp">
        <pc:chgData name="SABEERALY, MANSUR AHAMAD" userId="S::mansur-ahamad.sabeeraly@atos.net::37f2f6ae-b9e4-4ac3-a795-93a6abe48c2a" providerId="AD" clId="Web-{799A23ED-EBB1-4079-A452-9F7A8AD7A345}" dt="2021-11-22T14:15:43.607" v="345"/>
        <pc:sldMkLst>
          <pc:docMk/>
          <pc:sldMk cId="2111928368" sldId="2147308326"/>
        </pc:sldMkLst>
        <pc:graphicFrameChg chg="mod modGraphic">
          <ac:chgData name="SABEERALY, MANSUR AHAMAD" userId="S::mansur-ahamad.sabeeraly@atos.net::37f2f6ae-b9e4-4ac3-a795-93a6abe48c2a" providerId="AD" clId="Web-{799A23ED-EBB1-4079-A452-9F7A8AD7A345}" dt="2021-11-22T14:15:43.607" v="345"/>
          <ac:graphicFrameMkLst>
            <pc:docMk/>
            <pc:sldMk cId="2111928368" sldId="2147308326"/>
            <ac:graphicFrameMk id="3" creationId="{6B317F0A-9174-4692-9E8C-DDA94DC2015E}"/>
          </ac:graphicFrameMkLst>
        </pc:graphicFrameChg>
      </pc:sldChg>
    </pc:docChg>
  </pc:docChgLst>
  <pc:docChgLst>
    <pc:chgData name="SABEERALY, MANSUR AHAMAD" userId="S::mansur-ahamad.sabeeraly@atos.net::37f2f6ae-b9e4-4ac3-a795-93a6abe48c2a" providerId="AD" clId="Web-{18C48F3B-4E3B-AF4B-8F08-C2898E2096C9}"/>
    <pc:docChg chg="modSld">
      <pc:chgData name="SABEERALY, MANSUR AHAMAD" userId="S::mansur-ahamad.sabeeraly@atos.net::37f2f6ae-b9e4-4ac3-a795-93a6abe48c2a" providerId="AD" clId="Web-{18C48F3B-4E3B-AF4B-8F08-C2898E2096C9}" dt="2021-11-22T15:08:54.341" v="42"/>
      <pc:docMkLst>
        <pc:docMk/>
      </pc:docMkLst>
      <pc:sldChg chg="modSp">
        <pc:chgData name="SABEERALY, MANSUR AHAMAD" userId="S::mansur-ahamad.sabeeraly@atos.net::37f2f6ae-b9e4-4ac3-a795-93a6abe48c2a" providerId="AD" clId="Web-{18C48F3B-4E3B-AF4B-8F08-C2898E2096C9}" dt="2021-11-22T15:07:51.511" v="16" actId="20577"/>
        <pc:sldMkLst>
          <pc:docMk/>
          <pc:sldMk cId="3665962892" sldId="230717524"/>
        </pc:sldMkLst>
        <pc:spChg chg="mod">
          <ac:chgData name="SABEERALY, MANSUR AHAMAD" userId="S::mansur-ahamad.sabeeraly@atos.net::37f2f6ae-b9e4-4ac3-a795-93a6abe48c2a" providerId="AD" clId="Web-{18C48F3B-4E3B-AF4B-8F08-C2898E2096C9}" dt="2021-11-22T15:07:51.511" v="16" actId="20577"/>
          <ac:spMkLst>
            <pc:docMk/>
            <pc:sldMk cId="3665962892" sldId="230717524"/>
            <ac:spMk id="24" creationId="{5BE6E302-0781-47E6-BC80-3B389A4F3912}"/>
          </ac:spMkLst>
        </pc:spChg>
      </pc:sldChg>
      <pc:sldChg chg="modSp">
        <pc:chgData name="SABEERALY, MANSUR AHAMAD" userId="S::mansur-ahamad.sabeeraly@atos.net::37f2f6ae-b9e4-4ac3-a795-93a6abe48c2a" providerId="AD" clId="Web-{18C48F3B-4E3B-AF4B-8F08-C2898E2096C9}" dt="2021-11-22T15:07:05.244" v="14" actId="20577"/>
        <pc:sldMkLst>
          <pc:docMk/>
          <pc:sldMk cId="3076219686" sldId="2147308316"/>
        </pc:sldMkLst>
        <pc:spChg chg="mod">
          <ac:chgData name="SABEERALY, MANSUR AHAMAD" userId="S::mansur-ahamad.sabeeraly@atos.net::37f2f6ae-b9e4-4ac3-a795-93a6abe48c2a" providerId="AD" clId="Web-{18C48F3B-4E3B-AF4B-8F08-C2898E2096C9}" dt="2021-11-22T15:07:05.244" v="14" actId="20577"/>
          <ac:spMkLst>
            <pc:docMk/>
            <pc:sldMk cId="3076219686" sldId="2147308316"/>
            <ac:spMk id="28" creationId="{D0179964-28EB-4945-B6ED-905243D33C3A}"/>
          </ac:spMkLst>
        </pc:spChg>
      </pc:sldChg>
      <pc:sldChg chg="modSp">
        <pc:chgData name="SABEERALY, MANSUR AHAMAD" userId="S::mansur-ahamad.sabeeraly@atos.net::37f2f6ae-b9e4-4ac3-a795-93a6abe48c2a" providerId="AD" clId="Web-{18C48F3B-4E3B-AF4B-8F08-C2898E2096C9}" dt="2021-11-22T15:08:54.341" v="42"/>
        <pc:sldMkLst>
          <pc:docMk/>
          <pc:sldMk cId="1517801084" sldId="2147308321"/>
        </pc:sldMkLst>
        <pc:graphicFrameChg chg="mod modGraphic">
          <ac:chgData name="SABEERALY, MANSUR AHAMAD" userId="S::mansur-ahamad.sabeeraly@atos.net::37f2f6ae-b9e4-4ac3-a795-93a6abe48c2a" providerId="AD" clId="Web-{18C48F3B-4E3B-AF4B-8F08-C2898E2096C9}" dt="2021-11-22T15:08:54.341" v="42"/>
          <ac:graphicFrameMkLst>
            <pc:docMk/>
            <pc:sldMk cId="1517801084" sldId="2147308321"/>
            <ac:graphicFrameMk id="4" creationId="{4F30E4FC-EF05-4D90-BAA1-1BBCBECE9D99}"/>
          </ac:graphicFrameMkLst>
        </pc:graphicFrameChg>
      </pc:sldChg>
      <pc:sldChg chg="modSp">
        <pc:chgData name="SABEERALY, MANSUR AHAMAD" userId="S::mansur-ahamad.sabeeraly@atos.net::37f2f6ae-b9e4-4ac3-a795-93a6abe48c2a" providerId="AD" clId="Web-{18C48F3B-4E3B-AF4B-8F08-C2898E2096C9}" dt="2021-11-22T15:04:43.943" v="7"/>
        <pc:sldMkLst>
          <pc:docMk/>
          <pc:sldMk cId="2111928368" sldId="2147308326"/>
        </pc:sldMkLst>
        <pc:graphicFrameChg chg="mod modGraphic">
          <ac:chgData name="SABEERALY, MANSUR AHAMAD" userId="S::mansur-ahamad.sabeeraly@atos.net::37f2f6ae-b9e4-4ac3-a795-93a6abe48c2a" providerId="AD" clId="Web-{18C48F3B-4E3B-AF4B-8F08-C2898E2096C9}" dt="2021-11-22T15:04:43.943" v="7"/>
          <ac:graphicFrameMkLst>
            <pc:docMk/>
            <pc:sldMk cId="2111928368" sldId="2147308326"/>
            <ac:graphicFrameMk id="3" creationId="{6B317F0A-9174-4692-9E8C-DDA94DC2015E}"/>
          </ac:graphicFrameMkLst>
        </pc:graphicFrameChg>
      </pc:sldChg>
    </pc:docChg>
  </pc:docChgLst>
  <pc:docChgLst>
    <pc:chgData name="Lamkhade, Rajendra" userId="037a3b39-7b6a-43a8-858f-fde07d8c173f" providerId="ADAL" clId="{CEDAF50F-B282-4BFD-91A3-FB6577DE4AE7}"/>
    <pc:docChg chg="undo redo custSel addSld delSld modSld">
      <pc:chgData name="Lamkhade, Rajendra" userId="037a3b39-7b6a-43a8-858f-fde07d8c173f" providerId="ADAL" clId="{CEDAF50F-B282-4BFD-91A3-FB6577DE4AE7}" dt="2021-11-22T14:35:32.347" v="1816" actId="113"/>
      <pc:docMkLst>
        <pc:docMk/>
      </pc:docMkLst>
      <pc:sldChg chg="modSp mod">
        <pc:chgData name="Lamkhade, Rajendra" userId="037a3b39-7b6a-43a8-858f-fde07d8c173f" providerId="ADAL" clId="{CEDAF50F-B282-4BFD-91A3-FB6577DE4AE7}" dt="2021-11-22T12:54:15.193" v="26" actId="20577"/>
        <pc:sldMkLst>
          <pc:docMk/>
          <pc:sldMk cId="0" sldId="256"/>
        </pc:sldMkLst>
        <pc:spChg chg="mod">
          <ac:chgData name="Lamkhade, Rajendra" userId="037a3b39-7b6a-43a8-858f-fde07d8c173f" providerId="ADAL" clId="{CEDAF50F-B282-4BFD-91A3-FB6577DE4AE7}" dt="2021-11-22T12:54:15.193" v="26" actId="20577"/>
          <ac:spMkLst>
            <pc:docMk/>
            <pc:sldMk cId="0" sldId="256"/>
            <ac:spMk id="8" creationId="{4FE7311D-13EA-4D90-93D4-B67A38B66110}"/>
          </ac:spMkLst>
        </pc:spChg>
      </pc:sldChg>
      <pc:sldChg chg="del">
        <pc:chgData name="Lamkhade, Rajendra" userId="037a3b39-7b6a-43a8-858f-fde07d8c173f" providerId="ADAL" clId="{CEDAF50F-B282-4BFD-91A3-FB6577DE4AE7}" dt="2021-11-22T13:55:14.254" v="1157" actId="47"/>
        <pc:sldMkLst>
          <pc:docMk/>
          <pc:sldMk cId="12307652" sldId="269"/>
        </pc:sldMkLst>
      </pc:sldChg>
      <pc:sldChg chg="del">
        <pc:chgData name="Lamkhade, Rajendra" userId="037a3b39-7b6a-43a8-858f-fde07d8c173f" providerId="ADAL" clId="{CEDAF50F-B282-4BFD-91A3-FB6577DE4AE7}" dt="2021-11-22T13:55:14.254" v="1157" actId="47"/>
        <pc:sldMkLst>
          <pc:docMk/>
          <pc:sldMk cId="2855096942" sldId="276"/>
        </pc:sldMkLst>
      </pc:sldChg>
      <pc:sldChg chg="del">
        <pc:chgData name="Lamkhade, Rajendra" userId="037a3b39-7b6a-43a8-858f-fde07d8c173f" providerId="ADAL" clId="{CEDAF50F-B282-4BFD-91A3-FB6577DE4AE7}" dt="2021-11-22T13:55:14.254" v="1157" actId="47"/>
        <pc:sldMkLst>
          <pc:docMk/>
          <pc:sldMk cId="2390584886" sldId="277"/>
        </pc:sldMkLst>
      </pc:sldChg>
      <pc:sldChg chg="add">
        <pc:chgData name="Lamkhade, Rajendra" userId="037a3b39-7b6a-43a8-858f-fde07d8c173f" providerId="ADAL" clId="{CEDAF50F-B282-4BFD-91A3-FB6577DE4AE7}" dt="2021-11-22T13:46:23.341" v="1099"/>
        <pc:sldMkLst>
          <pc:docMk/>
          <pc:sldMk cId="3319188062" sldId="777"/>
        </pc:sldMkLst>
      </pc:sldChg>
      <pc:sldChg chg="add del">
        <pc:chgData name="Lamkhade, Rajendra" userId="037a3b39-7b6a-43a8-858f-fde07d8c173f" providerId="ADAL" clId="{CEDAF50F-B282-4BFD-91A3-FB6577DE4AE7}" dt="2021-11-22T13:46:14.260" v="1098" actId="2696"/>
        <pc:sldMkLst>
          <pc:docMk/>
          <pc:sldMk cId="4184018533" sldId="777"/>
        </pc:sldMkLst>
      </pc:sldChg>
      <pc:sldChg chg="modSp mod">
        <pc:chgData name="Lamkhade, Rajendra" userId="037a3b39-7b6a-43a8-858f-fde07d8c173f" providerId="ADAL" clId="{CEDAF50F-B282-4BFD-91A3-FB6577DE4AE7}" dt="2021-11-22T13:36:30.632" v="1012" actId="20577"/>
        <pc:sldMkLst>
          <pc:docMk/>
          <pc:sldMk cId="406882959" sldId="5743"/>
        </pc:sldMkLst>
        <pc:spChg chg="mod">
          <ac:chgData name="Lamkhade, Rajendra" userId="037a3b39-7b6a-43a8-858f-fde07d8c173f" providerId="ADAL" clId="{CEDAF50F-B282-4BFD-91A3-FB6577DE4AE7}" dt="2021-11-22T13:36:20.088" v="1011" actId="20577"/>
          <ac:spMkLst>
            <pc:docMk/>
            <pc:sldMk cId="406882959" sldId="5743"/>
            <ac:spMk id="8" creationId="{BFB1CC14-8884-4461-B5AC-6DC9AAB2BDB1}"/>
          </ac:spMkLst>
        </pc:spChg>
        <pc:spChg chg="mod">
          <ac:chgData name="Lamkhade, Rajendra" userId="037a3b39-7b6a-43a8-858f-fde07d8c173f" providerId="ADAL" clId="{CEDAF50F-B282-4BFD-91A3-FB6577DE4AE7}" dt="2021-11-22T13:36:30.632" v="1012" actId="20577"/>
          <ac:spMkLst>
            <pc:docMk/>
            <pc:sldMk cId="406882959" sldId="5743"/>
            <ac:spMk id="303" creationId="{84244E65-9B5F-4CD3-9D58-0A2E1555795B}"/>
          </ac:spMkLst>
        </pc:spChg>
      </pc:sldChg>
      <pc:sldChg chg="addSp delSp modSp mod">
        <pc:chgData name="Lamkhade, Rajendra" userId="037a3b39-7b6a-43a8-858f-fde07d8c173f" providerId="ADAL" clId="{CEDAF50F-B282-4BFD-91A3-FB6577DE4AE7}" dt="2021-11-22T14:02:43.964" v="1177" actId="1036"/>
        <pc:sldMkLst>
          <pc:docMk/>
          <pc:sldMk cId="223069063" sldId="10116"/>
        </pc:sldMkLst>
        <pc:spChg chg="mod">
          <ac:chgData name="Lamkhade, Rajendra" userId="037a3b39-7b6a-43a8-858f-fde07d8c173f" providerId="ADAL" clId="{CEDAF50F-B282-4BFD-91A3-FB6577DE4AE7}" dt="2021-11-22T12:54:33.367" v="44" actId="1036"/>
          <ac:spMkLst>
            <pc:docMk/>
            <pc:sldMk cId="223069063" sldId="10116"/>
            <ac:spMk id="4" creationId="{2D6BD0D0-B926-491E-ADB0-7D5175061A08}"/>
          </ac:spMkLst>
        </pc:spChg>
        <pc:spChg chg="mod">
          <ac:chgData name="Lamkhade, Rajendra" userId="037a3b39-7b6a-43a8-858f-fde07d8c173f" providerId="ADAL" clId="{CEDAF50F-B282-4BFD-91A3-FB6577DE4AE7}" dt="2021-11-22T13:09:17.898" v="701" actId="20577"/>
          <ac:spMkLst>
            <pc:docMk/>
            <pc:sldMk cId="223069063" sldId="10116"/>
            <ac:spMk id="6" creationId="{ABC76077-253E-4DD2-850A-D4E6E9749286}"/>
          </ac:spMkLst>
        </pc:spChg>
        <pc:spChg chg="mod">
          <ac:chgData name="Lamkhade, Rajendra" userId="037a3b39-7b6a-43a8-858f-fde07d8c173f" providerId="ADAL" clId="{CEDAF50F-B282-4BFD-91A3-FB6577DE4AE7}" dt="2021-11-22T12:54:33.367" v="44" actId="1036"/>
          <ac:spMkLst>
            <pc:docMk/>
            <pc:sldMk cId="223069063" sldId="10116"/>
            <ac:spMk id="12" creationId="{BFFD79D7-2F40-43A4-8055-A795338E4B28}"/>
          </ac:spMkLst>
        </pc:spChg>
        <pc:spChg chg="mod">
          <ac:chgData name="Lamkhade, Rajendra" userId="037a3b39-7b6a-43a8-858f-fde07d8c173f" providerId="ADAL" clId="{CEDAF50F-B282-4BFD-91A3-FB6577DE4AE7}" dt="2021-11-22T12:54:33.367" v="44" actId="1036"/>
          <ac:spMkLst>
            <pc:docMk/>
            <pc:sldMk cId="223069063" sldId="10116"/>
            <ac:spMk id="13" creationId="{91D237E3-853B-4385-B67A-D1E6B5418825}"/>
          </ac:spMkLst>
        </pc:spChg>
        <pc:spChg chg="mod">
          <ac:chgData name="Lamkhade, Rajendra" userId="037a3b39-7b6a-43a8-858f-fde07d8c173f" providerId="ADAL" clId="{CEDAF50F-B282-4BFD-91A3-FB6577DE4AE7}" dt="2021-11-22T12:54:33.367" v="44" actId="1036"/>
          <ac:spMkLst>
            <pc:docMk/>
            <pc:sldMk cId="223069063" sldId="10116"/>
            <ac:spMk id="14" creationId="{B38E6CBE-9C03-4048-8F6C-E202015AB55E}"/>
          </ac:spMkLst>
        </pc:spChg>
        <pc:spChg chg="add mod">
          <ac:chgData name="Lamkhade, Rajendra" userId="037a3b39-7b6a-43a8-858f-fde07d8c173f" providerId="ADAL" clId="{CEDAF50F-B282-4BFD-91A3-FB6577DE4AE7}" dt="2021-11-22T14:02:43.964" v="1177" actId="1036"/>
          <ac:spMkLst>
            <pc:docMk/>
            <pc:sldMk cId="223069063" sldId="10116"/>
            <ac:spMk id="22" creationId="{079695CE-0E82-46A5-BC19-4F093DF6257F}"/>
          </ac:spMkLst>
        </pc:spChg>
        <pc:spChg chg="add mod">
          <ac:chgData name="Lamkhade, Rajendra" userId="037a3b39-7b6a-43a8-858f-fde07d8c173f" providerId="ADAL" clId="{CEDAF50F-B282-4BFD-91A3-FB6577DE4AE7}" dt="2021-11-22T14:02:43.964" v="1177" actId="1036"/>
          <ac:spMkLst>
            <pc:docMk/>
            <pc:sldMk cId="223069063" sldId="10116"/>
            <ac:spMk id="23" creationId="{C30510E3-CAD7-44F8-BD4D-009F40EAFDD2}"/>
          </ac:spMkLst>
        </pc:spChg>
        <pc:spChg chg="add mod">
          <ac:chgData name="Lamkhade, Rajendra" userId="037a3b39-7b6a-43a8-858f-fde07d8c173f" providerId="ADAL" clId="{CEDAF50F-B282-4BFD-91A3-FB6577DE4AE7}" dt="2021-11-22T14:02:43.964" v="1177" actId="1036"/>
          <ac:spMkLst>
            <pc:docMk/>
            <pc:sldMk cId="223069063" sldId="10116"/>
            <ac:spMk id="24" creationId="{4FCF78FA-EBA4-4F37-8F04-6F1B0BFC0E2D}"/>
          </ac:spMkLst>
        </pc:spChg>
        <pc:spChg chg="add mod">
          <ac:chgData name="Lamkhade, Rajendra" userId="037a3b39-7b6a-43a8-858f-fde07d8c173f" providerId="ADAL" clId="{CEDAF50F-B282-4BFD-91A3-FB6577DE4AE7}" dt="2021-11-22T14:02:43.964" v="1177" actId="1036"/>
          <ac:spMkLst>
            <pc:docMk/>
            <pc:sldMk cId="223069063" sldId="10116"/>
            <ac:spMk id="25" creationId="{3E00B065-38E3-4C78-B3C6-6B32EED45CFE}"/>
          </ac:spMkLst>
        </pc:spChg>
        <pc:spChg chg="add mod">
          <ac:chgData name="Lamkhade, Rajendra" userId="037a3b39-7b6a-43a8-858f-fde07d8c173f" providerId="ADAL" clId="{CEDAF50F-B282-4BFD-91A3-FB6577DE4AE7}" dt="2021-11-22T14:02:43.964" v="1177" actId="1036"/>
          <ac:spMkLst>
            <pc:docMk/>
            <pc:sldMk cId="223069063" sldId="10116"/>
            <ac:spMk id="26" creationId="{72901D9B-A05C-4517-926E-ED9F0C29D95A}"/>
          </ac:spMkLst>
        </pc:spChg>
        <pc:spChg chg="del">
          <ac:chgData name="Lamkhade, Rajendra" userId="037a3b39-7b6a-43a8-858f-fde07d8c173f" providerId="ADAL" clId="{CEDAF50F-B282-4BFD-91A3-FB6577DE4AE7}" dt="2021-11-22T12:54:28.142" v="27" actId="21"/>
          <ac:spMkLst>
            <pc:docMk/>
            <pc:sldMk cId="223069063" sldId="10116"/>
            <ac:spMk id="27" creationId="{80EC74DF-0734-4382-948E-FC6B6C809B67}"/>
          </ac:spMkLst>
        </pc:spChg>
        <pc:spChg chg="del">
          <ac:chgData name="Lamkhade, Rajendra" userId="037a3b39-7b6a-43a8-858f-fde07d8c173f" providerId="ADAL" clId="{CEDAF50F-B282-4BFD-91A3-FB6577DE4AE7}" dt="2021-11-22T12:54:28.142" v="27" actId="21"/>
          <ac:spMkLst>
            <pc:docMk/>
            <pc:sldMk cId="223069063" sldId="10116"/>
            <ac:spMk id="28" creationId="{89D63B07-EBBB-4D16-90DB-072F7C8EA552}"/>
          </ac:spMkLst>
        </pc:spChg>
        <pc:spChg chg="del">
          <ac:chgData name="Lamkhade, Rajendra" userId="037a3b39-7b6a-43a8-858f-fde07d8c173f" providerId="ADAL" clId="{CEDAF50F-B282-4BFD-91A3-FB6577DE4AE7}" dt="2021-11-22T12:54:28.142" v="27" actId="21"/>
          <ac:spMkLst>
            <pc:docMk/>
            <pc:sldMk cId="223069063" sldId="10116"/>
            <ac:spMk id="29" creationId="{CBDABF95-2BBA-46B2-95FB-E6AA85BF62A7}"/>
          </ac:spMkLst>
        </pc:spChg>
        <pc:spChg chg="del">
          <ac:chgData name="Lamkhade, Rajendra" userId="037a3b39-7b6a-43a8-858f-fde07d8c173f" providerId="ADAL" clId="{CEDAF50F-B282-4BFD-91A3-FB6577DE4AE7}" dt="2021-11-22T12:54:28.142" v="27" actId="21"/>
          <ac:spMkLst>
            <pc:docMk/>
            <pc:sldMk cId="223069063" sldId="10116"/>
            <ac:spMk id="30" creationId="{F472C659-7356-4027-AD25-261D10485C5F}"/>
          </ac:spMkLst>
        </pc:spChg>
        <pc:spChg chg="del">
          <ac:chgData name="Lamkhade, Rajendra" userId="037a3b39-7b6a-43a8-858f-fde07d8c173f" providerId="ADAL" clId="{CEDAF50F-B282-4BFD-91A3-FB6577DE4AE7}" dt="2021-11-22T12:54:28.142" v="27" actId="21"/>
          <ac:spMkLst>
            <pc:docMk/>
            <pc:sldMk cId="223069063" sldId="10116"/>
            <ac:spMk id="31" creationId="{029A587D-916A-42D8-AE58-066A8D842175}"/>
          </ac:spMkLst>
        </pc:spChg>
        <pc:spChg chg="del">
          <ac:chgData name="Lamkhade, Rajendra" userId="037a3b39-7b6a-43a8-858f-fde07d8c173f" providerId="ADAL" clId="{CEDAF50F-B282-4BFD-91A3-FB6577DE4AE7}" dt="2021-11-22T12:54:28.142" v="27" actId="21"/>
          <ac:spMkLst>
            <pc:docMk/>
            <pc:sldMk cId="223069063" sldId="10116"/>
            <ac:spMk id="32" creationId="{F58819DF-14E0-4BC2-8434-D14F770FE0EF}"/>
          </ac:spMkLst>
        </pc:spChg>
        <pc:spChg chg="del">
          <ac:chgData name="Lamkhade, Rajendra" userId="037a3b39-7b6a-43a8-858f-fde07d8c173f" providerId="ADAL" clId="{CEDAF50F-B282-4BFD-91A3-FB6577DE4AE7}" dt="2021-11-22T12:54:28.142" v="27" actId="21"/>
          <ac:spMkLst>
            <pc:docMk/>
            <pc:sldMk cId="223069063" sldId="10116"/>
            <ac:spMk id="33" creationId="{A4E18700-6CAD-4574-B3E3-FD38A1C7BA23}"/>
          </ac:spMkLst>
        </pc:spChg>
        <pc:spChg chg="del">
          <ac:chgData name="Lamkhade, Rajendra" userId="037a3b39-7b6a-43a8-858f-fde07d8c173f" providerId="ADAL" clId="{CEDAF50F-B282-4BFD-91A3-FB6577DE4AE7}" dt="2021-11-22T12:54:28.142" v="27" actId="21"/>
          <ac:spMkLst>
            <pc:docMk/>
            <pc:sldMk cId="223069063" sldId="10116"/>
            <ac:spMk id="34" creationId="{70EADB37-E11B-4916-838B-08E4EBBA582D}"/>
          </ac:spMkLst>
        </pc:spChg>
        <pc:spChg chg="add mod">
          <ac:chgData name="Lamkhade, Rajendra" userId="037a3b39-7b6a-43a8-858f-fde07d8c173f" providerId="ADAL" clId="{CEDAF50F-B282-4BFD-91A3-FB6577DE4AE7}" dt="2021-11-22T14:02:43.964" v="1177" actId="1036"/>
          <ac:spMkLst>
            <pc:docMk/>
            <pc:sldMk cId="223069063" sldId="10116"/>
            <ac:spMk id="35" creationId="{87FEF675-C72A-4BDF-A602-6567DB70E38C}"/>
          </ac:spMkLst>
        </pc:spChg>
        <pc:spChg chg="add mod">
          <ac:chgData name="Lamkhade, Rajendra" userId="037a3b39-7b6a-43a8-858f-fde07d8c173f" providerId="ADAL" clId="{CEDAF50F-B282-4BFD-91A3-FB6577DE4AE7}" dt="2021-11-22T14:02:43.964" v="1177" actId="1036"/>
          <ac:spMkLst>
            <pc:docMk/>
            <pc:sldMk cId="223069063" sldId="10116"/>
            <ac:spMk id="36" creationId="{993A3BF3-1F8A-4333-89F0-CED588CFB23C}"/>
          </ac:spMkLst>
        </pc:spChg>
        <pc:spChg chg="add mod">
          <ac:chgData name="Lamkhade, Rajendra" userId="037a3b39-7b6a-43a8-858f-fde07d8c173f" providerId="ADAL" clId="{CEDAF50F-B282-4BFD-91A3-FB6577DE4AE7}" dt="2021-11-22T14:02:43.964" v="1177" actId="1036"/>
          <ac:spMkLst>
            <pc:docMk/>
            <pc:sldMk cId="223069063" sldId="10116"/>
            <ac:spMk id="37" creationId="{CF183F5F-E615-436B-9AE1-2C56305D3EA0}"/>
          </ac:spMkLst>
        </pc:spChg>
        <pc:grpChg chg="mod">
          <ac:chgData name="Lamkhade, Rajendra" userId="037a3b39-7b6a-43a8-858f-fde07d8c173f" providerId="ADAL" clId="{CEDAF50F-B282-4BFD-91A3-FB6577DE4AE7}" dt="2021-11-22T12:54:33.367" v="44" actId="1036"/>
          <ac:grpSpMkLst>
            <pc:docMk/>
            <pc:sldMk cId="223069063" sldId="10116"/>
            <ac:grpSpMk id="5" creationId="{22788DC0-C7D6-4678-A1D6-862146766825}"/>
          </ac:grpSpMkLst>
        </pc:grpChg>
      </pc:sldChg>
      <pc:sldChg chg="addSp delSp modSp mod">
        <pc:chgData name="Lamkhade, Rajendra" userId="037a3b39-7b6a-43a8-858f-fde07d8c173f" providerId="ADAL" clId="{CEDAF50F-B282-4BFD-91A3-FB6577DE4AE7}" dt="2021-11-22T14:19:32.680" v="1563" actId="21"/>
        <pc:sldMkLst>
          <pc:docMk/>
          <pc:sldMk cId="2928391560" sldId="10117"/>
        </pc:sldMkLst>
        <pc:spChg chg="add del mod">
          <ac:chgData name="Lamkhade, Rajendra" userId="037a3b39-7b6a-43a8-858f-fde07d8c173f" providerId="ADAL" clId="{CEDAF50F-B282-4BFD-91A3-FB6577DE4AE7}" dt="2021-11-22T14:19:32.680" v="1563" actId="21"/>
          <ac:spMkLst>
            <pc:docMk/>
            <pc:sldMk cId="2928391560" sldId="10117"/>
            <ac:spMk id="4" creationId="{A7BF1CE7-80C4-4870-97D0-88100FA73BB6}"/>
          </ac:spMkLst>
        </pc:spChg>
        <pc:spChg chg="mod">
          <ac:chgData name="Lamkhade, Rajendra" userId="037a3b39-7b6a-43a8-858f-fde07d8c173f" providerId="ADAL" clId="{CEDAF50F-B282-4BFD-91A3-FB6577DE4AE7}" dt="2021-11-22T14:18:45.154" v="1555" actId="20577"/>
          <ac:spMkLst>
            <pc:docMk/>
            <pc:sldMk cId="2928391560" sldId="10117"/>
            <ac:spMk id="5" creationId="{46F18EF0-DD07-443B-AA38-6509A481B8C0}"/>
          </ac:spMkLst>
        </pc:spChg>
      </pc:sldChg>
      <pc:sldChg chg="modSp mod">
        <pc:chgData name="Lamkhade, Rajendra" userId="037a3b39-7b6a-43a8-858f-fde07d8c173f" providerId="ADAL" clId="{CEDAF50F-B282-4BFD-91A3-FB6577DE4AE7}" dt="2021-11-22T13:38:59.059" v="1071" actId="20577"/>
        <pc:sldMkLst>
          <pc:docMk/>
          <pc:sldMk cId="1712611546" sldId="10121"/>
        </pc:sldMkLst>
        <pc:spChg chg="mod">
          <ac:chgData name="Lamkhade, Rajendra" userId="037a3b39-7b6a-43a8-858f-fde07d8c173f" providerId="ADAL" clId="{CEDAF50F-B282-4BFD-91A3-FB6577DE4AE7}" dt="2021-11-22T13:38:59.059" v="1071" actId="20577"/>
          <ac:spMkLst>
            <pc:docMk/>
            <pc:sldMk cId="1712611546" sldId="10121"/>
            <ac:spMk id="2" creationId="{4C6B6300-82BC-467C-A08B-F3123ECFCA37}"/>
          </ac:spMkLst>
        </pc:spChg>
      </pc:sldChg>
      <pc:sldChg chg="delSp modSp add del mod">
        <pc:chgData name="Lamkhade, Rajendra" userId="037a3b39-7b6a-43a8-858f-fde07d8c173f" providerId="ADAL" clId="{CEDAF50F-B282-4BFD-91A3-FB6577DE4AE7}" dt="2021-11-22T13:49:42.938" v="1128" actId="2696"/>
        <pc:sldMkLst>
          <pc:docMk/>
          <pc:sldMk cId="1051102882" sldId="10124"/>
        </pc:sldMkLst>
        <pc:spChg chg="mod">
          <ac:chgData name="Lamkhade, Rajendra" userId="037a3b39-7b6a-43a8-858f-fde07d8c173f" providerId="ADAL" clId="{CEDAF50F-B282-4BFD-91A3-FB6577DE4AE7}" dt="2021-11-22T13:34:21.764" v="986" actId="948"/>
          <ac:spMkLst>
            <pc:docMk/>
            <pc:sldMk cId="1051102882" sldId="10124"/>
            <ac:spMk id="8" creationId="{8F2B9783-F525-4D4A-8FDA-2B2AB39215CE}"/>
          </ac:spMkLst>
        </pc:spChg>
        <pc:spChg chg="mod">
          <ac:chgData name="Lamkhade, Rajendra" userId="037a3b39-7b6a-43a8-858f-fde07d8c173f" providerId="ADAL" clId="{CEDAF50F-B282-4BFD-91A3-FB6577DE4AE7}" dt="2021-11-22T13:34:21.764" v="986" actId="948"/>
          <ac:spMkLst>
            <pc:docMk/>
            <pc:sldMk cId="1051102882" sldId="10124"/>
            <ac:spMk id="11" creationId="{6726C4BB-BAAC-403F-81F2-70E5A89A0AB3}"/>
          </ac:spMkLst>
        </pc:spChg>
        <pc:spChg chg="mod">
          <ac:chgData name="Lamkhade, Rajendra" userId="037a3b39-7b6a-43a8-858f-fde07d8c173f" providerId="ADAL" clId="{CEDAF50F-B282-4BFD-91A3-FB6577DE4AE7}" dt="2021-11-22T13:34:21.764" v="986" actId="948"/>
          <ac:spMkLst>
            <pc:docMk/>
            <pc:sldMk cId="1051102882" sldId="10124"/>
            <ac:spMk id="13" creationId="{D4D63A21-70B3-4EE0-A0FC-27B243A11E05}"/>
          </ac:spMkLst>
        </pc:spChg>
        <pc:grpChg chg="mod">
          <ac:chgData name="Lamkhade, Rajendra" userId="037a3b39-7b6a-43a8-858f-fde07d8c173f" providerId="ADAL" clId="{CEDAF50F-B282-4BFD-91A3-FB6577DE4AE7}" dt="2021-11-22T13:35:02.883" v="989" actId="14100"/>
          <ac:grpSpMkLst>
            <pc:docMk/>
            <pc:sldMk cId="1051102882" sldId="10124"/>
            <ac:grpSpMk id="7" creationId="{1E66BC84-F424-4CC5-B772-E257D08D0624}"/>
          </ac:grpSpMkLst>
        </pc:grpChg>
        <pc:picChg chg="del">
          <ac:chgData name="Lamkhade, Rajendra" userId="037a3b39-7b6a-43a8-858f-fde07d8c173f" providerId="ADAL" clId="{CEDAF50F-B282-4BFD-91A3-FB6577DE4AE7}" dt="2021-11-22T13:34:53.992" v="987" actId="478"/>
          <ac:picMkLst>
            <pc:docMk/>
            <pc:sldMk cId="1051102882" sldId="10124"/>
            <ac:picMk id="9" creationId="{DFC542EB-2D78-48D3-830B-1007F3A76572}"/>
          </ac:picMkLst>
        </pc:picChg>
      </pc:sldChg>
      <pc:sldChg chg="add">
        <pc:chgData name="Lamkhade, Rajendra" userId="037a3b39-7b6a-43a8-858f-fde07d8c173f" providerId="ADAL" clId="{CEDAF50F-B282-4BFD-91A3-FB6577DE4AE7}" dt="2021-11-22T13:49:53.306" v="1129"/>
        <pc:sldMkLst>
          <pc:docMk/>
          <pc:sldMk cId="3428290778" sldId="10124"/>
        </pc:sldMkLst>
      </pc:sldChg>
      <pc:sldChg chg="modSp mod">
        <pc:chgData name="Lamkhade, Rajendra" userId="037a3b39-7b6a-43a8-858f-fde07d8c173f" providerId="ADAL" clId="{CEDAF50F-B282-4BFD-91A3-FB6577DE4AE7}" dt="2021-11-22T14:28:09.706" v="1612" actId="20577"/>
        <pc:sldMkLst>
          <pc:docMk/>
          <pc:sldMk cId="3911065056" sldId="10127"/>
        </pc:sldMkLst>
        <pc:spChg chg="mod">
          <ac:chgData name="Lamkhade, Rajendra" userId="037a3b39-7b6a-43a8-858f-fde07d8c173f" providerId="ADAL" clId="{CEDAF50F-B282-4BFD-91A3-FB6577DE4AE7}" dt="2021-11-22T14:28:09.706" v="1612" actId="20577"/>
          <ac:spMkLst>
            <pc:docMk/>
            <pc:sldMk cId="3911065056" sldId="10127"/>
            <ac:spMk id="4" creationId="{A4D16EC2-DCB7-41D0-B973-45CC78208EE9}"/>
          </ac:spMkLst>
        </pc:spChg>
      </pc:sldChg>
      <pc:sldChg chg="del">
        <pc:chgData name="Lamkhade, Rajendra" userId="037a3b39-7b6a-43a8-858f-fde07d8c173f" providerId="ADAL" clId="{CEDAF50F-B282-4BFD-91A3-FB6577DE4AE7}" dt="2021-11-22T13:55:23.152" v="1158" actId="47"/>
        <pc:sldMkLst>
          <pc:docMk/>
          <pc:sldMk cId="713996756" sldId="10131"/>
        </pc:sldMkLst>
      </pc:sldChg>
      <pc:sldChg chg="delSp mod">
        <pc:chgData name="Lamkhade, Rajendra" userId="037a3b39-7b6a-43a8-858f-fde07d8c173f" providerId="ADAL" clId="{CEDAF50F-B282-4BFD-91A3-FB6577DE4AE7}" dt="2021-11-22T14:11:01.314" v="1386" actId="478"/>
        <pc:sldMkLst>
          <pc:docMk/>
          <pc:sldMk cId="160644802" sldId="230717716"/>
        </pc:sldMkLst>
        <pc:spChg chg="del">
          <ac:chgData name="Lamkhade, Rajendra" userId="037a3b39-7b6a-43a8-858f-fde07d8c173f" providerId="ADAL" clId="{CEDAF50F-B282-4BFD-91A3-FB6577DE4AE7}" dt="2021-11-22T14:11:01.314" v="1386" actId="478"/>
          <ac:spMkLst>
            <pc:docMk/>
            <pc:sldMk cId="160644802" sldId="230717716"/>
            <ac:spMk id="155" creationId="{00000000-0000-0000-0000-000000000000}"/>
          </ac:spMkLst>
        </pc:spChg>
      </pc:sldChg>
      <pc:sldChg chg="delSp modSp mod">
        <pc:chgData name="Lamkhade, Rajendra" userId="037a3b39-7b6a-43a8-858f-fde07d8c173f" providerId="ADAL" clId="{CEDAF50F-B282-4BFD-91A3-FB6577DE4AE7}" dt="2021-11-22T14:13:58.912" v="1465" actId="179"/>
        <pc:sldMkLst>
          <pc:docMk/>
          <pc:sldMk cId="1310996127" sldId="230717717"/>
        </pc:sldMkLst>
        <pc:spChg chg="mod">
          <ac:chgData name="Lamkhade, Rajendra" userId="037a3b39-7b6a-43a8-858f-fde07d8c173f" providerId="ADAL" clId="{CEDAF50F-B282-4BFD-91A3-FB6577DE4AE7}" dt="2021-11-22T13:02:10.743" v="410" actId="20577"/>
          <ac:spMkLst>
            <pc:docMk/>
            <pc:sldMk cId="1310996127" sldId="230717717"/>
            <ac:spMk id="3" creationId="{5FAE8C00-A2DA-4B9A-9B23-A22B63D5FD1A}"/>
          </ac:spMkLst>
        </pc:spChg>
        <pc:spChg chg="mod">
          <ac:chgData name="Lamkhade, Rajendra" userId="037a3b39-7b6a-43a8-858f-fde07d8c173f" providerId="ADAL" clId="{CEDAF50F-B282-4BFD-91A3-FB6577DE4AE7}" dt="2021-11-22T14:11:27.774" v="1410" actId="1036"/>
          <ac:spMkLst>
            <pc:docMk/>
            <pc:sldMk cId="1310996127" sldId="230717717"/>
            <ac:spMk id="11" creationId="{00000000-0000-0000-0000-000000000000}"/>
          </ac:spMkLst>
        </pc:spChg>
        <pc:spChg chg="mod">
          <ac:chgData name="Lamkhade, Rajendra" userId="037a3b39-7b6a-43a8-858f-fde07d8c173f" providerId="ADAL" clId="{CEDAF50F-B282-4BFD-91A3-FB6577DE4AE7}" dt="2021-11-22T14:11:27.774" v="1410" actId="1036"/>
          <ac:spMkLst>
            <pc:docMk/>
            <pc:sldMk cId="1310996127" sldId="230717717"/>
            <ac:spMk id="20" creationId="{00000000-0000-0000-0000-000000000000}"/>
          </ac:spMkLst>
        </pc:spChg>
        <pc:spChg chg="mod">
          <ac:chgData name="Lamkhade, Rajendra" userId="037a3b39-7b6a-43a8-858f-fde07d8c173f" providerId="ADAL" clId="{CEDAF50F-B282-4BFD-91A3-FB6577DE4AE7}" dt="2021-11-22T14:11:27.774" v="1410" actId="1036"/>
          <ac:spMkLst>
            <pc:docMk/>
            <pc:sldMk cId="1310996127" sldId="230717717"/>
            <ac:spMk id="21" creationId="{00000000-0000-0000-0000-000000000000}"/>
          </ac:spMkLst>
        </pc:spChg>
        <pc:spChg chg="mod">
          <ac:chgData name="Lamkhade, Rajendra" userId="037a3b39-7b6a-43a8-858f-fde07d8c173f" providerId="ADAL" clId="{CEDAF50F-B282-4BFD-91A3-FB6577DE4AE7}" dt="2021-11-22T14:11:27.774" v="1410" actId="1036"/>
          <ac:spMkLst>
            <pc:docMk/>
            <pc:sldMk cId="1310996127" sldId="230717717"/>
            <ac:spMk id="22" creationId="{00000000-0000-0000-0000-000000000000}"/>
          </ac:spMkLst>
        </pc:spChg>
        <pc:spChg chg="mod">
          <ac:chgData name="Lamkhade, Rajendra" userId="037a3b39-7b6a-43a8-858f-fde07d8c173f" providerId="ADAL" clId="{CEDAF50F-B282-4BFD-91A3-FB6577DE4AE7}" dt="2021-11-22T14:11:27.774" v="1410" actId="1036"/>
          <ac:spMkLst>
            <pc:docMk/>
            <pc:sldMk cId="1310996127" sldId="230717717"/>
            <ac:spMk id="23" creationId="{00000000-0000-0000-0000-000000000000}"/>
          </ac:spMkLst>
        </pc:spChg>
        <pc:spChg chg="mod">
          <ac:chgData name="Lamkhade, Rajendra" userId="037a3b39-7b6a-43a8-858f-fde07d8c173f" providerId="ADAL" clId="{CEDAF50F-B282-4BFD-91A3-FB6577DE4AE7}" dt="2021-11-22T14:13:58.912" v="1465" actId="179"/>
          <ac:spMkLst>
            <pc:docMk/>
            <pc:sldMk cId="1310996127" sldId="230717717"/>
            <ac:spMk id="24" creationId="{00000000-0000-0000-0000-000000000000}"/>
          </ac:spMkLst>
        </pc:spChg>
        <pc:spChg chg="mod">
          <ac:chgData name="Lamkhade, Rajendra" userId="037a3b39-7b6a-43a8-858f-fde07d8c173f" providerId="ADAL" clId="{CEDAF50F-B282-4BFD-91A3-FB6577DE4AE7}" dt="2021-11-22T14:12:36.119" v="1431" actId="108"/>
          <ac:spMkLst>
            <pc:docMk/>
            <pc:sldMk cId="1310996127" sldId="230717717"/>
            <ac:spMk id="26" creationId="{00000000-0000-0000-0000-000000000000}"/>
          </ac:spMkLst>
        </pc:spChg>
        <pc:spChg chg="mod">
          <ac:chgData name="Lamkhade, Rajendra" userId="037a3b39-7b6a-43a8-858f-fde07d8c173f" providerId="ADAL" clId="{CEDAF50F-B282-4BFD-91A3-FB6577DE4AE7}" dt="2021-11-22T14:12:39.045" v="1433" actId="108"/>
          <ac:spMkLst>
            <pc:docMk/>
            <pc:sldMk cId="1310996127" sldId="230717717"/>
            <ac:spMk id="29" creationId="{00000000-0000-0000-0000-000000000000}"/>
          </ac:spMkLst>
        </pc:spChg>
        <pc:spChg chg="mod">
          <ac:chgData name="Lamkhade, Rajendra" userId="037a3b39-7b6a-43a8-858f-fde07d8c173f" providerId="ADAL" clId="{CEDAF50F-B282-4BFD-91A3-FB6577DE4AE7}" dt="2021-11-22T14:12:40.826" v="1434" actId="108"/>
          <ac:spMkLst>
            <pc:docMk/>
            <pc:sldMk cId="1310996127" sldId="230717717"/>
            <ac:spMk id="32" creationId="{00000000-0000-0000-0000-000000000000}"/>
          </ac:spMkLst>
        </pc:spChg>
        <pc:spChg chg="del mod">
          <ac:chgData name="Lamkhade, Rajendra" userId="037a3b39-7b6a-43a8-858f-fde07d8c173f" providerId="ADAL" clId="{CEDAF50F-B282-4BFD-91A3-FB6577DE4AE7}" dt="2021-11-22T14:11:16.822" v="1391" actId="478"/>
          <ac:spMkLst>
            <pc:docMk/>
            <pc:sldMk cId="1310996127" sldId="230717717"/>
            <ac:spMk id="128" creationId="{00000000-0000-0000-0000-000000000000}"/>
          </ac:spMkLst>
        </pc:spChg>
        <pc:spChg chg="mod">
          <ac:chgData name="Lamkhade, Rajendra" userId="037a3b39-7b6a-43a8-858f-fde07d8c173f" providerId="ADAL" clId="{CEDAF50F-B282-4BFD-91A3-FB6577DE4AE7}" dt="2021-11-22T14:11:27.774" v="1410" actId="1036"/>
          <ac:spMkLst>
            <pc:docMk/>
            <pc:sldMk cId="1310996127" sldId="230717717"/>
            <ac:spMk id="171" creationId="{00000000-0000-0000-0000-000000000000}"/>
          </ac:spMkLst>
        </pc:spChg>
        <pc:spChg chg="mod">
          <ac:chgData name="Lamkhade, Rajendra" userId="037a3b39-7b6a-43a8-858f-fde07d8c173f" providerId="ADAL" clId="{CEDAF50F-B282-4BFD-91A3-FB6577DE4AE7}" dt="2021-11-22T14:11:27.774" v="1410" actId="1036"/>
          <ac:spMkLst>
            <pc:docMk/>
            <pc:sldMk cId="1310996127" sldId="230717717"/>
            <ac:spMk id="172" creationId="{00000000-0000-0000-0000-000000000000}"/>
          </ac:spMkLst>
        </pc:spChg>
        <pc:spChg chg="mod">
          <ac:chgData name="Lamkhade, Rajendra" userId="037a3b39-7b6a-43a8-858f-fde07d8c173f" providerId="ADAL" clId="{CEDAF50F-B282-4BFD-91A3-FB6577DE4AE7}" dt="2021-11-22T14:11:27.774" v="1410" actId="1036"/>
          <ac:spMkLst>
            <pc:docMk/>
            <pc:sldMk cId="1310996127" sldId="230717717"/>
            <ac:spMk id="173" creationId="{00000000-0000-0000-0000-000000000000}"/>
          </ac:spMkLst>
        </pc:spChg>
        <pc:spChg chg="mod">
          <ac:chgData name="Lamkhade, Rajendra" userId="037a3b39-7b6a-43a8-858f-fde07d8c173f" providerId="ADAL" clId="{CEDAF50F-B282-4BFD-91A3-FB6577DE4AE7}" dt="2021-11-22T14:12:37.217" v="1432" actId="108"/>
          <ac:spMkLst>
            <pc:docMk/>
            <pc:sldMk cId="1310996127" sldId="230717717"/>
            <ac:spMk id="174" creationId="{DEA3F0F7-1F24-4CD4-B1C3-B5D3064A10E0}"/>
          </ac:spMkLst>
        </pc:spChg>
        <pc:spChg chg="mod">
          <ac:chgData name="Lamkhade, Rajendra" userId="037a3b39-7b6a-43a8-858f-fde07d8c173f" providerId="ADAL" clId="{CEDAF50F-B282-4BFD-91A3-FB6577DE4AE7}" dt="2021-11-22T14:11:27.774" v="1410" actId="1036"/>
          <ac:spMkLst>
            <pc:docMk/>
            <pc:sldMk cId="1310996127" sldId="230717717"/>
            <ac:spMk id="202" creationId="{22683802-75F6-473A-8B94-953A62AFBFBC}"/>
          </ac:spMkLst>
        </pc:spChg>
        <pc:spChg chg="mod">
          <ac:chgData name="Lamkhade, Rajendra" userId="037a3b39-7b6a-43a8-858f-fde07d8c173f" providerId="ADAL" clId="{CEDAF50F-B282-4BFD-91A3-FB6577DE4AE7}" dt="2021-11-22T14:11:27.774" v="1410" actId="1036"/>
          <ac:spMkLst>
            <pc:docMk/>
            <pc:sldMk cId="1310996127" sldId="230717717"/>
            <ac:spMk id="203" creationId="{3EE75F51-C7B9-42A5-B15F-9D9CDD9FEBDA}"/>
          </ac:spMkLst>
        </pc:spChg>
        <pc:grpChg chg="mod">
          <ac:chgData name="Lamkhade, Rajendra" userId="037a3b39-7b6a-43a8-858f-fde07d8c173f" providerId="ADAL" clId="{CEDAF50F-B282-4BFD-91A3-FB6577DE4AE7}" dt="2021-11-22T14:11:27.774" v="1410" actId="1036"/>
          <ac:grpSpMkLst>
            <pc:docMk/>
            <pc:sldMk cId="1310996127" sldId="230717717"/>
            <ac:grpSpMk id="7" creationId="{00000000-0000-0000-0000-000000000000}"/>
          </ac:grpSpMkLst>
        </pc:grpChg>
        <pc:grpChg chg="mod">
          <ac:chgData name="Lamkhade, Rajendra" userId="037a3b39-7b6a-43a8-858f-fde07d8c173f" providerId="ADAL" clId="{CEDAF50F-B282-4BFD-91A3-FB6577DE4AE7}" dt="2021-11-22T14:11:27.774" v="1410" actId="1036"/>
          <ac:grpSpMkLst>
            <pc:docMk/>
            <pc:sldMk cId="1310996127" sldId="230717717"/>
            <ac:grpSpMk id="63" creationId="{00000000-0000-0000-0000-000000000000}"/>
          </ac:grpSpMkLst>
        </pc:grpChg>
        <pc:grpChg chg="mod">
          <ac:chgData name="Lamkhade, Rajendra" userId="037a3b39-7b6a-43a8-858f-fde07d8c173f" providerId="ADAL" clId="{CEDAF50F-B282-4BFD-91A3-FB6577DE4AE7}" dt="2021-11-22T14:11:27.774" v="1410" actId="1036"/>
          <ac:grpSpMkLst>
            <pc:docMk/>
            <pc:sldMk cId="1310996127" sldId="230717717"/>
            <ac:grpSpMk id="90" creationId="{00000000-0000-0000-0000-000000000000}"/>
          </ac:grpSpMkLst>
        </pc:grpChg>
        <pc:grpChg chg="mod">
          <ac:chgData name="Lamkhade, Rajendra" userId="037a3b39-7b6a-43a8-858f-fde07d8c173f" providerId="ADAL" clId="{CEDAF50F-B282-4BFD-91A3-FB6577DE4AE7}" dt="2021-11-22T14:11:27.774" v="1410" actId="1036"/>
          <ac:grpSpMkLst>
            <pc:docMk/>
            <pc:sldMk cId="1310996127" sldId="230717717"/>
            <ac:grpSpMk id="175" creationId="{5B27CF8D-17DA-4906-ADAC-DFDBF593C872}"/>
          </ac:grpSpMkLst>
        </pc:grpChg>
        <pc:cxnChg chg="mod">
          <ac:chgData name="Lamkhade, Rajendra" userId="037a3b39-7b6a-43a8-858f-fde07d8c173f" providerId="ADAL" clId="{CEDAF50F-B282-4BFD-91A3-FB6577DE4AE7}" dt="2021-11-22T14:11:27.774" v="1410" actId="1036"/>
          <ac:cxnSpMkLst>
            <pc:docMk/>
            <pc:sldMk cId="1310996127" sldId="230717717"/>
            <ac:cxnSpMk id="4" creationId="{00000000-0000-0000-0000-000000000000}"/>
          </ac:cxnSpMkLst>
        </pc:cxnChg>
      </pc:sldChg>
      <pc:sldChg chg="delSp modSp mod">
        <pc:chgData name="Lamkhade, Rajendra" userId="037a3b39-7b6a-43a8-858f-fde07d8c173f" providerId="ADAL" clId="{CEDAF50F-B282-4BFD-91A3-FB6577DE4AE7}" dt="2021-11-22T14:14:16.771" v="1468" actId="1076"/>
        <pc:sldMkLst>
          <pc:docMk/>
          <pc:sldMk cId="3466038604" sldId="230717728"/>
        </pc:sldMkLst>
        <pc:spChg chg="mod">
          <ac:chgData name="Lamkhade, Rajendra" userId="037a3b39-7b6a-43a8-858f-fde07d8c173f" providerId="ADAL" clId="{CEDAF50F-B282-4BFD-91A3-FB6577DE4AE7}" dt="2021-11-22T13:03:13.415" v="432" actId="20577"/>
          <ac:spMkLst>
            <pc:docMk/>
            <pc:sldMk cId="3466038604" sldId="230717728"/>
            <ac:spMk id="3" creationId="{EB496A3C-5DEE-4E86-BAE0-87C7AD8C80EC}"/>
          </ac:spMkLst>
        </pc:spChg>
        <pc:spChg chg="mod">
          <ac:chgData name="Lamkhade, Rajendra" userId="037a3b39-7b6a-43a8-858f-fde07d8c173f" providerId="ADAL" clId="{CEDAF50F-B282-4BFD-91A3-FB6577DE4AE7}" dt="2021-11-22T14:14:16.771" v="1468" actId="1076"/>
          <ac:spMkLst>
            <pc:docMk/>
            <pc:sldMk cId="3466038604" sldId="230717728"/>
            <ac:spMk id="24" creationId="{00000000-0000-0000-0000-000000000000}"/>
          </ac:spMkLst>
        </pc:spChg>
        <pc:spChg chg="mod">
          <ac:chgData name="Lamkhade, Rajendra" userId="037a3b39-7b6a-43a8-858f-fde07d8c173f" providerId="ADAL" clId="{CEDAF50F-B282-4BFD-91A3-FB6577DE4AE7}" dt="2021-11-22T14:12:23.842" v="1426" actId="108"/>
          <ac:spMkLst>
            <pc:docMk/>
            <pc:sldMk cId="3466038604" sldId="230717728"/>
            <ac:spMk id="26" creationId="{00000000-0000-0000-0000-000000000000}"/>
          </ac:spMkLst>
        </pc:spChg>
        <pc:spChg chg="mod">
          <ac:chgData name="Lamkhade, Rajendra" userId="037a3b39-7b6a-43a8-858f-fde07d8c173f" providerId="ADAL" clId="{CEDAF50F-B282-4BFD-91A3-FB6577DE4AE7}" dt="2021-11-22T14:12:27.653" v="1428" actId="108"/>
          <ac:spMkLst>
            <pc:docMk/>
            <pc:sldMk cId="3466038604" sldId="230717728"/>
            <ac:spMk id="32" creationId="{00000000-0000-0000-0000-000000000000}"/>
          </ac:spMkLst>
        </pc:spChg>
        <pc:spChg chg="mod">
          <ac:chgData name="Lamkhade, Rajendra" userId="037a3b39-7b6a-43a8-858f-fde07d8c173f" providerId="ADAL" clId="{CEDAF50F-B282-4BFD-91A3-FB6577DE4AE7}" dt="2021-11-22T14:12:29.771" v="1429" actId="108"/>
          <ac:spMkLst>
            <pc:docMk/>
            <pc:sldMk cId="3466038604" sldId="230717728"/>
            <ac:spMk id="35" creationId="{00000000-0000-0000-0000-000000000000}"/>
          </ac:spMkLst>
        </pc:spChg>
        <pc:spChg chg="del mod">
          <ac:chgData name="Lamkhade, Rajendra" userId="037a3b39-7b6a-43a8-858f-fde07d8c173f" providerId="ADAL" clId="{CEDAF50F-B282-4BFD-91A3-FB6577DE4AE7}" dt="2021-11-22T14:11:13.500" v="1390" actId="478"/>
          <ac:spMkLst>
            <pc:docMk/>
            <pc:sldMk cId="3466038604" sldId="230717728"/>
            <ac:spMk id="144" creationId="{00000000-0000-0000-0000-000000000000}"/>
          </ac:spMkLst>
        </pc:spChg>
        <pc:spChg chg="mod">
          <ac:chgData name="Lamkhade, Rajendra" userId="037a3b39-7b6a-43a8-858f-fde07d8c173f" providerId="ADAL" clId="{CEDAF50F-B282-4BFD-91A3-FB6577DE4AE7}" dt="2021-11-22T14:12:25.245" v="1427" actId="108"/>
          <ac:spMkLst>
            <pc:docMk/>
            <pc:sldMk cId="3466038604" sldId="230717728"/>
            <ac:spMk id="174" creationId="{DEA3F0F7-1F24-4CD4-B1C3-B5D3064A10E0}"/>
          </ac:spMkLst>
        </pc:spChg>
      </pc:sldChg>
      <pc:sldChg chg="del">
        <pc:chgData name="Lamkhade, Rajendra" userId="037a3b39-7b6a-43a8-858f-fde07d8c173f" providerId="ADAL" clId="{CEDAF50F-B282-4BFD-91A3-FB6577DE4AE7}" dt="2021-11-22T13:55:23.152" v="1158" actId="47"/>
        <pc:sldMkLst>
          <pc:docMk/>
          <pc:sldMk cId="2229882248" sldId="2147308266"/>
        </pc:sldMkLst>
      </pc:sldChg>
      <pc:sldChg chg="modSp add del mod">
        <pc:chgData name="Lamkhade, Rajendra" userId="037a3b39-7b6a-43a8-858f-fde07d8c173f" providerId="ADAL" clId="{CEDAF50F-B282-4BFD-91A3-FB6577DE4AE7}" dt="2021-11-22T13:44:59.197" v="1097" actId="47"/>
        <pc:sldMkLst>
          <pc:docMk/>
          <pc:sldMk cId="87861267" sldId="2147308279"/>
        </pc:sldMkLst>
        <pc:spChg chg="mod">
          <ac:chgData name="Lamkhade, Rajendra" userId="037a3b39-7b6a-43a8-858f-fde07d8c173f" providerId="ADAL" clId="{CEDAF50F-B282-4BFD-91A3-FB6577DE4AE7}" dt="2021-11-22T13:42:22.956" v="1090" actId="113"/>
          <ac:spMkLst>
            <pc:docMk/>
            <pc:sldMk cId="87861267" sldId="2147308279"/>
            <ac:spMk id="4" creationId="{8FB3F0C9-7C0B-40DD-8866-C43115C74099}"/>
          </ac:spMkLst>
        </pc:spChg>
      </pc:sldChg>
      <pc:sldChg chg="modSp mod">
        <pc:chgData name="Lamkhade, Rajendra" userId="037a3b39-7b6a-43a8-858f-fde07d8c173f" providerId="ADAL" clId="{CEDAF50F-B282-4BFD-91A3-FB6577DE4AE7}" dt="2021-11-22T14:10:49.158" v="1385" actId="20577"/>
        <pc:sldMkLst>
          <pc:docMk/>
          <pc:sldMk cId="1755996912" sldId="2147308282"/>
        </pc:sldMkLst>
        <pc:graphicFrameChg chg="mod modGraphic">
          <ac:chgData name="Lamkhade, Rajendra" userId="037a3b39-7b6a-43a8-858f-fde07d8c173f" providerId="ADAL" clId="{CEDAF50F-B282-4BFD-91A3-FB6577DE4AE7}" dt="2021-11-22T14:10:49.158" v="1385" actId="20577"/>
          <ac:graphicFrameMkLst>
            <pc:docMk/>
            <pc:sldMk cId="1755996912" sldId="2147308282"/>
            <ac:graphicFrameMk id="30" creationId="{00000000-0000-0000-0000-000000000000}"/>
          </ac:graphicFrameMkLst>
        </pc:graphicFrameChg>
      </pc:sldChg>
      <pc:sldChg chg="del">
        <pc:chgData name="Lamkhade, Rajendra" userId="037a3b39-7b6a-43a8-858f-fde07d8c173f" providerId="ADAL" clId="{CEDAF50F-B282-4BFD-91A3-FB6577DE4AE7}" dt="2021-11-22T13:55:14.254" v="1157" actId="47"/>
        <pc:sldMkLst>
          <pc:docMk/>
          <pc:sldMk cId="3604662617" sldId="2147308289"/>
        </pc:sldMkLst>
      </pc:sldChg>
      <pc:sldChg chg="addSp delSp modSp mod">
        <pc:chgData name="Lamkhade, Rajendra" userId="037a3b39-7b6a-43a8-858f-fde07d8c173f" providerId="ADAL" clId="{CEDAF50F-B282-4BFD-91A3-FB6577DE4AE7}" dt="2021-11-22T13:41:17.031" v="1087" actId="114"/>
        <pc:sldMkLst>
          <pc:docMk/>
          <pc:sldMk cId="3215845862" sldId="2147308299"/>
        </pc:sldMkLst>
        <pc:spChg chg="add del mod">
          <ac:chgData name="Lamkhade, Rajendra" userId="037a3b39-7b6a-43a8-858f-fde07d8c173f" providerId="ADAL" clId="{CEDAF50F-B282-4BFD-91A3-FB6577DE4AE7}" dt="2021-11-22T13:40:41.745" v="1082" actId="478"/>
          <ac:spMkLst>
            <pc:docMk/>
            <pc:sldMk cId="3215845862" sldId="2147308299"/>
            <ac:spMk id="19" creationId="{AED0E00C-9023-415A-835A-B8EE4C6C5246}"/>
          </ac:spMkLst>
        </pc:spChg>
        <pc:spChg chg="del">
          <ac:chgData name="Lamkhade, Rajendra" userId="037a3b39-7b6a-43a8-858f-fde07d8c173f" providerId="ADAL" clId="{CEDAF50F-B282-4BFD-91A3-FB6577DE4AE7}" dt="2021-11-22T13:40:48.540" v="1084" actId="478"/>
          <ac:spMkLst>
            <pc:docMk/>
            <pc:sldMk cId="3215845862" sldId="2147308299"/>
            <ac:spMk id="75" creationId="{8122818F-4523-42E2-A0BE-7E590982DB02}"/>
          </ac:spMkLst>
        </pc:spChg>
        <pc:spChg chg="mod">
          <ac:chgData name="Lamkhade, Rajendra" userId="037a3b39-7b6a-43a8-858f-fde07d8c173f" providerId="ADAL" clId="{CEDAF50F-B282-4BFD-91A3-FB6577DE4AE7}" dt="2021-11-22T13:40:46.698" v="1083" actId="14100"/>
          <ac:spMkLst>
            <pc:docMk/>
            <pc:sldMk cId="3215845862" sldId="2147308299"/>
            <ac:spMk id="80" creationId="{E2306FB0-96A2-4249-99F9-F46E930CF2FA}"/>
          </ac:spMkLst>
        </pc:spChg>
        <pc:spChg chg="mod">
          <ac:chgData name="Lamkhade, Rajendra" userId="037a3b39-7b6a-43a8-858f-fde07d8c173f" providerId="ADAL" clId="{CEDAF50F-B282-4BFD-91A3-FB6577DE4AE7}" dt="2021-11-22T13:41:17.031" v="1087" actId="114"/>
          <ac:spMkLst>
            <pc:docMk/>
            <pc:sldMk cId="3215845862" sldId="2147308299"/>
            <ac:spMk id="82" creationId="{47421098-161D-477F-9E85-74B2E8FCCCA1}"/>
          </ac:spMkLst>
        </pc:spChg>
        <pc:spChg chg="mod">
          <ac:chgData name="Lamkhade, Rajendra" userId="037a3b39-7b6a-43a8-858f-fde07d8c173f" providerId="ADAL" clId="{CEDAF50F-B282-4BFD-91A3-FB6577DE4AE7}" dt="2021-11-22T13:41:01.742" v="1085" actId="14100"/>
          <ac:spMkLst>
            <pc:docMk/>
            <pc:sldMk cId="3215845862" sldId="2147308299"/>
            <ac:spMk id="88" creationId="{B6A1CD21-4F74-4345-B8D2-9CE41A61893B}"/>
          </ac:spMkLst>
        </pc:spChg>
      </pc:sldChg>
      <pc:sldChg chg="addSp modSp mod">
        <pc:chgData name="Lamkhade, Rajendra" userId="037a3b39-7b6a-43a8-858f-fde07d8c173f" providerId="ADAL" clId="{CEDAF50F-B282-4BFD-91A3-FB6577DE4AE7}" dt="2021-11-22T13:37:19.177" v="1050" actId="1037"/>
        <pc:sldMkLst>
          <pc:docMk/>
          <pc:sldMk cId="477955872" sldId="2147308306"/>
        </pc:sldMkLst>
        <pc:spChg chg="add mod">
          <ac:chgData name="Lamkhade, Rajendra" userId="037a3b39-7b6a-43a8-858f-fde07d8c173f" providerId="ADAL" clId="{CEDAF50F-B282-4BFD-91A3-FB6577DE4AE7}" dt="2021-11-22T13:37:19.177" v="1050" actId="1037"/>
          <ac:spMkLst>
            <pc:docMk/>
            <pc:sldMk cId="477955872" sldId="2147308306"/>
            <ac:spMk id="82" creationId="{873369FB-7552-43C7-A0CF-56A13FDC3BD5}"/>
          </ac:spMkLst>
        </pc:spChg>
      </pc:sldChg>
      <pc:sldChg chg="modSp mod">
        <pc:chgData name="Lamkhade, Rajendra" userId="037a3b39-7b6a-43a8-858f-fde07d8c173f" providerId="ADAL" clId="{CEDAF50F-B282-4BFD-91A3-FB6577DE4AE7}" dt="2021-11-22T13:29:29.800" v="982" actId="20577"/>
        <pc:sldMkLst>
          <pc:docMk/>
          <pc:sldMk cId="882518092" sldId="2147308307"/>
        </pc:sldMkLst>
        <pc:spChg chg="mod">
          <ac:chgData name="Lamkhade, Rajendra" userId="037a3b39-7b6a-43a8-858f-fde07d8c173f" providerId="ADAL" clId="{CEDAF50F-B282-4BFD-91A3-FB6577DE4AE7}" dt="2021-11-22T13:29:29.800" v="982" actId="20577"/>
          <ac:spMkLst>
            <pc:docMk/>
            <pc:sldMk cId="882518092" sldId="2147308307"/>
            <ac:spMk id="7" creationId="{58D47E40-2525-4896-937B-768A02FDCC94}"/>
          </ac:spMkLst>
        </pc:spChg>
      </pc:sldChg>
      <pc:sldChg chg="addSp delSp modSp">
        <pc:chgData name="Lamkhade, Rajendra" userId="037a3b39-7b6a-43a8-858f-fde07d8c173f" providerId="ADAL" clId="{CEDAF50F-B282-4BFD-91A3-FB6577DE4AE7}" dt="2021-11-22T14:19:58.040" v="1581"/>
        <pc:sldMkLst>
          <pc:docMk/>
          <pc:sldMk cId="3001456732" sldId="2147308308"/>
        </pc:sldMkLst>
        <pc:spChg chg="del">
          <ac:chgData name="Lamkhade, Rajendra" userId="037a3b39-7b6a-43a8-858f-fde07d8c173f" providerId="ADAL" clId="{CEDAF50F-B282-4BFD-91A3-FB6577DE4AE7}" dt="2021-11-22T14:19:58.040" v="1581"/>
          <ac:spMkLst>
            <pc:docMk/>
            <pc:sldMk cId="3001456732" sldId="2147308308"/>
            <ac:spMk id="4" creationId="{EBA6B8A9-AAC8-4C86-B6EA-87C7D427F156}"/>
          </ac:spMkLst>
        </pc:spChg>
        <pc:spChg chg="add mod">
          <ac:chgData name="Lamkhade, Rajendra" userId="037a3b39-7b6a-43a8-858f-fde07d8c173f" providerId="ADAL" clId="{CEDAF50F-B282-4BFD-91A3-FB6577DE4AE7}" dt="2021-11-22T14:19:58.040" v="1581"/>
          <ac:spMkLst>
            <pc:docMk/>
            <pc:sldMk cId="3001456732" sldId="2147308308"/>
            <ac:spMk id="5" creationId="{C4777912-8329-46FA-B030-816E79668A23}"/>
          </ac:spMkLst>
        </pc:spChg>
      </pc:sldChg>
      <pc:sldChg chg="modSp mod">
        <pc:chgData name="Lamkhade, Rajendra" userId="037a3b39-7b6a-43a8-858f-fde07d8c173f" providerId="ADAL" clId="{CEDAF50F-B282-4BFD-91A3-FB6577DE4AE7}" dt="2021-11-22T14:26:26.744" v="1600" actId="20577"/>
        <pc:sldMkLst>
          <pc:docMk/>
          <pc:sldMk cId="367023943" sldId="2147308309"/>
        </pc:sldMkLst>
        <pc:spChg chg="mod">
          <ac:chgData name="Lamkhade, Rajendra" userId="037a3b39-7b6a-43a8-858f-fde07d8c173f" providerId="ADAL" clId="{CEDAF50F-B282-4BFD-91A3-FB6577DE4AE7}" dt="2021-11-22T14:26:26.744" v="1600" actId="20577"/>
          <ac:spMkLst>
            <pc:docMk/>
            <pc:sldMk cId="367023943" sldId="2147308309"/>
            <ac:spMk id="4" creationId="{1EE84250-844F-4001-8A30-815A6C6A7C01}"/>
          </ac:spMkLst>
        </pc:spChg>
      </pc:sldChg>
      <pc:sldChg chg="modSp mod">
        <pc:chgData name="Lamkhade, Rajendra" userId="037a3b39-7b6a-43a8-858f-fde07d8c173f" providerId="ADAL" clId="{CEDAF50F-B282-4BFD-91A3-FB6577DE4AE7}" dt="2021-11-22T14:27:14.502" v="1604" actId="20577"/>
        <pc:sldMkLst>
          <pc:docMk/>
          <pc:sldMk cId="1968849140" sldId="2147308310"/>
        </pc:sldMkLst>
        <pc:spChg chg="mod">
          <ac:chgData name="Lamkhade, Rajendra" userId="037a3b39-7b6a-43a8-858f-fde07d8c173f" providerId="ADAL" clId="{CEDAF50F-B282-4BFD-91A3-FB6577DE4AE7}" dt="2021-11-22T14:27:14.502" v="1604" actId="20577"/>
          <ac:spMkLst>
            <pc:docMk/>
            <pc:sldMk cId="1968849140" sldId="2147308310"/>
            <ac:spMk id="4" creationId="{0B111658-10B2-4140-B0EF-78F4BAA0B0A7}"/>
          </ac:spMkLst>
        </pc:spChg>
      </pc:sldChg>
      <pc:sldChg chg="modSp mod">
        <pc:chgData name="Lamkhade, Rajendra" userId="037a3b39-7b6a-43a8-858f-fde07d8c173f" providerId="ADAL" clId="{CEDAF50F-B282-4BFD-91A3-FB6577DE4AE7}" dt="2021-11-22T14:27:28.336" v="1608" actId="20577"/>
        <pc:sldMkLst>
          <pc:docMk/>
          <pc:sldMk cId="956661026" sldId="2147308312"/>
        </pc:sldMkLst>
        <pc:spChg chg="mod">
          <ac:chgData name="Lamkhade, Rajendra" userId="037a3b39-7b6a-43a8-858f-fde07d8c173f" providerId="ADAL" clId="{CEDAF50F-B282-4BFD-91A3-FB6577DE4AE7}" dt="2021-11-22T14:27:28.336" v="1608" actId="20577"/>
          <ac:spMkLst>
            <pc:docMk/>
            <pc:sldMk cId="956661026" sldId="2147308312"/>
            <ac:spMk id="4" creationId="{ED40738F-1838-46B0-98F0-43034FFD8CEA}"/>
          </ac:spMkLst>
        </pc:spChg>
      </pc:sldChg>
      <pc:sldChg chg="addSp delSp modSp add mod">
        <pc:chgData name="Lamkhade, Rajendra" userId="037a3b39-7b6a-43a8-858f-fde07d8c173f" providerId="ADAL" clId="{CEDAF50F-B282-4BFD-91A3-FB6577DE4AE7}" dt="2021-11-22T14:19:51.639" v="1580" actId="1036"/>
        <pc:sldMkLst>
          <pc:docMk/>
          <pc:sldMk cId="519316031" sldId="2147308313"/>
        </pc:sldMkLst>
        <pc:spChg chg="mod">
          <ac:chgData name="Lamkhade, Rajendra" userId="037a3b39-7b6a-43a8-858f-fde07d8c173f" providerId="ADAL" clId="{CEDAF50F-B282-4BFD-91A3-FB6577DE4AE7}" dt="2021-11-22T13:46:46.302" v="1125" actId="20577"/>
          <ac:spMkLst>
            <pc:docMk/>
            <pc:sldMk cId="519316031" sldId="2147308313"/>
            <ac:spMk id="3" creationId="{9C2A5EF0-98A6-4B54-A522-9EBA0457BC1A}"/>
          </ac:spMkLst>
        </pc:spChg>
        <pc:spChg chg="del mod">
          <ac:chgData name="Lamkhade, Rajendra" userId="037a3b39-7b6a-43a8-858f-fde07d8c173f" providerId="ADAL" clId="{CEDAF50F-B282-4BFD-91A3-FB6577DE4AE7}" dt="2021-11-22T14:19:36.760" v="1564" actId="478"/>
          <ac:spMkLst>
            <pc:docMk/>
            <pc:sldMk cId="519316031" sldId="2147308313"/>
            <ac:spMk id="4" creationId="{F8BF9A29-C8E9-4EB1-83A1-CDA410231210}"/>
          </ac:spMkLst>
        </pc:spChg>
        <pc:spChg chg="add del mod">
          <ac:chgData name="Lamkhade, Rajendra" userId="037a3b39-7b6a-43a8-858f-fde07d8c173f" providerId="ADAL" clId="{CEDAF50F-B282-4BFD-91A3-FB6577DE4AE7}" dt="2021-11-22T14:19:41.065" v="1565" actId="478"/>
          <ac:spMkLst>
            <pc:docMk/>
            <pc:sldMk cId="519316031" sldId="2147308313"/>
            <ac:spMk id="5" creationId="{5E5362F2-C048-4F93-AE91-AEC3BCF3FCA3}"/>
          </ac:spMkLst>
        </pc:spChg>
        <pc:spChg chg="add mod">
          <ac:chgData name="Lamkhade, Rajendra" userId="037a3b39-7b6a-43a8-858f-fde07d8c173f" providerId="ADAL" clId="{CEDAF50F-B282-4BFD-91A3-FB6577DE4AE7}" dt="2021-11-22T14:19:51.639" v="1580" actId="1036"/>
          <ac:spMkLst>
            <pc:docMk/>
            <pc:sldMk cId="519316031" sldId="2147308313"/>
            <ac:spMk id="6" creationId="{C5BCE2CD-D10D-45DC-AEA5-5326C53BF730}"/>
          </ac:spMkLst>
        </pc:spChg>
      </pc:sldChg>
      <pc:sldChg chg="add del">
        <pc:chgData name="Lamkhade, Rajendra" userId="037a3b39-7b6a-43a8-858f-fde07d8c173f" providerId="ADAL" clId="{CEDAF50F-B282-4BFD-91A3-FB6577DE4AE7}" dt="2021-11-22T13:46:14.260" v="1098" actId="2696"/>
        <pc:sldMkLst>
          <pc:docMk/>
          <pc:sldMk cId="2525545944" sldId="2147308313"/>
        </pc:sldMkLst>
      </pc:sldChg>
      <pc:sldChg chg="modSp mod">
        <pc:chgData name="Lamkhade, Rajendra" userId="037a3b39-7b6a-43a8-858f-fde07d8c173f" providerId="ADAL" clId="{CEDAF50F-B282-4BFD-91A3-FB6577DE4AE7}" dt="2021-11-22T13:35:40.561" v="990" actId="20577"/>
        <pc:sldMkLst>
          <pc:docMk/>
          <pc:sldMk cId="3076219686" sldId="2147308316"/>
        </pc:sldMkLst>
        <pc:spChg chg="mod">
          <ac:chgData name="Lamkhade, Rajendra" userId="037a3b39-7b6a-43a8-858f-fde07d8c173f" providerId="ADAL" clId="{CEDAF50F-B282-4BFD-91A3-FB6577DE4AE7}" dt="2021-11-22T13:35:40.561" v="990" actId="20577"/>
          <ac:spMkLst>
            <pc:docMk/>
            <pc:sldMk cId="3076219686" sldId="2147308316"/>
            <ac:spMk id="3" creationId="{29517AD0-421A-4257-BCC4-021EE9FE160D}"/>
          </ac:spMkLst>
        </pc:spChg>
      </pc:sldChg>
      <pc:sldChg chg="modSp mod">
        <pc:chgData name="Lamkhade, Rajendra" userId="037a3b39-7b6a-43a8-858f-fde07d8c173f" providerId="ADAL" clId="{CEDAF50F-B282-4BFD-91A3-FB6577DE4AE7}" dt="2021-11-22T14:27:47.306" v="1609" actId="20577"/>
        <pc:sldMkLst>
          <pc:docMk/>
          <pc:sldMk cId="3774002774" sldId="2147308317"/>
        </pc:sldMkLst>
        <pc:spChg chg="mod">
          <ac:chgData name="Lamkhade, Rajendra" userId="037a3b39-7b6a-43a8-858f-fde07d8c173f" providerId="ADAL" clId="{CEDAF50F-B282-4BFD-91A3-FB6577DE4AE7}" dt="2021-11-22T14:27:47.306" v="1609" actId="20577"/>
          <ac:spMkLst>
            <pc:docMk/>
            <pc:sldMk cId="3774002774" sldId="2147308317"/>
            <ac:spMk id="4" creationId="{BA2B729A-9A89-440B-90FF-289B99ECF5AE}"/>
          </ac:spMkLst>
        </pc:spChg>
      </pc:sldChg>
      <pc:sldChg chg="modSp add mod">
        <pc:chgData name="Lamkhade, Rajendra" userId="037a3b39-7b6a-43a8-858f-fde07d8c173f" providerId="ADAL" clId="{CEDAF50F-B282-4BFD-91A3-FB6577DE4AE7}" dt="2021-11-22T14:35:32.347" v="1816" actId="113"/>
        <pc:sldMkLst>
          <pc:docMk/>
          <pc:sldMk cId="1517801084" sldId="2147308321"/>
        </pc:sldMkLst>
        <pc:graphicFrameChg chg="modGraphic">
          <ac:chgData name="Lamkhade, Rajendra" userId="037a3b39-7b6a-43a8-858f-fde07d8c173f" providerId="ADAL" clId="{CEDAF50F-B282-4BFD-91A3-FB6577DE4AE7}" dt="2021-11-22T14:35:32.347" v="1816" actId="113"/>
          <ac:graphicFrameMkLst>
            <pc:docMk/>
            <pc:sldMk cId="1517801084" sldId="2147308321"/>
            <ac:graphicFrameMk id="4" creationId="{4F30E4FC-EF05-4D90-BAA1-1BBCBECE9D99}"/>
          </ac:graphicFrameMkLst>
        </pc:graphicFrameChg>
      </pc:sldChg>
      <pc:sldChg chg="delSp modSp del mod">
        <pc:chgData name="Lamkhade, Rajendra" userId="037a3b39-7b6a-43a8-858f-fde07d8c173f" providerId="ADAL" clId="{CEDAF50F-B282-4BFD-91A3-FB6577DE4AE7}" dt="2021-11-22T14:33:58.434" v="1802" actId="2696"/>
        <pc:sldMkLst>
          <pc:docMk/>
          <pc:sldMk cId="2839583103" sldId="2147308321"/>
        </pc:sldMkLst>
        <pc:spChg chg="del">
          <ac:chgData name="Lamkhade, Rajendra" userId="037a3b39-7b6a-43a8-858f-fde07d8c173f" providerId="ADAL" clId="{CEDAF50F-B282-4BFD-91A3-FB6577DE4AE7}" dt="2021-11-22T13:51:09.308" v="1156" actId="478"/>
          <ac:spMkLst>
            <pc:docMk/>
            <pc:sldMk cId="2839583103" sldId="2147308321"/>
            <ac:spMk id="4" creationId="{EBC59239-DD4E-412D-97DB-EC359358E0AB}"/>
          </ac:spMkLst>
        </pc:spChg>
        <pc:graphicFrameChg chg="mod modGraphic">
          <ac:chgData name="Lamkhade, Rajendra" userId="037a3b39-7b6a-43a8-858f-fde07d8c173f" providerId="ADAL" clId="{CEDAF50F-B282-4BFD-91A3-FB6577DE4AE7}" dt="2021-11-22T13:51:05.530" v="1155" actId="1076"/>
          <ac:graphicFrameMkLst>
            <pc:docMk/>
            <pc:sldMk cId="2839583103" sldId="2147308321"/>
            <ac:graphicFrameMk id="3" creationId="{AE11BB87-8F52-4BE9-ADBE-A03FC6D62EEA}"/>
          </ac:graphicFrameMkLst>
        </pc:graphicFrameChg>
      </pc:sldChg>
      <pc:sldChg chg="add del">
        <pc:chgData name="Lamkhade, Rajendra" userId="037a3b39-7b6a-43a8-858f-fde07d8c173f" providerId="ADAL" clId="{CEDAF50F-B282-4BFD-91A3-FB6577DE4AE7}" dt="2021-11-22T13:46:14.260" v="1098" actId="2696"/>
        <pc:sldMkLst>
          <pc:docMk/>
          <pc:sldMk cId="1137580876" sldId="2147308326"/>
        </pc:sldMkLst>
      </pc:sldChg>
      <pc:sldChg chg="add">
        <pc:chgData name="Lamkhade, Rajendra" userId="037a3b39-7b6a-43a8-858f-fde07d8c173f" providerId="ADAL" clId="{CEDAF50F-B282-4BFD-91A3-FB6577DE4AE7}" dt="2021-11-22T13:46:23.341" v="1099"/>
        <pc:sldMkLst>
          <pc:docMk/>
          <pc:sldMk cId="2111928368" sldId="2147308326"/>
        </pc:sldMkLst>
      </pc:sldChg>
      <pc:sldChg chg="modSp mod">
        <pc:chgData name="Lamkhade, Rajendra" userId="037a3b39-7b6a-43a8-858f-fde07d8c173f" providerId="ADAL" clId="{CEDAF50F-B282-4BFD-91A3-FB6577DE4AE7}" dt="2021-11-22T14:35:23.082" v="1815"/>
        <pc:sldMkLst>
          <pc:docMk/>
          <pc:sldMk cId="3000987065" sldId="2147308328"/>
        </pc:sldMkLst>
        <pc:graphicFrameChg chg="mod modGraphic">
          <ac:chgData name="Lamkhade, Rajendra" userId="037a3b39-7b6a-43a8-858f-fde07d8c173f" providerId="ADAL" clId="{CEDAF50F-B282-4BFD-91A3-FB6577DE4AE7}" dt="2021-11-22T14:35:23.082" v="1815"/>
          <ac:graphicFrameMkLst>
            <pc:docMk/>
            <pc:sldMk cId="3000987065" sldId="2147308328"/>
            <ac:graphicFrameMk id="4" creationId="{78DC7FCD-034B-4AB9-905F-9B017E25053D}"/>
          </ac:graphicFrameMkLst>
        </pc:graphicFrameChg>
      </pc:sldChg>
      <pc:sldChg chg="modSp mod">
        <pc:chgData name="Lamkhade, Rajendra" userId="037a3b39-7b6a-43a8-858f-fde07d8c173f" providerId="ADAL" clId="{CEDAF50F-B282-4BFD-91A3-FB6577DE4AE7}" dt="2021-11-22T14:15:17.893" v="1490" actId="1036"/>
        <pc:sldMkLst>
          <pc:docMk/>
          <pc:sldMk cId="2392405258" sldId="2147308335"/>
        </pc:sldMkLst>
        <pc:spChg chg="mod">
          <ac:chgData name="Lamkhade, Rajendra" userId="037a3b39-7b6a-43a8-858f-fde07d8c173f" providerId="ADAL" clId="{CEDAF50F-B282-4BFD-91A3-FB6577DE4AE7}" dt="2021-11-22T13:03:56.121" v="525" actId="20577"/>
          <ac:spMkLst>
            <pc:docMk/>
            <pc:sldMk cId="2392405258" sldId="2147308335"/>
            <ac:spMk id="3" creationId="{D91448EC-F5C0-4D68-AE7C-2B8A25EA94DA}"/>
          </ac:spMkLst>
        </pc:spChg>
        <pc:spChg chg="mod">
          <ac:chgData name="Lamkhade, Rajendra" userId="037a3b39-7b6a-43a8-858f-fde07d8c173f" providerId="ADAL" clId="{CEDAF50F-B282-4BFD-91A3-FB6577DE4AE7}" dt="2021-11-22T14:15:17.893" v="1490" actId="1036"/>
          <ac:spMkLst>
            <pc:docMk/>
            <pc:sldMk cId="2392405258" sldId="2147308335"/>
            <ac:spMk id="24" creationId="{00000000-0000-0000-0000-000000000000}"/>
          </ac:spMkLst>
        </pc:spChg>
        <pc:spChg chg="mod">
          <ac:chgData name="Lamkhade, Rajendra" userId="037a3b39-7b6a-43a8-858f-fde07d8c173f" providerId="ADAL" clId="{CEDAF50F-B282-4BFD-91A3-FB6577DE4AE7}" dt="2021-11-22T14:11:46.687" v="1412" actId="108"/>
          <ac:spMkLst>
            <pc:docMk/>
            <pc:sldMk cId="2392405258" sldId="2147308335"/>
            <ac:spMk id="26" creationId="{00000000-0000-0000-0000-000000000000}"/>
          </ac:spMkLst>
        </pc:spChg>
        <pc:spChg chg="mod">
          <ac:chgData name="Lamkhade, Rajendra" userId="037a3b39-7b6a-43a8-858f-fde07d8c173f" providerId="ADAL" clId="{CEDAF50F-B282-4BFD-91A3-FB6577DE4AE7}" dt="2021-11-22T14:11:51.510" v="1415" actId="108"/>
          <ac:spMkLst>
            <pc:docMk/>
            <pc:sldMk cId="2392405258" sldId="2147308335"/>
            <ac:spMk id="29" creationId="{00000000-0000-0000-0000-000000000000}"/>
          </ac:spMkLst>
        </pc:spChg>
        <pc:spChg chg="mod">
          <ac:chgData name="Lamkhade, Rajendra" userId="037a3b39-7b6a-43a8-858f-fde07d8c173f" providerId="ADAL" clId="{CEDAF50F-B282-4BFD-91A3-FB6577DE4AE7}" dt="2021-11-22T14:11:52.654" v="1416" actId="108"/>
          <ac:spMkLst>
            <pc:docMk/>
            <pc:sldMk cId="2392405258" sldId="2147308335"/>
            <ac:spMk id="35" creationId="{00000000-0000-0000-0000-000000000000}"/>
          </ac:spMkLst>
        </pc:spChg>
        <pc:spChg chg="mod">
          <ac:chgData name="Lamkhade, Rajendra" userId="037a3b39-7b6a-43a8-858f-fde07d8c173f" providerId="ADAL" clId="{CEDAF50F-B282-4BFD-91A3-FB6577DE4AE7}" dt="2021-11-22T14:11:54.145" v="1417" actId="108"/>
          <ac:spMkLst>
            <pc:docMk/>
            <pc:sldMk cId="2392405258" sldId="2147308335"/>
            <ac:spMk id="39" creationId="{00000000-0000-0000-0000-000000000000}"/>
          </ac:spMkLst>
        </pc:spChg>
        <pc:spChg chg="mod">
          <ac:chgData name="Lamkhade, Rajendra" userId="037a3b39-7b6a-43a8-858f-fde07d8c173f" providerId="ADAL" clId="{CEDAF50F-B282-4BFD-91A3-FB6577DE4AE7}" dt="2021-11-22T14:11:49.631" v="1414" actId="108"/>
          <ac:spMkLst>
            <pc:docMk/>
            <pc:sldMk cId="2392405258" sldId="2147308335"/>
            <ac:spMk id="174" creationId="{DEA3F0F7-1F24-4CD4-B1C3-B5D3064A10E0}"/>
          </ac:spMkLst>
        </pc:spChg>
        <pc:spChg chg="mod">
          <ac:chgData name="Lamkhade, Rajendra" userId="037a3b39-7b6a-43a8-858f-fde07d8c173f" providerId="ADAL" clId="{CEDAF50F-B282-4BFD-91A3-FB6577DE4AE7}" dt="2021-11-22T14:11:47.925" v="1413" actId="108"/>
          <ac:spMkLst>
            <pc:docMk/>
            <pc:sldMk cId="2392405258" sldId="2147308335"/>
            <ac:spMk id="204" creationId="{63DFCD6D-DC3C-4C32-A81A-DB27435622A4}"/>
          </ac:spMkLst>
        </pc:spChg>
      </pc:sldChg>
      <pc:sldChg chg="modSp mod">
        <pc:chgData name="Lamkhade, Rajendra" userId="037a3b39-7b6a-43a8-858f-fde07d8c173f" providerId="ADAL" clId="{CEDAF50F-B282-4BFD-91A3-FB6577DE4AE7}" dt="2021-11-22T14:08:19.363" v="1379" actId="20577"/>
        <pc:sldMkLst>
          <pc:docMk/>
          <pc:sldMk cId="3735848203" sldId="2147308336"/>
        </pc:sldMkLst>
        <pc:graphicFrameChg chg="mod modGraphic">
          <ac:chgData name="Lamkhade, Rajendra" userId="037a3b39-7b6a-43a8-858f-fde07d8c173f" providerId="ADAL" clId="{CEDAF50F-B282-4BFD-91A3-FB6577DE4AE7}" dt="2021-11-22T14:08:19.363" v="1379" actId="20577"/>
          <ac:graphicFrameMkLst>
            <pc:docMk/>
            <pc:sldMk cId="3735848203" sldId="2147308336"/>
            <ac:graphicFrameMk id="4" creationId="{78DC7FCD-034B-4AB9-905F-9B017E25053D}"/>
          </ac:graphicFrameMkLst>
        </pc:graphicFrameChg>
      </pc:sldChg>
      <pc:sldChg chg="modSp mod">
        <pc:chgData name="Lamkhade, Rajendra" userId="037a3b39-7b6a-43a8-858f-fde07d8c173f" providerId="ADAL" clId="{CEDAF50F-B282-4BFD-91A3-FB6577DE4AE7}" dt="2021-11-22T13:14:55.255" v="748" actId="20577"/>
        <pc:sldMkLst>
          <pc:docMk/>
          <pc:sldMk cId="2177180620" sldId="2147308338"/>
        </pc:sldMkLst>
        <pc:spChg chg="mod">
          <ac:chgData name="Lamkhade, Rajendra" userId="037a3b39-7b6a-43a8-858f-fde07d8c173f" providerId="ADAL" clId="{CEDAF50F-B282-4BFD-91A3-FB6577DE4AE7}" dt="2021-11-22T12:58:27.328" v="302" actId="1038"/>
          <ac:spMkLst>
            <pc:docMk/>
            <pc:sldMk cId="2177180620" sldId="2147308338"/>
            <ac:spMk id="14" creationId="{BFC228D4-E7B1-40D5-80C6-C18489A37551}"/>
          </ac:spMkLst>
        </pc:spChg>
        <pc:spChg chg="mod">
          <ac:chgData name="Lamkhade, Rajendra" userId="037a3b39-7b6a-43a8-858f-fde07d8c173f" providerId="ADAL" clId="{CEDAF50F-B282-4BFD-91A3-FB6577DE4AE7}" dt="2021-11-22T13:14:55.255" v="748" actId="20577"/>
          <ac:spMkLst>
            <pc:docMk/>
            <pc:sldMk cId="2177180620" sldId="2147308338"/>
            <ac:spMk id="15" creationId="{D9C0BF71-2142-4902-BF49-C638FA834571}"/>
          </ac:spMkLst>
        </pc:spChg>
        <pc:spChg chg="mod">
          <ac:chgData name="Lamkhade, Rajendra" userId="037a3b39-7b6a-43a8-858f-fde07d8c173f" providerId="ADAL" clId="{CEDAF50F-B282-4BFD-91A3-FB6577DE4AE7}" dt="2021-11-22T12:57:56.826" v="284" actId="14100"/>
          <ac:spMkLst>
            <pc:docMk/>
            <pc:sldMk cId="2177180620" sldId="2147308338"/>
            <ac:spMk id="16" creationId="{83A500A5-B05E-40EC-A7DE-3A4823433BC8}"/>
          </ac:spMkLst>
        </pc:spChg>
        <pc:spChg chg="mod">
          <ac:chgData name="Lamkhade, Rajendra" userId="037a3b39-7b6a-43a8-858f-fde07d8c173f" providerId="ADAL" clId="{CEDAF50F-B282-4BFD-91A3-FB6577DE4AE7}" dt="2021-11-22T12:58:33.496" v="324" actId="1038"/>
          <ac:spMkLst>
            <pc:docMk/>
            <pc:sldMk cId="2177180620" sldId="2147308338"/>
            <ac:spMk id="18" creationId="{385655AD-4F5C-47E0-B458-7473A843DFEA}"/>
          </ac:spMkLst>
        </pc:spChg>
        <pc:spChg chg="mod">
          <ac:chgData name="Lamkhade, Rajendra" userId="037a3b39-7b6a-43a8-858f-fde07d8c173f" providerId="ADAL" clId="{CEDAF50F-B282-4BFD-91A3-FB6577DE4AE7}" dt="2021-11-22T12:58:53.549" v="331" actId="1035"/>
          <ac:spMkLst>
            <pc:docMk/>
            <pc:sldMk cId="2177180620" sldId="2147308338"/>
            <ac:spMk id="19" creationId="{7864008C-216F-4826-9330-0E7C516824A9}"/>
          </ac:spMkLst>
        </pc:spChg>
        <pc:spChg chg="mod">
          <ac:chgData name="Lamkhade, Rajendra" userId="037a3b39-7b6a-43a8-858f-fde07d8c173f" providerId="ADAL" clId="{CEDAF50F-B282-4BFD-91A3-FB6577DE4AE7}" dt="2021-11-22T12:58:53.549" v="331" actId="1035"/>
          <ac:spMkLst>
            <pc:docMk/>
            <pc:sldMk cId="2177180620" sldId="2147308338"/>
            <ac:spMk id="20" creationId="{71E0D573-81FC-40A3-9A91-AA02DFE43DE5}"/>
          </ac:spMkLst>
        </pc:spChg>
        <pc:grpChg chg="mod">
          <ac:chgData name="Lamkhade, Rajendra" userId="037a3b39-7b6a-43a8-858f-fde07d8c173f" providerId="ADAL" clId="{CEDAF50F-B282-4BFD-91A3-FB6577DE4AE7}" dt="2021-11-22T12:58:15.981" v="287" actId="1076"/>
          <ac:grpSpMkLst>
            <pc:docMk/>
            <pc:sldMk cId="2177180620" sldId="2147308338"/>
            <ac:grpSpMk id="4" creationId="{1ECF277C-9DD0-4660-B52F-9DE03BD979DA}"/>
          </ac:grpSpMkLst>
        </pc:grpChg>
      </pc:sldChg>
      <pc:sldChg chg="del">
        <pc:chgData name="Lamkhade, Rajendra" userId="037a3b39-7b6a-43a8-858f-fde07d8c173f" providerId="ADAL" clId="{CEDAF50F-B282-4BFD-91A3-FB6577DE4AE7}" dt="2021-11-22T13:55:14.254" v="1157" actId="47"/>
        <pc:sldMkLst>
          <pc:docMk/>
          <pc:sldMk cId="3039988727" sldId="2147308339"/>
        </pc:sldMkLst>
      </pc:sldChg>
      <pc:sldChg chg="del">
        <pc:chgData name="Lamkhade, Rajendra" userId="037a3b39-7b6a-43a8-858f-fde07d8c173f" providerId="ADAL" clId="{CEDAF50F-B282-4BFD-91A3-FB6577DE4AE7}" dt="2021-11-22T13:55:14.254" v="1157" actId="47"/>
        <pc:sldMkLst>
          <pc:docMk/>
          <pc:sldMk cId="2879370844" sldId="2147308340"/>
        </pc:sldMkLst>
      </pc:sldChg>
      <pc:sldChg chg="add">
        <pc:chgData name="Lamkhade, Rajendra" userId="037a3b39-7b6a-43a8-858f-fde07d8c173f" providerId="ADAL" clId="{CEDAF50F-B282-4BFD-91A3-FB6577DE4AE7}" dt="2021-11-22T13:46:32.952" v="1101"/>
        <pc:sldMkLst>
          <pc:docMk/>
          <pc:sldMk cId="191335586" sldId="2147308341"/>
        </pc:sldMkLst>
      </pc:sldChg>
      <pc:sldChg chg="addSp delSp modSp del mod">
        <pc:chgData name="Lamkhade, Rajendra" userId="037a3b39-7b6a-43a8-858f-fde07d8c173f" providerId="ADAL" clId="{CEDAF50F-B282-4BFD-91A3-FB6577DE4AE7}" dt="2021-11-22T13:46:28.610" v="1100" actId="2696"/>
        <pc:sldMkLst>
          <pc:docMk/>
          <pc:sldMk cId="3357708039" sldId="2147308341"/>
        </pc:sldMkLst>
        <pc:spChg chg="add mod">
          <ac:chgData name="Lamkhade, Rajendra" userId="037a3b39-7b6a-43a8-858f-fde07d8c173f" providerId="ADAL" clId="{CEDAF50F-B282-4BFD-91A3-FB6577DE4AE7}" dt="2021-11-22T12:56:31.208" v="191" actId="114"/>
          <ac:spMkLst>
            <pc:docMk/>
            <pc:sldMk cId="3357708039" sldId="2147308341"/>
            <ac:spMk id="6" creationId="{02C9CB2E-FB53-4FA9-A6A7-136ED13D67DE}"/>
          </ac:spMkLst>
        </pc:spChg>
        <pc:spChg chg="del">
          <ac:chgData name="Lamkhade, Rajendra" userId="037a3b39-7b6a-43a8-858f-fde07d8c173f" providerId="ADAL" clId="{CEDAF50F-B282-4BFD-91A3-FB6577DE4AE7}" dt="2021-11-22T12:55:57.385" v="163" actId="21"/>
          <ac:spMkLst>
            <pc:docMk/>
            <pc:sldMk cId="3357708039" sldId="2147308341"/>
            <ac:spMk id="58" creationId="{E290B0C3-DC33-47AB-AE99-AA62B87F7258}"/>
          </ac:spMkLst>
        </pc:spChg>
        <pc:spChg chg="del">
          <ac:chgData name="Lamkhade, Rajendra" userId="037a3b39-7b6a-43a8-858f-fde07d8c173f" providerId="ADAL" clId="{CEDAF50F-B282-4BFD-91A3-FB6577DE4AE7}" dt="2021-11-22T12:55:57.385" v="163" actId="21"/>
          <ac:spMkLst>
            <pc:docMk/>
            <pc:sldMk cId="3357708039" sldId="2147308341"/>
            <ac:spMk id="60" creationId="{55960BBB-403B-400C-BD94-203953EB5F01}"/>
          </ac:spMkLst>
        </pc:spChg>
        <pc:spChg chg="mod">
          <ac:chgData name="Lamkhade, Rajendra" userId="037a3b39-7b6a-43a8-858f-fde07d8c173f" providerId="ADAL" clId="{CEDAF50F-B282-4BFD-91A3-FB6577DE4AE7}" dt="2021-11-22T13:19:01.364" v="779" actId="1076"/>
          <ac:spMkLst>
            <pc:docMk/>
            <pc:sldMk cId="3357708039" sldId="2147308341"/>
            <ac:spMk id="61" creationId="{FD203283-5E20-4E7B-93D7-BD1B23C2DE69}"/>
          </ac:spMkLst>
        </pc:spChg>
        <pc:spChg chg="mod">
          <ac:chgData name="Lamkhade, Rajendra" userId="037a3b39-7b6a-43a8-858f-fde07d8c173f" providerId="ADAL" clId="{CEDAF50F-B282-4BFD-91A3-FB6577DE4AE7}" dt="2021-11-22T13:18:55.131" v="777" actId="1076"/>
          <ac:spMkLst>
            <pc:docMk/>
            <pc:sldMk cId="3357708039" sldId="2147308341"/>
            <ac:spMk id="62" creationId="{7AE710F2-842A-48B7-A9E1-F0628F86D7C1}"/>
          </ac:spMkLst>
        </pc:spChg>
        <pc:spChg chg="mod">
          <ac:chgData name="Lamkhade, Rajendra" userId="037a3b39-7b6a-43a8-858f-fde07d8c173f" providerId="ADAL" clId="{CEDAF50F-B282-4BFD-91A3-FB6577DE4AE7}" dt="2021-11-22T13:22:10.620" v="857" actId="14100"/>
          <ac:spMkLst>
            <pc:docMk/>
            <pc:sldMk cId="3357708039" sldId="2147308341"/>
            <ac:spMk id="65" creationId="{5DBCA78A-F9AD-4CC5-BB8A-E5237B79E46D}"/>
          </ac:spMkLst>
        </pc:spChg>
        <pc:spChg chg="mod">
          <ac:chgData name="Lamkhade, Rajendra" userId="037a3b39-7b6a-43a8-858f-fde07d8c173f" providerId="ADAL" clId="{CEDAF50F-B282-4BFD-91A3-FB6577DE4AE7}" dt="2021-11-22T13:18:53.004" v="776" actId="1076"/>
          <ac:spMkLst>
            <pc:docMk/>
            <pc:sldMk cId="3357708039" sldId="2147308341"/>
            <ac:spMk id="66" creationId="{24FAAA98-A409-4DA0-B433-6E1349FF0210}"/>
          </ac:spMkLst>
        </pc:spChg>
        <pc:spChg chg="mod">
          <ac:chgData name="Lamkhade, Rajendra" userId="037a3b39-7b6a-43a8-858f-fde07d8c173f" providerId="ADAL" clId="{CEDAF50F-B282-4BFD-91A3-FB6577DE4AE7}" dt="2021-11-22T13:21:37.861" v="854" actId="1038"/>
          <ac:spMkLst>
            <pc:docMk/>
            <pc:sldMk cId="3357708039" sldId="2147308341"/>
            <ac:spMk id="68" creationId="{57D32EBA-2152-44F8-A638-EC41EE07AB8B}"/>
          </ac:spMkLst>
        </pc:spChg>
        <pc:spChg chg="mod">
          <ac:chgData name="Lamkhade, Rajendra" userId="037a3b39-7b6a-43a8-858f-fde07d8c173f" providerId="ADAL" clId="{CEDAF50F-B282-4BFD-91A3-FB6577DE4AE7}" dt="2021-11-22T13:18:45.620" v="773" actId="1076"/>
          <ac:spMkLst>
            <pc:docMk/>
            <pc:sldMk cId="3357708039" sldId="2147308341"/>
            <ac:spMk id="70" creationId="{3635DD09-9F6D-4F8A-8926-5065DCB4AF05}"/>
          </ac:spMkLst>
        </pc:spChg>
        <pc:spChg chg="mod">
          <ac:chgData name="Lamkhade, Rajendra" userId="037a3b39-7b6a-43a8-858f-fde07d8c173f" providerId="ADAL" clId="{CEDAF50F-B282-4BFD-91A3-FB6577DE4AE7}" dt="2021-11-22T13:18:48.779" v="774" actId="1076"/>
          <ac:spMkLst>
            <pc:docMk/>
            <pc:sldMk cId="3357708039" sldId="2147308341"/>
            <ac:spMk id="74" creationId="{8BA11B04-810A-4B84-BF7E-BC1E1CB87A7B}"/>
          </ac:spMkLst>
        </pc:spChg>
        <pc:spChg chg="mod">
          <ac:chgData name="Lamkhade, Rajendra" userId="037a3b39-7b6a-43a8-858f-fde07d8c173f" providerId="ADAL" clId="{CEDAF50F-B282-4BFD-91A3-FB6577DE4AE7}" dt="2021-11-22T13:18:42.116" v="772" actId="1076"/>
          <ac:spMkLst>
            <pc:docMk/>
            <pc:sldMk cId="3357708039" sldId="2147308341"/>
            <ac:spMk id="79" creationId="{F732F155-FB7B-425B-98B1-191B96B640AE}"/>
          </ac:spMkLst>
        </pc:spChg>
        <pc:spChg chg="del">
          <ac:chgData name="Lamkhade, Rajendra" userId="037a3b39-7b6a-43a8-858f-fde07d8c173f" providerId="ADAL" clId="{CEDAF50F-B282-4BFD-91A3-FB6577DE4AE7}" dt="2021-11-22T12:55:57.385" v="163" actId="21"/>
          <ac:spMkLst>
            <pc:docMk/>
            <pc:sldMk cId="3357708039" sldId="2147308341"/>
            <ac:spMk id="126" creationId="{DBB1271F-3E72-4A3A-B922-E64490680A49}"/>
          </ac:spMkLst>
        </pc:spChg>
        <pc:spChg chg="del">
          <ac:chgData name="Lamkhade, Rajendra" userId="037a3b39-7b6a-43a8-858f-fde07d8c173f" providerId="ADAL" clId="{CEDAF50F-B282-4BFD-91A3-FB6577DE4AE7}" dt="2021-11-22T12:55:57.385" v="163" actId="21"/>
          <ac:spMkLst>
            <pc:docMk/>
            <pc:sldMk cId="3357708039" sldId="2147308341"/>
            <ac:spMk id="131" creationId="{61077660-E2C0-45A8-9C9D-2ED4D098BAA4}"/>
          </ac:spMkLst>
        </pc:spChg>
        <pc:spChg chg="del">
          <ac:chgData name="Lamkhade, Rajendra" userId="037a3b39-7b6a-43a8-858f-fde07d8c173f" providerId="ADAL" clId="{CEDAF50F-B282-4BFD-91A3-FB6577DE4AE7}" dt="2021-11-22T12:55:57.385" v="163" actId="21"/>
          <ac:spMkLst>
            <pc:docMk/>
            <pc:sldMk cId="3357708039" sldId="2147308341"/>
            <ac:spMk id="164" creationId="{AE3FD7C5-66E3-44CF-8E08-E922C6C94FD6}"/>
          </ac:spMkLst>
        </pc:spChg>
        <pc:spChg chg="mod">
          <ac:chgData name="Lamkhade, Rajendra" userId="037a3b39-7b6a-43a8-858f-fde07d8c173f" providerId="ADAL" clId="{CEDAF50F-B282-4BFD-91A3-FB6577DE4AE7}" dt="2021-11-22T13:22:21.604" v="858" actId="1076"/>
          <ac:spMkLst>
            <pc:docMk/>
            <pc:sldMk cId="3357708039" sldId="2147308341"/>
            <ac:spMk id="291" creationId="{7582864B-B1FF-49B8-8F9D-F1277707E46C}"/>
          </ac:spMkLst>
        </pc:spChg>
        <pc:spChg chg="mod">
          <ac:chgData name="Lamkhade, Rajendra" userId="037a3b39-7b6a-43a8-858f-fde07d8c173f" providerId="ADAL" clId="{CEDAF50F-B282-4BFD-91A3-FB6577DE4AE7}" dt="2021-11-22T13:22:41.531" v="862" actId="1076"/>
          <ac:spMkLst>
            <pc:docMk/>
            <pc:sldMk cId="3357708039" sldId="2147308341"/>
            <ac:spMk id="293" creationId="{5243EF2E-43F2-4EE2-8871-E494F1C30865}"/>
          </ac:spMkLst>
        </pc:spChg>
        <pc:picChg chg="mod">
          <ac:chgData name="Lamkhade, Rajendra" userId="037a3b39-7b6a-43a8-858f-fde07d8c173f" providerId="ADAL" clId="{CEDAF50F-B282-4BFD-91A3-FB6577DE4AE7}" dt="2021-11-22T12:56:15.383" v="175" actId="1037"/>
          <ac:picMkLst>
            <pc:docMk/>
            <pc:sldMk cId="3357708039" sldId="2147308341"/>
            <ac:picMk id="2" creationId="{DBA2233A-CE0C-458F-8B9C-F50577B2A91F}"/>
          </ac:picMkLst>
        </pc:picChg>
        <pc:cxnChg chg="mod">
          <ac:chgData name="Lamkhade, Rajendra" userId="037a3b39-7b6a-43a8-858f-fde07d8c173f" providerId="ADAL" clId="{CEDAF50F-B282-4BFD-91A3-FB6577DE4AE7}" dt="2021-11-22T12:57:17.311" v="278" actId="14100"/>
          <ac:cxnSpMkLst>
            <pc:docMk/>
            <pc:sldMk cId="3357708039" sldId="2147308341"/>
            <ac:cxnSpMk id="5" creationId="{688D5AF9-D0C2-4B3F-9D18-F2BEBBD04A84}"/>
          </ac:cxnSpMkLst>
        </pc:cxnChg>
        <pc:cxnChg chg="mod">
          <ac:chgData name="Lamkhade, Rajendra" userId="037a3b39-7b6a-43a8-858f-fde07d8c173f" providerId="ADAL" clId="{CEDAF50F-B282-4BFD-91A3-FB6577DE4AE7}" dt="2021-11-22T12:57:00.499" v="259" actId="14100"/>
          <ac:cxnSpMkLst>
            <pc:docMk/>
            <pc:sldMk cId="3357708039" sldId="2147308341"/>
            <ac:cxnSpMk id="23" creationId="{509989F5-CF96-46AB-AB75-7D0FA437FE53}"/>
          </ac:cxnSpMkLst>
        </pc:cxnChg>
        <pc:cxnChg chg="mod">
          <ac:chgData name="Lamkhade, Rajendra" userId="037a3b39-7b6a-43a8-858f-fde07d8c173f" providerId="ADAL" clId="{CEDAF50F-B282-4BFD-91A3-FB6577DE4AE7}" dt="2021-11-22T13:22:06.396" v="856" actId="1076"/>
          <ac:cxnSpMkLst>
            <pc:docMk/>
            <pc:sldMk cId="3357708039" sldId="2147308341"/>
            <ac:cxnSpMk id="64" creationId="{DAA9317A-C797-4A9E-BCE8-B05586A735A7}"/>
          </ac:cxnSpMkLst>
        </pc:cxnChg>
        <pc:cxnChg chg="mod">
          <ac:chgData name="Lamkhade, Rajendra" userId="037a3b39-7b6a-43a8-858f-fde07d8c173f" providerId="ADAL" clId="{CEDAF50F-B282-4BFD-91A3-FB6577DE4AE7}" dt="2021-11-22T13:23:05.996" v="863" actId="14100"/>
          <ac:cxnSpMkLst>
            <pc:docMk/>
            <pc:sldMk cId="3357708039" sldId="2147308341"/>
            <ac:cxnSpMk id="67" creationId="{389D9483-A1D1-4905-88AD-FD422D63574F}"/>
          </ac:cxnSpMkLst>
        </pc:cxnChg>
        <pc:cxnChg chg="del">
          <ac:chgData name="Lamkhade, Rajendra" userId="037a3b39-7b6a-43a8-858f-fde07d8c173f" providerId="ADAL" clId="{CEDAF50F-B282-4BFD-91A3-FB6577DE4AE7}" dt="2021-11-22T13:17:40.585" v="752" actId="478"/>
          <ac:cxnSpMkLst>
            <pc:docMk/>
            <pc:sldMk cId="3357708039" sldId="2147308341"/>
            <ac:cxnSpMk id="69" creationId="{F4B63FF7-7555-4F8F-873C-08A844D201E1}"/>
          </ac:cxnSpMkLst>
        </pc:cxnChg>
        <pc:cxnChg chg="del">
          <ac:chgData name="Lamkhade, Rajendra" userId="037a3b39-7b6a-43a8-858f-fde07d8c173f" providerId="ADAL" clId="{CEDAF50F-B282-4BFD-91A3-FB6577DE4AE7}" dt="2021-11-22T13:17:51.952" v="756" actId="478"/>
          <ac:cxnSpMkLst>
            <pc:docMk/>
            <pc:sldMk cId="3357708039" sldId="2147308341"/>
            <ac:cxnSpMk id="77" creationId="{50FADDC5-44F4-46C8-B923-A195823B93A5}"/>
          </ac:cxnSpMkLst>
        </pc:cxnChg>
        <pc:cxnChg chg="del">
          <ac:chgData name="Lamkhade, Rajendra" userId="037a3b39-7b6a-43a8-858f-fde07d8c173f" providerId="ADAL" clId="{CEDAF50F-B282-4BFD-91A3-FB6577DE4AE7}" dt="2021-11-22T13:17:47.986" v="755" actId="478"/>
          <ac:cxnSpMkLst>
            <pc:docMk/>
            <pc:sldMk cId="3357708039" sldId="2147308341"/>
            <ac:cxnSpMk id="78" creationId="{77F227BB-9775-49CD-90E4-572829C7E517}"/>
          </ac:cxnSpMkLst>
        </pc:cxnChg>
        <pc:cxnChg chg="add del mod">
          <ac:chgData name="Lamkhade, Rajendra" userId="037a3b39-7b6a-43a8-858f-fde07d8c173f" providerId="ADAL" clId="{CEDAF50F-B282-4BFD-91A3-FB6577DE4AE7}" dt="2021-11-22T13:14:20.232" v="732" actId="478"/>
          <ac:cxnSpMkLst>
            <pc:docMk/>
            <pc:sldMk cId="3357708039" sldId="2147308341"/>
            <ac:cxnSpMk id="108" creationId="{DA8FE043-E351-4870-BF6A-50D25691F2FD}"/>
          </ac:cxnSpMkLst>
        </pc:cxnChg>
        <pc:cxnChg chg="del">
          <ac:chgData name="Lamkhade, Rajendra" userId="037a3b39-7b6a-43a8-858f-fde07d8c173f" providerId="ADAL" clId="{CEDAF50F-B282-4BFD-91A3-FB6577DE4AE7}" dt="2021-11-22T12:55:57.385" v="163" actId="21"/>
          <ac:cxnSpMkLst>
            <pc:docMk/>
            <pc:sldMk cId="3357708039" sldId="2147308341"/>
            <ac:cxnSpMk id="125" creationId="{E476886C-266E-4214-9500-85CE02933124}"/>
          </ac:cxnSpMkLst>
        </pc:cxnChg>
        <pc:cxnChg chg="del">
          <ac:chgData name="Lamkhade, Rajendra" userId="037a3b39-7b6a-43a8-858f-fde07d8c173f" providerId="ADAL" clId="{CEDAF50F-B282-4BFD-91A3-FB6577DE4AE7}" dt="2021-11-22T12:55:57.385" v="163" actId="21"/>
          <ac:cxnSpMkLst>
            <pc:docMk/>
            <pc:sldMk cId="3357708039" sldId="2147308341"/>
            <ac:cxnSpMk id="132" creationId="{F37DC939-0FB1-463A-A544-B950798F74DF}"/>
          </ac:cxnSpMkLst>
        </pc:cxnChg>
        <pc:cxnChg chg="del">
          <ac:chgData name="Lamkhade, Rajendra" userId="037a3b39-7b6a-43a8-858f-fde07d8c173f" providerId="ADAL" clId="{CEDAF50F-B282-4BFD-91A3-FB6577DE4AE7}" dt="2021-11-22T12:55:57.385" v="163" actId="21"/>
          <ac:cxnSpMkLst>
            <pc:docMk/>
            <pc:sldMk cId="3357708039" sldId="2147308341"/>
            <ac:cxnSpMk id="133" creationId="{75755C28-E7D5-44BE-9E66-AE8D130507F3}"/>
          </ac:cxnSpMkLst>
        </pc:cxnChg>
        <pc:cxnChg chg="del">
          <ac:chgData name="Lamkhade, Rajendra" userId="037a3b39-7b6a-43a8-858f-fde07d8c173f" providerId="ADAL" clId="{CEDAF50F-B282-4BFD-91A3-FB6577DE4AE7}" dt="2021-11-22T12:55:57.385" v="163" actId="21"/>
          <ac:cxnSpMkLst>
            <pc:docMk/>
            <pc:sldMk cId="3357708039" sldId="2147308341"/>
            <ac:cxnSpMk id="134" creationId="{F5AD6ACF-78CA-43C4-BE52-D365AE087A20}"/>
          </ac:cxnSpMkLst>
        </pc:cxnChg>
        <pc:cxnChg chg="del">
          <ac:chgData name="Lamkhade, Rajendra" userId="037a3b39-7b6a-43a8-858f-fde07d8c173f" providerId="ADAL" clId="{CEDAF50F-B282-4BFD-91A3-FB6577DE4AE7}" dt="2021-11-22T12:55:57.385" v="163" actId="21"/>
          <ac:cxnSpMkLst>
            <pc:docMk/>
            <pc:sldMk cId="3357708039" sldId="2147308341"/>
            <ac:cxnSpMk id="163" creationId="{7A0CBB71-C5B0-43E2-8EEF-B168F588345F}"/>
          </ac:cxnSpMkLst>
        </pc:cxnChg>
        <pc:cxnChg chg="mod">
          <ac:chgData name="Lamkhade, Rajendra" userId="037a3b39-7b6a-43a8-858f-fde07d8c173f" providerId="ADAL" clId="{CEDAF50F-B282-4BFD-91A3-FB6577DE4AE7}" dt="2021-11-22T13:23:25.931" v="865" actId="14100"/>
          <ac:cxnSpMkLst>
            <pc:docMk/>
            <pc:sldMk cId="3357708039" sldId="2147308341"/>
            <ac:cxnSpMk id="175" creationId="{DE5A25DD-5D5A-49B4-8394-1AB15BC23449}"/>
          </ac:cxnSpMkLst>
        </pc:cxnChg>
        <pc:cxnChg chg="mod">
          <ac:chgData name="Lamkhade, Rajendra" userId="037a3b39-7b6a-43a8-858f-fde07d8c173f" providerId="ADAL" clId="{CEDAF50F-B282-4BFD-91A3-FB6577DE4AE7}" dt="2021-11-22T13:22:38.212" v="861" actId="1076"/>
          <ac:cxnSpMkLst>
            <pc:docMk/>
            <pc:sldMk cId="3357708039" sldId="2147308341"/>
            <ac:cxnSpMk id="177" creationId="{FACEF79B-25DF-4AE3-9E8C-5E50F3205F98}"/>
          </ac:cxnSpMkLst>
        </pc:cxnChg>
        <pc:cxnChg chg="mod">
          <ac:chgData name="Lamkhade, Rajendra" userId="037a3b39-7b6a-43a8-858f-fde07d8c173f" providerId="ADAL" clId="{CEDAF50F-B282-4BFD-91A3-FB6577DE4AE7}" dt="2021-11-22T13:19:10.996" v="780" actId="14100"/>
          <ac:cxnSpMkLst>
            <pc:docMk/>
            <pc:sldMk cId="3357708039" sldId="2147308341"/>
            <ac:cxnSpMk id="183" creationId="{B4C44451-029B-47B2-B579-97220F68D773}"/>
          </ac:cxnSpMkLst>
        </pc:cxnChg>
        <pc:cxnChg chg="mod">
          <ac:chgData name="Lamkhade, Rajendra" userId="037a3b39-7b6a-43a8-858f-fde07d8c173f" providerId="ADAL" clId="{CEDAF50F-B282-4BFD-91A3-FB6577DE4AE7}" dt="2021-11-22T13:14:26.035" v="747" actId="14100"/>
          <ac:cxnSpMkLst>
            <pc:docMk/>
            <pc:sldMk cId="3357708039" sldId="2147308341"/>
            <ac:cxnSpMk id="186" creationId="{81E9A52D-136F-4B32-8354-7B2608B543D3}"/>
          </ac:cxnSpMkLst>
        </pc:cxnChg>
        <pc:cxnChg chg="del">
          <ac:chgData name="Lamkhade, Rajendra" userId="037a3b39-7b6a-43a8-858f-fde07d8c173f" providerId="ADAL" clId="{CEDAF50F-B282-4BFD-91A3-FB6577DE4AE7}" dt="2021-11-22T13:17:30.358" v="749" actId="478"/>
          <ac:cxnSpMkLst>
            <pc:docMk/>
            <pc:sldMk cId="3357708039" sldId="2147308341"/>
            <ac:cxnSpMk id="203" creationId="{8C81278C-133E-4FFC-91E4-C1646577162C}"/>
          </ac:cxnSpMkLst>
        </pc:cxnChg>
        <pc:cxnChg chg="del">
          <ac:chgData name="Lamkhade, Rajendra" userId="037a3b39-7b6a-43a8-858f-fde07d8c173f" providerId="ADAL" clId="{CEDAF50F-B282-4BFD-91A3-FB6577DE4AE7}" dt="2021-11-22T13:17:32.352" v="750" actId="478"/>
          <ac:cxnSpMkLst>
            <pc:docMk/>
            <pc:sldMk cId="3357708039" sldId="2147308341"/>
            <ac:cxnSpMk id="204" creationId="{BC830DE9-F5F3-4F05-AEA4-A5694B5A40A7}"/>
          </ac:cxnSpMkLst>
        </pc:cxnChg>
        <pc:cxnChg chg="mod">
          <ac:chgData name="Lamkhade, Rajendra" userId="037a3b39-7b6a-43a8-858f-fde07d8c173f" providerId="ADAL" clId="{CEDAF50F-B282-4BFD-91A3-FB6577DE4AE7}" dt="2021-11-22T12:56:57.245" v="252" actId="14100"/>
          <ac:cxnSpMkLst>
            <pc:docMk/>
            <pc:sldMk cId="3357708039" sldId="2147308341"/>
            <ac:cxnSpMk id="212" creationId="{2E1061DD-25B2-4249-BF03-5A962CA396C8}"/>
          </ac:cxnSpMkLst>
        </pc:cxnChg>
        <pc:cxnChg chg="mod">
          <ac:chgData name="Lamkhade, Rajendra" userId="037a3b39-7b6a-43a8-858f-fde07d8c173f" providerId="ADAL" clId="{CEDAF50F-B282-4BFD-91A3-FB6577DE4AE7}" dt="2021-11-22T12:56:47.442" v="245" actId="14100"/>
          <ac:cxnSpMkLst>
            <pc:docMk/>
            <pc:sldMk cId="3357708039" sldId="2147308341"/>
            <ac:cxnSpMk id="213" creationId="{F31482A3-F31C-47C2-9207-1E7460408DEA}"/>
          </ac:cxnSpMkLst>
        </pc:cxnChg>
        <pc:cxnChg chg="mod">
          <ac:chgData name="Lamkhade, Rajendra" userId="037a3b39-7b6a-43a8-858f-fde07d8c173f" providerId="ADAL" clId="{CEDAF50F-B282-4BFD-91A3-FB6577DE4AE7}" dt="2021-11-22T13:22:21.604" v="858" actId="1076"/>
          <ac:cxnSpMkLst>
            <pc:docMk/>
            <pc:sldMk cId="3357708039" sldId="2147308341"/>
            <ac:cxnSpMk id="292" creationId="{72086024-8593-46E2-A7F3-9B09A26C451C}"/>
          </ac:cxnSpMkLst>
        </pc:cxnChg>
      </pc:sldChg>
      <pc:sldChg chg="del">
        <pc:chgData name="Lamkhade, Rajendra" userId="037a3b39-7b6a-43a8-858f-fde07d8c173f" providerId="ADAL" clId="{CEDAF50F-B282-4BFD-91A3-FB6577DE4AE7}" dt="2021-11-22T13:50:51.581" v="1153" actId="47"/>
        <pc:sldMkLst>
          <pc:docMk/>
          <pc:sldMk cId="2693682545" sldId="2147308342"/>
        </pc:sldMkLst>
      </pc:sldChg>
      <pc:sldChg chg="addSp delSp modSp mod">
        <pc:chgData name="Lamkhade, Rajendra" userId="037a3b39-7b6a-43a8-858f-fde07d8c173f" providerId="ADAL" clId="{CEDAF50F-B282-4BFD-91A3-FB6577DE4AE7}" dt="2021-11-22T14:32:36.296" v="1801" actId="14100"/>
        <pc:sldMkLst>
          <pc:docMk/>
          <pc:sldMk cId="1445567296" sldId="2147308343"/>
        </pc:sldMkLst>
        <pc:spChg chg="add del mod">
          <ac:chgData name="Lamkhade, Rajendra" userId="037a3b39-7b6a-43a8-858f-fde07d8c173f" providerId="ADAL" clId="{CEDAF50F-B282-4BFD-91A3-FB6577DE4AE7}" dt="2021-11-22T14:32:01.335" v="1796" actId="478"/>
          <ac:spMkLst>
            <pc:docMk/>
            <pc:sldMk cId="1445567296" sldId="2147308343"/>
            <ac:spMk id="3" creationId="{699B932A-C473-4FCA-B192-BE0CAFB545A5}"/>
          </ac:spMkLst>
        </pc:spChg>
        <pc:spChg chg="mod">
          <ac:chgData name="Lamkhade, Rajendra" userId="037a3b39-7b6a-43a8-858f-fde07d8c173f" providerId="ADAL" clId="{CEDAF50F-B282-4BFD-91A3-FB6577DE4AE7}" dt="2021-11-22T14:17:39.243" v="1540" actId="20577"/>
          <ac:spMkLst>
            <pc:docMk/>
            <pc:sldMk cId="1445567296" sldId="2147308343"/>
            <ac:spMk id="5" creationId="{D658C753-E65F-441C-B7FA-E04284A6A67C}"/>
          </ac:spMkLst>
        </pc:spChg>
        <pc:spChg chg="mod">
          <ac:chgData name="Lamkhade, Rajendra" userId="037a3b39-7b6a-43a8-858f-fde07d8c173f" providerId="ADAL" clId="{CEDAF50F-B282-4BFD-91A3-FB6577DE4AE7}" dt="2021-11-22T14:19:06.144" v="1558" actId="14100"/>
          <ac:spMkLst>
            <pc:docMk/>
            <pc:sldMk cId="1445567296" sldId="2147308343"/>
            <ac:spMk id="6" creationId="{66D48B07-C36E-44E4-803C-BBC6F1ADA540}"/>
          </ac:spMkLst>
        </pc:spChg>
        <pc:spChg chg="mod">
          <ac:chgData name="Lamkhade, Rajendra" userId="037a3b39-7b6a-43a8-858f-fde07d8c173f" providerId="ADAL" clId="{CEDAF50F-B282-4BFD-91A3-FB6577DE4AE7}" dt="2021-11-22T14:25:53.142" v="1599" actId="20577"/>
          <ac:spMkLst>
            <pc:docMk/>
            <pc:sldMk cId="1445567296" sldId="2147308343"/>
            <ac:spMk id="7" creationId="{75AD63BB-80FA-4C42-A8D5-9ABA04130B2F}"/>
          </ac:spMkLst>
        </pc:spChg>
        <pc:spChg chg="mod">
          <ac:chgData name="Lamkhade, Rajendra" userId="037a3b39-7b6a-43a8-858f-fde07d8c173f" providerId="ADAL" clId="{CEDAF50F-B282-4BFD-91A3-FB6577DE4AE7}" dt="2021-11-22T14:32:20.661" v="1799" actId="1076"/>
          <ac:spMkLst>
            <pc:docMk/>
            <pc:sldMk cId="1445567296" sldId="2147308343"/>
            <ac:spMk id="8" creationId="{2D9D79D9-3A3D-4426-9BBA-B8B5CB93A016}"/>
          </ac:spMkLst>
        </pc:spChg>
        <pc:spChg chg="mod">
          <ac:chgData name="Lamkhade, Rajendra" userId="037a3b39-7b6a-43a8-858f-fde07d8c173f" providerId="ADAL" clId="{CEDAF50F-B282-4BFD-91A3-FB6577DE4AE7}" dt="2021-11-22T14:32:20.661" v="1799" actId="1076"/>
          <ac:spMkLst>
            <pc:docMk/>
            <pc:sldMk cId="1445567296" sldId="2147308343"/>
            <ac:spMk id="9" creationId="{B9E729CF-A23B-47A9-955E-4D9BA93255D7}"/>
          </ac:spMkLst>
        </pc:spChg>
        <pc:spChg chg="del">
          <ac:chgData name="Lamkhade, Rajendra" userId="037a3b39-7b6a-43a8-858f-fde07d8c173f" providerId="ADAL" clId="{CEDAF50F-B282-4BFD-91A3-FB6577DE4AE7}" dt="2021-11-22T14:31:56.654" v="1794" actId="478"/>
          <ac:spMkLst>
            <pc:docMk/>
            <pc:sldMk cId="1445567296" sldId="2147308343"/>
            <ac:spMk id="10" creationId="{D1552328-5632-488E-A430-A93337244529}"/>
          </ac:spMkLst>
        </pc:spChg>
        <pc:spChg chg="mod">
          <ac:chgData name="Lamkhade, Rajendra" userId="037a3b39-7b6a-43a8-858f-fde07d8c173f" providerId="ADAL" clId="{CEDAF50F-B282-4BFD-91A3-FB6577DE4AE7}" dt="2021-11-22T14:32:20.661" v="1799" actId="1076"/>
          <ac:spMkLst>
            <pc:docMk/>
            <pc:sldMk cId="1445567296" sldId="2147308343"/>
            <ac:spMk id="14" creationId="{271BCA56-53C8-4D77-9CF3-1D06115D1642}"/>
          </ac:spMkLst>
        </pc:spChg>
        <pc:spChg chg="mod">
          <ac:chgData name="Lamkhade, Rajendra" userId="037a3b39-7b6a-43a8-858f-fde07d8c173f" providerId="ADAL" clId="{CEDAF50F-B282-4BFD-91A3-FB6577DE4AE7}" dt="2021-11-22T14:32:20.661" v="1799" actId="1076"/>
          <ac:spMkLst>
            <pc:docMk/>
            <pc:sldMk cId="1445567296" sldId="2147308343"/>
            <ac:spMk id="15" creationId="{154C453B-521B-4D0C-9C02-EBE032CB27C3}"/>
          </ac:spMkLst>
        </pc:spChg>
        <pc:spChg chg="del">
          <ac:chgData name="Lamkhade, Rajendra" userId="037a3b39-7b6a-43a8-858f-fde07d8c173f" providerId="ADAL" clId="{CEDAF50F-B282-4BFD-91A3-FB6577DE4AE7}" dt="2021-11-22T14:31:56.654" v="1794" actId="478"/>
          <ac:spMkLst>
            <pc:docMk/>
            <pc:sldMk cId="1445567296" sldId="2147308343"/>
            <ac:spMk id="16" creationId="{9C628D20-F854-418A-8F82-A6F1D7BA1E52}"/>
          </ac:spMkLst>
        </pc:spChg>
        <pc:spChg chg="add del mod">
          <ac:chgData name="Lamkhade, Rajendra" userId="037a3b39-7b6a-43a8-858f-fde07d8c173f" providerId="ADAL" clId="{CEDAF50F-B282-4BFD-91A3-FB6577DE4AE7}" dt="2021-11-22T14:32:05.337" v="1798" actId="478"/>
          <ac:spMkLst>
            <pc:docMk/>
            <pc:sldMk cId="1445567296" sldId="2147308343"/>
            <ac:spMk id="18" creationId="{DC7602D8-8BCA-4315-80D6-271ADBC87E29}"/>
          </ac:spMkLst>
        </pc:spChg>
        <pc:spChg chg="add mod">
          <ac:chgData name="Lamkhade, Rajendra" userId="037a3b39-7b6a-43a8-858f-fde07d8c173f" providerId="ADAL" clId="{CEDAF50F-B282-4BFD-91A3-FB6577DE4AE7}" dt="2021-11-22T14:31:04.399" v="1774" actId="20577"/>
          <ac:spMkLst>
            <pc:docMk/>
            <pc:sldMk cId="1445567296" sldId="2147308343"/>
            <ac:spMk id="21" creationId="{F41B2A3B-F3D8-4DB7-9185-B421DC88F8F5}"/>
          </ac:spMkLst>
        </pc:spChg>
        <pc:spChg chg="add del mod">
          <ac:chgData name="Lamkhade, Rajendra" userId="037a3b39-7b6a-43a8-858f-fde07d8c173f" providerId="ADAL" clId="{CEDAF50F-B282-4BFD-91A3-FB6577DE4AE7}" dt="2021-11-22T14:18:17.416" v="1550" actId="478"/>
          <ac:spMkLst>
            <pc:docMk/>
            <pc:sldMk cId="1445567296" sldId="2147308343"/>
            <ac:spMk id="29" creationId="{DBD84DDF-B9D2-4D02-8A9F-DE670D289C8E}"/>
          </ac:spMkLst>
        </pc:spChg>
        <pc:spChg chg="mod">
          <ac:chgData name="Lamkhade, Rajendra" userId="037a3b39-7b6a-43a8-858f-fde07d8c173f" providerId="ADAL" clId="{CEDAF50F-B282-4BFD-91A3-FB6577DE4AE7}" dt="2021-11-22T14:32:36.296" v="1801" actId="14100"/>
          <ac:spMkLst>
            <pc:docMk/>
            <pc:sldMk cId="1445567296" sldId="2147308343"/>
            <ac:spMk id="36" creationId="{AC3130C7-2556-4BDE-97E1-804E6F7C2AB7}"/>
          </ac:spMkLst>
        </pc:spChg>
        <pc:spChg chg="del">
          <ac:chgData name="Lamkhade, Rajendra" userId="037a3b39-7b6a-43a8-858f-fde07d8c173f" providerId="ADAL" clId="{CEDAF50F-B282-4BFD-91A3-FB6577DE4AE7}" dt="2021-11-22T14:32:02.937" v="1797" actId="478"/>
          <ac:spMkLst>
            <pc:docMk/>
            <pc:sldMk cId="1445567296" sldId="2147308343"/>
            <ac:spMk id="37" creationId="{74439499-C672-43AE-8AB4-EC89E7DD315A}"/>
          </ac:spMkLst>
        </pc:spChg>
        <pc:spChg chg="mod">
          <ac:chgData name="Lamkhade, Rajendra" userId="037a3b39-7b6a-43a8-858f-fde07d8c173f" providerId="ADAL" clId="{CEDAF50F-B282-4BFD-91A3-FB6577DE4AE7}" dt="2021-11-22T14:32:31.868" v="1800" actId="1076"/>
          <ac:spMkLst>
            <pc:docMk/>
            <pc:sldMk cId="1445567296" sldId="2147308343"/>
            <ac:spMk id="40" creationId="{54B395E4-88B3-4A21-B98D-2D065DCC2D74}"/>
          </ac:spMkLst>
        </pc:spChg>
        <pc:spChg chg="del">
          <ac:chgData name="Lamkhade, Rajendra" userId="037a3b39-7b6a-43a8-858f-fde07d8c173f" providerId="ADAL" clId="{CEDAF50F-B282-4BFD-91A3-FB6577DE4AE7}" dt="2021-11-22T14:31:59.493" v="1795" actId="478"/>
          <ac:spMkLst>
            <pc:docMk/>
            <pc:sldMk cId="1445567296" sldId="2147308343"/>
            <ac:spMk id="41" creationId="{1F26CAEA-9613-4F4A-80BD-420697687335}"/>
          </ac:spMkLst>
        </pc:spChg>
      </pc:sldChg>
      <pc:sldChg chg="delSp modSp mod">
        <pc:chgData name="Lamkhade, Rajendra" userId="037a3b39-7b6a-43a8-858f-fde07d8c173f" providerId="ADAL" clId="{CEDAF50F-B282-4BFD-91A3-FB6577DE4AE7}" dt="2021-11-22T14:15:30.802" v="1497" actId="1035"/>
        <pc:sldMkLst>
          <pc:docMk/>
          <pc:sldMk cId="683105391" sldId="2147308344"/>
        </pc:sldMkLst>
        <pc:spChg chg="mod">
          <ac:chgData name="Lamkhade, Rajendra" userId="037a3b39-7b6a-43a8-858f-fde07d8c173f" providerId="ADAL" clId="{CEDAF50F-B282-4BFD-91A3-FB6577DE4AE7}" dt="2021-11-22T13:04:13.111" v="576" actId="20577"/>
          <ac:spMkLst>
            <pc:docMk/>
            <pc:sldMk cId="683105391" sldId="2147308344"/>
            <ac:spMk id="4" creationId="{FEEA0A86-9B75-4B97-B6D2-B70FBA1B522C}"/>
          </ac:spMkLst>
        </pc:spChg>
        <pc:spChg chg="mod">
          <ac:chgData name="Lamkhade, Rajendra" userId="037a3b39-7b6a-43a8-858f-fde07d8c173f" providerId="ADAL" clId="{CEDAF50F-B282-4BFD-91A3-FB6577DE4AE7}" dt="2021-11-22T14:15:30.802" v="1497" actId="1035"/>
          <ac:spMkLst>
            <pc:docMk/>
            <pc:sldMk cId="683105391" sldId="2147308344"/>
            <ac:spMk id="11" creationId="{00000000-0000-0000-0000-000000000000}"/>
          </ac:spMkLst>
        </pc:spChg>
        <pc:spChg chg="mod">
          <ac:chgData name="Lamkhade, Rajendra" userId="037a3b39-7b6a-43a8-858f-fde07d8c173f" providerId="ADAL" clId="{CEDAF50F-B282-4BFD-91A3-FB6577DE4AE7}" dt="2021-11-22T14:15:30.802" v="1497" actId="1035"/>
          <ac:spMkLst>
            <pc:docMk/>
            <pc:sldMk cId="683105391" sldId="2147308344"/>
            <ac:spMk id="20" creationId="{00000000-0000-0000-0000-000000000000}"/>
          </ac:spMkLst>
        </pc:spChg>
        <pc:spChg chg="mod">
          <ac:chgData name="Lamkhade, Rajendra" userId="037a3b39-7b6a-43a8-858f-fde07d8c173f" providerId="ADAL" clId="{CEDAF50F-B282-4BFD-91A3-FB6577DE4AE7}" dt="2021-11-22T14:15:30.802" v="1497" actId="1035"/>
          <ac:spMkLst>
            <pc:docMk/>
            <pc:sldMk cId="683105391" sldId="2147308344"/>
            <ac:spMk id="21" creationId="{00000000-0000-0000-0000-000000000000}"/>
          </ac:spMkLst>
        </pc:spChg>
        <pc:spChg chg="mod">
          <ac:chgData name="Lamkhade, Rajendra" userId="037a3b39-7b6a-43a8-858f-fde07d8c173f" providerId="ADAL" clId="{CEDAF50F-B282-4BFD-91A3-FB6577DE4AE7}" dt="2021-11-22T14:15:30.802" v="1497" actId="1035"/>
          <ac:spMkLst>
            <pc:docMk/>
            <pc:sldMk cId="683105391" sldId="2147308344"/>
            <ac:spMk id="22" creationId="{00000000-0000-0000-0000-000000000000}"/>
          </ac:spMkLst>
        </pc:spChg>
        <pc:spChg chg="mod">
          <ac:chgData name="Lamkhade, Rajendra" userId="037a3b39-7b6a-43a8-858f-fde07d8c173f" providerId="ADAL" clId="{CEDAF50F-B282-4BFD-91A3-FB6577DE4AE7}" dt="2021-11-22T14:15:30.802" v="1497" actId="1035"/>
          <ac:spMkLst>
            <pc:docMk/>
            <pc:sldMk cId="683105391" sldId="2147308344"/>
            <ac:spMk id="23" creationId="{00000000-0000-0000-0000-000000000000}"/>
          </ac:spMkLst>
        </pc:spChg>
        <pc:spChg chg="mod">
          <ac:chgData name="Lamkhade, Rajendra" userId="037a3b39-7b6a-43a8-858f-fde07d8c173f" providerId="ADAL" clId="{CEDAF50F-B282-4BFD-91A3-FB6577DE4AE7}" dt="2021-11-22T14:15:30.802" v="1497" actId="1035"/>
          <ac:spMkLst>
            <pc:docMk/>
            <pc:sldMk cId="683105391" sldId="2147308344"/>
            <ac:spMk id="24" creationId="{00000000-0000-0000-0000-000000000000}"/>
          </ac:spMkLst>
        </pc:spChg>
        <pc:spChg chg="mod">
          <ac:chgData name="Lamkhade, Rajendra" userId="037a3b39-7b6a-43a8-858f-fde07d8c173f" providerId="ADAL" clId="{CEDAF50F-B282-4BFD-91A3-FB6577DE4AE7}" dt="2021-11-22T14:15:30.802" v="1497" actId="1035"/>
          <ac:spMkLst>
            <pc:docMk/>
            <pc:sldMk cId="683105391" sldId="2147308344"/>
            <ac:spMk id="29" creationId="{00000000-0000-0000-0000-000000000000}"/>
          </ac:spMkLst>
        </pc:spChg>
        <pc:spChg chg="mod">
          <ac:chgData name="Lamkhade, Rajendra" userId="037a3b39-7b6a-43a8-858f-fde07d8c173f" providerId="ADAL" clId="{CEDAF50F-B282-4BFD-91A3-FB6577DE4AE7}" dt="2021-11-22T14:15:30.802" v="1497" actId="1035"/>
          <ac:spMkLst>
            <pc:docMk/>
            <pc:sldMk cId="683105391" sldId="2147308344"/>
            <ac:spMk id="32" creationId="{00000000-0000-0000-0000-000000000000}"/>
          </ac:spMkLst>
        </pc:spChg>
        <pc:spChg chg="mod">
          <ac:chgData name="Lamkhade, Rajendra" userId="037a3b39-7b6a-43a8-858f-fde07d8c173f" providerId="ADAL" clId="{CEDAF50F-B282-4BFD-91A3-FB6577DE4AE7}" dt="2021-11-22T14:15:30.802" v="1497" actId="1035"/>
          <ac:spMkLst>
            <pc:docMk/>
            <pc:sldMk cId="683105391" sldId="2147308344"/>
            <ac:spMk id="35" creationId="{00000000-0000-0000-0000-000000000000}"/>
          </ac:spMkLst>
        </pc:spChg>
        <pc:spChg chg="del">
          <ac:chgData name="Lamkhade, Rajendra" userId="037a3b39-7b6a-43a8-858f-fde07d8c173f" providerId="ADAL" clId="{CEDAF50F-B282-4BFD-91A3-FB6577DE4AE7}" dt="2021-11-22T14:11:05.716" v="1387" actId="478"/>
          <ac:spMkLst>
            <pc:docMk/>
            <pc:sldMk cId="683105391" sldId="2147308344"/>
            <ac:spMk id="155" creationId="{00000000-0000-0000-0000-000000000000}"/>
          </ac:spMkLst>
        </pc:spChg>
        <pc:spChg chg="mod">
          <ac:chgData name="Lamkhade, Rajendra" userId="037a3b39-7b6a-43a8-858f-fde07d8c173f" providerId="ADAL" clId="{CEDAF50F-B282-4BFD-91A3-FB6577DE4AE7}" dt="2021-11-22T14:15:30.802" v="1497" actId="1035"/>
          <ac:spMkLst>
            <pc:docMk/>
            <pc:sldMk cId="683105391" sldId="2147308344"/>
            <ac:spMk id="156" creationId="{632BF17A-2639-45F7-A71E-091C20B5B032}"/>
          </ac:spMkLst>
        </pc:spChg>
        <pc:spChg chg="mod">
          <ac:chgData name="Lamkhade, Rajendra" userId="037a3b39-7b6a-43a8-858f-fde07d8c173f" providerId="ADAL" clId="{CEDAF50F-B282-4BFD-91A3-FB6577DE4AE7}" dt="2021-11-22T14:15:30.802" v="1497" actId="1035"/>
          <ac:spMkLst>
            <pc:docMk/>
            <pc:sldMk cId="683105391" sldId="2147308344"/>
            <ac:spMk id="157" creationId="{7AA4F19D-4710-411B-A7BD-0B070F8FECF8}"/>
          </ac:spMkLst>
        </pc:spChg>
        <pc:spChg chg="mod">
          <ac:chgData name="Lamkhade, Rajendra" userId="037a3b39-7b6a-43a8-858f-fde07d8c173f" providerId="ADAL" clId="{CEDAF50F-B282-4BFD-91A3-FB6577DE4AE7}" dt="2021-11-22T14:15:30.802" v="1497" actId="1035"/>
          <ac:spMkLst>
            <pc:docMk/>
            <pc:sldMk cId="683105391" sldId="2147308344"/>
            <ac:spMk id="158" creationId="{6DEC0123-88C2-49D1-B192-6623921A8D55}"/>
          </ac:spMkLst>
        </pc:spChg>
        <pc:spChg chg="mod">
          <ac:chgData name="Lamkhade, Rajendra" userId="037a3b39-7b6a-43a8-858f-fde07d8c173f" providerId="ADAL" clId="{CEDAF50F-B282-4BFD-91A3-FB6577DE4AE7}" dt="2021-11-22T14:15:30.802" v="1497" actId="1035"/>
          <ac:spMkLst>
            <pc:docMk/>
            <pc:sldMk cId="683105391" sldId="2147308344"/>
            <ac:spMk id="159" creationId="{639D08FC-8E56-4198-A0DC-3826577039C1}"/>
          </ac:spMkLst>
        </pc:spChg>
        <pc:spChg chg="mod">
          <ac:chgData name="Lamkhade, Rajendra" userId="037a3b39-7b6a-43a8-858f-fde07d8c173f" providerId="ADAL" clId="{CEDAF50F-B282-4BFD-91A3-FB6577DE4AE7}" dt="2021-11-22T14:15:30.802" v="1497" actId="1035"/>
          <ac:spMkLst>
            <pc:docMk/>
            <pc:sldMk cId="683105391" sldId="2147308344"/>
            <ac:spMk id="171" creationId="{00000000-0000-0000-0000-000000000000}"/>
          </ac:spMkLst>
        </pc:spChg>
        <pc:spChg chg="mod">
          <ac:chgData name="Lamkhade, Rajendra" userId="037a3b39-7b6a-43a8-858f-fde07d8c173f" providerId="ADAL" clId="{CEDAF50F-B282-4BFD-91A3-FB6577DE4AE7}" dt="2021-11-22T14:15:30.802" v="1497" actId="1035"/>
          <ac:spMkLst>
            <pc:docMk/>
            <pc:sldMk cId="683105391" sldId="2147308344"/>
            <ac:spMk id="172" creationId="{00000000-0000-0000-0000-000000000000}"/>
          </ac:spMkLst>
        </pc:spChg>
        <pc:spChg chg="mod">
          <ac:chgData name="Lamkhade, Rajendra" userId="037a3b39-7b6a-43a8-858f-fde07d8c173f" providerId="ADAL" clId="{CEDAF50F-B282-4BFD-91A3-FB6577DE4AE7}" dt="2021-11-22T14:15:30.802" v="1497" actId="1035"/>
          <ac:spMkLst>
            <pc:docMk/>
            <pc:sldMk cId="683105391" sldId="2147308344"/>
            <ac:spMk id="173" creationId="{00000000-0000-0000-0000-000000000000}"/>
          </ac:spMkLst>
        </pc:spChg>
        <pc:spChg chg="mod">
          <ac:chgData name="Lamkhade, Rajendra" userId="037a3b39-7b6a-43a8-858f-fde07d8c173f" providerId="ADAL" clId="{CEDAF50F-B282-4BFD-91A3-FB6577DE4AE7}" dt="2021-11-22T14:15:30.802" v="1497" actId="1035"/>
          <ac:spMkLst>
            <pc:docMk/>
            <pc:sldMk cId="683105391" sldId="2147308344"/>
            <ac:spMk id="174" creationId="{DEA3F0F7-1F24-4CD4-B1C3-B5D3064A10E0}"/>
          </ac:spMkLst>
        </pc:spChg>
        <pc:spChg chg="mod">
          <ac:chgData name="Lamkhade, Rajendra" userId="037a3b39-7b6a-43a8-858f-fde07d8c173f" providerId="ADAL" clId="{CEDAF50F-B282-4BFD-91A3-FB6577DE4AE7}" dt="2021-11-22T14:15:30.802" v="1497" actId="1035"/>
          <ac:spMkLst>
            <pc:docMk/>
            <pc:sldMk cId="683105391" sldId="2147308344"/>
            <ac:spMk id="202" creationId="{22683802-75F6-473A-8B94-953A62AFBFBC}"/>
          </ac:spMkLst>
        </pc:spChg>
        <pc:spChg chg="mod">
          <ac:chgData name="Lamkhade, Rajendra" userId="037a3b39-7b6a-43a8-858f-fde07d8c173f" providerId="ADAL" clId="{CEDAF50F-B282-4BFD-91A3-FB6577DE4AE7}" dt="2021-11-22T14:15:30.802" v="1497" actId="1035"/>
          <ac:spMkLst>
            <pc:docMk/>
            <pc:sldMk cId="683105391" sldId="2147308344"/>
            <ac:spMk id="203" creationId="{3EE75F51-C7B9-42A5-B15F-9D9CDD9FEBDA}"/>
          </ac:spMkLst>
        </pc:spChg>
        <pc:grpChg chg="mod">
          <ac:chgData name="Lamkhade, Rajendra" userId="037a3b39-7b6a-43a8-858f-fde07d8c173f" providerId="ADAL" clId="{CEDAF50F-B282-4BFD-91A3-FB6577DE4AE7}" dt="2021-11-22T14:15:30.802" v="1497" actId="1035"/>
          <ac:grpSpMkLst>
            <pc:docMk/>
            <pc:sldMk cId="683105391" sldId="2147308344"/>
            <ac:grpSpMk id="7" creationId="{00000000-0000-0000-0000-000000000000}"/>
          </ac:grpSpMkLst>
        </pc:grpChg>
        <pc:grpChg chg="mod">
          <ac:chgData name="Lamkhade, Rajendra" userId="037a3b39-7b6a-43a8-858f-fde07d8c173f" providerId="ADAL" clId="{CEDAF50F-B282-4BFD-91A3-FB6577DE4AE7}" dt="2021-11-22T14:15:30.802" v="1497" actId="1035"/>
          <ac:grpSpMkLst>
            <pc:docMk/>
            <pc:sldMk cId="683105391" sldId="2147308344"/>
            <ac:grpSpMk id="63" creationId="{00000000-0000-0000-0000-000000000000}"/>
          </ac:grpSpMkLst>
        </pc:grpChg>
        <pc:grpChg chg="mod">
          <ac:chgData name="Lamkhade, Rajendra" userId="037a3b39-7b6a-43a8-858f-fde07d8c173f" providerId="ADAL" clId="{CEDAF50F-B282-4BFD-91A3-FB6577DE4AE7}" dt="2021-11-22T14:15:30.802" v="1497" actId="1035"/>
          <ac:grpSpMkLst>
            <pc:docMk/>
            <pc:sldMk cId="683105391" sldId="2147308344"/>
            <ac:grpSpMk id="90" creationId="{00000000-0000-0000-0000-000000000000}"/>
          </ac:grpSpMkLst>
        </pc:grpChg>
        <pc:grpChg chg="mod">
          <ac:chgData name="Lamkhade, Rajendra" userId="037a3b39-7b6a-43a8-858f-fde07d8c173f" providerId="ADAL" clId="{CEDAF50F-B282-4BFD-91A3-FB6577DE4AE7}" dt="2021-11-22T14:15:30.802" v="1497" actId="1035"/>
          <ac:grpSpMkLst>
            <pc:docMk/>
            <pc:sldMk cId="683105391" sldId="2147308344"/>
            <ac:grpSpMk id="160" creationId="{3ED12105-F192-4083-9910-8FAA9EC845FF}"/>
          </ac:grpSpMkLst>
        </pc:grpChg>
        <pc:grpChg chg="mod">
          <ac:chgData name="Lamkhade, Rajendra" userId="037a3b39-7b6a-43a8-858f-fde07d8c173f" providerId="ADAL" clId="{CEDAF50F-B282-4BFD-91A3-FB6577DE4AE7}" dt="2021-11-22T14:15:30.802" v="1497" actId="1035"/>
          <ac:grpSpMkLst>
            <pc:docMk/>
            <pc:sldMk cId="683105391" sldId="2147308344"/>
            <ac:grpSpMk id="175" creationId="{5B27CF8D-17DA-4906-ADAC-DFDBF593C872}"/>
          </ac:grpSpMkLst>
        </pc:grpChg>
      </pc:sldChg>
      <pc:sldChg chg="delSp modSp mod">
        <pc:chgData name="Lamkhade, Rajendra" userId="037a3b39-7b6a-43a8-858f-fde07d8c173f" providerId="ADAL" clId="{CEDAF50F-B282-4BFD-91A3-FB6577DE4AE7}" dt="2021-11-22T14:14:56.950" v="1476" actId="114"/>
        <pc:sldMkLst>
          <pc:docMk/>
          <pc:sldMk cId="3223920312" sldId="2147308345"/>
        </pc:sldMkLst>
        <pc:spChg chg="mod">
          <ac:chgData name="Lamkhade, Rajendra" userId="037a3b39-7b6a-43a8-858f-fde07d8c173f" providerId="ADAL" clId="{CEDAF50F-B282-4BFD-91A3-FB6577DE4AE7}" dt="2021-11-22T13:03:43.912" v="488" actId="20577"/>
          <ac:spMkLst>
            <pc:docMk/>
            <pc:sldMk cId="3223920312" sldId="2147308345"/>
            <ac:spMk id="6" creationId="{00000000-0000-0000-0000-000000000000}"/>
          </ac:spMkLst>
        </pc:spChg>
        <pc:spChg chg="mod">
          <ac:chgData name="Lamkhade, Rajendra" userId="037a3b39-7b6a-43a8-858f-fde07d8c173f" providerId="ADAL" clId="{CEDAF50F-B282-4BFD-91A3-FB6577DE4AE7}" dt="2021-11-22T14:14:28.959" v="1470" actId="1076"/>
          <ac:spMkLst>
            <pc:docMk/>
            <pc:sldMk cId="3223920312" sldId="2147308345"/>
            <ac:spMk id="27" creationId="{00000000-0000-0000-0000-000000000000}"/>
          </ac:spMkLst>
        </pc:spChg>
        <pc:spChg chg="del mod">
          <ac:chgData name="Lamkhade, Rajendra" userId="037a3b39-7b6a-43a8-858f-fde07d8c173f" providerId="ADAL" clId="{CEDAF50F-B282-4BFD-91A3-FB6577DE4AE7}" dt="2021-11-22T14:11:09.561" v="1388" actId="478"/>
          <ac:spMkLst>
            <pc:docMk/>
            <pc:sldMk cId="3223920312" sldId="2147308345"/>
            <ac:spMk id="36" creationId="{C4350976-504F-4C46-A46C-7875CB6106F3}"/>
          </ac:spMkLst>
        </pc:spChg>
        <pc:spChg chg="mod">
          <ac:chgData name="Lamkhade, Rajendra" userId="037a3b39-7b6a-43a8-858f-fde07d8c173f" providerId="ADAL" clId="{CEDAF50F-B282-4BFD-91A3-FB6577DE4AE7}" dt="2021-11-22T14:12:12.337" v="1420" actId="108"/>
          <ac:spMkLst>
            <pc:docMk/>
            <pc:sldMk cId="3223920312" sldId="2147308345"/>
            <ac:spMk id="37" creationId="{00000000-0000-0000-0000-000000000000}"/>
          </ac:spMkLst>
        </pc:spChg>
        <pc:spChg chg="mod">
          <ac:chgData name="Lamkhade, Rajendra" userId="037a3b39-7b6a-43a8-858f-fde07d8c173f" providerId="ADAL" clId="{CEDAF50F-B282-4BFD-91A3-FB6577DE4AE7}" dt="2021-11-22T14:12:16.593" v="1423" actId="108"/>
          <ac:spMkLst>
            <pc:docMk/>
            <pc:sldMk cId="3223920312" sldId="2147308345"/>
            <ac:spMk id="43" creationId="{00000000-0000-0000-0000-000000000000}"/>
          </ac:spMkLst>
        </pc:spChg>
        <pc:spChg chg="mod">
          <ac:chgData name="Lamkhade, Rajendra" userId="037a3b39-7b6a-43a8-858f-fde07d8c173f" providerId="ADAL" clId="{CEDAF50F-B282-4BFD-91A3-FB6577DE4AE7}" dt="2021-11-22T14:12:14.131" v="1421" actId="108"/>
          <ac:spMkLst>
            <pc:docMk/>
            <pc:sldMk cId="3223920312" sldId="2147308345"/>
            <ac:spMk id="47" creationId="{00000000-0000-0000-0000-000000000000}"/>
          </ac:spMkLst>
        </pc:spChg>
        <pc:spChg chg="mod">
          <ac:chgData name="Lamkhade, Rajendra" userId="037a3b39-7b6a-43a8-858f-fde07d8c173f" providerId="ADAL" clId="{CEDAF50F-B282-4BFD-91A3-FB6577DE4AE7}" dt="2021-11-22T14:12:15.409" v="1422" actId="108"/>
          <ac:spMkLst>
            <pc:docMk/>
            <pc:sldMk cId="3223920312" sldId="2147308345"/>
            <ac:spMk id="52" creationId="{00000000-0000-0000-0000-000000000000}"/>
          </ac:spMkLst>
        </pc:spChg>
        <pc:spChg chg="mod">
          <ac:chgData name="Lamkhade, Rajendra" userId="037a3b39-7b6a-43a8-858f-fde07d8c173f" providerId="ADAL" clId="{CEDAF50F-B282-4BFD-91A3-FB6577DE4AE7}" dt="2021-11-22T14:14:56.950" v="1476" actId="114"/>
          <ac:spMkLst>
            <pc:docMk/>
            <pc:sldMk cId="3223920312" sldId="2147308345"/>
            <ac:spMk id="182" creationId="{D7860F49-E97F-47FE-9D41-4C38CCA444D9}"/>
          </ac:spMkLst>
        </pc:spChg>
      </pc:sldChg>
      <pc:sldChg chg="addSp delSp modSp mod">
        <pc:chgData name="Lamkhade, Rajendra" userId="037a3b39-7b6a-43a8-858f-fde07d8c173f" providerId="ADAL" clId="{CEDAF50F-B282-4BFD-91A3-FB6577DE4AE7}" dt="2021-11-22T14:13:40.310" v="1462" actId="478"/>
        <pc:sldMkLst>
          <pc:docMk/>
          <pc:sldMk cId="105446611" sldId="2147308346"/>
        </pc:sldMkLst>
        <pc:spChg chg="mod">
          <ac:chgData name="Lamkhade, Rajendra" userId="037a3b39-7b6a-43a8-858f-fde07d8c173f" providerId="ADAL" clId="{CEDAF50F-B282-4BFD-91A3-FB6577DE4AE7}" dt="2021-11-22T14:13:36.744" v="1461" actId="1035"/>
          <ac:spMkLst>
            <pc:docMk/>
            <pc:sldMk cId="105446611" sldId="2147308346"/>
            <ac:spMk id="11" creationId="{00000000-0000-0000-0000-000000000000}"/>
          </ac:spMkLst>
        </pc:spChg>
        <pc:spChg chg="mod">
          <ac:chgData name="Lamkhade, Rajendra" userId="037a3b39-7b6a-43a8-858f-fde07d8c173f" providerId="ADAL" clId="{CEDAF50F-B282-4BFD-91A3-FB6577DE4AE7}" dt="2021-11-22T14:13:36.744" v="1461" actId="1035"/>
          <ac:spMkLst>
            <pc:docMk/>
            <pc:sldMk cId="105446611" sldId="2147308346"/>
            <ac:spMk id="20" creationId="{00000000-0000-0000-0000-000000000000}"/>
          </ac:spMkLst>
        </pc:spChg>
        <pc:spChg chg="mod">
          <ac:chgData name="Lamkhade, Rajendra" userId="037a3b39-7b6a-43a8-858f-fde07d8c173f" providerId="ADAL" clId="{CEDAF50F-B282-4BFD-91A3-FB6577DE4AE7}" dt="2021-11-22T14:13:36.744" v="1461" actId="1035"/>
          <ac:spMkLst>
            <pc:docMk/>
            <pc:sldMk cId="105446611" sldId="2147308346"/>
            <ac:spMk id="21" creationId="{00000000-0000-0000-0000-000000000000}"/>
          </ac:spMkLst>
        </pc:spChg>
        <pc:spChg chg="mod">
          <ac:chgData name="Lamkhade, Rajendra" userId="037a3b39-7b6a-43a8-858f-fde07d8c173f" providerId="ADAL" clId="{CEDAF50F-B282-4BFD-91A3-FB6577DE4AE7}" dt="2021-11-22T14:13:36.744" v="1461" actId="1035"/>
          <ac:spMkLst>
            <pc:docMk/>
            <pc:sldMk cId="105446611" sldId="2147308346"/>
            <ac:spMk id="22" creationId="{00000000-0000-0000-0000-000000000000}"/>
          </ac:spMkLst>
        </pc:spChg>
        <pc:spChg chg="mod">
          <ac:chgData name="Lamkhade, Rajendra" userId="037a3b39-7b6a-43a8-858f-fde07d8c173f" providerId="ADAL" clId="{CEDAF50F-B282-4BFD-91A3-FB6577DE4AE7}" dt="2021-11-22T14:13:36.744" v="1461" actId="1035"/>
          <ac:spMkLst>
            <pc:docMk/>
            <pc:sldMk cId="105446611" sldId="2147308346"/>
            <ac:spMk id="23" creationId="{00000000-0000-0000-0000-000000000000}"/>
          </ac:spMkLst>
        </pc:spChg>
        <pc:spChg chg="mod">
          <ac:chgData name="Lamkhade, Rajendra" userId="037a3b39-7b6a-43a8-858f-fde07d8c173f" providerId="ADAL" clId="{CEDAF50F-B282-4BFD-91A3-FB6577DE4AE7}" dt="2021-11-22T14:13:36.744" v="1461" actId="1035"/>
          <ac:spMkLst>
            <pc:docMk/>
            <pc:sldMk cId="105446611" sldId="2147308346"/>
            <ac:spMk id="24" creationId="{00000000-0000-0000-0000-000000000000}"/>
          </ac:spMkLst>
        </pc:spChg>
        <pc:spChg chg="mod">
          <ac:chgData name="Lamkhade, Rajendra" userId="037a3b39-7b6a-43a8-858f-fde07d8c173f" providerId="ADAL" clId="{CEDAF50F-B282-4BFD-91A3-FB6577DE4AE7}" dt="2021-11-22T14:13:36.744" v="1461" actId="1035"/>
          <ac:spMkLst>
            <pc:docMk/>
            <pc:sldMk cId="105446611" sldId="2147308346"/>
            <ac:spMk id="26" creationId="{00000000-0000-0000-0000-000000000000}"/>
          </ac:spMkLst>
        </pc:spChg>
        <pc:spChg chg="mod">
          <ac:chgData name="Lamkhade, Rajendra" userId="037a3b39-7b6a-43a8-858f-fde07d8c173f" providerId="ADAL" clId="{CEDAF50F-B282-4BFD-91A3-FB6577DE4AE7}" dt="2021-11-22T14:13:36.744" v="1461" actId="1035"/>
          <ac:spMkLst>
            <pc:docMk/>
            <pc:sldMk cId="105446611" sldId="2147308346"/>
            <ac:spMk id="29" creationId="{00000000-0000-0000-0000-000000000000}"/>
          </ac:spMkLst>
        </pc:spChg>
        <pc:spChg chg="mod">
          <ac:chgData name="Lamkhade, Rajendra" userId="037a3b39-7b6a-43a8-858f-fde07d8c173f" providerId="ADAL" clId="{CEDAF50F-B282-4BFD-91A3-FB6577DE4AE7}" dt="2021-11-22T14:13:36.744" v="1461" actId="1035"/>
          <ac:spMkLst>
            <pc:docMk/>
            <pc:sldMk cId="105446611" sldId="2147308346"/>
            <ac:spMk id="32" creationId="{00000000-0000-0000-0000-000000000000}"/>
          </ac:spMkLst>
        </pc:spChg>
        <pc:spChg chg="del">
          <ac:chgData name="Lamkhade, Rajendra" userId="037a3b39-7b6a-43a8-858f-fde07d8c173f" providerId="ADAL" clId="{CEDAF50F-B282-4BFD-91A3-FB6577DE4AE7}" dt="2021-11-22T14:13:40.310" v="1462" actId="478"/>
          <ac:spMkLst>
            <pc:docMk/>
            <pc:sldMk cId="105446611" sldId="2147308346"/>
            <ac:spMk id="128" creationId="{00000000-0000-0000-0000-000000000000}"/>
          </ac:spMkLst>
        </pc:spChg>
        <pc:spChg chg="add del">
          <ac:chgData name="Lamkhade, Rajendra" userId="037a3b39-7b6a-43a8-858f-fde07d8c173f" providerId="ADAL" clId="{CEDAF50F-B282-4BFD-91A3-FB6577DE4AE7}" dt="2021-11-22T14:12:51.742" v="1439" actId="22"/>
          <ac:spMkLst>
            <pc:docMk/>
            <pc:sldMk cId="105446611" sldId="2147308346"/>
            <ac:spMk id="129" creationId="{32EBD559-710B-45B2-8810-A652F39F7E10}"/>
          </ac:spMkLst>
        </pc:spChg>
        <pc:spChg chg="mod">
          <ac:chgData name="Lamkhade, Rajendra" userId="037a3b39-7b6a-43a8-858f-fde07d8c173f" providerId="ADAL" clId="{CEDAF50F-B282-4BFD-91A3-FB6577DE4AE7}" dt="2021-11-22T14:13:36.744" v="1461" actId="1035"/>
          <ac:spMkLst>
            <pc:docMk/>
            <pc:sldMk cId="105446611" sldId="2147308346"/>
            <ac:spMk id="171" creationId="{00000000-0000-0000-0000-000000000000}"/>
          </ac:spMkLst>
        </pc:spChg>
        <pc:spChg chg="mod">
          <ac:chgData name="Lamkhade, Rajendra" userId="037a3b39-7b6a-43a8-858f-fde07d8c173f" providerId="ADAL" clId="{CEDAF50F-B282-4BFD-91A3-FB6577DE4AE7}" dt="2021-11-22T14:13:36.744" v="1461" actId="1035"/>
          <ac:spMkLst>
            <pc:docMk/>
            <pc:sldMk cId="105446611" sldId="2147308346"/>
            <ac:spMk id="172" creationId="{00000000-0000-0000-0000-000000000000}"/>
          </ac:spMkLst>
        </pc:spChg>
        <pc:spChg chg="mod">
          <ac:chgData name="Lamkhade, Rajendra" userId="037a3b39-7b6a-43a8-858f-fde07d8c173f" providerId="ADAL" clId="{CEDAF50F-B282-4BFD-91A3-FB6577DE4AE7}" dt="2021-11-22T14:13:36.744" v="1461" actId="1035"/>
          <ac:spMkLst>
            <pc:docMk/>
            <pc:sldMk cId="105446611" sldId="2147308346"/>
            <ac:spMk id="173" creationId="{00000000-0000-0000-0000-000000000000}"/>
          </ac:spMkLst>
        </pc:spChg>
        <pc:spChg chg="mod">
          <ac:chgData name="Lamkhade, Rajendra" userId="037a3b39-7b6a-43a8-858f-fde07d8c173f" providerId="ADAL" clId="{CEDAF50F-B282-4BFD-91A3-FB6577DE4AE7}" dt="2021-11-22T14:13:36.744" v="1461" actId="1035"/>
          <ac:spMkLst>
            <pc:docMk/>
            <pc:sldMk cId="105446611" sldId="2147308346"/>
            <ac:spMk id="174" creationId="{DEA3F0F7-1F24-4CD4-B1C3-B5D3064A10E0}"/>
          </ac:spMkLst>
        </pc:spChg>
        <pc:spChg chg="mod">
          <ac:chgData name="Lamkhade, Rajendra" userId="037a3b39-7b6a-43a8-858f-fde07d8c173f" providerId="ADAL" clId="{CEDAF50F-B282-4BFD-91A3-FB6577DE4AE7}" dt="2021-11-22T14:13:36.744" v="1461" actId="1035"/>
          <ac:spMkLst>
            <pc:docMk/>
            <pc:sldMk cId="105446611" sldId="2147308346"/>
            <ac:spMk id="202" creationId="{22683802-75F6-473A-8B94-953A62AFBFBC}"/>
          </ac:spMkLst>
        </pc:spChg>
        <pc:spChg chg="mod">
          <ac:chgData name="Lamkhade, Rajendra" userId="037a3b39-7b6a-43a8-858f-fde07d8c173f" providerId="ADAL" clId="{CEDAF50F-B282-4BFD-91A3-FB6577DE4AE7}" dt="2021-11-22T14:13:36.744" v="1461" actId="1035"/>
          <ac:spMkLst>
            <pc:docMk/>
            <pc:sldMk cId="105446611" sldId="2147308346"/>
            <ac:spMk id="203" creationId="{3EE75F51-C7B9-42A5-B15F-9D9CDD9FEBDA}"/>
          </ac:spMkLst>
        </pc:spChg>
        <pc:grpChg chg="mod">
          <ac:chgData name="Lamkhade, Rajendra" userId="037a3b39-7b6a-43a8-858f-fde07d8c173f" providerId="ADAL" clId="{CEDAF50F-B282-4BFD-91A3-FB6577DE4AE7}" dt="2021-11-22T14:13:36.744" v="1461" actId="1035"/>
          <ac:grpSpMkLst>
            <pc:docMk/>
            <pc:sldMk cId="105446611" sldId="2147308346"/>
            <ac:grpSpMk id="7" creationId="{00000000-0000-0000-0000-000000000000}"/>
          </ac:grpSpMkLst>
        </pc:grpChg>
        <pc:grpChg chg="mod">
          <ac:chgData name="Lamkhade, Rajendra" userId="037a3b39-7b6a-43a8-858f-fde07d8c173f" providerId="ADAL" clId="{CEDAF50F-B282-4BFD-91A3-FB6577DE4AE7}" dt="2021-11-22T14:13:36.744" v="1461" actId="1035"/>
          <ac:grpSpMkLst>
            <pc:docMk/>
            <pc:sldMk cId="105446611" sldId="2147308346"/>
            <ac:grpSpMk id="63" creationId="{00000000-0000-0000-0000-000000000000}"/>
          </ac:grpSpMkLst>
        </pc:grpChg>
        <pc:grpChg chg="mod">
          <ac:chgData name="Lamkhade, Rajendra" userId="037a3b39-7b6a-43a8-858f-fde07d8c173f" providerId="ADAL" clId="{CEDAF50F-B282-4BFD-91A3-FB6577DE4AE7}" dt="2021-11-22T14:13:36.744" v="1461" actId="1035"/>
          <ac:grpSpMkLst>
            <pc:docMk/>
            <pc:sldMk cId="105446611" sldId="2147308346"/>
            <ac:grpSpMk id="90" creationId="{00000000-0000-0000-0000-000000000000}"/>
          </ac:grpSpMkLst>
        </pc:grpChg>
        <pc:grpChg chg="mod">
          <ac:chgData name="Lamkhade, Rajendra" userId="037a3b39-7b6a-43a8-858f-fde07d8c173f" providerId="ADAL" clId="{CEDAF50F-B282-4BFD-91A3-FB6577DE4AE7}" dt="2021-11-22T14:13:36.744" v="1461" actId="1035"/>
          <ac:grpSpMkLst>
            <pc:docMk/>
            <pc:sldMk cId="105446611" sldId="2147308346"/>
            <ac:grpSpMk id="175" creationId="{5B27CF8D-17DA-4906-ADAC-DFDBF593C872}"/>
          </ac:grpSpMkLst>
        </pc:grpChg>
        <pc:cxnChg chg="mod">
          <ac:chgData name="Lamkhade, Rajendra" userId="037a3b39-7b6a-43a8-858f-fde07d8c173f" providerId="ADAL" clId="{CEDAF50F-B282-4BFD-91A3-FB6577DE4AE7}" dt="2021-11-22T14:13:36.744" v="1461" actId="1035"/>
          <ac:cxnSpMkLst>
            <pc:docMk/>
            <pc:sldMk cId="105446611" sldId="2147308346"/>
            <ac:cxnSpMk id="4" creationId="{00000000-0000-0000-0000-000000000000}"/>
          </ac:cxnSpMkLst>
        </pc:cxnChg>
      </pc:sldChg>
      <pc:sldChg chg="add del">
        <pc:chgData name="Lamkhade, Rajendra" userId="037a3b39-7b6a-43a8-858f-fde07d8c173f" providerId="ADAL" clId="{CEDAF50F-B282-4BFD-91A3-FB6577DE4AE7}" dt="2021-11-22T13:55:14.254" v="1157" actId="47"/>
        <pc:sldMkLst>
          <pc:docMk/>
          <pc:sldMk cId="2285110132" sldId="2147308347"/>
        </pc:sldMkLst>
      </pc:sldChg>
      <pc:sldChg chg="modSp add mod">
        <pc:chgData name="Lamkhade, Rajendra" userId="037a3b39-7b6a-43a8-858f-fde07d8c173f" providerId="ADAL" clId="{CEDAF50F-B282-4BFD-91A3-FB6577DE4AE7}" dt="2021-11-22T14:27:57.299" v="1610" actId="20577"/>
        <pc:sldMkLst>
          <pc:docMk/>
          <pc:sldMk cId="2659734607" sldId="2147308348"/>
        </pc:sldMkLst>
        <pc:spChg chg="mod">
          <ac:chgData name="Lamkhade, Rajendra" userId="037a3b39-7b6a-43a8-858f-fde07d8c173f" providerId="ADAL" clId="{CEDAF50F-B282-4BFD-91A3-FB6577DE4AE7}" dt="2021-11-22T13:50:21.953" v="1151" actId="20577"/>
          <ac:spMkLst>
            <pc:docMk/>
            <pc:sldMk cId="2659734607" sldId="2147308348"/>
            <ac:spMk id="3" creationId="{A2B0C265-C0D6-4AA7-AB19-C35989296CF2}"/>
          </ac:spMkLst>
        </pc:spChg>
        <pc:spChg chg="mod">
          <ac:chgData name="Lamkhade, Rajendra" userId="037a3b39-7b6a-43a8-858f-fde07d8c173f" providerId="ADAL" clId="{CEDAF50F-B282-4BFD-91A3-FB6577DE4AE7}" dt="2021-11-22T14:27:57.299" v="1610" actId="20577"/>
          <ac:spMkLst>
            <pc:docMk/>
            <pc:sldMk cId="2659734607" sldId="2147308348"/>
            <ac:spMk id="4" creationId="{BA2B729A-9A89-440B-90FF-289B99ECF5AE}"/>
          </ac:spMkLst>
        </pc:spChg>
      </pc:sldChg>
      <pc:sldChg chg="add del">
        <pc:chgData name="Lamkhade, Rajendra" userId="037a3b39-7b6a-43a8-858f-fde07d8c173f" providerId="ADAL" clId="{CEDAF50F-B282-4BFD-91A3-FB6577DE4AE7}" dt="2021-11-22T14:18:32.167" v="1552" actId="47"/>
        <pc:sldMkLst>
          <pc:docMk/>
          <pc:sldMk cId="4115205246" sldId="2147308349"/>
        </pc:sldMkLst>
      </pc:sldChg>
      <pc:sldMasterChg chg="delSldLayout">
        <pc:chgData name="Lamkhade, Rajendra" userId="037a3b39-7b6a-43a8-858f-fde07d8c173f" providerId="ADAL" clId="{CEDAF50F-B282-4BFD-91A3-FB6577DE4AE7}" dt="2021-11-22T13:55:14.254" v="1157" actId="47"/>
        <pc:sldMasterMkLst>
          <pc:docMk/>
          <pc:sldMasterMk cId="4126265207" sldId="2147483725"/>
        </pc:sldMasterMkLst>
        <pc:sldLayoutChg chg="del">
          <pc:chgData name="Lamkhade, Rajendra" userId="037a3b39-7b6a-43a8-858f-fde07d8c173f" providerId="ADAL" clId="{CEDAF50F-B282-4BFD-91A3-FB6577DE4AE7}" dt="2021-11-22T13:55:14.254" v="1157" actId="47"/>
          <pc:sldLayoutMkLst>
            <pc:docMk/>
            <pc:sldMasterMk cId="4126265207" sldId="2147483725"/>
            <pc:sldLayoutMk cId="1413231591" sldId="2147483781"/>
          </pc:sldLayoutMkLst>
        </pc:sldLayoutChg>
        <pc:sldLayoutChg chg="del">
          <pc:chgData name="Lamkhade, Rajendra" userId="037a3b39-7b6a-43a8-858f-fde07d8c173f" providerId="ADAL" clId="{CEDAF50F-B282-4BFD-91A3-FB6577DE4AE7}" dt="2021-11-22T13:55:14.254" v="1157" actId="47"/>
          <pc:sldLayoutMkLst>
            <pc:docMk/>
            <pc:sldMasterMk cId="4126265207" sldId="2147483725"/>
            <pc:sldLayoutMk cId="1467795936" sldId="2147483782"/>
          </pc:sldLayoutMkLst>
        </pc:sldLayoutChg>
      </pc:sldMasterChg>
    </pc:docChg>
  </pc:docChgLst>
  <pc:docChgLst>
    <pc:chgData name="SABEERALY, MANSUR AHAMAD" userId="S::mansur-ahamad.sabeeraly@atos.net::37f2f6ae-b9e4-4ac3-a795-93a6abe48c2a" providerId="AD" clId="Web-{AF4CB2AC-EE7E-74F4-E091-5D4A384A3507}"/>
    <pc:docChg chg="modSld">
      <pc:chgData name="SABEERALY, MANSUR AHAMAD" userId="S::mansur-ahamad.sabeeraly@atos.net::37f2f6ae-b9e4-4ac3-a795-93a6abe48c2a" providerId="AD" clId="Web-{AF4CB2AC-EE7E-74F4-E091-5D4A384A3507}" dt="2021-11-22T15:03:04.046" v="52" actId="1076"/>
      <pc:docMkLst>
        <pc:docMk/>
      </pc:docMkLst>
      <pc:sldChg chg="modSp">
        <pc:chgData name="SABEERALY, MANSUR AHAMAD" userId="S::mansur-ahamad.sabeeraly@atos.net::37f2f6ae-b9e4-4ac3-a795-93a6abe48c2a" providerId="AD" clId="Web-{AF4CB2AC-EE7E-74F4-E091-5D4A384A3507}" dt="2021-11-22T15:02:20.403" v="40" actId="20577"/>
        <pc:sldMkLst>
          <pc:docMk/>
          <pc:sldMk cId="406882959" sldId="5743"/>
        </pc:sldMkLst>
        <pc:spChg chg="mod">
          <ac:chgData name="SABEERALY, MANSUR AHAMAD" userId="S::mansur-ahamad.sabeeraly@atos.net::37f2f6ae-b9e4-4ac3-a795-93a6abe48c2a" providerId="AD" clId="Web-{AF4CB2AC-EE7E-74F4-E091-5D4A384A3507}" dt="2021-11-22T15:02:20.403" v="40" actId="20577"/>
          <ac:spMkLst>
            <pc:docMk/>
            <pc:sldMk cId="406882959" sldId="5743"/>
            <ac:spMk id="8" creationId="{BFB1CC14-8884-4461-B5AC-6DC9AAB2BDB1}"/>
          </ac:spMkLst>
        </pc:spChg>
        <pc:spChg chg="mod">
          <ac:chgData name="SABEERALY, MANSUR AHAMAD" userId="S::mansur-ahamad.sabeeraly@atos.net::37f2f6ae-b9e4-4ac3-a795-93a6abe48c2a" providerId="AD" clId="Web-{AF4CB2AC-EE7E-74F4-E091-5D4A384A3507}" dt="2021-11-22T15:02:15.872" v="34" actId="1076"/>
          <ac:spMkLst>
            <pc:docMk/>
            <pc:sldMk cId="406882959" sldId="5743"/>
            <ac:spMk id="303" creationId="{84244E65-9B5F-4CD3-9D58-0A2E1555795B}"/>
          </ac:spMkLst>
        </pc:spChg>
      </pc:sldChg>
      <pc:sldChg chg="modSp">
        <pc:chgData name="SABEERALY, MANSUR AHAMAD" userId="S::mansur-ahamad.sabeeraly@atos.net::37f2f6ae-b9e4-4ac3-a795-93a6abe48c2a" providerId="AD" clId="Web-{AF4CB2AC-EE7E-74F4-E091-5D4A384A3507}" dt="2021-11-22T14:59:04.221" v="5" actId="1076"/>
        <pc:sldMkLst>
          <pc:docMk/>
          <pc:sldMk cId="223069063" sldId="10116"/>
        </pc:sldMkLst>
        <pc:spChg chg="mod">
          <ac:chgData name="SABEERALY, MANSUR AHAMAD" userId="S::mansur-ahamad.sabeeraly@atos.net::37f2f6ae-b9e4-4ac3-a795-93a6abe48c2a" providerId="AD" clId="Web-{AF4CB2AC-EE7E-74F4-E091-5D4A384A3507}" dt="2021-11-22T14:58:54.064" v="3" actId="14100"/>
          <ac:spMkLst>
            <pc:docMk/>
            <pc:sldMk cId="223069063" sldId="10116"/>
            <ac:spMk id="6" creationId="{ABC76077-253E-4DD2-850A-D4E6E9749286}"/>
          </ac:spMkLst>
        </pc:spChg>
        <pc:spChg chg="mod">
          <ac:chgData name="SABEERALY, MANSUR AHAMAD" userId="S::mansur-ahamad.sabeeraly@atos.net::37f2f6ae-b9e4-4ac3-a795-93a6abe48c2a" providerId="AD" clId="Web-{AF4CB2AC-EE7E-74F4-E091-5D4A384A3507}" dt="2021-11-22T14:59:04.221" v="5" actId="1076"/>
          <ac:spMkLst>
            <pc:docMk/>
            <pc:sldMk cId="223069063" sldId="10116"/>
            <ac:spMk id="11" creationId="{68773823-3210-476B-BCFF-4DF70241B8CC}"/>
          </ac:spMkLst>
        </pc:spChg>
        <pc:grpChg chg="mod">
          <ac:chgData name="SABEERALY, MANSUR AHAMAD" userId="S::mansur-ahamad.sabeeraly@atos.net::37f2f6ae-b9e4-4ac3-a795-93a6abe48c2a" providerId="AD" clId="Web-{AF4CB2AC-EE7E-74F4-E091-5D4A384A3507}" dt="2021-11-22T14:58:57.221" v="4" actId="14100"/>
          <ac:grpSpMkLst>
            <pc:docMk/>
            <pc:sldMk cId="223069063" sldId="10116"/>
            <ac:grpSpMk id="5" creationId="{22788DC0-C7D6-4678-A1D6-862146766825}"/>
          </ac:grpSpMkLst>
        </pc:grpChg>
      </pc:sldChg>
      <pc:sldChg chg="modSp">
        <pc:chgData name="SABEERALY, MANSUR AHAMAD" userId="S::mansur-ahamad.sabeeraly@atos.net::37f2f6ae-b9e4-4ac3-a795-93a6abe48c2a" providerId="AD" clId="Web-{AF4CB2AC-EE7E-74F4-E091-5D4A384A3507}" dt="2021-11-22T14:59:39.645" v="21" actId="20577"/>
        <pc:sldMkLst>
          <pc:docMk/>
          <pc:sldMk cId="1980307265" sldId="10118"/>
        </pc:sldMkLst>
        <pc:spChg chg="mod">
          <ac:chgData name="SABEERALY, MANSUR AHAMAD" userId="S::mansur-ahamad.sabeeraly@atos.net::37f2f6ae-b9e4-4ac3-a795-93a6abe48c2a" providerId="AD" clId="Web-{AF4CB2AC-EE7E-74F4-E091-5D4A384A3507}" dt="2021-11-22T14:59:39.645" v="21" actId="20577"/>
          <ac:spMkLst>
            <pc:docMk/>
            <pc:sldMk cId="1980307265" sldId="10118"/>
            <ac:spMk id="22" creationId="{FD69E403-3C8F-478F-9146-268021DCF775}"/>
          </ac:spMkLst>
        </pc:spChg>
      </pc:sldChg>
      <pc:sldChg chg="modSp">
        <pc:chgData name="SABEERALY, MANSUR AHAMAD" userId="S::mansur-ahamad.sabeeraly@atos.net::37f2f6ae-b9e4-4ac3-a795-93a6abe48c2a" providerId="AD" clId="Web-{AF4CB2AC-EE7E-74F4-E091-5D4A384A3507}" dt="2021-11-22T15:03:04.046" v="52" actId="1076"/>
        <pc:sldMkLst>
          <pc:docMk/>
          <pc:sldMk cId="1712611546" sldId="10121"/>
        </pc:sldMkLst>
        <pc:spChg chg="mod">
          <ac:chgData name="SABEERALY, MANSUR AHAMAD" userId="S::mansur-ahamad.sabeeraly@atos.net::37f2f6ae-b9e4-4ac3-a795-93a6abe48c2a" providerId="AD" clId="Web-{AF4CB2AC-EE7E-74F4-E091-5D4A384A3507}" dt="2021-11-22T15:03:04.046" v="52" actId="1076"/>
          <ac:spMkLst>
            <pc:docMk/>
            <pc:sldMk cId="1712611546" sldId="10121"/>
            <ac:spMk id="2" creationId="{4C6B6300-82BC-467C-A08B-F3123ECFCA37}"/>
          </ac:spMkLst>
        </pc:spChg>
        <pc:spChg chg="mod">
          <ac:chgData name="SABEERALY, MANSUR AHAMAD" userId="S::mansur-ahamad.sabeeraly@atos.net::37f2f6ae-b9e4-4ac3-a795-93a6abe48c2a" providerId="AD" clId="Web-{AF4CB2AC-EE7E-74F4-E091-5D4A384A3507}" dt="2021-11-22T15:02:50.280" v="51" actId="20577"/>
          <ac:spMkLst>
            <pc:docMk/>
            <pc:sldMk cId="1712611546" sldId="10121"/>
            <ac:spMk id="3" creationId="{67044E07-B965-43F7-8521-1E78CC0365BB}"/>
          </ac:spMkLst>
        </pc:spChg>
      </pc:sldChg>
      <pc:sldChg chg="addSp delSp modSp">
        <pc:chgData name="SABEERALY, MANSUR AHAMAD" userId="S::mansur-ahamad.sabeeraly@atos.net::37f2f6ae-b9e4-4ac3-a795-93a6abe48c2a" providerId="AD" clId="Web-{AF4CB2AC-EE7E-74F4-E091-5D4A384A3507}" dt="2021-11-22T15:01:52.136" v="32" actId="20577"/>
        <pc:sldMkLst>
          <pc:docMk/>
          <pc:sldMk cId="477955872" sldId="2147308306"/>
        </pc:sldMkLst>
        <pc:spChg chg="add mod">
          <ac:chgData name="SABEERALY, MANSUR AHAMAD" userId="S::mansur-ahamad.sabeeraly@atos.net::37f2f6ae-b9e4-4ac3-a795-93a6abe48c2a" providerId="AD" clId="Web-{AF4CB2AC-EE7E-74F4-E091-5D4A384A3507}" dt="2021-11-22T15:01:52.136" v="32" actId="20577"/>
          <ac:spMkLst>
            <pc:docMk/>
            <pc:sldMk cId="477955872" sldId="2147308306"/>
            <ac:spMk id="11" creationId="{ACA97A05-472C-463C-A6B7-CAD98745C3AA}"/>
          </ac:spMkLst>
        </pc:spChg>
        <pc:spChg chg="add del mod">
          <ac:chgData name="SABEERALY, MANSUR AHAMAD" userId="S::mansur-ahamad.sabeeraly@atos.net::37f2f6ae-b9e4-4ac3-a795-93a6abe48c2a" providerId="AD" clId="Web-{AF4CB2AC-EE7E-74F4-E091-5D4A384A3507}" dt="2021-11-22T15:01:39.823" v="24"/>
          <ac:spMkLst>
            <pc:docMk/>
            <pc:sldMk cId="477955872" sldId="2147308306"/>
            <ac:spMk id="13" creationId="{5DBE8E11-3FD8-475C-8E8B-1760023E4807}"/>
          </ac:spMkLst>
        </pc:spChg>
        <pc:spChg chg="del">
          <ac:chgData name="SABEERALY, MANSUR AHAMAD" userId="S::mansur-ahamad.sabeeraly@atos.net::37f2f6ae-b9e4-4ac3-a795-93a6abe48c2a" providerId="AD" clId="Web-{AF4CB2AC-EE7E-74F4-E091-5D4A384A3507}" dt="2021-11-22T15:01:20.025" v="23"/>
          <ac:spMkLst>
            <pc:docMk/>
            <pc:sldMk cId="477955872" sldId="2147308306"/>
            <ac:spMk id="303" creationId="{84244E65-9B5F-4CD3-9D58-0A2E1555795B}"/>
          </ac:spMkLst>
        </pc:spChg>
      </pc:sldChg>
    </pc:docChg>
  </pc:docChgLst>
  <pc:docChgLst>
    <pc:chgData name="Lamkhade, Rajendra" userId="S::rajendra.lamkhade@atos.net::037a3b39-7b6a-43a8-858f-fde07d8c173f" providerId="AD" clId="Web-{47180818-27E1-4841-AB3E-C0A411241894}"/>
    <pc:docChg chg="modSld">
      <pc:chgData name="Lamkhade, Rajendra" userId="S::rajendra.lamkhade@atos.net::037a3b39-7b6a-43a8-858f-fde07d8c173f" providerId="AD" clId="Web-{47180818-27E1-4841-AB3E-C0A411241894}" dt="2021-11-22T14:23:37.961" v="30" actId="20577"/>
      <pc:docMkLst>
        <pc:docMk/>
      </pc:docMkLst>
      <pc:sldChg chg="modSp">
        <pc:chgData name="Lamkhade, Rajendra" userId="S::rajendra.lamkhade@atos.net::037a3b39-7b6a-43a8-858f-fde07d8c173f" providerId="AD" clId="Web-{47180818-27E1-4841-AB3E-C0A411241894}" dt="2021-11-22T14:23:37.961" v="30" actId="20577"/>
        <pc:sldMkLst>
          <pc:docMk/>
          <pc:sldMk cId="3911065056" sldId="10127"/>
        </pc:sldMkLst>
        <pc:spChg chg="mod">
          <ac:chgData name="Lamkhade, Rajendra" userId="S::rajendra.lamkhade@atos.net::037a3b39-7b6a-43a8-858f-fde07d8c173f" providerId="AD" clId="Web-{47180818-27E1-4841-AB3E-C0A411241894}" dt="2021-11-22T14:23:37.961" v="30" actId="20577"/>
          <ac:spMkLst>
            <pc:docMk/>
            <pc:sldMk cId="3911065056" sldId="10127"/>
            <ac:spMk id="4" creationId="{A4D16EC2-DCB7-41D0-B973-45CC78208EE9}"/>
          </ac:spMkLst>
        </pc:spChg>
      </pc:sldChg>
      <pc:sldChg chg="modSp">
        <pc:chgData name="Lamkhade, Rajendra" userId="S::rajendra.lamkhade@atos.net::037a3b39-7b6a-43a8-858f-fde07d8c173f" providerId="AD" clId="Web-{47180818-27E1-4841-AB3E-C0A411241894}" dt="2021-11-22T14:22:01.240" v="0" actId="20577"/>
        <pc:sldMkLst>
          <pc:docMk/>
          <pc:sldMk cId="3001456732" sldId="2147308308"/>
        </pc:sldMkLst>
        <pc:spChg chg="mod">
          <ac:chgData name="Lamkhade, Rajendra" userId="S::rajendra.lamkhade@atos.net::037a3b39-7b6a-43a8-858f-fde07d8c173f" providerId="AD" clId="Web-{47180818-27E1-4841-AB3E-C0A411241894}" dt="2021-11-22T14:22:01.240" v="0" actId="20577"/>
          <ac:spMkLst>
            <pc:docMk/>
            <pc:sldMk cId="3001456732" sldId="2147308308"/>
            <ac:spMk id="5" creationId="{C4777912-8329-46FA-B030-816E79668A23}"/>
          </ac:spMkLst>
        </pc:spChg>
      </pc:sldChg>
      <pc:sldChg chg="modSp">
        <pc:chgData name="Lamkhade, Rajendra" userId="S::rajendra.lamkhade@atos.net::037a3b39-7b6a-43a8-858f-fde07d8c173f" providerId="AD" clId="Web-{47180818-27E1-4841-AB3E-C0A411241894}" dt="2021-11-22T14:22:15.350" v="2" actId="20577"/>
        <pc:sldMkLst>
          <pc:docMk/>
          <pc:sldMk cId="367023943" sldId="2147308309"/>
        </pc:sldMkLst>
        <pc:spChg chg="mod">
          <ac:chgData name="Lamkhade, Rajendra" userId="S::rajendra.lamkhade@atos.net::037a3b39-7b6a-43a8-858f-fde07d8c173f" providerId="AD" clId="Web-{47180818-27E1-4841-AB3E-C0A411241894}" dt="2021-11-22T14:22:15.350" v="2" actId="20577"/>
          <ac:spMkLst>
            <pc:docMk/>
            <pc:sldMk cId="367023943" sldId="2147308309"/>
            <ac:spMk id="4" creationId="{1EE84250-844F-4001-8A30-815A6C6A7C01}"/>
          </ac:spMkLst>
        </pc:spChg>
      </pc:sldChg>
      <pc:sldChg chg="modSp">
        <pc:chgData name="Lamkhade, Rajendra" userId="S::rajendra.lamkhade@atos.net::037a3b39-7b6a-43a8-858f-fde07d8c173f" providerId="AD" clId="Web-{47180818-27E1-4841-AB3E-C0A411241894}" dt="2021-11-22T14:22:26.615" v="8" actId="20577"/>
        <pc:sldMkLst>
          <pc:docMk/>
          <pc:sldMk cId="1968849140" sldId="2147308310"/>
        </pc:sldMkLst>
        <pc:spChg chg="mod">
          <ac:chgData name="Lamkhade, Rajendra" userId="S::rajendra.lamkhade@atos.net::037a3b39-7b6a-43a8-858f-fde07d8c173f" providerId="AD" clId="Web-{47180818-27E1-4841-AB3E-C0A411241894}" dt="2021-11-22T14:22:26.615" v="8" actId="20577"/>
          <ac:spMkLst>
            <pc:docMk/>
            <pc:sldMk cId="1968849140" sldId="2147308310"/>
            <ac:spMk id="4" creationId="{0B111658-10B2-4140-B0EF-78F4BAA0B0A7}"/>
          </ac:spMkLst>
        </pc:spChg>
      </pc:sldChg>
      <pc:sldChg chg="modSp">
        <pc:chgData name="Lamkhade, Rajendra" userId="S::rajendra.lamkhade@atos.net::037a3b39-7b6a-43a8-858f-fde07d8c173f" providerId="AD" clId="Web-{47180818-27E1-4841-AB3E-C0A411241894}" dt="2021-11-22T14:22:50.600" v="12" actId="20577"/>
        <pc:sldMkLst>
          <pc:docMk/>
          <pc:sldMk cId="956661026" sldId="2147308312"/>
        </pc:sldMkLst>
        <pc:spChg chg="mod">
          <ac:chgData name="Lamkhade, Rajendra" userId="S::rajendra.lamkhade@atos.net::037a3b39-7b6a-43a8-858f-fde07d8c173f" providerId="AD" clId="Web-{47180818-27E1-4841-AB3E-C0A411241894}" dt="2021-11-22T14:22:50.600" v="12" actId="20577"/>
          <ac:spMkLst>
            <pc:docMk/>
            <pc:sldMk cId="956661026" sldId="2147308312"/>
            <ac:spMk id="4" creationId="{ED40738F-1838-46B0-98F0-43034FFD8CEA}"/>
          </ac:spMkLst>
        </pc:spChg>
      </pc:sldChg>
      <pc:sldChg chg="modSp">
        <pc:chgData name="Lamkhade, Rajendra" userId="S::rajendra.lamkhade@atos.net::037a3b39-7b6a-43a8-858f-fde07d8c173f" providerId="AD" clId="Web-{47180818-27E1-4841-AB3E-C0A411241894}" dt="2021-11-22T14:23:01.960" v="18" actId="20577"/>
        <pc:sldMkLst>
          <pc:docMk/>
          <pc:sldMk cId="3774002774" sldId="2147308317"/>
        </pc:sldMkLst>
        <pc:spChg chg="mod">
          <ac:chgData name="Lamkhade, Rajendra" userId="S::rajendra.lamkhade@atos.net::037a3b39-7b6a-43a8-858f-fde07d8c173f" providerId="AD" clId="Web-{47180818-27E1-4841-AB3E-C0A411241894}" dt="2021-11-22T14:23:01.960" v="18" actId="20577"/>
          <ac:spMkLst>
            <pc:docMk/>
            <pc:sldMk cId="3774002774" sldId="2147308317"/>
            <ac:spMk id="4" creationId="{BA2B729A-9A89-440B-90FF-289B99ECF5AE}"/>
          </ac:spMkLst>
        </pc:spChg>
      </pc:sldChg>
      <pc:sldChg chg="modSp">
        <pc:chgData name="Lamkhade, Rajendra" userId="S::rajendra.lamkhade@atos.net::037a3b39-7b6a-43a8-858f-fde07d8c173f" providerId="AD" clId="Web-{47180818-27E1-4841-AB3E-C0A411241894}" dt="2021-11-22T14:23:25.070" v="24" actId="20577"/>
        <pc:sldMkLst>
          <pc:docMk/>
          <pc:sldMk cId="2659734607" sldId="2147308348"/>
        </pc:sldMkLst>
        <pc:spChg chg="mod">
          <ac:chgData name="Lamkhade, Rajendra" userId="S::rajendra.lamkhade@atos.net::037a3b39-7b6a-43a8-858f-fde07d8c173f" providerId="AD" clId="Web-{47180818-27E1-4841-AB3E-C0A411241894}" dt="2021-11-22T14:23:25.070" v="24" actId="20577"/>
          <ac:spMkLst>
            <pc:docMk/>
            <pc:sldMk cId="2659734607" sldId="2147308348"/>
            <ac:spMk id="4" creationId="{BA2B729A-9A89-440B-90FF-289B99ECF5AE}"/>
          </ac:spMkLst>
        </pc:spChg>
      </pc:sldChg>
    </pc:docChg>
  </pc:docChgLst>
  <pc:docChgLst>
    <pc:chgData name="SABEERALY, MANSUR AHAMAD" userId="S::mansur-ahamad.sabeeraly@atos.net::37f2f6ae-b9e4-4ac3-a795-93a6abe48c2a" providerId="AD" clId="Web-{B0D2D4BB-D26A-E945-F0DC-70D2453D6F32}"/>
    <pc:docChg chg="modSld">
      <pc:chgData name="SABEERALY, MANSUR AHAMAD" userId="S::mansur-ahamad.sabeeraly@atos.net::37f2f6ae-b9e4-4ac3-a795-93a6abe48c2a" providerId="AD" clId="Web-{B0D2D4BB-D26A-E945-F0DC-70D2453D6F32}" dt="2021-11-22T14:33:49.911" v="95" actId="14100"/>
      <pc:docMkLst>
        <pc:docMk/>
      </pc:docMkLst>
      <pc:sldChg chg="modSp">
        <pc:chgData name="SABEERALY, MANSUR AHAMAD" userId="S::mansur-ahamad.sabeeraly@atos.net::37f2f6ae-b9e4-4ac3-a795-93a6abe48c2a" providerId="AD" clId="Web-{B0D2D4BB-D26A-E945-F0DC-70D2453D6F32}" dt="2021-11-22T14:33:49.911" v="95" actId="14100"/>
        <pc:sldMkLst>
          <pc:docMk/>
          <pc:sldMk cId="223069063" sldId="10116"/>
        </pc:sldMkLst>
        <pc:spChg chg="mod">
          <ac:chgData name="SABEERALY, MANSUR AHAMAD" userId="S::mansur-ahamad.sabeeraly@atos.net::37f2f6ae-b9e4-4ac3-a795-93a6abe48c2a" providerId="AD" clId="Web-{B0D2D4BB-D26A-E945-F0DC-70D2453D6F32}" dt="2021-11-22T14:33:49.911" v="95" actId="14100"/>
          <ac:spMkLst>
            <pc:docMk/>
            <pc:sldMk cId="223069063" sldId="10116"/>
            <ac:spMk id="6" creationId="{ABC76077-253E-4DD2-850A-D4E6E9749286}"/>
          </ac:spMkLst>
        </pc:spChg>
      </pc:sldChg>
    </pc:docChg>
  </pc:docChgLst>
  <pc:docChgLst>
    <pc:chgData name="SABEERALY, MANSUR AHAMAD" userId="S::mansur-ahamad.sabeeraly@atos.net::37f2f6ae-b9e4-4ac3-a795-93a6abe48c2a" providerId="AD" clId="Web-{5F88343F-1B3C-5B48-9223-74BC2F7F3869}"/>
    <pc:docChg chg="modSld">
      <pc:chgData name="SABEERALY, MANSUR AHAMAD" userId="S::mansur-ahamad.sabeeraly@atos.net::37f2f6ae-b9e4-4ac3-a795-93a6abe48c2a" providerId="AD" clId="Web-{5F88343F-1B3C-5B48-9223-74BC2F7F3869}" dt="2021-11-22T14:55:15.048" v="15" actId="20577"/>
      <pc:docMkLst>
        <pc:docMk/>
      </pc:docMkLst>
      <pc:sldChg chg="modSp">
        <pc:chgData name="SABEERALY, MANSUR AHAMAD" userId="S::mansur-ahamad.sabeeraly@atos.net::37f2f6ae-b9e4-4ac3-a795-93a6abe48c2a" providerId="AD" clId="Web-{5F88343F-1B3C-5B48-9223-74BC2F7F3869}" dt="2021-11-22T14:52:51.669" v="10" actId="20577"/>
        <pc:sldMkLst>
          <pc:docMk/>
          <pc:sldMk cId="3428290778" sldId="10124"/>
        </pc:sldMkLst>
        <pc:spChg chg="mod">
          <ac:chgData name="SABEERALY, MANSUR AHAMAD" userId="S::mansur-ahamad.sabeeraly@atos.net::37f2f6ae-b9e4-4ac3-a795-93a6abe48c2a" providerId="AD" clId="Web-{5F88343F-1B3C-5B48-9223-74BC2F7F3869}" dt="2021-11-22T14:52:51.669" v="10" actId="20577"/>
          <ac:spMkLst>
            <pc:docMk/>
            <pc:sldMk cId="3428290778" sldId="10124"/>
            <ac:spMk id="8" creationId="{8F2B9783-F525-4D4A-8FDA-2B2AB39215CE}"/>
          </ac:spMkLst>
        </pc:spChg>
        <pc:spChg chg="mod">
          <ac:chgData name="SABEERALY, MANSUR AHAMAD" userId="S::mansur-ahamad.sabeeraly@atos.net::37f2f6ae-b9e4-4ac3-a795-93a6abe48c2a" providerId="AD" clId="Web-{5F88343F-1B3C-5B48-9223-74BC2F7F3869}" dt="2021-11-22T14:52:35.232" v="6" actId="20577"/>
          <ac:spMkLst>
            <pc:docMk/>
            <pc:sldMk cId="3428290778" sldId="10124"/>
            <ac:spMk id="13" creationId="{D4D63A21-70B3-4EE0-A0FC-27B243A11E05}"/>
          </ac:spMkLst>
        </pc:spChg>
      </pc:sldChg>
      <pc:sldChg chg="modSp">
        <pc:chgData name="SABEERALY, MANSUR AHAMAD" userId="S::mansur-ahamad.sabeeraly@atos.net::37f2f6ae-b9e4-4ac3-a795-93a6abe48c2a" providerId="AD" clId="Web-{5F88343F-1B3C-5B48-9223-74BC2F7F3869}" dt="2021-11-22T14:55:15.048" v="15" actId="20577"/>
        <pc:sldMkLst>
          <pc:docMk/>
          <pc:sldMk cId="882518092" sldId="2147308307"/>
        </pc:sldMkLst>
        <pc:spChg chg="mod">
          <ac:chgData name="SABEERALY, MANSUR AHAMAD" userId="S::mansur-ahamad.sabeeraly@atos.net::37f2f6ae-b9e4-4ac3-a795-93a6abe48c2a" providerId="AD" clId="Web-{5F88343F-1B3C-5B48-9223-74BC2F7F3869}" dt="2021-11-22T14:55:15.048" v="15" actId="20577"/>
          <ac:spMkLst>
            <pc:docMk/>
            <pc:sldMk cId="882518092" sldId="2147308307"/>
            <ac:spMk id="4" creationId="{0C5AD134-427F-4F73-B0AD-43BF5B7891FA}"/>
          </ac:spMkLst>
        </pc:spChg>
      </pc:sldChg>
    </pc:docChg>
  </pc:docChgLst>
  <pc:docChgLst>
    <pc:chgData name="SABEERALY, MANSUR AHAMAD" userId="S::mansur-ahamad.sabeeraly@atos.net::37f2f6ae-b9e4-4ac3-a795-93a6abe48c2a" providerId="AD" clId="Web-{181ECEC0-016B-E843-700F-93FBC7318E9D}"/>
    <pc:docChg chg="modSld">
      <pc:chgData name="SABEERALY, MANSUR AHAMAD" userId="S::mansur-ahamad.sabeeraly@atos.net::37f2f6ae-b9e4-4ac3-a795-93a6abe48c2a" providerId="AD" clId="Web-{181ECEC0-016B-E843-700F-93FBC7318E9D}" dt="2021-11-22T14:35:41.629" v="14"/>
      <pc:docMkLst>
        <pc:docMk/>
      </pc:docMkLst>
      <pc:sldChg chg="modSp">
        <pc:chgData name="SABEERALY, MANSUR AHAMAD" userId="S::mansur-ahamad.sabeeraly@atos.net::37f2f6ae-b9e4-4ac3-a795-93a6abe48c2a" providerId="AD" clId="Web-{181ECEC0-016B-E843-700F-93FBC7318E9D}" dt="2021-11-22T14:35:41.629" v="14"/>
        <pc:sldMkLst>
          <pc:docMk/>
          <pc:sldMk cId="223069063" sldId="10116"/>
        </pc:sldMkLst>
        <pc:spChg chg="mod">
          <ac:chgData name="SABEERALY, MANSUR AHAMAD" userId="S::mansur-ahamad.sabeeraly@atos.net::37f2f6ae-b9e4-4ac3-a795-93a6abe48c2a" providerId="AD" clId="Web-{181ECEC0-016B-E843-700F-93FBC7318E9D}" dt="2021-11-22T14:35:41.629" v="14"/>
          <ac:spMkLst>
            <pc:docMk/>
            <pc:sldMk cId="223069063" sldId="10116"/>
            <ac:spMk id="6" creationId="{ABC76077-253E-4DD2-850A-D4E6E9749286}"/>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5C52600-94ED-4CAD-990F-200742DFD0EA}" type="doc">
      <dgm:prSet loTypeId="urn:microsoft.com/office/officeart/2005/8/layout/chevron1" loCatId="process" qsTypeId="urn:microsoft.com/office/officeart/2005/8/quickstyle/simple2" qsCatId="simple" csTypeId="urn:microsoft.com/office/officeart/2005/8/colors/accent1_2" csCatId="accent1" phldr="1"/>
      <dgm:spPr/>
    </dgm:pt>
    <dgm:pt modelId="{0006A062-4C4E-4957-A43E-24E912136537}">
      <dgm:prSet phldrT="[Text]" custT="1"/>
      <dgm:spPr/>
      <dgm:t>
        <a:bodyPr/>
        <a:lstStyle/>
        <a:p>
          <a:r>
            <a:rPr lang="en-IN" sz="1050" b="1" kern="1200">
              <a:solidFill>
                <a:schemeClr val="lt1"/>
              </a:solidFill>
              <a:latin typeface="+mn-lt"/>
              <a:ea typeface="+mn-ea"/>
              <a:cs typeface="+mn-cs"/>
            </a:rPr>
            <a:t>Assessment</a:t>
          </a:r>
          <a:endParaRPr lang="en-IN" sz="1100" b="1" kern="1200">
            <a:solidFill>
              <a:schemeClr val="lt1"/>
            </a:solidFill>
            <a:latin typeface="+mn-lt"/>
            <a:ea typeface="+mn-ea"/>
            <a:cs typeface="+mn-cs"/>
          </a:endParaRPr>
        </a:p>
      </dgm:t>
    </dgm:pt>
    <dgm:pt modelId="{28FB7DBD-9D0D-4EA4-AC84-FF2F557B1B78}" type="parTrans" cxnId="{E66DD969-691B-4516-9440-63A697C0DA4E}">
      <dgm:prSet/>
      <dgm:spPr/>
      <dgm:t>
        <a:bodyPr/>
        <a:lstStyle/>
        <a:p>
          <a:endParaRPr lang="en-IN"/>
        </a:p>
      </dgm:t>
    </dgm:pt>
    <dgm:pt modelId="{60DAE837-6A71-4541-A5D3-01B3A8841275}" type="sibTrans" cxnId="{E66DD969-691B-4516-9440-63A697C0DA4E}">
      <dgm:prSet/>
      <dgm:spPr/>
      <dgm:t>
        <a:bodyPr/>
        <a:lstStyle/>
        <a:p>
          <a:endParaRPr lang="en-IN"/>
        </a:p>
      </dgm:t>
    </dgm:pt>
    <dgm:pt modelId="{1806F81B-6D9B-4B8A-B543-D9EB646F3033}" type="pres">
      <dgm:prSet presAssocID="{75C52600-94ED-4CAD-990F-200742DFD0EA}" presName="Name0" presStyleCnt="0">
        <dgm:presLayoutVars>
          <dgm:dir/>
          <dgm:animLvl val="lvl"/>
          <dgm:resizeHandles val="exact"/>
        </dgm:presLayoutVars>
      </dgm:prSet>
      <dgm:spPr/>
    </dgm:pt>
    <dgm:pt modelId="{15A5BDC8-7074-43EB-AC15-017AC0F72A63}" type="pres">
      <dgm:prSet presAssocID="{0006A062-4C4E-4957-A43E-24E912136537}" presName="parTxOnly" presStyleLbl="node1" presStyleIdx="0" presStyleCnt="1" custScaleX="100098" custLinFactNeighborX="-1585">
        <dgm:presLayoutVars>
          <dgm:chMax val="0"/>
          <dgm:chPref val="0"/>
          <dgm:bulletEnabled val="1"/>
        </dgm:presLayoutVars>
      </dgm:prSet>
      <dgm:spPr/>
    </dgm:pt>
  </dgm:ptLst>
  <dgm:cxnLst>
    <dgm:cxn modelId="{E66DD969-691B-4516-9440-63A697C0DA4E}" srcId="{75C52600-94ED-4CAD-990F-200742DFD0EA}" destId="{0006A062-4C4E-4957-A43E-24E912136537}" srcOrd="0" destOrd="0" parTransId="{28FB7DBD-9D0D-4EA4-AC84-FF2F557B1B78}" sibTransId="{60DAE837-6A71-4541-A5D3-01B3A8841275}"/>
    <dgm:cxn modelId="{62D397A8-A245-4851-B951-60FE85ED8507}" type="presOf" srcId="{75C52600-94ED-4CAD-990F-200742DFD0EA}" destId="{1806F81B-6D9B-4B8A-B543-D9EB646F3033}" srcOrd="0" destOrd="0" presId="urn:microsoft.com/office/officeart/2005/8/layout/chevron1"/>
    <dgm:cxn modelId="{6509C2A8-2481-4681-A96B-76437CE59F0E}" type="presOf" srcId="{0006A062-4C4E-4957-A43E-24E912136537}" destId="{15A5BDC8-7074-43EB-AC15-017AC0F72A63}" srcOrd="0" destOrd="0" presId="urn:microsoft.com/office/officeart/2005/8/layout/chevron1"/>
    <dgm:cxn modelId="{0320CA02-CFF4-486D-BB54-DDAE440314C5}" type="presParOf" srcId="{1806F81B-6D9B-4B8A-B543-D9EB646F3033}" destId="{15A5BDC8-7074-43EB-AC15-017AC0F72A63}" srcOrd="0" destOrd="0" presId="urn:microsoft.com/office/officeart/2005/8/layout/chevron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5C52600-94ED-4CAD-990F-200742DFD0EA}" type="doc">
      <dgm:prSet loTypeId="urn:microsoft.com/office/officeart/2005/8/layout/chevron1" loCatId="process" qsTypeId="urn:microsoft.com/office/officeart/2005/8/quickstyle/simple2" qsCatId="simple" csTypeId="urn:microsoft.com/office/officeart/2005/8/colors/accent1_2" csCatId="accent1" phldr="1"/>
      <dgm:spPr/>
    </dgm:pt>
    <dgm:pt modelId="{0006A062-4C4E-4957-A43E-24E912136537}">
      <dgm:prSet phldrT="[Text]" custT="1"/>
      <dgm:spPr/>
      <dgm:t>
        <a:bodyPr/>
        <a:lstStyle/>
        <a:p>
          <a:r>
            <a:rPr lang="en-IN" sz="1100" b="1" kern="1200">
              <a:solidFill>
                <a:schemeClr val="lt1"/>
              </a:solidFill>
              <a:latin typeface="+mn-lt"/>
              <a:ea typeface="+mn-ea"/>
              <a:cs typeface="+mn-cs"/>
            </a:rPr>
            <a:t>Analysis</a:t>
          </a:r>
        </a:p>
      </dgm:t>
    </dgm:pt>
    <dgm:pt modelId="{28FB7DBD-9D0D-4EA4-AC84-FF2F557B1B78}" type="parTrans" cxnId="{E66DD969-691B-4516-9440-63A697C0DA4E}">
      <dgm:prSet/>
      <dgm:spPr/>
      <dgm:t>
        <a:bodyPr/>
        <a:lstStyle/>
        <a:p>
          <a:endParaRPr lang="en-IN"/>
        </a:p>
      </dgm:t>
    </dgm:pt>
    <dgm:pt modelId="{60DAE837-6A71-4541-A5D3-01B3A8841275}" type="sibTrans" cxnId="{E66DD969-691B-4516-9440-63A697C0DA4E}">
      <dgm:prSet/>
      <dgm:spPr/>
      <dgm:t>
        <a:bodyPr/>
        <a:lstStyle/>
        <a:p>
          <a:endParaRPr lang="en-IN"/>
        </a:p>
      </dgm:t>
    </dgm:pt>
    <dgm:pt modelId="{1806F81B-6D9B-4B8A-B543-D9EB646F3033}" type="pres">
      <dgm:prSet presAssocID="{75C52600-94ED-4CAD-990F-200742DFD0EA}" presName="Name0" presStyleCnt="0">
        <dgm:presLayoutVars>
          <dgm:dir/>
          <dgm:animLvl val="lvl"/>
          <dgm:resizeHandles val="exact"/>
        </dgm:presLayoutVars>
      </dgm:prSet>
      <dgm:spPr/>
    </dgm:pt>
    <dgm:pt modelId="{15A5BDC8-7074-43EB-AC15-017AC0F72A63}" type="pres">
      <dgm:prSet presAssocID="{0006A062-4C4E-4957-A43E-24E912136537}" presName="parTxOnly" presStyleLbl="node1" presStyleIdx="0" presStyleCnt="1" custLinFactNeighborX="-12398" custLinFactNeighborY="-3615">
        <dgm:presLayoutVars>
          <dgm:chMax val="0"/>
          <dgm:chPref val="0"/>
          <dgm:bulletEnabled val="1"/>
        </dgm:presLayoutVars>
      </dgm:prSet>
      <dgm:spPr/>
    </dgm:pt>
  </dgm:ptLst>
  <dgm:cxnLst>
    <dgm:cxn modelId="{E66DD969-691B-4516-9440-63A697C0DA4E}" srcId="{75C52600-94ED-4CAD-990F-200742DFD0EA}" destId="{0006A062-4C4E-4957-A43E-24E912136537}" srcOrd="0" destOrd="0" parTransId="{28FB7DBD-9D0D-4EA4-AC84-FF2F557B1B78}" sibTransId="{60DAE837-6A71-4541-A5D3-01B3A8841275}"/>
    <dgm:cxn modelId="{62D397A8-A245-4851-B951-60FE85ED8507}" type="presOf" srcId="{75C52600-94ED-4CAD-990F-200742DFD0EA}" destId="{1806F81B-6D9B-4B8A-B543-D9EB646F3033}" srcOrd="0" destOrd="0" presId="urn:microsoft.com/office/officeart/2005/8/layout/chevron1"/>
    <dgm:cxn modelId="{6509C2A8-2481-4681-A96B-76437CE59F0E}" type="presOf" srcId="{0006A062-4C4E-4957-A43E-24E912136537}" destId="{15A5BDC8-7074-43EB-AC15-017AC0F72A63}" srcOrd="0" destOrd="0" presId="urn:microsoft.com/office/officeart/2005/8/layout/chevron1"/>
    <dgm:cxn modelId="{0320CA02-CFF4-486D-BB54-DDAE440314C5}" type="presParOf" srcId="{1806F81B-6D9B-4B8A-B543-D9EB646F3033}" destId="{15A5BDC8-7074-43EB-AC15-017AC0F72A63}" srcOrd="0" destOrd="0" presId="urn:microsoft.com/office/officeart/2005/8/layout/chevron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CAB2E30-A712-4EA2-AAB5-EAB0EF5B189E}" type="doc">
      <dgm:prSet loTypeId="urn:microsoft.com/office/officeart/2005/8/layout/gear1" loCatId="process" qsTypeId="urn:microsoft.com/office/officeart/2005/8/quickstyle/simple1" qsCatId="simple" csTypeId="urn:microsoft.com/office/officeart/2005/8/colors/accent0_3" csCatId="mainScheme" phldr="1"/>
      <dgm:spPr/>
    </dgm:pt>
    <dgm:pt modelId="{C4166A68-E010-4924-A038-FF712FAC54AA}">
      <dgm:prSet phldrT="[Text]"/>
      <dgm:spPr/>
      <dgm:t>
        <a:bodyPr/>
        <a:lstStyle/>
        <a:p>
          <a:endParaRPr lang="en-IN"/>
        </a:p>
      </dgm:t>
    </dgm:pt>
    <dgm:pt modelId="{2947CB8A-E8FC-489D-850E-2018CEACD8EE}" type="parTrans" cxnId="{834595C7-35EE-4FAC-B04C-FDD913DA00DF}">
      <dgm:prSet/>
      <dgm:spPr/>
      <dgm:t>
        <a:bodyPr/>
        <a:lstStyle/>
        <a:p>
          <a:endParaRPr lang="en-IN"/>
        </a:p>
      </dgm:t>
    </dgm:pt>
    <dgm:pt modelId="{24161259-97EA-49CA-A63E-8648077A2DB8}" type="sibTrans" cxnId="{834595C7-35EE-4FAC-B04C-FDD913DA00DF}">
      <dgm:prSet/>
      <dgm:spPr/>
      <dgm:t>
        <a:bodyPr/>
        <a:lstStyle/>
        <a:p>
          <a:endParaRPr lang="en-IN"/>
        </a:p>
      </dgm:t>
    </dgm:pt>
    <dgm:pt modelId="{FE9FE6AB-FF9A-4AEE-B736-361A44654303}">
      <dgm:prSet phldrT="[Text]"/>
      <dgm:spPr/>
      <dgm:t>
        <a:bodyPr/>
        <a:lstStyle/>
        <a:p>
          <a:endParaRPr lang="en-IN"/>
        </a:p>
      </dgm:t>
    </dgm:pt>
    <dgm:pt modelId="{0026A956-FB9D-4CC7-93C2-56681A26398B}" type="parTrans" cxnId="{C23B3EAD-F41F-4B20-B2F1-B095E8320798}">
      <dgm:prSet/>
      <dgm:spPr/>
      <dgm:t>
        <a:bodyPr/>
        <a:lstStyle/>
        <a:p>
          <a:endParaRPr lang="en-IN"/>
        </a:p>
      </dgm:t>
    </dgm:pt>
    <dgm:pt modelId="{00CB9284-5A7D-4FA7-A33F-A6FDE7F2B4C2}" type="sibTrans" cxnId="{C23B3EAD-F41F-4B20-B2F1-B095E8320798}">
      <dgm:prSet/>
      <dgm:spPr/>
      <dgm:t>
        <a:bodyPr/>
        <a:lstStyle/>
        <a:p>
          <a:endParaRPr lang="en-IN"/>
        </a:p>
      </dgm:t>
    </dgm:pt>
    <dgm:pt modelId="{D07A5BF9-0E61-44AF-AA12-DD2A66A82BE0}">
      <dgm:prSet phldrT="[Text]"/>
      <dgm:spPr/>
      <dgm:t>
        <a:bodyPr/>
        <a:lstStyle/>
        <a:p>
          <a:endParaRPr lang="en-IN"/>
        </a:p>
      </dgm:t>
    </dgm:pt>
    <dgm:pt modelId="{19115CA8-52C2-4F9C-BFF1-B6EB4CE5DF79}" type="parTrans" cxnId="{FB1585C3-9798-4D9E-9B25-A15BB57C9B18}">
      <dgm:prSet/>
      <dgm:spPr/>
      <dgm:t>
        <a:bodyPr/>
        <a:lstStyle/>
        <a:p>
          <a:endParaRPr lang="en-IN"/>
        </a:p>
      </dgm:t>
    </dgm:pt>
    <dgm:pt modelId="{A68DA198-B555-4495-BECC-6A9DF079291F}" type="sibTrans" cxnId="{FB1585C3-9798-4D9E-9B25-A15BB57C9B18}">
      <dgm:prSet/>
      <dgm:spPr/>
      <dgm:t>
        <a:bodyPr/>
        <a:lstStyle/>
        <a:p>
          <a:endParaRPr lang="en-IN"/>
        </a:p>
      </dgm:t>
    </dgm:pt>
    <dgm:pt modelId="{E2BA3B9C-EE11-457F-B619-8113680FF6AA}" type="pres">
      <dgm:prSet presAssocID="{4CAB2E30-A712-4EA2-AAB5-EAB0EF5B189E}" presName="composite" presStyleCnt="0">
        <dgm:presLayoutVars>
          <dgm:chMax val="3"/>
          <dgm:animLvl val="lvl"/>
          <dgm:resizeHandles val="exact"/>
        </dgm:presLayoutVars>
      </dgm:prSet>
      <dgm:spPr/>
    </dgm:pt>
    <dgm:pt modelId="{B59CACC9-114E-41C0-B0EB-522904607DCD}" type="pres">
      <dgm:prSet presAssocID="{C4166A68-E010-4924-A038-FF712FAC54AA}" presName="gear1" presStyleLbl="node1" presStyleIdx="0" presStyleCnt="3">
        <dgm:presLayoutVars>
          <dgm:chMax val="1"/>
          <dgm:bulletEnabled val="1"/>
        </dgm:presLayoutVars>
      </dgm:prSet>
      <dgm:spPr/>
    </dgm:pt>
    <dgm:pt modelId="{581DA9FF-F860-489F-8826-E0D9F865A426}" type="pres">
      <dgm:prSet presAssocID="{C4166A68-E010-4924-A038-FF712FAC54AA}" presName="gear1srcNode" presStyleLbl="node1" presStyleIdx="0" presStyleCnt="3"/>
      <dgm:spPr/>
    </dgm:pt>
    <dgm:pt modelId="{1DAA51BB-5151-4964-9D65-18C71E75EBB8}" type="pres">
      <dgm:prSet presAssocID="{C4166A68-E010-4924-A038-FF712FAC54AA}" presName="gear1dstNode" presStyleLbl="node1" presStyleIdx="0" presStyleCnt="3"/>
      <dgm:spPr/>
    </dgm:pt>
    <dgm:pt modelId="{78B6E457-4BF1-4B2A-91CA-7C98415ADD16}" type="pres">
      <dgm:prSet presAssocID="{FE9FE6AB-FF9A-4AEE-B736-361A44654303}" presName="gear2" presStyleLbl="node1" presStyleIdx="1" presStyleCnt="3">
        <dgm:presLayoutVars>
          <dgm:chMax val="1"/>
          <dgm:bulletEnabled val="1"/>
        </dgm:presLayoutVars>
      </dgm:prSet>
      <dgm:spPr/>
    </dgm:pt>
    <dgm:pt modelId="{823C8B89-E494-44B3-B0DB-AA87059F5846}" type="pres">
      <dgm:prSet presAssocID="{FE9FE6AB-FF9A-4AEE-B736-361A44654303}" presName="gear2srcNode" presStyleLbl="node1" presStyleIdx="1" presStyleCnt="3"/>
      <dgm:spPr/>
    </dgm:pt>
    <dgm:pt modelId="{19F321C3-F813-4A22-AAD7-76D0CA1260C8}" type="pres">
      <dgm:prSet presAssocID="{FE9FE6AB-FF9A-4AEE-B736-361A44654303}" presName="gear2dstNode" presStyleLbl="node1" presStyleIdx="1" presStyleCnt="3"/>
      <dgm:spPr/>
    </dgm:pt>
    <dgm:pt modelId="{A9768684-C5FC-4A81-B26B-3B79CBDA1B63}" type="pres">
      <dgm:prSet presAssocID="{D07A5BF9-0E61-44AF-AA12-DD2A66A82BE0}" presName="gear3" presStyleLbl="node1" presStyleIdx="2" presStyleCnt="3"/>
      <dgm:spPr/>
    </dgm:pt>
    <dgm:pt modelId="{B1E90208-ACB4-4B80-9FA5-680BCA95E918}" type="pres">
      <dgm:prSet presAssocID="{D07A5BF9-0E61-44AF-AA12-DD2A66A82BE0}" presName="gear3tx" presStyleLbl="node1" presStyleIdx="2" presStyleCnt="3">
        <dgm:presLayoutVars>
          <dgm:chMax val="1"/>
          <dgm:bulletEnabled val="1"/>
        </dgm:presLayoutVars>
      </dgm:prSet>
      <dgm:spPr/>
    </dgm:pt>
    <dgm:pt modelId="{C9979A08-FD94-4B95-A76D-61898A7DA448}" type="pres">
      <dgm:prSet presAssocID="{D07A5BF9-0E61-44AF-AA12-DD2A66A82BE0}" presName="gear3srcNode" presStyleLbl="node1" presStyleIdx="2" presStyleCnt="3"/>
      <dgm:spPr/>
    </dgm:pt>
    <dgm:pt modelId="{B9914C37-3B5D-4978-A6C3-1434479CB929}" type="pres">
      <dgm:prSet presAssocID="{D07A5BF9-0E61-44AF-AA12-DD2A66A82BE0}" presName="gear3dstNode" presStyleLbl="node1" presStyleIdx="2" presStyleCnt="3"/>
      <dgm:spPr/>
    </dgm:pt>
    <dgm:pt modelId="{F7DDCE16-9FE8-490D-80E1-7E159F6190F4}" type="pres">
      <dgm:prSet presAssocID="{24161259-97EA-49CA-A63E-8648077A2DB8}" presName="connector1" presStyleLbl="sibTrans2D1" presStyleIdx="0" presStyleCnt="3"/>
      <dgm:spPr/>
    </dgm:pt>
    <dgm:pt modelId="{166FD340-DF6A-47E9-89B9-A4F28534DEBC}" type="pres">
      <dgm:prSet presAssocID="{00CB9284-5A7D-4FA7-A33F-A6FDE7F2B4C2}" presName="connector2" presStyleLbl="sibTrans2D1" presStyleIdx="1" presStyleCnt="3"/>
      <dgm:spPr/>
    </dgm:pt>
    <dgm:pt modelId="{289CD9B8-62CC-4C85-815F-EC6F8D5D3E25}" type="pres">
      <dgm:prSet presAssocID="{A68DA198-B555-4495-BECC-6A9DF079291F}" presName="connector3" presStyleLbl="sibTrans2D1" presStyleIdx="2" presStyleCnt="3"/>
      <dgm:spPr/>
    </dgm:pt>
  </dgm:ptLst>
  <dgm:cxnLst>
    <dgm:cxn modelId="{2E99E901-FD8E-4742-9C41-E855C661C02C}" type="presOf" srcId="{FE9FE6AB-FF9A-4AEE-B736-361A44654303}" destId="{823C8B89-E494-44B3-B0DB-AA87059F5846}" srcOrd="1" destOrd="0" presId="urn:microsoft.com/office/officeart/2005/8/layout/gear1"/>
    <dgm:cxn modelId="{74DEF404-FB32-420A-AA90-691F177AD065}" type="presOf" srcId="{D07A5BF9-0E61-44AF-AA12-DD2A66A82BE0}" destId="{C9979A08-FD94-4B95-A76D-61898A7DA448}" srcOrd="2" destOrd="0" presId="urn:microsoft.com/office/officeart/2005/8/layout/gear1"/>
    <dgm:cxn modelId="{1A12E61D-39D4-4EB2-A24C-70E1F6055527}" type="presOf" srcId="{D07A5BF9-0E61-44AF-AA12-DD2A66A82BE0}" destId="{A9768684-C5FC-4A81-B26B-3B79CBDA1B63}" srcOrd="0" destOrd="0" presId="urn:microsoft.com/office/officeart/2005/8/layout/gear1"/>
    <dgm:cxn modelId="{40B5D928-7804-4AF6-9473-1CC54FADAF20}" type="presOf" srcId="{24161259-97EA-49CA-A63E-8648077A2DB8}" destId="{F7DDCE16-9FE8-490D-80E1-7E159F6190F4}" srcOrd="0" destOrd="0" presId="urn:microsoft.com/office/officeart/2005/8/layout/gear1"/>
    <dgm:cxn modelId="{AB6BBB63-5268-4C48-B964-37ECD0F84B7B}" type="presOf" srcId="{FE9FE6AB-FF9A-4AEE-B736-361A44654303}" destId="{78B6E457-4BF1-4B2A-91CA-7C98415ADD16}" srcOrd="0" destOrd="0" presId="urn:microsoft.com/office/officeart/2005/8/layout/gear1"/>
    <dgm:cxn modelId="{41656F67-DB93-41C7-9415-6CD6D2717860}" type="presOf" srcId="{A68DA198-B555-4495-BECC-6A9DF079291F}" destId="{289CD9B8-62CC-4C85-815F-EC6F8D5D3E25}" srcOrd="0" destOrd="0" presId="urn:microsoft.com/office/officeart/2005/8/layout/gear1"/>
    <dgm:cxn modelId="{01209047-45D0-4021-A9E2-AB37E6608FB9}" type="presOf" srcId="{D07A5BF9-0E61-44AF-AA12-DD2A66A82BE0}" destId="{B9914C37-3B5D-4978-A6C3-1434479CB929}" srcOrd="3" destOrd="0" presId="urn:microsoft.com/office/officeart/2005/8/layout/gear1"/>
    <dgm:cxn modelId="{6FD2124C-97BA-47BE-817B-E7DE686C1359}" type="presOf" srcId="{C4166A68-E010-4924-A038-FF712FAC54AA}" destId="{B59CACC9-114E-41C0-B0EB-522904607DCD}" srcOrd="0" destOrd="0" presId="urn:microsoft.com/office/officeart/2005/8/layout/gear1"/>
    <dgm:cxn modelId="{15D51D99-52F0-4D09-988F-EB8EFB216DFC}" type="presOf" srcId="{FE9FE6AB-FF9A-4AEE-B736-361A44654303}" destId="{19F321C3-F813-4A22-AAD7-76D0CA1260C8}" srcOrd="2" destOrd="0" presId="urn:microsoft.com/office/officeart/2005/8/layout/gear1"/>
    <dgm:cxn modelId="{CAA021A6-BF2C-47ED-9A2C-04331FC7F664}" type="presOf" srcId="{C4166A68-E010-4924-A038-FF712FAC54AA}" destId="{1DAA51BB-5151-4964-9D65-18C71E75EBB8}" srcOrd="2" destOrd="0" presId="urn:microsoft.com/office/officeart/2005/8/layout/gear1"/>
    <dgm:cxn modelId="{C23B3EAD-F41F-4B20-B2F1-B095E8320798}" srcId="{4CAB2E30-A712-4EA2-AAB5-EAB0EF5B189E}" destId="{FE9FE6AB-FF9A-4AEE-B736-361A44654303}" srcOrd="1" destOrd="0" parTransId="{0026A956-FB9D-4CC7-93C2-56681A26398B}" sibTransId="{00CB9284-5A7D-4FA7-A33F-A6FDE7F2B4C2}"/>
    <dgm:cxn modelId="{96C245C3-C4AB-4781-8552-307C49C1077C}" type="presOf" srcId="{C4166A68-E010-4924-A038-FF712FAC54AA}" destId="{581DA9FF-F860-489F-8826-E0D9F865A426}" srcOrd="1" destOrd="0" presId="urn:microsoft.com/office/officeart/2005/8/layout/gear1"/>
    <dgm:cxn modelId="{FB1585C3-9798-4D9E-9B25-A15BB57C9B18}" srcId="{4CAB2E30-A712-4EA2-AAB5-EAB0EF5B189E}" destId="{D07A5BF9-0E61-44AF-AA12-DD2A66A82BE0}" srcOrd="2" destOrd="0" parTransId="{19115CA8-52C2-4F9C-BFF1-B6EB4CE5DF79}" sibTransId="{A68DA198-B555-4495-BECC-6A9DF079291F}"/>
    <dgm:cxn modelId="{FCE6C6C4-A9E3-48A6-AB06-8AC3C3218B71}" type="presOf" srcId="{00CB9284-5A7D-4FA7-A33F-A6FDE7F2B4C2}" destId="{166FD340-DF6A-47E9-89B9-A4F28534DEBC}" srcOrd="0" destOrd="0" presId="urn:microsoft.com/office/officeart/2005/8/layout/gear1"/>
    <dgm:cxn modelId="{834595C7-35EE-4FAC-B04C-FDD913DA00DF}" srcId="{4CAB2E30-A712-4EA2-AAB5-EAB0EF5B189E}" destId="{C4166A68-E010-4924-A038-FF712FAC54AA}" srcOrd="0" destOrd="0" parTransId="{2947CB8A-E8FC-489D-850E-2018CEACD8EE}" sibTransId="{24161259-97EA-49CA-A63E-8648077A2DB8}"/>
    <dgm:cxn modelId="{531A9EDF-F4F5-446D-9B42-91DF65E66365}" type="presOf" srcId="{D07A5BF9-0E61-44AF-AA12-DD2A66A82BE0}" destId="{B1E90208-ACB4-4B80-9FA5-680BCA95E918}" srcOrd="1" destOrd="0" presId="urn:microsoft.com/office/officeart/2005/8/layout/gear1"/>
    <dgm:cxn modelId="{F51FCFF6-A7B8-431E-BE98-64B13AA864A2}" type="presOf" srcId="{4CAB2E30-A712-4EA2-AAB5-EAB0EF5B189E}" destId="{E2BA3B9C-EE11-457F-B619-8113680FF6AA}" srcOrd="0" destOrd="0" presId="urn:microsoft.com/office/officeart/2005/8/layout/gear1"/>
    <dgm:cxn modelId="{596CAD69-A6F6-47C0-BF9D-10F8AF2EC85A}" type="presParOf" srcId="{E2BA3B9C-EE11-457F-B619-8113680FF6AA}" destId="{B59CACC9-114E-41C0-B0EB-522904607DCD}" srcOrd="0" destOrd="0" presId="urn:microsoft.com/office/officeart/2005/8/layout/gear1"/>
    <dgm:cxn modelId="{E6C1777F-A92C-4146-B8B7-DDA8CE669EE7}" type="presParOf" srcId="{E2BA3B9C-EE11-457F-B619-8113680FF6AA}" destId="{581DA9FF-F860-489F-8826-E0D9F865A426}" srcOrd="1" destOrd="0" presId="urn:microsoft.com/office/officeart/2005/8/layout/gear1"/>
    <dgm:cxn modelId="{3DC6DE74-96C3-49EC-9370-E6704F75FE23}" type="presParOf" srcId="{E2BA3B9C-EE11-457F-B619-8113680FF6AA}" destId="{1DAA51BB-5151-4964-9D65-18C71E75EBB8}" srcOrd="2" destOrd="0" presId="urn:microsoft.com/office/officeart/2005/8/layout/gear1"/>
    <dgm:cxn modelId="{D0E07107-D2DD-460F-9ACC-723F834B7A70}" type="presParOf" srcId="{E2BA3B9C-EE11-457F-B619-8113680FF6AA}" destId="{78B6E457-4BF1-4B2A-91CA-7C98415ADD16}" srcOrd="3" destOrd="0" presId="urn:microsoft.com/office/officeart/2005/8/layout/gear1"/>
    <dgm:cxn modelId="{B910ACC6-F41B-4A09-96E6-3C590521D173}" type="presParOf" srcId="{E2BA3B9C-EE11-457F-B619-8113680FF6AA}" destId="{823C8B89-E494-44B3-B0DB-AA87059F5846}" srcOrd="4" destOrd="0" presId="urn:microsoft.com/office/officeart/2005/8/layout/gear1"/>
    <dgm:cxn modelId="{07376911-2DB2-45CF-A0B2-D577A4A35233}" type="presParOf" srcId="{E2BA3B9C-EE11-457F-B619-8113680FF6AA}" destId="{19F321C3-F813-4A22-AAD7-76D0CA1260C8}" srcOrd="5" destOrd="0" presId="urn:microsoft.com/office/officeart/2005/8/layout/gear1"/>
    <dgm:cxn modelId="{323B102C-EEB6-4D5F-A197-D25D363B31A1}" type="presParOf" srcId="{E2BA3B9C-EE11-457F-B619-8113680FF6AA}" destId="{A9768684-C5FC-4A81-B26B-3B79CBDA1B63}" srcOrd="6" destOrd="0" presId="urn:microsoft.com/office/officeart/2005/8/layout/gear1"/>
    <dgm:cxn modelId="{410A2694-F340-4060-AC28-6C570D17114E}" type="presParOf" srcId="{E2BA3B9C-EE11-457F-B619-8113680FF6AA}" destId="{B1E90208-ACB4-4B80-9FA5-680BCA95E918}" srcOrd="7" destOrd="0" presId="urn:microsoft.com/office/officeart/2005/8/layout/gear1"/>
    <dgm:cxn modelId="{889D565C-BAA6-44E4-9275-532CDBE296A6}" type="presParOf" srcId="{E2BA3B9C-EE11-457F-B619-8113680FF6AA}" destId="{C9979A08-FD94-4B95-A76D-61898A7DA448}" srcOrd="8" destOrd="0" presId="urn:microsoft.com/office/officeart/2005/8/layout/gear1"/>
    <dgm:cxn modelId="{BCCF4595-E324-4908-9C57-4CD7FA31378E}" type="presParOf" srcId="{E2BA3B9C-EE11-457F-B619-8113680FF6AA}" destId="{B9914C37-3B5D-4978-A6C3-1434479CB929}" srcOrd="9" destOrd="0" presId="urn:microsoft.com/office/officeart/2005/8/layout/gear1"/>
    <dgm:cxn modelId="{F259653E-0AA2-43E8-82B9-5223EC2C5E74}" type="presParOf" srcId="{E2BA3B9C-EE11-457F-B619-8113680FF6AA}" destId="{F7DDCE16-9FE8-490D-80E1-7E159F6190F4}" srcOrd="10" destOrd="0" presId="urn:microsoft.com/office/officeart/2005/8/layout/gear1"/>
    <dgm:cxn modelId="{E57FCEED-C5AC-48AB-9E46-1B48F4DB8522}" type="presParOf" srcId="{E2BA3B9C-EE11-457F-B619-8113680FF6AA}" destId="{166FD340-DF6A-47E9-89B9-A4F28534DEBC}" srcOrd="11" destOrd="0" presId="urn:microsoft.com/office/officeart/2005/8/layout/gear1"/>
    <dgm:cxn modelId="{430FD27F-B745-4BEC-BB56-781F5DE9E3D2}" type="presParOf" srcId="{E2BA3B9C-EE11-457F-B619-8113680FF6AA}" destId="{289CD9B8-62CC-4C85-815F-EC6F8D5D3E25}" srcOrd="12" destOrd="0" presId="urn:microsoft.com/office/officeart/2005/8/layout/gear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A5BDC8-7074-43EB-AC15-017AC0F72A63}">
      <dsp:nvSpPr>
        <dsp:cNvPr id="0" name=""/>
        <dsp:cNvSpPr/>
      </dsp:nvSpPr>
      <dsp:spPr>
        <a:xfrm>
          <a:off x="0" y="0"/>
          <a:ext cx="1240926" cy="349690"/>
        </a:xfrm>
        <a:prstGeom prst="chevron">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66725">
            <a:lnSpc>
              <a:spcPct val="90000"/>
            </a:lnSpc>
            <a:spcBef>
              <a:spcPct val="0"/>
            </a:spcBef>
            <a:spcAft>
              <a:spcPct val="35000"/>
            </a:spcAft>
            <a:buNone/>
          </a:pPr>
          <a:r>
            <a:rPr lang="en-IN" sz="1050" b="1" kern="1200">
              <a:solidFill>
                <a:schemeClr val="lt1"/>
              </a:solidFill>
              <a:latin typeface="+mn-lt"/>
              <a:ea typeface="+mn-ea"/>
              <a:cs typeface="+mn-cs"/>
            </a:rPr>
            <a:t>Assessment</a:t>
          </a:r>
          <a:endParaRPr lang="en-IN" sz="1100" b="1" kern="1200">
            <a:solidFill>
              <a:schemeClr val="lt1"/>
            </a:solidFill>
            <a:latin typeface="+mn-lt"/>
            <a:ea typeface="+mn-ea"/>
            <a:cs typeface="+mn-cs"/>
          </a:endParaRPr>
        </a:p>
      </dsp:txBody>
      <dsp:txXfrm>
        <a:off x="174845" y="0"/>
        <a:ext cx="891236" cy="34969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A5BDC8-7074-43EB-AC15-017AC0F72A63}">
      <dsp:nvSpPr>
        <dsp:cNvPr id="0" name=""/>
        <dsp:cNvSpPr/>
      </dsp:nvSpPr>
      <dsp:spPr>
        <a:xfrm>
          <a:off x="0" y="0"/>
          <a:ext cx="986875" cy="349690"/>
        </a:xfrm>
        <a:prstGeom prst="chevron">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IN" sz="1100" b="1" kern="1200">
              <a:solidFill>
                <a:schemeClr val="lt1"/>
              </a:solidFill>
              <a:latin typeface="+mn-lt"/>
              <a:ea typeface="+mn-ea"/>
              <a:cs typeface="+mn-cs"/>
            </a:rPr>
            <a:t>Analysis</a:t>
          </a:r>
        </a:p>
      </dsp:txBody>
      <dsp:txXfrm>
        <a:off x="174845" y="0"/>
        <a:ext cx="637185" cy="34969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9CACC9-114E-41C0-B0EB-522904607DCD}">
      <dsp:nvSpPr>
        <dsp:cNvPr id="0" name=""/>
        <dsp:cNvSpPr/>
      </dsp:nvSpPr>
      <dsp:spPr>
        <a:xfrm>
          <a:off x="228819" y="659028"/>
          <a:ext cx="279668" cy="279668"/>
        </a:xfrm>
        <a:prstGeom prst="gear9">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endParaRPr lang="en-IN" sz="900" kern="1200"/>
        </a:p>
      </dsp:txBody>
      <dsp:txXfrm>
        <a:off x="285045" y="724539"/>
        <a:ext cx="167216" cy="143755"/>
      </dsp:txXfrm>
    </dsp:sp>
    <dsp:sp modelId="{78B6E457-4BF1-4B2A-91CA-7C98415ADD16}">
      <dsp:nvSpPr>
        <dsp:cNvPr id="0" name=""/>
        <dsp:cNvSpPr/>
      </dsp:nvSpPr>
      <dsp:spPr>
        <a:xfrm>
          <a:off x="66103" y="592924"/>
          <a:ext cx="203395" cy="203395"/>
        </a:xfrm>
        <a:prstGeom prst="gear6">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90000"/>
            </a:lnSpc>
            <a:spcBef>
              <a:spcPct val="0"/>
            </a:spcBef>
            <a:spcAft>
              <a:spcPct val="35000"/>
            </a:spcAft>
            <a:buNone/>
          </a:pPr>
          <a:endParaRPr lang="en-IN" sz="600" kern="1200"/>
        </a:p>
      </dsp:txBody>
      <dsp:txXfrm>
        <a:off x="117308" y="644439"/>
        <a:ext cx="100985" cy="100365"/>
      </dsp:txXfrm>
    </dsp:sp>
    <dsp:sp modelId="{A9768684-C5FC-4A81-B26B-3B79CBDA1B63}">
      <dsp:nvSpPr>
        <dsp:cNvPr id="0" name=""/>
        <dsp:cNvSpPr/>
      </dsp:nvSpPr>
      <dsp:spPr>
        <a:xfrm rot="20700000">
          <a:off x="180025" y="452602"/>
          <a:ext cx="199285" cy="199285"/>
        </a:xfrm>
        <a:prstGeom prst="gear6">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endParaRPr lang="en-IN" sz="700" kern="1200"/>
        </a:p>
      </dsp:txBody>
      <dsp:txXfrm rot="-20700000">
        <a:off x="223734" y="496312"/>
        <a:ext cx="111867" cy="111867"/>
      </dsp:txXfrm>
    </dsp:sp>
    <dsp:sp modelId="{F7DDCE16-9FE8-490D-80E1-7E159F6190F4}">
      <dsp:nvSpPr>
        <dsp:cNvPr id="0" name=""/>
        <dsp:cNvSpPr/>
      </dsp:nvSpPr>
      <dsp:spPr>
        <a:xfrm>
          <a:off x="180854" y="627770"/>
          <a:ext cx="357975" cy="357975"/>
        </a:xfrm>
        <a:prstGeom prst="circularArrow">
          <a:avLst>
            <a:gd name="adj1" fmla="val 4687"/>
            <a:gd name="adj2" fmla="val 299029"/>
            <a:gd name="adj3" fmla="val 2189780"/>
            <a:gd name="adj4" fmla="val 17114362"/>
            <a:gd name="adj5" fmla="val 5469"/>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66FD340-DF6A-47E9-89B9-A4F28534DEBC}">
      <dsp:nvSpPr>
        <dsp:cNvPr id="0" name=""/>
        <dsp:cNvSpPr/>
      </dsp:nvSpPr>
      <dsp:spPr>
        <a:xfrm>
          <a:off x="30082" y="563739"/>
          <a:ext cx="260091" cy="260091"/>
        </a:xfrm>
        <a:prstGeom prst="leftCircularArrow">
          <a:avLst>
            <a:gd name="adj1" fmla="val 6452"/>
            <a:gd name="adj2" fmla="val 429999"/>
            <a:gd name="adj3" fmla="val 10489124"/>
            <a:gd name="adj4" fmla="val 14837806"/>
            <a:gd name="adj5" fmla="val 7527"/>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89CD9B8-62CC-4C85-815F-EC6F8D5D3E25}">
      <dsp:nvSpPr>
        <dsp:cNvPr id="0" name=""/>
        <dsp:cNvSpPr/>
      </dsp:nvSpPr>
      <dsp:spPr>
        <a:xfrm>
          <a:off x="133928" y="424769"/>
          <a:ext cx="280431" cy="280431"/>
        </a:xfrm>
        <a:prstGeom prst="circularArrow">
          <a:avLst>
            <a:gd name="adj1" fmla="val 5984"/>
            <a:gd name="adj2" fmla="val 394124"/>
            <a:gd name="adj3" fmla="val 13313824"/>
            <a:gd name="adj4" fmla="val 10508221"/>
            <a:gd name="adj5" fmla="val 6981"/>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F03A8ED-93B0-44D5-AACB-2BEDA8C5BF8A}"/>
              </a:ext>
            </a:extLst>
          </p:cNvPr>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40FFA754-616E-4505-957F-C2840BB27F5A}"/>
              </a:ext>
            </a:extLst>
          </p:cNvPr>
          <p:cNvSpPr>
            <a:spLocks noGrp="1"/>
          </p:cNvSpPr>
          <p:nvPr>
            <p:ph type="dt" sz="quarter" idx="1"/>
          </p:nvPr>
        </p:nvSpPr>
        <p:spPr>
          <a:xfrm>
            <a:off x="6905625" y="0"/>
            <a:ext cx="5283200" cy="344488"/>
          </a:xfrm>
          <a:prstGeom prst="rect">
            <a:avLst/>
          </a:prstGeom>
        </p:spPr>
        <p:txBody>
          <a:bodyPr vert="horz" lIns="91440" tIns="45720" rIns="91440" bIns="45720" rtlCol="0"/>
          <a:lstStyle>
            <a:lvl1pPr algn="r">
              <a:defRPr sz="1200"/>
            </a:lvl1pPr>
          </a:lstStyle>
          <a:p>
            <a:fld id="{41286934-15EA-43E6-9758-7409B8B94A1D}" type="datetimeFigureOut">
              <a:rPr lang="en-GB" smtClean="0"/>
              <a:pPr/>
              <a:t>22/11/2021</a:t>
            </a:fld>
            <a:endParaRPr lang="en-GB"/>
          </a:p>
        </p:txBody>
      </p:sp>
      <p:sp>
        <p:nvSpPr>
          <p:cNvPr id="4" name="Footer Placeholder 3">
            <a:extLst>
              <a:ext uri="{FF2B5EF4-FFF2-40B4-BE49-F238E27FC236}">
                <a16:creationId xmlns:a16="http://schemas.microsoft.com/office/drawing/2014/main" id="{76640A91-D6EC-431D-877B-EFC12F22036E}"/>
              </a:ext>
            </a:extLst>
          </p:cNvPr>
          <p:cNvSpPr>
            <a:spLocks noGrp="1"/>
          </p:cNvSpPr>
          <p:nvPr>
            <p:ph type="ftr" sz="quarter" idx="2"/>
          </p:nvPr>
        </p:nvSpPr>
        <p:spPr>
          <a:xfrm>
            <a:off x="0" y="6513513"/>
            <a:ext cx="5283200" cy="3444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5DCDD890-BF18-49AC-91FE-CB3892BE0034}"/>
              </a:ext>
            </a:extLst>
          </p:cNvPr>
          <p:cNvSpPr>
            <a:spLocks noGrp="1"/>
          </p:cNvSpPr>
          <p:nvPr>
            <p:ph type="sldNum" sz="quarter" idx="3"/>
          </p:nvPr>
        </p:nvSpPr>
        <p:spPr>
          <a:xfrm>
            <a:off x="6905625" y="6513513"/>
            <a:ext cx="5283200" cy="344487"/>
          </a:xfrm>
          <a:prstGeom prst="rect">
            <a:avLst/>
          </a:prstGeom>
        </p:spPr>
        <p:txBody>
          <a:bodyPr vert="horz" lIns="91440" tIns="45720" rIns="91440" bIns="45720" rtlCol="0" anchor="b"/>
          <a:lstStyle>
            <a:lvl1pPr algn="r">
              <a:defRPr sz="1200"/>
            </a:lvl1pPr>
          </a:lstStyle>
          <a:p>
            <a:fld id="{FA2F6D73-9B70-4289-A10A-BC7CCB7C3C5E}" type="slidenum">
              <a:rPr lang="en-GB" smtClean="0"/>
              <a:pPr/>
              <a:t>‹#›</a:t>
            </a:fld>
            <a:endParaRPr lang="en-GB"/>
          </a:p>
        </p:txBody>
      </p:sp>
    </p:spTree>
    <p:extLst>
      <p:ext uri="{BB962C8B-B14F-4D97-AF65-F5344CB8AC3E}">
        <p14:creationId xmlns:p14="http://schemas.microsoft.com/office/powerpoint/2010/main" val="1625104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6905625" y="0"/>
            <a:ext cx="5283200" cy="344488"/>
          </a:xfrm>
          <a:prstGeom prst="rect">
            <a:avLst/>
          </a:prstGeom>
        </p:spPr>
        <p:txBody>
          <a:bodyPr vert="horz" lIns="91440" tIns="45720" rIns="91440" bIns="45720" rtlCol="0"/>
          <a:lstStyle>
            <a:lvl1pPr algn="r">
              <a:defRPr sz="1200"/>
            </a:lvl1pPr>
          </a:lstStyle>
          <a:p>
            <a:fld id="{3F521838-A768-4448-89E7-F5A7C12AABE7}" type="datetimeFigureOut">
              <a:rPr lang="en-GB" smtClean="0"/>
              <a:pPr/>
              <a:t>22/11/2021</a:t>
            </a:fld>
            <a:endParaRPr lang="en-GB"/>
          </a:p>
        </p:txBody>
      </p:sp>
      <p:sp>
        <p:nvSpPr>
          <p:cNvPr id="4" name="Slide Image Placeholder 3"/>
          <p:cNvSpPr>
            <a:spLocks noGrp="1" noRot="1" noChangeAspect="1"/>
          </p:cNvSpPr>
          <p:nvPr>
            <p:ph type="sldImg" idx="2"/>
          </p:nvPr>
        </p:nvSpPr>
        <p:spPr>
          <a:xfrm>
            <a:off x="4038600" y="857250"/>
            <a:ext cx="4114800" cy="231457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1219200" y="3300413"/>
            <a:ext cx="9753600" cy="27003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6513513"/>
            <a:ext cx="5283200" cy="3444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6905625" y="6513513"/>
            <a:ext cx="5283200" cy="344487"/>
          </a:xfrm>
          <a:prstGeom prst="rect">
            <a:avLst/>
          </a:prstGeom>
        </p:spPr>
        <p:txBody>
          <a:bodyPr vert="horz" lIns="91440" tIns="45720" rIns="91440" bIns="45720" rtlCol="0" anchor="b"/>
          <a:lstStyle>
            <a:lvl1pPr algn="r">
              <a:defRPr sz="1200"/>
            </a:lvl1pPr>
          </a:lstStyle>
          <a:p>
            <a:fld id="{FF4F00D2-CC77-474B-94BF-FA32F9F03AEF}" type="slidenum">
              <a:rPr lang="en-GB" smtClean="0"/>
              <a:pPr/>
              <a:t>‹#›</a:t>
            </a:fld>
            <a:endParaRPr lang="en-GB"/>
          </a:p>
        </p:txBody>
      </p:sp>
    </p:spTree>
    <p:extLst>
      <p:ext uri="{BB962C8B-B14F-4D97-AF65-F5344CB8AC3E}">
        <p14:creationId xmlns:p14="http://schemas.microsoft.com/office/powerpoint/2010/main" val="8004085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GB"/>
          </a:p>
        </p:txBody>
      </p:sp>
      <p:sp>
        <p:nvSpPr>
          <p:cNvPr id="4" name="Slide Number Placeholder 3"/>
          <p:cNvSpPr>
            <a:spLocks noGrp="1"/>
          </p:cNvSpPr>
          <p:nvPr>
            <p:ph type="sldNum" sz="quarter" idx="5"/>
          </p:nvPr>
        </p:nvSpPr>
        <p:spPr/>
        <p:txBody>
          <a:bodyPr/>
          <a:lstStyle/>
          <a:p>
            <a:fld id="{FF4F00D2-CC77-474B-94BF-FA32F9F03AEF}" type="slidenum">
              <a:rPr lang="en-GB" smtClean="0"/>
              <a:pPr/>
              <a:t>1</a:t>
            </a:fld>
            <a:endParaRPr lang="en-GB"/>
          </a:p>
        </p:txBody>
      </p:sp>
    </p:spTree>
    <p:extLst>
      <p:ext uri="{BB962C8B-B14F-4D97-AF65-F5344CB8AC3E}">
        <p14:creationId xmlns:p14="http://schemas.microsoft.com/office/powerpoint/2010/main" val="12078946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p:cNvSpPr>
            <a:spLocks noGrp="1" noRot="1" noChangeAspect="1" noTextEdit="1"/>
          </p:cNvSpPr>
          <p:nvPr>
            <p:ph type="sldImg"/>
          </p:nvPr>
        </p:nvSpPr>
        <p:spPr>
          <a:ln/>
        </p:spPr>
      </p:sp>
      <p:sp>
        <p:nvSpPr>
          <p:cNvPr id="90115"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Arial" panose="020B0604020202020204" pitchFamily="34" charset="0"/>
              </a:rPr>
              <a:t>Syntel’s Process</a:t>
            </a:r>
            <a:r>
              <a:rPr lang="en-US" altLang="en-US" baseline="0">
                <a:latin typeface="Arial" panose="020B0604020202020204" pitchFamily="34" charset="0"/>
              </a:rPr>
              <a:t> assessment framework is a scientific methodology to identify processes for automation. We leverage our Process recorder tool, to accelerate knowledge gathering and generate Business process models, Time-in-Motion and Process Maps.</a:t>
            </a:r>
          </a:p>
          <a:p>
            <a:r>
              <a:rPr lang="en-US" altLang="en-US" baseline="0">
                <a:latin typeface="Arial" panose="020B0604020202020204" pitchFamily="34" charset="0"/>
              </a:rPr>
              <a:t>Heat Map of processes clustered in waves is delivered along with implementation roadmap.  Quick wins are taken-up in the initial wave and complex processes in subsequent waves.</a:t>
            </a:r>
            <a:endParaRPr lang="en-US" altLang="en-US">
              <a:latin typeface="Arial" panose="020B0604020202020204" pitchFamily="34" charset="0"/>
            </a:endParaRPr>
          </a:p>
        </p:txBody>
      </p:sp>
      <p:sp>
        <p:nvSpPr>
          <p:cNvPr id="90116"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D6CF5904-0FFC-4D7F-AD31-67586758D5B8}"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38230805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FF4F00D2-CC77-474B-94BF-FA32F9F03AEF}" type="slidenum">
              <a:rPr lang="en-GB" smtClean="0"/>
              <a:pPr/>
              <a:t>24</a:t>
            </a:fld>
            <a:endParaRPr lang="en-GB"/>
          </a:p>
        </p:txBody>
      </p:sp>
    </p:spTree>
    <p:extLst>
      <p:ext uri="{BB962C8B-B14F-4D97-AF65-F5344CB8AC3E}">
        <p14:creationId xmlns:p14="http://schemas.microsoft.com/office/powerpoint/2010/main" val="1521901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F7694D-32EF-4188-87E0-5E6FC10BECD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36241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A44D45CE-3BCA-4EF9-88D7-807476307568}" type="slidenum">
              <a:rPr lang="en-US" smtClean="0">
                <a:solidFill>
                  <a:prstClr val="black"/>
                </a:solidFill>
                <a:latin typeface="Verdana" panose="020B0604030504040204" pitchFamily="34" charset="0"/>
              </a:rPr>
              <a:pPr>
                <a:defRPr/>
              </a:pPr>
              <a:t>27</a:t>
            </a:fld>
            <a:endParaRPr lang="en-US">
              <a:solidFill>
                <a:prstClr val="black"/>
              </a:solidFill>
              <a:latin typeface="Verdana" panose="020B0604030504040204" pitchFamily="34" charset="0"/>
            </a:endParaRPr>
          </a:p>
        </p:txBody>
      </p:sp>
    </p:spTree>
    <p:extLst>
      <p:ext uri="{BB962C8B-B14F-4D97-AF65-F5344CB8AC3E}">
        <p14:creationId xmlns:p14="http://schemas.microsoft.com/office/powerpoint/2010/main" val="1594539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706E68-84DC-43A0-AA6E-33CA7116F3E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577575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F7694D-32EF-4188-87E0-5E6FC10BECD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71109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text only">
    <p:bg bwMode="gray">
      <p:bgPr>
        <a:solidFill>
          <a:srgbClr val="0066A1"/>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4457391E-FC5F-4EB2-A8F3-8AA7AF2B150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9100" y="6316801"/>
            <a:ext cx="2180299" cy="114767"/>
          </a:xfrm>
          <a:prstGeom prst="rect">
            <a:avLst/>
          </a:prstGeom>
        </p:spPr>
      </p:pic>
      <p:sp>
        <p:nvSpPr>
          <p:cNvPr id="11" name="Title 4">
            <a:extLst>
              <a:ext uri="{FF2B5EF4-FFF2-40B4-BE49-F238E27FC236}">
                <a16:creationId xmlns:a16="http://schemas.microsoft.com/office/drawing/2014/main" id="{42A67D0E-7482-4A6A-9596-65138D4180BE}"/>
              </a:ext>
            </a:extLst>
          </p:cNvPr>
          <p:cNvSpPr>
            <a:spLocks noGrp="1"/>
          </p:cNvSpPr>
          <p:nvPr>
            <p:ph type="title" hasCustomPrompt="1"/>
          </p:nvPr>
        </p:nvSpPr>
        <p:spPr>
          <a:xfrm>
            <a:off x="460204" y="1983412"/>
            <a:ext cx="11160125" cy="2891176"/>
          </a:xfrm>
          <a:prstGeom prst="rect">
            <a:avLst/>
          </a:prstGeom>
        </p:spPr>
        <p:txBody>
          <a:bodyPr lIns="0" tIns="0" rIns="0" bIns="0" anchor="ctr">
            <a:spAutoFit/>
          </a:bodyPr>
          <a:lstStyle>
            <a:lvl1pPr>
              <a:lnSpc>
                <a:spcPts val="7500"/>
              </a:lnSpc>
              <a:defRPr sz="6400" b="0" i="0" baseline="0">
                <a:solidFill>
                  <a:schemeClr val="bg1"/>
                </a:solidFill>
                <a:latin typeface="+mj-lt"/>
                <a:ea typeface="Stag Sans Light" charset="0"/>
                <a:cs typeface="Stag Sans Light" charset="0"/>
              </a:defRPr>
            </a:lvl1pPr>
          </a:lstStyle>
          <a:p>
            <a:r>
              <a:rPr lang="en-US"/>
              <a:t>This is</a:t>
            </a:r>
            <a:br>
              <a:rPr lang="en-US"/>
            </a:br>
            <a:r>
              <a:rPr lang="en-US"/>
              <a:t>the title</a:t>
            </a:r>
            <a:br>
              <a:rPr lang="en-US"/>
            </a:br>
            <a:r>
              <a:rPr lang="en-US"/>
              <a:t>of this PPT</a:t>
            </a:r>
          </a:p>
        </p:txBody>
      </p:sp>
      <p:pic>
        <p:nvPicPr>
          <p:cNvPr id="8" name="Picture 7">
            <a:extLst>
              <a:ext uri="{FF2B5EF4-FFF2-40B4-BE49-F238E27FC236}">
                <a16:creationId xmlns:a16="http://schemas.microsoft.com/office/drawing/2014/main" id="{46D1DDEE-F65D-4A93-B22A-5C6CB8769368}"/>
              </a:ext>
            </a:extLst>
          </p:cNvPr>
          <p:cNvPicPr>
            <a:picLocks noChangeAspect="1"/>
          </p:cNvPicPr>
          <p:nvPr userDrawn="1"/>
        </p:nvPicPr>
        <p:blipFill rotWithShape="1">
          <a:blip r:embed="rId4"/>
          <a:srcRect r="59879" b="-51920"/>
          <a:stretch/>
        </p:blipFill>
        <p:spPr>
          <a:xfrm>
            <a:off x="10597879" y="6093823"/>
            <a:ext cx="1022450" cy="675490"/>
          </a:xfrm>
          <a:prstGeom prst="rect">
            <a:avLst/>
          </a:prstGeom>
        </p:spPr>
      </p:pic>
    </p:spTree>
    <p:extLst>
      <p:ext uri="{BB962C8B-B14F-4D97-AF65-F5344CB8AC3E}">
        <p14:creationId xmlns:p14="http://schemas.microsoft.com/office/powerpoint/2010/main" val="374200333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Number slide #7">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a:t>Click to add chapter title </a:t>
            </a: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968" y="2080130"/>
            <a:ext cx="12248651" cy="2697741"/>
          </a:xfrm>
          <a:prstGeom prst="rect">
            <a:avLst/>
          </a:prstGeom>
        </p:spPr>
      </p:pic>
    </p:spTree>
    <p:extLst>
      <p:ext uri="{BB962C8B-B14F-4D97-AF65-F5344CB8AC3E}">
        <p14:creationId xmlns:p14="http://schemas.microsoft.com/office/powerpoint/2010/main" val="15831762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Number slide #8">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a:t>Click to add chapter title </a:t>
            </a:r>
          </a:p>
        </p:txBody>
      </p:sp>
      <p:pic>
        <p:nvPicPr>
          <p:cNvPr id="13" name="Pictur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968" y="2046034"/>
            <a:ext cx="12248651" cy="2734060"/>
          </a:xfrm>
          <a:prstGeom prst="rect">
            <a:avLst/>
          </a:prstGeom>
        </p:spPr>
      </p:pic>
    </p:spTree>
    <p:extLst>
      <p:ext uri="{BB962C8B-B14F-4D97-AF65-F5344CB8AC3E}">
        <p14:creationId xmlns:p14="http://schemas.microsoft.com/office/powerpoint/2010/main" val="3414356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Number slide #9">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a:t>Click to add chapter title </a:t>
            </a:r>
          </a:p>
        </p:txBody>
      </p: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968" y="2046034"/>
            <a:ext cx="12248651" cy="2734060"/>
          </a:xfrm>
          <a:prstGeom prst="rect">
            <a:avLst/>
          </a:prstGeom>
        </p:spPr>
      </p:pic>
    </p:spTree>
    <p:extLst>
      <p:ext uri="{BB962C8B-B14F-4D97-AF65-F5344CB8AC3E}">
        <p14:creationId xmlns:p14="http://schemas.microsoft.com/office/powerpoint/2010/main" val="23131709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Number slide #10">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0" y="2660915"/>
            <a:ext cx="5952661" cy="1440160"/>
          </a:xfrm>
        </p:spPr>
        <p:txBody>
          <a:bodyPr anchor="t"/>
          <a:lstStyle>
            <a:lvl1pPr>
              <a:defRPr sz="4000" b="0">
                <a:solidFill>
                  <a:schemeClr val="bg1"/>
                </a:solidFill>
              </a:defRPr>
            </a:lvl1pPr>
          </a:lstStyle>
          <a:p>
            <a:r>
              <a:rPr lang="en-US"/>
              <a:t>Click to add chapter title </a:t>
            </a:r>
          </a:p>
        </p:txBody>
      </p:sp>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872" y="2047296"/>
            <a:ext cx="12272555" cy="2731537"/>
          </a:xfrm>
          <a:prstGeom prst="rect">
            <a:avLst/>
          </a:prstGeom>
        </p:spPr>
      </p:pic>
    </p:spTree>
    <p:extLst>
      <p:ext uri="{BB962C8B-B14F-4D97-AF65-F5344CB8AC3E}">
        <p14:creationId xmlns:p14="http://schemas.microsoft.com/office/powerpoint/2010/main" val="23131709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Number slide #11">
    <p:bg>
      <p:bgPr>
        <a:solidFill>
          <a:srgbClr val="0066A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096000" y="2660915"/>
            <a:ext cx="5952661" cy="1440160"/>
          </a:xfrm>
        </p:spPr>
        <p:txBody>
          <a:bodyPr anchor="t"/>
          <a:lstStyle>
            <a:lvl1pPr>
              <a:defRPr sz="4000" b="0">
                <a:solidFill>
                  <a:schemeClr val="bg1"/>
                </a:solidFill>
              </a:defRPr>
            </a:lvl1pPr>
          </a:lstStyle>
          <a:p>
            <a:r>
              <a:rPr lang="en-US"/>
              <a:t>Click to add chapter title </a:t>
            </a:r>
          </a:p>
        </p:txBody>
      </p:sp>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3029" y="2080354"/>
            <a:ext cx="12263712" cy="2697292"/>
          </a:xfrm>
          <a:prstGeom prst="rect">
            <a:avLst/>
          </a:prstGeom>
        </p:spPr>
      </p:pic>
    </p:spTree>
    <p:extLst>
      <p:ext uri="{BB962C8B-B14F-4D97-AF65-F5344CB8AC3E}">
        <p14:creationId xmlns:p14="http://schemas.microsoft.com/office/powerpoint/2010/main" val="27806259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Number slide #12">
    <p:bg>
      <p:bgPr>
        <a:solidFill>
          <a:srgbClr val="0066A1"/>
        </a:solidFill>
        <a:effectLst/>
      </p:bgPr>
    </p:bg>
    <p:spTree>
      <p:nvGrpSpPr>
        <p:cNvPr id="1" name=""/>
        <p:cNvGrpSpPr/>
        <p:nvPr/>
      </p:nvGrpSpPr>
      <p:grpSpPr>
        <a:xfrm>
          <a:off x="0" y="0"/>
          <a:ext cx="0" cy="0"/>
          <a:chOff x="0" y="0"/>
          <a:chExt cx="0" cy="0"/>
        </a:xfrm>
      </p:grpSpPr>
      <p:sp>
        <p:nvSpPr>
          <p:cNvPr id="15" name="Title 1"/>
          <p:cNvSpPr>
            <a:spLocks noGrp="1"/>
          </p:cNvSpPr>
          <p:nvPr>
            <p:ph type="title" hasCustomPrompt="1"/>
          </p:nvPr>
        </p:nvSpPr>
        <p:spPr>
          <a:xfrm>
            <a:off x="6096000" y="2660915"/>
            <a:ext cx="5952661" cy="1440160"/>
          </a:xfrm>
        </p:spPr>
        <p:txBody>
          <a:bodyPr anchor="t"/>
          <a:lstStyle>
            <a:lvl1pPr>
              <a:defRPr sz="4000" b="0">
                <a:solidFill>
                  <a:schemeClr val="bg1"/>
                </a:solidFill>
              </a:defRPr>
            </a:lvl1pPr>
          </a:lstStyle>
          <a:p>
            <a:r>
              <a:rPr lang="en-US"/>
              <a:t>Click to add chapter title </a:t>
            </a:r>
          </a:p>
        </p:txBody>
      </p:sp>
      <p:pic>
        <p:nvPicPr>
          <p:cNvPr id="17" name="Picture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968" y="2046008"/>
            <a:ext cx="12248651" cy="2734113"/>
          </a:xfrm>
          <a:prstGeom prst="rect">
            <a:avLst/>
          </a:prstGeom>
        </p:spPr>
      </p:pic>
    </p:spTree>
    <p:extLst>
      <p:ext uri="{BB962C8B-B14F-4D97-AF65-F5344CB8AC3E}">
        <p14:creationId xmlns:p14="http://schemas.microsoft.com/office/powerpoint/2010/main" val="9177908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Number slide #13">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096000" y="2660915"/>
            <a:ext cx="5952661" cy="1440160"/>
          </a:xfrm>
        </p:spPr>
        <p:txBody>
          <a:bodyPr anchor="t"/>
          <a:lstStyle>
            <a:lvl1pPr>
              <a:defRPr sz="4000" b="0">
                <a:solidFill>
                  <a:schemeClr val="bg1"/>
                </a:solidFill>
              </a:defRPr>
            </a:lvl1pPr>
          </a:lstStyle>
          <a:p>
            <a:r>
              <a:rPr lang="en-US"/>
              <a:t>Click to add chapter title </a:t>
            </a:r>
          </a:p>
        </p:txBody>
      </p:sp>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968" y="2045026"/>
            <a:ext cx="12248651" cy="2736077"/>
          </a:xfrm>
          <a:prstGeom prst="rect">
            <a:avLst/>
          </a:prstGeom>
        </p:spPr>
      </p:pic>
    </p:spTree>
    <p:extLst>
      <p:ext uri="{BB962C8B-B14F-4D97-AF65-F5344CB8AC3E}">
        <p14:creationId xmlns:p14="http://schemas.microsoft.com/office/powerpoint/2010/main" val="9177908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Number slide #14">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096000" y="2660915"/>
            <a:ext cx="5952661" cy="1440160"/>
          </a:xfrm>
        </p:spPr>
        <p:txBody>
          <a:bodyPr anchor="t"/>
          <a:lstStyle>
            <a:lvl1pPr>
              <a:defRPr sz="4000" b="0">
                <a:solidFill>
                  <a:schemeClr val="bg1"/>
                </a:solidFill>
              </a:defRPr>
            </a:lvl1pPr>
          </a:lstStyle>
          <a:p>
            <a:r>
              <a:rPr lang="en-US"/>
              <a:t>Click to add chapter title </a:t>
            </a:r>
          </a:p>
        </p:txBody>
      </p:sp>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968" y="2080130"/>
            <a:ext cx="12248651" cy="2697741"/>
          </a:xfrm>
          <a:prstGeom prst="rect">
            <a:avLst/>
          </a:prstGeom>
        </p:spPr>
      </p:pic>
    </p:spTree>
    <p:extLst>
      <p:ext uri="{BB962C8B-B14F-4D97-AF65-F5344CB8AC3E}">
        <p14:creationId xmlns:p14="http://schemas.microsoft.com/office/powerpoint/2010/main" val="9177908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Number slide #15">
    <p:bg>
      <p:bgPr>
        <a:solidFill>
          <a:srgbClr val="0066A1"/>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096000" y="2660915"/>
            <a:ext cx="5952661" cy="1440160"/>
          </a:xfrm>
        </p:spPr>
        <p:txBody>
          <a:bodyPr anchor="t"/>
          <a:lstStyle>
            <a:lvl1pPr>
              <a:defRPr sz="4000" b="0">
                <a:solidFill>
                  <a:schemeClr val="bg1"/>
                </a:solidFill>
              </a:defRPr>
            </a:lvl1pPr>
          </a:lstStyle>
          <a:p>
            <a:r>
              <a:rPr lang="en-US"/>
              <a:t>Click to add chapter title </a:t>
            </a: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968" y="2078112"/>
            <a:ext cx="12248651" cy="2701776"/>
          </a:xfrm>
          <a:prstGeom prst="rect">
            <a:avLst/>
          </a:prstGeom>
        </p:spPr>
      </p:pic>
    </p:spTree>
    <p:extLst>
      <p:ext uri="{BB962C8B-B14F-4D97-AF65-F5344CB8AC3E}">
        <p14:creationId xmlns:p14="http://schemas.microsoft.com/office/powerpoint/2010/main" val="9177908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Number slide #16">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096000" y="2660915"/>
            <a:ext cx="5952661" cy="1440160"/>
          </a:xfrm>
        </p:spPr>
        <p:txBody>
          <a:bodyPr anchor="t"/>
          <a:lstStyle>
            <a:lvl1pPr>
              <a:defRPr sz="4000" b="0">
                <a:solidFill>
                  <a:schemeClr val="bg1"/>
                </a:solidFill>
              </a:defRPr>
            </a:lvl1pPr>
          </a:lstStyle>
          <a:p>
            <a:r>
              <a:rPr lang="en-US"/>
              <a:t>Click to add chapter title </a:t>
            </a:r>
          </a:p>
        </p:txBody>
      </p:sp>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872" y="2047296"/>
            <a:ext cx="12272555" cy="2731537"/>
          </a:xfrm>
          <a:prstGeom prst="rect">
            <a:avLst/>
          </a:prstGeom>
        </p:spPr>
      </p:pic>
    </p:spTree>
    <p:extLst>
      <p:ext uri="{BB962C8B-B14F-4D97-AF65-F5344CB8AC3E}">
        <p14:creationId xmlns:p14="http://schemas.microsoft.com/office/powerpoint/2010/main" val="9177908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Number slide #1">
    <p:bg>
      <p:bgPr>
        <a:solidFill>
          <a:srgbClr val="0066A1"/>
        </a:solidFill>
        <a:effectLst/>
      </p:bgPr>
    </p:bg>
    <p:spTree>
      <p:nvGrpSpPr>
        <p:cNvPr id="1" name=""/>
        <p:cNvGrpSpPr/>
        <p:nvPr/>
      </p:nvGrpSpPr>
      <p:grpSpPr>
        <a:xfrm>
          <a:off x="0" y="0"/>
          <a:ext cx="0" cy="0"/>
          <a:chOff x="0" y="0"/>
          <a:chExt cx="0" cy="0"/>
        </a:xfrm>
      </p:grpSpPr>
      <p:pic>
        <p:nvPicPr>
          <p:cNvPr id="69" name="Picture 6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74" y="2079122"/>
            <a:ext cx="12222469" cy="2699757"/>
          </a:xfrm>
          <a:prstGeom prst="rect">
            <a:avLst/>
          </a:prstGeom>
        </p:spPr>
      </p:pic>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a:t>First chapter title</a:t>
            </a:r>
          </a:p>
        </p:txBody>
      </p:sp>
    </p:spTree>
    <p:extLst>
      <p:ext uri="{BB962C8B-B14F-4D97-AF65-F5344CB8AC3E}">
        <p14:creationId xmlns:p14="http://schemas.microsoft.com/office/powerpoint/2010/main" val="35072469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Number slide #17">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096000" y="2660915"/>
            <a:ext cx="5952661" cy="1440160"/>
          </a:xfrm>
        </p:spPr>
        <p:txBody>
          <a:bodyPr anchor="t"/>
          <a:lstStyle>
            <a:lvl1pPr>
              <a:defRPr sz="4000" b="0">
                <a:solidFill>
                  <a:schemeClr val="bg1"/>
                </a:solidFill>
              </a:defRPr>
            </a:lvl1pPr>
          </a:lstStyle>
          <a:p>
            <a:r>
              <a:rPr lang="en-US"/>
              <a:t>Click to add chapter title </a:t>
            </a:r>
          </a:p>
        </p:txBody>
      </p:sp>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872" y="2079346"/>
            <a:ext cx="12272555" cy="2699309"/>
          </a:xfrm>
          <a:prstGeom prst="rect">
            <a:avLst/>
          </a:prstGeom>
        </p:spPr>
      </p:pic>
    </p:spTree>
    <p:extLst>
      <p:ext uri="{BB962C8B-B14F-4D97-AF65-F5344CB8AC3E}">
        <p14:creationId xmlns:p14="http://schemas.microsoft.com/office/powerpoint/2010/main" val="9177908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Number slide #18">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096000" y="2660915"/>
            <a:ext cx="5952661" cy="1440160"/>
          </a:xfrm>
        </p:spPr>
        <p:txBody>
          <a:bodyPr anchor="t"/>
          <a:lstStyle>
            <a:lvl1pPr>
              <a:defRPr sz="4000" b="0">
                <a:solidFill>
                  <a:schemeClr val="bg1"/>
                </a:solidFill>
              </a:defRPr>
            </a:lvl1pPr>
          </a:lstStyle>
          <a:p>
            <a:r>
              <a:rPr lang="en-US"/>
              <a:t>Click to add chapter title </a:t>
            </a:r>
          </a:p>
        </p:txBody>
      </p:sp>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872" y="2045026"/>
            <a:ext cx="12272555" cy="2736077"/>
          </a:xfrm>
          <a:prstGeom prst="rect">
            <a:avLst/>
          </a:prstGeom>
        </p:spPr>
      </p:pic>
    </p:spTree>
    <p:extLst>
      <p:ext uri="{BB962C8B-B14F-4D97-AF65-F5344CB8AC3E}">
        <p14:creationId xmlns:p14="http://schemas.microsoft.com/office/powerpoint/2010/main" val="9177908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Number slide #19">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096000" y="2660915"/>
            <a:ext cx="5952661" cy="1440160"/>
          </a:xfrm>
        </p:spPr>
        <p:txBody>
          <a:bodyPr anchor="t"/>
          <a:lstStyle>
            <a:lvl1pPr>
              <a:defRPr sz="4000" b="0">
                <a:solidFill>
                  <a:schemeClr val="bg1"/>
                </a:solidFill>
              </a:defRPr>
            </a:lvl1pPr>
          </a:lstStyle>
          <a:p>
            <a:r>
              <a:rPr lang="en-US"/>
              <a:t>Click to add chapter title </a:t>
            </a:r>
          </a:p>
        </p:txBody>
      </p:sp>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872" y="2045253"/>
            <a:ext cx="12272555" cy="2735623"/>
          </a:xfrm>
          <a:prstGeom prst="rect">
            <a:avLst/>
          </a:prstGeom>
        </p:spPr>
      </p:pic>
    </p:spTree>
    <p:extLst>
      <p:ext uri="{BB962C8B-B14F-4D97-AF65-F5344CB8AC3E}">
        <p14:creationId xmlns:p14="http://schemas.microsoft.com/office/powerpoint/2010/main" val="91779087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Number slide #20">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672064" y="2660915"/>
            <a:ext cx="5376597" cy="1440160"/>
          </a:xfrm>
        </p:spPr>
        <p:txBody>
          <a:bodyPr anchor="t"/>
          <a:lstStyle>
            <a:lvl1pPr>
              <a:defRPr sz="4000" b="0">
                <a:solidFill>
                  <a:schemeClr val="bg1"/>
                </a:solidFill>
              </a:defRPr>
            </a:lvl1pPr>
          </a:lstStyle>
          <a:p>
            <a:r>
              <a:rPr lang="en-US"/>
              <a:t>Click to add chapter title </a:t>
            </a:r>
          </a:p>
        </p:txBody>
      </p:sp>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872" y="2067175"/>
            <a:ext cx="12272555" cy="2723651"/>
          </a:xfrm>
          <a:prstGeom prst="rect">
            <a:avLst/>
          </a:prstGeom>
        </p:spPr>
      </p:pic>
    </p:spTree>
    <p:extLst>
      <p:ext uri="{BB962C8B-B14F-4D97-AF65-F5344CB8AC3E}">
        <p14:creationId xmlns:p14="http://schemas.microsoft.com/office/powerpoint/2010/main" val="9177908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Closing Slide">
    <p:bg bwMode="gray">
      <p:bgPr>
        <a:solidFill>
          <a:srgbClr val="0066A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1E1C74D-134F-4EB2-9532-ED3805FDC89F}"/>
              </a:ext>
            </a:extLst>
          </p:cNvPr>
          <p:cNvPicPr>
            <a:picLocks noChangeAspect="1"/>
          </p:cNvPicPr>
          <p:nvPr/>
        </p:nvPicPr>
        <p:blipFill>
          <a:blip r:embed="rId2" cstate="print"/>
          <a:stretch>
            <a:fillRect/>
          </a:stretch>
        </p:blipFill>
        <p:spPr>
          <a:xfrm>
            <a:off x="0" y="0"/>
            <a:ext cx="12192000" cy="6858000"/>
          </a:xfrm>
          <a:prstGeom prst="rect">
            <a:avLst/>
          </a:prstGeom>
        </p:spPr>
      </p:pic>
      <p:sp>
        <p:nvSpPr>
          <p:cNvPr id="9" name="Title 1"/>
          <p:cNvSpPr>
            <a:spLocks noGrp="1"/>
          </p:cNvSpPr>
          <p:nvPr>
            <p:ph type="ctrTitle" hasCustomPrompt="1"/>
          </p:nvPr>
        </p:nvSpPr>
        <p:spPr>
          <a:xfrm>
            <a:off x="287705" y="1604798"/>
            <a:ext cx="9168668" cy="1470025"/>
          </a:xfrm>
          <a:prstGeom prst="rect">
            <a:avLst/>
          </a:prstGeom>
        </p:spPr>
        <p:txBody>
          <a:bodyPr anchor="b" anchorCtr="0">
            <a:noAutofit/>
          </a:bodyPr>
          <a:lstStyle>
            <a:lvl1pPr>
              <a:defRPr sz="6400" b="0" baseline="0">
                <a:solidFill>
                  <a:schemeClr val="bg1"/>
                </a:solidFill>
                <a:latin typeface="Verdana" pitchFamily="34" charset="0"/>
                <a:ea typeface="Verdana" pitchFamily="34" charset="0"/>
                <a:cs typeface="Verdana" pitchFamily="34" charset="0"/>
              </a:defRPr>
            </a:lvl1pPr>
          </a:lstStyle>
          <a:p>
            <a:r>
              <a:rPr lang="nl-NL"/>
              <a:t>Click to edit the title</a:t>
            </a:r>
          </a:p>
        </p:txBody>
      </p:sp>
      <p:sp>
        <p:nvSpPr>
          <p:cNvPr id="7" name="AddNotifier#1"/>
          <p:cNvSpPr txBox="1">
            <a:spLocks noChangeArrowheads="1"/>
          </p:cNvSpPr>
          <p:nvPr/>
        </p:nvSpPr>
        <p:spPr bwMode="auto">
          <a:xfrm>
            <a:off x="312021" y="5611000"/>
            <a:ext cx="4919884" cy="847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7" tIns="60958" rIns="121917" bIns="60958"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r>
              <a:rPr lang="en-US" sz="800" kern="1200">
                <a:solidFill>
                  <a:schemeClr val="bg1">
                    <a:lumMod val="85000"/>
                  </a:schemeClr>
                </a:solidFill>
                <a:latin typeface="Verdana" pitchFamily="34" charset="0"/>
                <a:ea typeface="Verdana" pitchFamily="34" charset="0"/>
                <a:cs typeface="Verdana" pitchFamily="34" charset="0"/>
              </a:rPr>
              <a:t>Atos, the Atos logo, Atos Syntel, and Unify are registered trademarks of the Atos group. May 2019. © 2019 Atos. Confidential information owned by Atos, to be used by the recipient only. This document, or any part of it, may not be reproduced, copied, circulated and/or distributed nor quoted without prior written approval from Atos.</a:t>
            </a:r>
            <a:endParaRPr lang="en-US" sz="800">
              <a:solidFill>
                <a:schemeClr val="bg1">
                  <a:lumMod val="85000"/>
                </a:schemeClr>
              </a:solidFill>
              <a:latin typeface="Verdana" pitchFamily="34" charset="0"/>
              <a:ea typeface="Verdana" pitchFamily="34" charset="0"/>
              <a:cs typeface="Verdana" pitchFamily="34" charset="0"/>
            </a:endParaRPr>
          </a:p>
        </p:txBody>
      </p:sp>
      <p:pic>
        <p:nvPicPr>
          <p:cNvPr id="8" name="Picture 7">
            <a:extLst>
              <a:ext uri="{FF2B5EF4-FFF2-40B4-BE49-F238E27FC236}">
                <a16:creationId xmlns:a16="http://schemas.microsoft.com/office/drawing/2014/main" id="{131CDFB5-E22B-4BE2-BBFC-513BC616D6D8}"/>
              </a:ext>
            </a:extLst>
          </p:cNvPr>
          <p:cNvPicPr>
            <a:picLocks noChangeAspect="1"/>
          </p:cNvPicPr>
          <p:nvPr userDrawn="1"/>
        </p:nvPicPr>
        <p:blipFill>
          <a:blip r:embed="rId3"/>
          <a:stretch>
            <a:fillRect/>
          </a:stretch>
        </p:blipFill>
        <p:spPr>
          <a:xfrm>
            <a:off x="9416950" y="6030111"/>
            <a:ext cx="2548399" cy="444636"/>
          </a:xfrm>
          <a:prstGeom prst="rect">
            <a:avLst/>
          </a:prstGeom>
        </p:spPr>
      </p:pic>
    </p:spTree>
    <p:extLst>
      <p:ext uri="{BB962C8B-B14F-4D97-AF65-F5344CB8AC3E}">
        <p14:creationId xmlns:p14="http://schemas.microsoft.com/office/powerpoint/2010/main" val="26292013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obj">
  <p:cSld name="Title Slid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p:nvPr>
        </p:nvSpPr>
        <p:spPr>
          <a:xfrm>
            <a:off x="447548" y="2231736"/>
            <a:ext cx="11296903" cy="170942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5" name="Holder 5">
            <a:extLst>
              <a:ext uri="{FF2B5EF4-FFF2-40B4-BE49-F238E27FC236}">
                <a16:creationId xmlns:a16="http://schemas.microsoft.com/office/drawing/2014/main" id="{2E54DD9E-CB00-4B2B-8D82-9D2A6BC21470}"/>
              </a:ext>
            </a:extLst>
          </p:cNvPr>
          <p:cNvSpPr>
            <a:spLocks noGrp="1"/>
          </p:cNvSpPr>
          <p:nvPr>
            <p:ph type="dt" sz="half" idx="6"/>
          </p:nvPr>
        </p:nvSpPr>
        <p:spPr>
          <a:xfrm>
            <a:off x="4876800" y="6365935"/>
            <a:ext cx="2804160" cy="276999"/>
          </a:xfrm>
          <a:prstGeom prst="rect">
            <a:avLst/>
          </a:prstGeom>
        </p:spPr>
        <p:txBody>
          <a:bodyPr lIns="0" tIns="0" rIns="0" bIns="0"/>
          <a:lstStyle>
            <a:lvl1pPr algn="l">
              <a:defRPr sz="1400">
                <a:solidFill>
                  <a:schemeClr val="tx1">
                    <a:tint val="75000"/>
                  </a:schemeClr>
                </a:solidFill>
              </a:defRPr>
            </a:lvl1pPr>
          </a:lstStyle>
          <a:p>
            <a:r>
              <a:rPr lang="en-US"/>
              <a:t>Commercial in Confidenc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385664" y="164637"/>
            <a:ext cx="11570208" cy="960107"/>
          </a:xfrm>
        </p:spPr>
        <p:txBody>
          <a:bodyPr/>
          <a:lstStyle>
            <a:lvl1pPr marL="0" indent="0">
              <a:buNone/>
              <a:defRPr sz="3200" b="1" baseline="0">
                <a:latin typeface="+mj-lt"/>
              </a:defRPr>
            </a:lvl1pPr>
            <a:lvl2pPr marL="0" indent="0">
              <a:buNone/>
              <a:defRPr sz="2400">
                <a:latin typeface="+mj-lt"/>
              </a:defRPr>
            </a:lvl2pPr>
          </a:lstStyle>
          <a:p>
            <a:pPr lvl="0"/>
            <a:r>
              <a:rPr lang="en-US"/>
              <a:t>Edit Master text styles</a:t>
            </a:r>
          </a:p>
          <a:p>
            <a:pPr lvl="1"/>
            <a:r>
              <a:rPr lang="en-US"/>
              <a:t>Second level</a:t>
            </a:r>
          </a:p>
        </p:txBody>
      </p:sp>
    </p:spTree>
    <p:extLst>
      <p:ext uri="{BB962C8B-B14F-4D97-AF65-F5344CB8AC3E}">
        <p14:creationId xmlns:p14="http://schemas.microsoft.com/office/powerpoint/2010/main" val="3775808128"/>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Title and Content Basic">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31211" y="1422400"/>
            <a:ext cx="11521440" cy="4650317"/>
          </a:xfrm>
          <a:prstGeom prst="rect">
            <a:avLst/>
          </a:prstGeom>
        </p:spPr>
        <p:txBody>
          <a:bodyPr lIns="0" tIns="0" rIns="0" bIns="0"/>
          <a:lstStyle/>
          <a:p>
            <a:pPr lvl="0"/>
            <a:r>
              <a:rPr lang="nl-NL"/>
              <a:t>First level</a:t>
            </a:r>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6" name="Title 5"/>
          <p:cNvSpPr>
            <a:spLocks noGrp="1"/>
          </p:cNvSpPr>
          <p:nvPr>
            <p:ph type="title" hasCustomPrompt="1"/>
          </p:nvPr>
        </p:nvSpPr>
        <p:spPr>
          <a:xfrm>
            <a:off x="435832" y="164637"/>
            <a:ext cx="11516819" cy="960107"/>
          </a:xfrm>
        </p:spPr>
        <p:txBody>
          <a:bodyPr lIns="0"/>
          <a:lstStyle>
            <a:lvl1pPr>
              <a:defRPr/>
            </a:lvl1pPr>
          </a:lstStyle>
          <a:p>
            <a:r>
              <a:rPr lang="en-US"/>
              <a:t>Click to edit the header</a:t>
            </a:r>
          </a:p>
        </p:txBody>
      </p:sp>
      <p:cxnSp>
        <p:nvCxnSpPr>
          <p:cNvPr id="5" name="Straight Connector 4"/>
          <p:cNvCxnSpPr>
            <a:cxnSpLocks/>
          </p:cNvCxnSpPr>
          <p:nvPr userDrawn="1"/>
        </p:nvCxnSpPr>
        <p:spPr>
          <a:xfrm>
            <a:off x="435832" y="6167837"/>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userDrawn="1"/>
        </p:nvCxnSpPr>
        <p:spPr>
          <a:xfrm>
            <a:off x="438946" y="1259909"/>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01386431"/>
      </p:ext>
    </p:extLst>
  </p:cSld>
  <p:clrMapOvr>
    <a:masterClrMapping/>
  </p:clrMapOvr>
  <p:hf hdr="0" ftr="0" dt="0"/>
  <p:extLst>
    <p:ext uri="{DCECCB84-F9BA-43D5-87BE-67443E8EF086}">
      <p15:sldGuideLst xmlns:p15="http://schemas.microsoft.com/office/powerpoint/2012/main">
        <p15:guide id="1" orient="horz" pos="672">
          <p15:clr>
            <a:srgbClr val="FBAE40"/>
          </p15:clr>
        </p15:guide>
        <p15:guide id="2" pos="203">
          <p15:clr>
            <a:srgbClr val="FBAE40"/>
          </p15:clr>
        </p15:guide>
        <p15:guide id="3" pos="5646">
          <p15:clr>
            <a:srgbClr val="FBAE40"/>
          </p15:clr>
        </p15:guide>
        <p15:guide id="4" orient="horz" pos="2869">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Divider 6">
    <p:bg>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8" y="2046034"/>
            <a:ext cx="12248651" cy="2734060"/>
          </a:xfrm>
          <a:prstGeom prst="rect">
            <a:avLst/>
          </a:prstGeom>
        </p:spPr>
      </p:pic>
      <p:sp>
        <p:nvSpPr>
          <p:cNvPr id="5" name="Text Placeholder 4"/>
          <p:cNvSpPr>
            <a:spLocks noGrp="1"/>
          </p:cNvSpPr>
          <p:nvPr>
            <p:ph type="body" sz="quarter" idx="10"/>
          </p:nvPr>
        </p:nvSpPr>
        <p:spPr>
          <a:xfrm>
            <a:off x="4271798" y="2247901"/>
            <a:ext cx="7695836" cy="2374900"/>
          </a:xfrm>
        </p:spPr>
        <p:txBody>
          <a:bodyPr/>
          <a:lstStyle>
            <a:lvl1pPr marL="0" indent="0">
              <a:spcBef>
                <a:spcPts val="0"/>
              </a:spcBef>
              <a:buNone/>
              <a:defRPr sz="3600" b="1" baseline="0">
                <a:solidFill>
                  <a:schemeClr val="bg1"/>
                </a:solidFill>
              </a:defRPr>
            </a:lvl1pPr>
            <a:lvl2pPr marL="0" indent="0">
              <a:spcBef>
                <a:spcPts val="0"/>
              </a:spcBef>
              <a:buNone/>
              <a:defRPr sz="3000" baseline="0">
                <a:solidFill>
                  <a:schemeClr val="bg1"/>
                </a:solidFill>
              </a:defRPr>
            </a:lvl2pPr>
          </a:lstStyle>
          <a:p>
            <a:pPr lvl="0"/>
            <a:r>
              <a:rPr lang="en-US"/>
              <a:t>Edit Master text styles</a:t>
            </a:r>
          </a:p>
          <a:p>
            <a:pPr lvl="1"/>
            <a:r>
              <a:rPr lang="en-US"/>
              <a:t>Second level</a:t>
            </a:r>
          </a:p>
        </p:txBody>
      </p:sp>
    </p:spTree>
    <p:extLst>
      <p:ext uri="{BB962C8B-B14F-4D97-AF65-F5344CB8AC3E}">
        <p14:creationId xmlns:p14="http://schemas.microsoft.com/office/powerpoint/2010/main" val="382980514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obj">
  <p:cSld name="Title Only">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6400" b="0" i="0">
                <a:solidFill>
                  <a:schemeClr val="bg1"/>
                </a:solidFill>
                <a:latin typeface="Verdana"/>
                <a:cs typeface="Verdana"/>
              </a:defRPr>
            </a:lvl1pPr>
          </a:lstStyle>
          <a:p>
            <a:endParaRPr/>
          </a:p>
        </p:txBody>
      </p:sp>
    </p:spTree>
    <p:extLst>
      <p:ext uri="{BB962C8B-B14F-4D97-AF65-F5344CB8AC3E}">
        <p14:creationId xmlns:p14="http://schemas.microsoft.com/office/powerpoint/2010/main" val="30683632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Basic">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20400" y="1534637"/>
            <a:ext cx="11664000" cy="4633200"/>
          </a:xfrm>
          <a:prstGeom prst="rect">
            <a:avLst/>
          </a:prstGeom>
        </p:spPr>
        <p:txBody>
          <a:bodyPr/>
          <a:lstStyle/>
          <a:p>
            <a:pPr lvl="0"/>
            <a:r>
              <a:rPr lang="nl-NL"/>
              <a:t>First level</a:t>
            </a:r>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6" name="Title 5"/>
          <p:cNvSpPr>
            <a:spLocks noGrp="1"/>
          </p:cNvSpPr>
          <p:nvPr>
            <p:ph type="title" hasCustomPrompt="1"/>
          </p:nvPr>
        </p:nvSpPr>
        <p:spPr>
          <a:xfrm>
            <a:off x="288651" y="164637"/>
            <a:ext cx="11664000" cy="960107"/>
          </a:xfrm>
        </p:spPr>
        <p:txBody>
          <a:bodyPr/>
          <a:lstStyle>
            <a:lvl1pPr>
              <a:defRPr/>
            </a:lvl1pPr>
          </a:lstStyle>
          <a:p>
            <a:r>
              <a:rPr lang="en-US"/>
              <a:t>Click to edit the header</a:t>
            </a:r>
          </a:p>
        </p:txBody>
      </p:sp>
      <p:cxnSp>
        <p:nvCxnSpPr>
          <p:cNvPr id="5" name="Straight Connector 4"/>
          <p:cNvCxnSpPr>
            <a:cxnSpLocks/>
          </p:cNvCxnSpPr>
          <p:nvPr/>
        </p:nvCxnSpPr>
        <p:spPr>
          <a:xfrm>
            <a:off x="435832" y="6167837"/>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a:xfrm>
            <a:off x="438946" y="1259909"/>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2" name="Straight Connector 11"/>
          <p:cNvCxnSpPr>
            <a:cxnSpLocks/>
          </p:cNvCxnSpPr>
          <p:nvPr userDrawn="1"/>
        </p:nvCxnSpPr>
        <p:spPr>
          <a:xfrm>
            <a:off x="435832" y="6167837"/>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3" name="Straight Connector 12"/>
          <p:cNvCxnSpPr>
            <a:cxnSpLocks/>
          </p:cNvCxnSpPr>
          <p:nvPr userDrawn="1"/>
        </p:nvCxnSpPr>
        <p:spPr>
          <a:xfrm>
            <a:off x="438946" y="1259909"/>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6078290"/>
      </p:ext>
    </p:extLst>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385664" y="164637"/>
            <a:ext cx="11570208" cy="963168"/>
          </a:xfrm>
        </p:spPr>
        <p:txBody>
          <a:bodyPr/>
          <a:lstStyle>
            <a:lvl1pPr marL="0" indent="0">
              <a:buNone/>
              <a:defRPr lang="en-US" sz="3200" b="1" kern="1200" baseline="0" dirty="0" smtClean="0">
                <a:solidFill>
                  <a:schemeClr val="tx1"/>
                </a:solidFill>
                <a:latin typeface="+mj-lt"/>
                <a:ea typeface="Verdana" pitchFamily="34" charset="0"/>
                <a:cs typeface="Verdana" pitchFamily="34" charset="0"/>
              </a:defRPr>
            </a:lvl1pPr>
            <a:lvl2pPr marL="0" indent="0">
              <a:buNone/>
              <a:defRPr lang="en-GB" sz="2400" kern="1200" baseline="0" dirty="0">
                <a:solidFill>
                  <a:schemeClr val="tx1"/>
                </a:solidFill>
                <a:latin typeface="+mj-lt"/>
                <a:ea typeface="Verdana" pitchFamily="34" charset="0"/>
                <a:cs typeface="Verdana" pitchFamily="34" charset="0"/>
              </a:defRPr>
            </a:lvl2pPr>
          </a:lstStyle>
          <a:p>
            <a:pPr marL="0" lvl="0" indent="0" algn="l" defTabSz="1219170" rtl="0" eaLnBrk="1" latinLnBrk="0" hangingPunct="1">
              <a:spcBef>
                <a:spcPts val="0"/>
              </a:spcBef>
              <a:spcAft>
                <a:spcPts val="400"/>
              </a:spcAft>
              <a:buClr>
                <a:schemeClr val="tx2"/>
              </a:buClr>
              <a:buFont typeface="Lucida Sans Unicode" pitchFamily="34" charset="0"/>
              <a:buNone/>
            </a:pPr>
            <a:r>
              <a:rPr lang="en-US"/>
              <a:t>Heading</a:t>
            </a:r>
          </a:p>
          <a:p>
            <a:pPr marL="0" lvl="1" indent="0" algn="l" defTabSz="1219170" rtl="0" eaLnBrk="1" latinLnBrk="0" hangingPunct="1">
              <a:spcBef>
                <a:spcPts val="0"/>
              </a:spcBef>
              <a:spcAft>
                <a:spcPts val="400"/>
              </a:spcAft>
              <a:buClr>
                <a:schemeClr val="tx2"/>
              </a:buClr>
              <a:buFont typeface="Arial" pitchFamily="34" charset="0"/>
              <a:buNone/>
            </a:pPr>
            <a:r>
              <a:rPr lang="en-US"/>
              <a:t>Sub-heading</a:t>
            </a:r>
            <a:endParaRPr lang="en-GB"/>
          </a:p>
        </p:txBody>
      </p:sp>
      <p:sp>
        <p:nvSpPr>
          <p:cNvPr id="10" name="Text Placeholder 9"/>
          <p:cNvSpPr>
            <a:spLocks noGrp="1"/>
          </p:cNvSpPr>
          <p:nvPr>
            <p:ph type="body" sz="quarter" idx="11" hasCustomPrompt="1"/>
          </p:nvPr>
        </p:nvSpPr>
        <p:spPr>
          <a:xfrm>
            <a:off x="385665" y="1454400"/>
            <a:ext cx="11570208" cy="4535424"/>
          </a:xfrm>
        </p:spPr>
        <p:txBody>
          <a:bodyPr/>
          <a:lstStyle/>
          <a:p>
            <a:pPr lvl="0"/>
            <a:r>
              <a:rPr lang="en-US"/>
              <a:t>First level</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5054958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6" name="Text Placeholder 7"/>
          <p:cNvSpPr>
            <a:spLocks noGrp="1"/>
          </p:cNvSpPr>
          <p:nvPr>
            <p:ph type="body" sz="quarter" idx="10" hasCustomPrompt="1"/>
          </p:nvPr>
        </p:nvSpPr>
        <p:spPr>
          <a:xfrm>
            <a:off x="385664" y="164637"/>
            <a:ext cx="11570208" cy="963168"/>
          </a:xfrm>
        </p:spPr>
        <p:txBody>
          <a:bodyPr/>
          <a:lstStyle>
            <a:lvl1pPr marL="0" indent="0">
              <a:buNone/>
              <a:defRPr lang="en-US" sz="2800" b="1" kern="1200" baseline="0" dirty="0" smtClean="0">
                <a:solidFill>
                  <a:schemeClr val="tx1"/>
                </a:solidFill>
                <a:latin typeface="+mj-lt"/>
                <a:ea typeface="Verdana" pitchFamily="34" charset="0"/>
                <a:cs typeface="Verdana" pitchFamily="34" charset="0"/>
              </a:defRPr>
            </a:lvl1pPr>
            <a:lvl2pPr marL="0" indent="0">
              <a:buNone/>
              <a:defRPr lang="en-GB" sz="1800" kern="1200" baseline="0" dirty="0">
                <a:solidFill>
                  <a:schemeClr val="tx1"/>
                </a:solidFill>
                <a:latin typeface="+mj-lt"/>
                <a:ea typeface="Verdana" pitchFamily="34" charset="0"/>
                <a:cs typeface="Verdana" pitchFamily="34" charset="0"/>
              </a:defRPr>
            </a:lvl2pPr>
          </a:lstStyle>
          <a:p>
            <a:pPr marL="0" lvl="0" indent="0" algn="l" defTabSz="1219170" rtl="0" eaLnBrk="1" latinLnBrk="0" hangingPunct="1">
              <a:spcBef>
                <a:spcPts val="0"/>
              </a:spcBef>
              <a:spcAft>
                <a:spcPts val="400"/>
              </a:spcAft>
              <a:buClr>
                <a:schemeClr val="tx2"/>
              </a:buClr>
              <a:buFont typeface="Lucida Sans Unicode" pitchFamily="34" charset="0"/>
              <a:buNone/>
            </a:pPr>
            <a:r>
              <a:rPr lang="en-US"/>
              <a:t>Heading</a:t>
            </a:r>
          </a:p>
          <a:p>
            <a:pPr marL="0" lvl="1" indent="0" algn="l" defTabSz="1219170" rtl="0" eaLnBrk="1" latinLnBrk="0" hangingPunct="1">
              <a:spcBef>
                <a:spcPts val="0"/>
              </a:spcBef>
              <a:spcAft>
                <a:spcPts val="400"/>
              </a:spcAft>
              <a:buClr>
                <a:schemeClr val="tx2"/>
              </a:buClr>
              <a:buFont typeface="Arial" pitchFamily="34" charset="0"/>
              <a:buNone/>
            </a:pPr>
            <a:r>
              <a:rPr lang="en-US"/>
              <a:t>Sub-heading</a:t>
            </a:r>
            <a:endParaRPr lang="en-GB"/>
          </a:p>
        </p:txBody>
      </p:sp>
    </p:spTree>
    <p:extLst>
      <p:ext uri="{BB962C8B-B14F-4D97-AF65-F5344CB8AC3E}">
        <p14:creationId xmlns:p14="http://schemas.microsoft.com/office/powerpoint/2010/main" val="28056319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7070430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5" name="Text Placeholder 3"/>
          <p:cNvSpPr>
            <a:spLocks noGrp="1"/>
          </p:cNvSpPr>
          <p:nvPr>
            <p:ph idx="1"/>
          </p:nvPr>
        </p:nvSpPr>
        <p:spPr>
          <a:xfrm>
            <a:off x="247651" y="1137424"/>
            <a:ext cx="11617248" cy="4995747"/>
          </a:xfrm>
          <a:prstGeom prst="rect">
            <a:avLst/>
          </a:prstGeom>
        </p:spPr>
        <p:txBody>
          <a:bodyPr vert="horz" lIns="91440" tIns="45720" rIns="91440" bIns="45720" rtlCol="0">
            <a:normAutofit/>
          </a:bodyPr>
          <a:lstStyle/>
          <a:p>
            <a:pPr marL="234945" lvl="0" indent="-234945" algn="l" defTabSz="914377" rtl="0" eaLnBrk="1" latinLnBrk="0" hangingPunct="1">
              <a:spcBef>
                <a:spcPct val="20000"/>
              </a:spcBef>
              <a:buClr>
                <a:schemeClr val="tx2"/>
              </a:buClr>
              <a:buFont typeface="Wingdings" pitchFamily="2" charset="2"/>
              <a:buChar char="§"/>
            </a:pPr>
            <a:r>
              <a:rPr lang="en-US"/>
              <a:t>Click to edit Master text styles</a:t>
            </a:r>
          </a:p>
          <a:p>
            <a:pPr marL="234945" lvl="1" indent="-234945" algn="l" defTabSz="914377" rtl="0" eaLnBrk="1" latinLnBrk="0" hangingPunct="1">
              <a:spcBef>
                <a:spcPct val="20000"/>
              </a:spcBef>
              <a:buClr>
                <a:schemeClr val="tx2"/>
              </a:buClr>
              <a:buFont typeface="Wingdings" pitchFamily="2" charset="2"/>
              <a:buChar char="§"/>
            </a:pPr>
            <a:r>
              <a:rPr lang="en-US"/>
              <a:t>Second level</a:t>
            </a:r>
          </a:p>
          <a:p>
            <a:pPr marL="234945" lvl="2" indent="-234945" algn="l" defTabSz="914377" rtl="0" eaLnBrk="1" latinLnBrk="0" hangingPunct="1">
              <a:spcBef>
                <a:spcPct val="20000"/>
              </a:spcBef>
              <a:buClr>
                <a:schemeClr val="tx2"/>
              </a:buClr>
              <a:buFont typeface="Wingdings" pitchFamily="2" charset="2"/>
              <a:buChar char="§"/>
            </a:pPr>
            <a:r>
              <a:rPr lang="en-US"/>
              <a:t>Third level</a:t>
            </a:r>
          </a:p>
        </p:txBody>
      </p:sp>
    </p:spTree>
    <p:extLst>
      <p:ext uri="{BB962C8B-B14F-4D97-AF65-F5344CB8AC3E}">
        <p14:creationId xmlns:p14="http://schemas.microsoft.com/office/powerpoint/2010/main" val="921008346"/>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Only 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435832" y="164637"/>
            <a:ext cx="10387584" cy="853440"/>
          </a:xfrm>
        </p:spPr>
        <p:txBody>
          <a:bodyPr lIns="0"/>
          <a:lstStyle>
            <a:lvl1pPr>
              <a:defRPr sz="2133"/>
            </a:lvl1pPr>
          </a:lstStyle>
          <a:p>
            <a:r>
              <a:rPr lang="en-US"/>
              <a:t>Click to edit the header</a:t>
            </a:r>
          </a:p>
        </p:txBody>
      </p:sp>
      <p:sp>
        <p:nvSpPr>
          <p:cNvPr id="10" name="Slide Number Placeholder 5"/>
          <p:cNvSpPr>
            <a:spLocks noGrp="1"/>
          </p:cNvSpPr>
          <p:nvPr>
            <p:ph type="sldNum" sz="quarter" idx="4"/>
          </p:nvPr>
        </p:nvSpPr>
        <p:spPr>
          <a:xfrm>
            <a:off x="5800488" y="6326136"/>
            <a:ext cx="591024" cy="288033"/>
          </a:xfrm>
          <a:prstGeom prst="rect">
            <a:avLst/>
          </a:prstGeom>
        </p:spPr>
        <p:txBody>
          <a:bodyPr vert="horz" lIns="91440" tIns="45720" rIns="91440" bIns="45720" rtlCol="0" anchor="ctr"/>
          <a:lstStyle>
            <a:lvl1pPr algn="l">
              <a:defRPr sz="1333">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a:t>
            </a:fld>
            <a:endParaRPr lang="nl-NL"/>
          </a:p>
        </p:txBody>
      </p:sp>
      <p:cxnSp>
        <p:nvCxnSpPr>
          <p:cNvPr id="5" name="Straight Connector 4"/>
          <p:cNvCxnSpPr>
            <a:cxnSpLocks/>
          </p:cNvCxnSpPr>
          <p:nvPr userDrawn="1"/>
        </p:nvCxnSpPr>
        <p:spPr>
          <a:xfrm>
            <a:off x="435832" y="6167837"/>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userDrawn="1"/>
        </p:nvCxnSpPr>
        <p:spPr>
          <a:xfrm>
            <a:off x="431371" y="1143000"/>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5624518"/>
      </p:ext>
    </p:extLst>
  </p:cSld>
  <p:clrMapOvr>
    <a:masterClrMapping/>
  </p:clrMapOvr>
  <p:extLst>
    <p:ext uri="{DCECCB84-F9BA-43D5-87BE-67443E8EF086}">
      <p15:sldGuideLst xmlns:p15="http://schemas.microsoft.com/office/powerpoint/2012/main">
        <p15:guide id="1" orient="horz" pos="672">
          <p15:clr>
            <a:srgbClr val="FBAE40"/>
          </p15:clr>
        </p15:guide>
        <p15:guide id="2" pos="203">
          <p15:clr>
            <a:srgbClr val="FBAE40"/>
          </p15:clr>
        </p15:guide>
        <p15:guide id="3" pos="5646">
          <p15:clr>
            <a:srgbClr val="FBAE40"/>
          </p15:clr>
        </p15:guide>
        <p15:guide id="4" orient="horz" pos="2869">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24E6B543-BD2D-4690-AAA0-918F01DC82DD}" type="slidenum">
              <a:rPr lang="en-US" altLang="en-US" smtClean="0"/>
              <a:pPr>
                <a:defRPr/>
              </a:pPr>
              <a:t>‹#›</a:t>
            </a:fld>
            <a:endParaRPr lang="en-US" altLang="en-US"/>
          </a:p>
        </p:txBody>
      </p:sp>
      <p:sp>
        <p:nvSpPr>
          <p:cNvPr id="7" name="Footer Placeholder 5"/>
          <p:cNvSpPr>
            <a:spLocks noGrp="1"/>
          </p:cNvSpPr>
          <p:nvPr>
            <p:ph type="ftr" sz="quarter" idx="3"/>
          </p:nvPr>
        </p:nvSpPr>
        <p:spPr>
          <a:xfrm>
            <a:off x="12700" y="6742112"/>
            <a:ext cx="3285067" cy="139700"/>
          </a:xfrm>
          <a:prstGeom prst="rect">
            <a:avLst/>
          </a:prstGeom>
        </p:spPr>
        <p:txBody>
          <a:bodyPr anchor="ctr"/>
          <a:lstStyle>
            <a:lvl1pPr>
              <a:tabLst>
                <a:tab pos="2114550" algn="r"/>
              </a:tabLst>
              <a:defRPr sz="700">
                <a:solidFill>
                  <a:schemeClr val="bg1">
                    <a:lumMod val="50000"/>
                  </a:schemeClr>
                </a:solidFill>
              </a:defRPr>
            </a:lvl1pPr>
          </a:lstStyle>
          <a:p>
            <a:pPr>
              <a:defRPr/>
            </a:pPr>
            <a:endParaRPr lang="en-US"/>
          </a:p>
        </p:txBody>
      </p:sp>
    </p:spTree>
    <p:extLst>
      <p:ext uri="{BB962C8B-B14F-4D97-AF65-F5344CB8AC3E}">
        <p14:creationId xmlns:p14="http://schemas.microsoft.com/office/powerpoint/2010/main" val="65027856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3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lvl1pPr algn="l" defTabSz="914400" rtl="0" eaLnBrk="1" latinLnBrk="0" hangingPunct="1">
              <a:spcBef>
                <a:spcPct val="0"/>
              </a:spcBef>
              <a:buNone/>
              <a:defRPr lang="en-US" sz="3200" b="1" kern="1200">
                <a:solidFill>
                  <a:schemeClr val="tx1"/>
                </a:solidFill>
                <a:latin typeface="+mj-lt"/>
                <a:ea typeface="+mj-ea"/>
                <a:cs typeface="+mj-cs"/>
              </a:defRPr>
            </a:lvl1pPr>
          </a:lstStyle>
          <a:p>
            <a:pPr lvl="0"/>
            <a:r>
              <a:rPr lang="en-US"/>
              <a:t>Click to edit Master title style</a:t>
            </a:r>
          </a:p>
        </p:txBody>
      </p:sp>
      <p:sp>
        <p:nvSpPr>
          <p:cNvPr id="3" name="Content Placeholder 2"/>
          <p:cNvSpPr>
            <a:spLocks noGrp="1"/>
          </p:cNvSpPr>
          <p:nvPr>
            <p:ph sz="half" idx="1"/>
          </p:nvPr>
        </p:nvSpPr>
        <p:spPr>
          <a:xfrm>
            <a:off x="609600" y="1070769"/>
            <a:ext cx="5384800" cy="5168107"/>
          </a:xfrm>
        </p:spPr>
        <p:txBody>
          <a:bodyPr>
            <a:normAutofit/>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070769"/>
            <a:ext cx="5384800" cy="5168107"/>
          </a:xfrm>
        </p:spPr>
        <p:txBody>
          <a:bodyPr>
            <a:normAutofit/>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a:xfrm>
            <a:off x="4673600" y="6451601"/>
            <a:ext cx="2844800" cy="365125"/>
          </a:xfrm>
          <a:prstGeom prst="rect">
            <a:avLst/>
          </a:prstGeom>
        </p:spPr>
        <p:txBody>
          <a:bodyPr/>
          <a:lstStyle/>
          <a:p>
            <a:pPr>
              <a:defRPr/>
            </a:pPr>
            <a:fld id="{908E1A4F-7BC7-448B-92D2-568A545A142D}" type="slidenum">
              <a:rPr lang="en-US" altLang="en-US" smtClean="0">
                <a:solidFill>
                  <a:srgbClr val="1F9189">
                    <a:lumMod val="75000"/>
                  </a:srgbClr>
                </a:solidFill>
              </a:rPr>
              <a:pPr>
                <a:defRPr/>
              </a:pPr>
              <a:t>‹#›</a:t>
            </a:fld>
            <a:endParaRPr lang="en-US" altLang="en-US">
              <a:solidFill>
                <a:srgbClr val="1F9189">
                  <a:lumMod val="75000"/>
                </a:srgbClr>
              </a:solidFill>
            </a:endParaRPr>
          </a:p>
        </p:txBody>
      </p:sp>
      <p:sp>
        <p:nvSpPr>
          <p:cNvPr id="12" name="Footer Placeholder 5"/>
          <p:cNvSpPr>
            <a:spLocks noGrp="1"/>
          </p:cNvSpPr>
          <p:nvPr>
            <p:ph type="ftr" sz="quarter" idx="3"/>
          </p:nvPr>
        </p:nvSpPr>
        <p:spPr>
          <a:xfrm>
            <a:off x="12700" y="6742112"/>
            <a:ext cx="3285067" cy="139700"/>
          </a:xfrm>
          <a:prstGeom prst="rect">
            <a:avLst/>
          </a:prstGeom>
        </p:spPr>
        <p:txBody>
          <a:bodyPr anchor="ctr"/>
          <a:lstStyle>
            <a:lvl1pPr>
              <a:tabLst>
                <a:tab pos="2114550" algn="r"/>
              </a:tabLst>
              <a:defRPr sz="700">
                <a:solidFill>
                  <a:schemeClr val="bg1">
                    <a:lumMod val="50000"/>
                  </a:schemeClr>
                </a:solidFill>
              </a:defRPr>
            </a:lvl1pPr>
          </a:lstStyle>
          <a:p>
            <a:pPr>
              <a:defRPr/>
            </a:pPr>
            <a:endParaRPr lang="en-US">
              <a:solidFill>
                <a:srgbClr val="FFFFFF">
                  <a:lumMod val="50000"/>
                </a:srgbClr>
              </a:solidFill>
            </a:endParaRPr>
          </a:p>
        </p:txBody>
      </p:sp>
    </p:spTree>
    <p:extLst>
      <p:ext uri="{BB962C8B-B14F-4D97-AF65-F5344CB8AC3E}">
        <p14:creationId xmlns:p14="http://schemas.microsoft.com/office/powerpoint/2010/main" val="379946708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lvl1pPr algn="l" defTabSz="914400" rtl="0" eaLnBrk="1" latinLnBrk="0" hangingPunct="1">
              <a:spcBef>
                <a:spcPct val="0"/>
              </a:spcBef>
              <a:buNone/>
              <a:defRPr lang="en-US" sz="2400" b="1" kern="1200">
                <a:solidFill>
                  <a:schemeClr val="tx1"/>
                </a:solidFill>
                <a:latin typeface="+mj-lt"/>
                <a:ea typeface="+mj-ea"/>
                <a:cs typeface="+mj-cs"/>
              </a:defRPr>
            </a:lvl1pPr>
          </a:lstStyle>
          <a:p>
            <a:pPr lvl="0"/>
            <a:r>
              <a:rPr lang="en-US"/>
              <a:t>Click to edit Master title style</a:t>
            </a:r>
          </a:p>
        </p:txBody>
      </p:sp>
    </p:spTree>
    <p:extLst>
      <p:ext uri="{BB962C8B-B14F-4D97-AF65-F5344CB8AC3E}">
        <p14:creationId xmlns:p14="http://schemas.microsoft.com/office/powerpoint/2010/main" val="345818230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Title">
    <p:spTree>
      <p:nvGrpSpPr>
        <p:cNvPr id="1" name=""/>
        <p:cNvGrpSpPr/>
        <p:nvPr/>
      </p:nvGrpSpPr>
      <p:grpSpPr>
        <a:xfrm>
          <a:off x="0" y="0"/>
          <a:ext cx="0" cy="0"/>
          <a:chOff x="0" y="0"/>
          <a:chExt cx="0" cy="0"/>
        </a:xfrm>
      </p:grpSpPr>
      <p:pic>
        <p:nvPicPr>
          <p:cNvPr id="3" name="Picture 2" descr="Logo, company name&#10;&#10;Description automatically generated">
            <a:extLst>
              <a:ext uri="{FF2B5EF4-FFF2-40B4-BE49-F238E27FC236}">
                <a16:creationId xmlns:a16="http://schemas.microsoft.com/office/drawing/2014/main" id="{E12B68CA-5535-49D1-8E3F-4B53EFEE148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6299200" y="515815"/>
            <a:ext cx="5429595" cy="5428135"/>
          </a:xfrm>
          <a:prstGeom prst="rect">
            <a:avLst/>
          </a:prstGeom>
        </p:spPr>
      </p:pic>
      <p:sp>
        <p:nvSpPr>
          <p:cNvPr id="4" name="Text Placeholder 3">
            <a:extLst>
              <a:ext uri="{FF2B5EF4-FFF2-40B4-BE49-F238E27FC236}">
                <a16:creationId xmlns:a16="http://schemas.microsoft.com/office/drawing/2014/main" id="{4C62829B-E2C5-44BC-B862-8528BA6E42EB}"/>
              </a:ext>
            </a:extLst>
          </p:cNvPr>
          <p:cNvSpPr>
            <a:spLocks noGrp="1"/>
          </p:cNvSpPr>
          <p:nvPr>
            <p:ph type="body" sz="quarter" idx="11" hasCustomPrompt="1"/>
          </p:nvPr>
        </p:nvSpPr>
        <p:spPr bwMode="gray">
          <a:xfrm>
            <a:off x="425035" y="1701800"/>
            <a:ext cx="6229765" cy="2272323"/>
          </a:xfrm>
        </p:spPr>
        <p:txBody>
          <a:bodyPr lIns="0" tIns="0" rIns="0" bIns="0" anchor="ctr">
            <a:noAutofit/>
          </a:bodyPr>
          <a:lstStyle>
            <a:lvl1pPr marL="0" indent="0">
              <a:spcAft>
                <a:spcPts val="133"/>
              </a:spcAft>
              <a:buNone/>
              <a:defRPr sz="4267">
                <a:latin typeface="Raleway SemiBold" pitchFamily="2" charset="0"/>
              </a:defRPr>
            </a:lvl1pPr>
            <a:lvl2pPr marL="0" indent="0">
              <a:spcAft>
                <a:spcPts val="133"/>
              </a:spcAft>
              <a:buNone/>
              <a:defRPr sz="3200">
                <a:solidFill>
                  <a:schemeClr val="accent1"/>
                </a:solidFill>
                <a:latin typeface="Raleway SemiBold" pitchFamily="2" charset="0"/>
              </a:defRPr>
            </a:lvl2pPr>
          </a:lstStyle>
          <a:p>
            <a:pPr lvl="0"/>
            <a:r>
              <a:rPr lang="en-US"/>
              <a:t>Title in </a:t>
            </a:r>
            <a:r>
              <a:rPr lang="en-US" err="1"/>
              <a:t>Raleway</a:t>
            </a:r>
            <a:br>
              <a:rPr lang="en-US"/>
            </a:br>
            <a:r>
              <a:rPr lang="en-US" err="1"/>
              <a:t>SemiBold</a:t>
            </a:r>
            <a:r>
              <a:rPr lang="en-US"/>
              <a:t> 32pt</a:t>
            </a:r>
          </a:p>
          <a:p>
            <a:pPr lvl="1"/>
            <a:r>
              <a:rPr lang="en-US"/>
              <a:t>Subtitle in </a:t>
            </a:r>
            <a:r>
              <a:rPr lang="en-US" err="1"/>
              <a:t>Raleway</a:t>
            </a:r>
            <a:r>
              <a:rPr lang="en-US"/>
              <a:t> </a:t>
            </a:r>
            <a:br>
              <a:rPr lang="en-US"/>
            </a:br>
            <a:r>
              <a:rPr lang="en-US" err="1"/>
              <a:t>SemiBold</a:t>
            </a:r>
            <a:r>
              <a:rPr lang="en-US"/>
              <a:t> 24pt</a:t>
            </a:r>
          </a:p>
        </p:txBody>
      </p:sp>
      <p:sp>
        <p:nvSpPr>
          <p:cNvPr id="17" name="Text Placeholder 16">
            <a:extLst>
              <a:ext uri="{FF2B5EF4-FFF2-40B4-BE49-F238E27FC236}">
                <a16:creationId xmlns:a16="http://schemas.microsoft.com/office/drawing/2014/main" id="{B8AE34A7-F4A5-49F5-86B2-EC41ED39E6FE}"/>
              </a:ext>
            </a:extLst>
          </p:cNvPr>
          <p:cNvSpPr>
            <a:spLocks noGrp="1"/>
          </p:cNvSpPr>
          <p:nvPr>
            <p:ph type="body" sz="quarter" idx="12" hasCustomPrompt="1"/>
          </p:nvPr>
        </p:nvSpPr>
        <p:spPr bwMode="gray">
          <a:xfrm>
            <a:off x="425035" y="4911969"/>
            <a:ext cx="4269124" cy="738664"/>
          </a:xfrm>
        </p:spPr>
        <p:txBody>
          <a:bodyPr wrap="none" lIns="0" tIns="0" rIns="0" bIns="0">
            <a:noAutofit/>
          </a:bodyPr>
          <a:lstStyle>
            <a:lvl1pPr marL="0" indent="0" algn="l" defTabSz="1219170" rtl="0" eaLnBrk="1" latinLnBrk="0" hangingPunct="1">
              <a:spcBef>
                <a:spcPts val="0"/>
              </a:spcBef>
              <a:spcAft>
                <a:spcPts val="0"/>
              </a:spcAft>
              <a:buClr>
                <a:srgbClr val="0588E8"/>
              </a:buClr>
              <a:buSzPct val="85000"/>
              <a:buFont typeface="Lucida Sans Unicode" pitchFamily="34" charset="0"/>
              <a:buNone/>
              <a:defRPr lang="en-US" sz="1600" kern="1200" baseline="0" dirty="0" smtClean="0">
                <a:solidFill>
                  <a:schemeClr val="tx1"/>
                </a:solidFill>
                <a:latin typeface="Raleway Medium" pitchFamily="2" charset="0"/>
                <a:ea typeface="Verdana" pitchFamily="34" charset="0"/>
                <a:cs typeface="Raleway Medium" pitchFamily="2" charset="0"/>
              </a:defRPr>
            </a:lvl1pPr>
            <a:lvl2pPr marL="0" indent="0" algn="l" defTabSz="1219170" rtl="0" eaLnBrk="1" latinLnBrk="0" hangingPunct="1">
              <a:spcBef>
                <a:spcPts val="0"/>
              </a:spcBef>
              <a:spcAft>
                <a:spcPts val="0"/>
              </a:spcAft>
              <a:buClr>
                <a:srgbClr val="0588E8"/>
              </a:buClr>
              <a:buSzPct val="85000"/>
              <a:buFont typeface="Lucida Sans Unicode" pitchFamily="34" charset="0"/>
              <a:buNone/>
              <a:defRPr lang="en-US" sz="1600" kern="1200" baseline="0" dirty="0" smtClean="0">
                <a:solidFill>
                  <a:schemeClr val="tx1"/>
                </a:solidFill>
                <a:latin typeface="Raleway Medium" pitchFamily="2" charset="0"/>
                <a:ea typeface="Verdana" pitchFamily="34" charset="0"/>
                <a:cs typeface="Raleway Medium" pitchFamily="2" charset="0"/>
              </a:defRPr>
            </a:lvl2pPr>
            <a:lvl3pPr marL="0" indent="0" algn="l" defTabSz="1219170" rtl="0" eaLnBrk="1" latinLnBrk="0" hangingPunct="1">
              <a:spcBef>
                <a:spcPts val="0"/>
              </a:spcBef>
              <a:spcAft>
                <a:spcPts val="0"/>
              </a:spcAft>
              <a:buClr>
                <a:srgbClr val="0588E8"/>
              </a:buClr>
              <a:buSzPct val="85000"/>
              <a:buFont typeface="Lucida Sans Unicode" pitchFamily="34" charset="0"/>
              <a:buNone/>
              <a:defRPr lang="en-US" sz="1600" kern="1200" baseline="0" dirty="0" smtClean="0">
                <a:solidFill>
                  <a:srgbClr val="808080"/>
                </a:solidFill>
                <a:latin typeface="Raleway Light" pitchFamily="2" charset="0"/>
                <a:ea typeface="Verdana" pitchFamily="34" charset="0"/>
                <a:cs typeface="Verdana" pitchFamily="34" charset="0"/>
              </a:defRPr>
            </a:lvl3pPr>
          </a:lstStyle>
          <a:p>
            <a:pPr lvl="0"/>
            <a:r>
              <a:rPr lang="en-US"/>
              <a:t>Presenter Name</a:t>
            </a:r>
          </a:p>
          <a:p>
            <a:pPr lvl="1"/>
            <a:r>
              <a:rPr lang="en-US"/>
              <a:t>Job Title</a:t>
            </a:r>
          </a:p>
          <a:p>
            <a:pPr lvl="1"/>
            <a:r>
              <a:rPr lang="en-US"/>
              <a:t>dd/mm/</a:t>
            </a:r>
            <a:r>
              <a:rPr lang="en-US" err="1"/>
              <a:t>yyyy</a:t>
            </a:r>
            <a:endParaRPr lang="en-US"/>
          </a:p>
        </p:txBody>
      </p:sp>
      <p:sp>
        <p:nvSpPr>
          <p:cNvPr id="10" name="AddClassification">
            <a:extLst>
              <a:ext uri="{FF2B5EF4-FFF2-40B4-BE49-F238E27FC236}">
                <a16:creationId xmlns:a16="http://schemas.microsoft.com/office/drawing/2014/main" id="{1C5ED923-D00B-4B32-A761-EACBE27AA8F2}"/>
              </a:ext>
            </a:extLst>
          </p:cNvPr>
          <p:cNvSpPr txBox="1">
            <a:spLocks noChangeArrowheads="1"/>
          </p:cNvSpPr>
          <p:nvPr/>
        </p:nvSpPr>
        <p:spPr bwMode="gray">
          <a:xfrm>
            <a:off x="5904440" y="6402892"/>
            <a:ext cx="383117" cy="143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a:r>
              <a:rPr lang="en-US" sz="933" b="0" baseline="0">
                <a:solidFill>
                  <a:schemeClr val="tx1"/>
                </a:solidFill>
                <a:latin typeface="Raleway Medium" pitchFamily="2" charset="0"/>
                <a:ea typeface="Verdana" pitchFamily="34" charset="0"/>
                <a:cs typeface="Verdana" pitchFamily="34" charset="0"/>
              </a:rPr>
              <a:t>© Atos</a:t>
            </a:r>
          </a:p>
        </p:txBody>
      </p:sp>
      <p:pic>
        <p:nvPicPr>
          <p:cNvPr id="7" name="Picture 6">
            <a:extLst>
              <a:ext uri="{FF2B5EF4-FFF2-40B4-BE49-F238E27FC236}">
                <a16:creationId xmlns:a16="http://schemas.microsoft.com/office/drawing/2014/main" id="{AA2F9011-CB78-4B44-9181-AD7ECBE4002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10176735" y="6033717"/>
            <a:ext cx="1585424" cy="519487"/>
          </a:xfrm>
          <a:prstGeom prst="rect">
            <a:avLst/>
          </a:prstGeom>
        </p:spPr>
      </p:pic>
    </p:spTree>
    <p:extLst>
      <p:ext uri="{BB962C8B-B14F-4D97-AF65-F5344CB8AC3E}">
        <p14:creationId xmlns:p14="http://schemas.microsoft.com/office/powerpoint/2010/main" val="518332353"/>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Overvie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E58500-CE5F-4F59-96C2-296CFAC09E48}"/>
              </a:ext>
            </a:extLst>
          </p:cNvPr>
          <p:cNvSpPr>
            <a:spLocks noGrp="1"/>
          </p:cNvSpPr>
          <p:nvPr>
            <p:ph type="title" hasCustomPrompt="1"/>
          </p:nvPr>
        </p:nvSpPr>
        <p:spPr bwMode="gray">
          <a:xfrm>
            <a:off x="303548" y="164637"/>
            <a:ext cx="11436096" cy="756000"/>
          </a:xfrm>
        </p:spPr>
        <p:txBody>
          <a:bodyPr/>
          <a:lstStyle>
            <a:lvl1pPr>
              <a:defRPr/>
            </a:lvl1pPr>
          </a:lstStyle>
          <a:p>
            <a:r>
              <a:rPr lang="en-US"/>
              <a:t>Content Overview</a:t>
            </a:r>
          </a:p>
        </p:txBody>
      </p:sp>
      <p:sp>
        <p:nvSpPr>
          <p:cNvPr id="7" name="Text Placeholder 6">
            <a:extLst>
              <a:ext uri="{FF2B5EF4-FFF2-40B4-BE49-F238E27FC236}">
                <a16:creationId xmlns:a16="http://schemas.microsoft.com/office/drawing/2014/main" id="{C942F813-D13D-4898-A2BE-1B872D7D58BC}"/>
              </a:ext>
            </a:extLst>
          </p:cNvPr>
          <p:cNvSpPr>
            <a:spLocks noGrp="1"/>
          </p:cNvSpPr>
          <p:nvPr>
            <p:ph type="body" sz="quarter" idx="10" hasCustomPrompt="1"/>
          </p:nvPr>
        </p:nvSpPr>
        <p:spPr bwMode="gray">
          <a:xfrm>
            <a:off x="1320799" y="1443182"/>
            <a:ext cx="4511040" cy="733908"/>
          </a:xfrm>
        </p:spPr>
        <p:txBody>
          <a:bodyPr lIns="0" tIns="0" rIns="0" bIns="0"/>
          <a:lstStyle>
            <a:lvl1pPr marL="0" indent="0">
              <a:buNone/>
              <a:defRPr sz="2667">
                <a:latin typeface="+mn-lt"/>
              </a:defRPr>
            </a:lvl1pPr>
          </a:lstStyle>
          <a:p>
            <a:pPr lvl="0"/>
            <a:r>
              <a:rPr lang="en-US"/>
              <a:t>Chapter Title</a:t>
            </a:r>
          </a:p>
        </p:txBody>
      </p:sp>
      <p:sp>
        <p:nvSpPr>
          <p:cNvPr id="8" name="Text Placeholder 6">
            <a:extLst>
              <a:ext uri="{FF2B5EF4-FFF2-40B4-BE49-F238E27FC236}">
                <a16:creationId xmlns:a16="http://schemas.microsoft.com/office/drawing/2014/main" id="{347FEC1B-68F0-49E3-8BE9-A03AAC0A6241}"/>
              </a:ext>
            </a:extLst>
          </p:cNvPr>
          <p:cNvSpPr>
            <a:spLocks noGrp="1"/>
          </p:cNvSpPr>
          <p:nvPr>
            <p:ph type="body" sz="quarter" idx="11" hasCustomPrompt="1"/>
          </p:nvPr>
        </p:nvSpPr>
        <p:spPr bwMode="gray">
          <a:xfrm>
            <a:off x="1320799" y="2740891"/>
            <a:ext cx="4511040" cy="733908"/>
          </a:xfrm>
        </p:spPr>
        <p:txBody>
          <a:bodyPr lIns="0" tIns="0" rIns="0" bIns="0"/>
          <a:lstStyle>
            <a:lvl1pPr marL="0" indent="0">
              <a:buNone/>
              <a:defRPr sz="2667">
                <a:latin typeface="+mn-lt"/>
              </a:defRPr>
            </a:lvl1pPr>
          </a:lstStyle>
          <a:p>
            <a:pPr lvl="0"/>
            <a:r>
              <a:rPr lang="en-US"/>
              <a:t>Chapter Title</a:t>
            </a:r>
          </a:p>
        </p:txBody>
      </p:sp>
      <p:sp>
        <p:nvSpPr>
          <p:cNvPr id="9" name="Text Placeholder 6">
            <a:extLst>
              <a:ext uri="{FF2B5EF4-FFF2-40B4-BE49-F238E27FC236}">
                <a16:creationId xmlns:a16="http://schemas.microsoft.com/office/drawing/2014/main" id="{3549CB22-2806-43E4-9527-5624BCB6EC71}"/>
              </a:ext>
            </a:extLst>
          </p:cNvPr>
          <p:cNvSpPr>
            <a:spLocks noGrp="1"/>
          </p:cNvSpPr>
          <p:nvPr>
            <p:ph type="body" sz="quarter" idx="12" hasCustomPrompt="1"/>
          </p:nvPr>
        </p:nvSpPr>
        <p:spPr bwMode="gray">
          <a:xfrm>
            <a:off x="1320799" y="4038601"/>
            <a:ext cx="4511040" cy="733908"/>
          </a:xfrm>
        </p:spPr>
        <p:txBody>
          <a:bodyPr lIns="0" tIns="0" rIns="0" bIns="0"/>
          <a:lstStyle>
            <a:lvl1pPr marL="0" indent="0">
              <a:buNone/>
              <a:defRPr sz="2667">
                <a:latin typeface="+mn-lt"/>
              </a:defRPr>
            </a:lvl1pPr>
          </a:lstStyle>
          <a:p>
            <a:pPr lvl="0"/>
            <a:r>
              <a:rPr lang="en-US"/>
              <a:t>Chapter Title</a:t>
            </a:r>
          </a:p>
        </p:txBody>
      </p:sp>
      <p:sp>
        <p:nvSpPr>
          <p:cNvPr id="10" name="Text Placeholder 6">
            <a:extLst>
              <a:ext uri="{FF2B5EF4-FFF2-40B4-BE49-F238E27FC236}">
                <a16:creationId xmlns:a16="http://schemas.microsoft.com/office/drawing/2014/main" id="{69F854CC-480E-4C43-A264-6534CA2A6540}"/>
              </a:ext>
            </a:extLst>
          </p:cNvPr>
          <p:cNvSpPr>
            <a:spLocks noGrp="1"/>
          </p:cNvSpPr>
          <p:nvPr>
            <p:ph type="body" sz="quarter" idx="13" hasCustomPrompt="1"/>
          </p:nvPr>
        </p:nvSpPr>
        <p:spPr bwMode="gray">
          <a:xfrm>
            <a:off x="7228604" y="1443182"/>
            <a:ext cx="4511040" cy="733908"/>
          </a:xfrm>
        </p:spPr>
        <p:txBody>
          <a:bodyPr lIns="0" tIns="0" rIns="0" bIns="0"/>
          <a:lstStyle>
            <a:lvl1pPr marL="0" indent="0">
              <a:buNone/>
              <a:defRPr sz="2667">
                <a:latin typeface="+mn-lt"/>
              </a:defRPr>
            </a:lvl1pPr>
          </a:lstStyle>
          <a:p>
            <a:pPr lvl="0"/>
            <a:r>
              <a:rPr lang="en-US"/>
              <a:t>Chapter Title</a:t>
            </a:r>
          </a:p>
        </p:txBody>
      </p:sp>
      <p:sp>
        <p:nvSpPr>
          <p:cNvPr id="11" name="Text Placeholder 6">
            <a:extLst>
              <a:ext uri="{FF2B5EF4-FFF2-40B4-BE49-F238E27FC236}">
                <a16:creationId xmlns:a16="http://schemas.microsoft.com/office/drawing/2014/main" id="{14CAF380-1CE0-47D8-BF63-BD2BE8A6EF7E}"/>
              </a:ext>
            </a:extLst>
          </p:cNvPr>
          <p:cNvSpPr>
            <a:spLocks noGrp="1"/>
          </p:cNvSpPr>
          <p:nvPr>
            <p:ph type="body" sz="quarter" idx="14" hasCustomPrompt="1"/>
          </p:nvPr>
        </p:nvSpPr>
        <p:spPr bwMode="gray">
          <a:xfrm>
            <a:off x="7228604" y="2740891"/>
            <a:ext cx="4511040" cy="733908"/>
          </a:xfrm>
        </p:spPr>
        <p:txBody>
          <a:bodyPr lIns="0" tIns="0" rIns="0" bIns="0"/>
          <a:lstStyle>
            <a:lvl1pPr marL="0" indent="0">
              <a:buNone/>
              <a:defRPr sz="2667">
                <a:latin typeface="+mn-lt"/>
              </a:defRPr>
            </a:lvl1pPr>
          </a:lstStyle>
          <a:p>
            <a:pPr lvl="0"/>
            <a:r>
              <a:rPr lang="en-US"/>
              <a:t>Chapter Title</a:t>
            </a:r>
          </a:p>
        </p:txBody>
      </p:sp>
      <p:sp>
        <p:nvSpPr>
          <p:cNvPr id="12" name="Text Placeholder 6">
            <a:extLst>
              <a:ext uri="{FF2B5EF4-FFF2-40B4-BE49-F238E27FC236}">
                <a16:creationId xmlns:a16="http://schemas.microsoft.com/office/drawing/2014/main" id="{3F07D1BF-42AE-4960-AA19-EA8FF7BF0DB6}"/>
              </a:ext>
            </a:extLst>
          </p:cNvPr>
          <p:cNvSpPr>
            <a:spLocks noGrp="1"/>
          </p:cNvSpPr>
          <p:nvPr>
            <p:ph type="body" sz="quarter" idx="15" hasCustomPrompt="1"/>
          </p:nvPr>
        </p:nvSpPr>
        <p:spPr bwMode="gray">
          <a:xfrm>
            <a:off x="7228604" y="4038601"/>
            <a:ext cx="4511040" cy="733908"/>
          </a:xfrm>
        </p:spPr>
        <p:txBody>
          <a:bodyPr lIns="0" tIns="0" rIns="0" bIns="0"/>
          <a:lstStyle>
            <a:lvl1pPr marL="0" indent="0">
              <a:buNone/>
              <a:defRPr sz="2667">
                <a:latin typeface="+mn-lt"/>
              </a:defRPr>
            </a:lvl1pPr>
          </a:lstStyle>
          <a:p>
            <a:pPr lvl="0"/>
            <a:r>
              <a:rPr lang="en-US"/>
              <a:t>Chapter Title</a:t>
            </a:r>
          </a:p>
        </p:txBody>
      </p:sp>
      <p:sp>
        <p:nvSpPr>
          <p:cNvPr id="13" name="Text Placeholder 6">
            <a:extLst>
              <a:ext uri="{FF2B5EF4-FFF2-40B4-BE49-F238E27FC236}">
                <a16:creationId xmlns:a16="http://schemas.microsoft.com/office/drawing/2014/main" id="{AD83F0B5-8532-42AC-9FDE-DA41889DF0A4}"/>
              </a:ext>
            </a:extLst>
          </p:cNvPr>
          <p:cNvSpPr>
            <a:spLocks noGrp="1"/>
          </p:cNvSpPr>
          <p:nvPr>
            <p:ph type="body" sz="quarter" idx="16" hasCustomPrompt="1"/>
          </p:nvPr>
        </p:nvSpPr>
        <p:spPr bwMode="gray">
          <a:xfrm>
            <a:off x="435576" y="1443182"/>
            <a:ext cx="442429" cy="410369"/>
          </a:xfrm>
        </p:spPr>
        <p:txBody>
          <a:bodyPr wrap="none" lIns="0" tIns="0" rIns="0" bIns="0">
            <a:spAutoFit/>
          </a:bodyPr>
          <a:lstStyle>
            <a:lvl1pPr marL="0" indent="0">
              <a:buNone/>
              <a:defRPr sz="2667">
                <a:solidFill>
                  <a:schemeClr val="accent1"/>
                </a:solidFill>
                <a:latin typeface="+mj-lt"/>
              </a:defRPr>
            </a:lvl1pPr>
          </a:lstStyle>
          <a:p>
            <a:pPr lvl="0"/>
            <a:r>
              <a:rPr lang="en-US"/>
              <a:t>01.</a:t>
            </a:r>
          </a:p>
        </p:txBody>
      </p:sp>
      <p:sp>
        <p:nvSpPr>
          <p:cNvPr id="14" name="Text Placeholder 6">
            <a:extLst>
              <a:ext uri="{FF2B5EF4-FFF2-40B4-BE49-F238E27FC236}">
                <a16:creationId xmlns:a16="http://schemas.microsoft.com/office/drawing/2014/main" id="{506973D8-023E-4304-AF2C-5E14B5E74DBC}"/>
              </a:ext>
            </a:extLst>
          </p:cNvPr>
          <p:cNvSpPr>
            <a:spLocks noGrp="1"/>
          </p:cNvSpPr>
          <p:nvPr>
            <p:ph type="body" sz="quarter" idx="17" hasCustomPrompt="1"/>
          </p:nvPr>
        </p:nvSpPr>
        <p:spPr bwMode="gray">
          <a:xfrm>
            <a:off x="435577" y="2740892"/>
            <a:ext cx="470215" cy="410369"/>
          </a:xfrm>
        </p:spPr>
        <p:txBody>
          <a:bodyPr wrap="none" lIns="0" tIns="0" rIns="0" bIns="0">
            <a:spAutoFit/>
          </a:bodyPr>
          <a:lstStyle>
            <a:lvl1pPr marL="0" indent="0">
              <a:buNone/>
              <a:defRPr sz="2667">
                <a:solidFill>
                  <a:schemeClr val="accent1"/>
                </a:solidFill>
                <a:latin typeface="+mj-lt"/>
              </a:defRPr>
            </a:lvl1pPr>
          </a:lstStyle>
          <a:p>
            <a:pPr lvl="0"/>
            <a:r>
              <a:rPr lang="en-US"/>
              <a:t>02.</a:t>
            </a:r>
          </a:p>
        </p:txBody>
      </p:sp>
      <p:sp>
        <p:nvSpPr>
          <p:cNvPr id="15" name="Text Placeholder 6">
            <a:extLst>
              <a:ext uri="{FF2B5EF4-FFF2-40B4-BE49-F238E27FC236}">
                <a16:creationId xmlns:a16="http://schemas.microsoft.com/office/drawing/2014/main" id="{4A27ABC0-C61F-4F54-B518-CCA6BBA22BB5}"/>
              </a:ext>
            </a:extLst>
          </p:cNvPr>
          <p:cNvSpPr>
            <a:spLocks noGrp="1"/>
          </p:cNvSpPr>
          <p:nvPr>
            <p:ph type="body" sz="quarter" idx="18" hasCustomPrompt="1"/>
          </p:nvPr>
        </p:nvSpPr>
        <p:spPr bwMode="gray">
          <a:xfrm>
            <a:off x="435577" y="4038601"/>
            <a:ext cx="470215" cy="410369"/>
          </a:xfrm>
        </p:spPr>
        <p:txBody>
          <a:bodyPr wrap="none" lIns="0" tIns="0" rIns="0" bIns="0">
            <a:spAutoFit/>
          </a:bodyPr>
          <a:lstStyle>
            <a:lvl1pPr marL="0" indent="0">
              <a:buNone/>
              <a:defRPr sz="2667">
                <a:solidFill>
                  <a:schemeClr val="accent1"/>
                </a:solidFill>
                <a:latin typeface="+mj-lt"/>
              </a:defRPr>
            </a:lvl1pPr>
          </a:lstStyle>
          <a:p>
            <a:pPr lvl="0"/>
            <a:r>
              <a:rPr lang="en-US"/>
              <a:t>03.</a:t>
            </a:r>
          </a:p>
        </p:txBody>
      </p:sp>
      <p:sp>
        <p:nvSpPr>
          <p:cNvPr id="16" name="Text Placeholder 6">
            <a:extLst>
              <a:ext uri="{FF2B5EF4-FFF2-40B4-BE49-F238E27FC236}">
                <a16:creationId xmlns:a16="http://schemas.microsoft.com/office/drawing/2014/main" id="{EF03094F-42FA-42F4-8825-CFEF822E272A}"/>
              </a:ext>
            </a:extLst>
          </p:cNvPr>
          <p:cNvSpPr>
            <a:spLocks noGrp="1"/>
          </p:cNvSpPr>
          <p:nvPr>
            <p:ph type="body" sz="quarter" idx="19" hasCustomPrompt="1"/>
          </p:nvPr>
        </p:nvSpPr>
        <p:spPr bwMode="gray">
          <a:xfrm>
            <a:off x="6372240" y="1443182"/>
            <a:ext cx="474489" cy="410369"/>
          </a:xfrm>
        </p:spPr>
        <p:txBody>
          <a:bodyPr wrap="none" lIns="0" tIns="0" rIns="0" bIns="0">
            <a:spAutoFit/>
          </a:bodyPr>
          <a:lstStyle>
            <a:lvl1pPr marL="0" indent="0">
              <a:buNone/>
              <a:defRPr sz="2667">
                <a:solidFill>
                  <a:schemeClr val="accent1"/>
                </a:solidFill>
                <a:latin typeface="+mj-lt"/>
              </a:defRPr>
            </a:lvl1pPr>
          </a:lstStyle>
          <a:p>
            <a:pPr lvl="0"/>
            <a:r>
              <a:rPr lang="en-US"/>
              <a:t>04.</a:t>
            </a:r>
          </a:p>
        </p:txBody>
      </p:sp>
      <p:sp>
        <p:nvSpPr>
          <p:cNvPr id="17" name="Text Placeholder 6">
            <a:extLst>
              <a:ext uri="{FF2B5EF4-FFF2-40B4-BE49-F238E27FC236}">
                <a16:creationId xmlns:a16="http://schemas.microsoft.com/office/drawing/2014/main" id="{2FBF07A3-F7C2-4BCF-827D-B6CB2A336230}"/>
              </a:ext>
            </a:extLst>
          </p:cNvPr>
          <p:cNvSpPr>
            <a:spLocks noGrp="1"/>
          </p:cNvSpPr>
          <p:nvPr>
            <p:ph type="body" sz="quarter" idx="20" hasCustomPrompt="1"/>
          </p:nvPr>
        </p:nvSpPr>
        <p:spPr bwMode="gray">
          <a:xfrm>
            <a:off x="6372239" y="2740892"/>
            <a:ext cx="470215" cy="410369"/>
          </a:xfrm>
        </p:spPr>
        <p:txBody>
          <a:bodyPr wrap="none" lIns="0" tIns="0" rIns="0" bIns="0">
            <a:spAutoFit/>
          </a:bodyPr>
          <a:lstStyle>
            <a:lvl1pPr marL="0" indent="0">
              <a:buNone/>
              <a:defRPr sz="2667">
                <a:solidFill>
                  <a:schemeClr val="accent1"/>
                </a:solidFill>
                <a:latin typeface="+mj-lt"/>
              </a:defRPr>
            </a:lvl1pPr>
          </a:lstStyle>
          <a:p>
            <a:pPr lvl="0"/>
            <a:r>
              <a:rPr lang="en-US"/>
              <a:t>05.</a:t>
            </a:r>
          </a:p>
        </p:txBody>
      </p:sp>
      <p:sp>
        <p:nvSpPr>
          <p:cNvPr id="18" name="Text Placeholder 6">
            <a:extLst>
              <a:ext uri="{FF2B5EF4-FFF2-40B4-BE49-F238E27FC236}">
                <a16:creationId xmlns:a16="http://schemas.microsoft.com/office/drawing/2014/main" id="{8AE22612-FC9E-4469-8E99-65F225DCC96C}"/>
              </a:ext>
            </a:extLst>
          </p:cNvPr>
          <p:cNvSpPr>
            <a:spLocks noGrp="1"/>
          </p:cNvSpPr>
          <p:nvPr>
            <p:ph type="body" sz="quarter" idx="21" hasCustomPrompt="1"/>
          </p:nvPr>
        </p:nvSpPr>
        <p:spPr bwMode="gray">
          <a:xfrm>
            <a:off x="6372239" y="4038601"/>
            <a:ext cx="489451" cy="410369"/>
          </a:xfrm>
        </p:spPr>
        <p:txBody>
          <a:bodyPr wrap="none" lIns="0" tIns="0" rIns="0" bIns="0">
            <a:spAutoFit/>
          </a:bodyPr>
          <a:lstStyle>
            <a:lvl1pPr marL="0" indent="0">
              <a:buNone/>
              <a:defRPr sz="2667">
                <a:solidFill>
                  <a:schemeClr val="accent1"/>
                </a:solidFill>
                <a:latin typeface="+mj-lt"/>
              </a:defRPr>
            </a:lvl1pPr>
          </a:lstStyle>
          <a:p>
            <a:pPr lvl="0"/>
            <a:r>
              <a:rPr lang="en-US"/>
              <a:t>06.</a:t>
            </a:r>
          </a:p>
        </p:txBody>
      </p:sp>
    </p:spTree>
    <p:extLst>
      <p:ext uri="{BB962C8B-B14F-4D97-AF65-F5344CB8AC3E}">
        <p14:creationId xmlns:p14="http://schemas.microsoft.com/office/powerpoint/2010/main" val="11380838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No 2nd top lin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88651" y="1124745"/>
            <a:ext cx="11664000" cy="4964817"/>
          </a:xfrm>
          <a:prstGeom prst="rect">
            <a:avLst/>
          </a:prstGeom>
        </p:spPr>
        <p:txBody>
          <a:bodyPr/>
          <a:lstStyle/>
          <a:p>
            <a:pPr lvl="0"/>
            <a:r>
              <a:rPr lang="nl-NL"/>
              <a:t>First level</a:t>
            </a:r>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9" name="Title 8"/>
          <p:cNvSpPr>
            <a:spLocks noGrp="1"/>
          </p:cNvSpPr>
          <p:nvPr>
            <p:ph type="title" hasCustomPrompt="1"/>
          </p:nvPr>
        </p:nvSpPr>
        <p:spPr>
          <a:xfrm>
            <a:off x="288651" y="164637"/>
            <a:ext cx="11664000" cy="960107"/>
          </a:xfrm>
        </p:spPr>
        <p:txBody>
          <a:bodyPr/>
          <a:lstStyle>
            <a:lvl1pPr>
              <a:defRPr/>
            </a:lvl1pPr>
          </a:lstStyle>
          <a:p>
            <a:r>
              <a:rPr lang="en-US"/>
              <a:t>Click to edit the header</a:t>
            </a:r>
          </a:p>
        </p:txBody>
      </p:sp>
      <p:cxnSp>
        <p:nvCxnSpPr>
          <p:cNvPr id="5" name="Straight Connector 4"/>
          <p:cNvCxnSpPr>
            <a:cxnSpLocks/>
          </p:cNvCxnSpPr>
          <p:nvPr/>
        </p:nvCxnSpPr>
        <p:spPr>
          <a:xfrm>
            <a:off x="435832" y="6167837"/>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3462792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bwMode="gray">
          <a:xfrm>
            <a:off x="308311" y="1316765"/>
            <a:ext cx="11431333" cy="4779235"/>
          </a:xfrm>
          <a:prstGeom prst="rect">
            <a:avLst/>
          </a:prstGeom>
        </p:spPr>
        <p:txBody>
          <a:bodyPr/>
          <a:lstStyle>
            <a:lvl4pPr>
              <a:defRPr/>
            </a:lvl4pPr>
          </a:lstStyle>
          <a:p>
            <a:pPr lvl="0"/>
            <a:r>
              <a:rPr lang="nl-NL"/>
              <a:t>Paragraph 01 (Raleway Medium 14 pt)</a:t>
            </a:r>
          </a:p>
          <a:p>
            <a:pPr lvl="1"/>
            <a:r>
              <a:rPr lang="nl-NL"/>
              <a:t>Paragraph 02 (Raleway Light 12 pt)</a:t>
            </a:r>
          </a:p>
          <a:p>
            <a:pPr lvl="2"/>
            <a:r>
              <a:rPr lang="nl-NL"/>
              <a:t>Paragraph 03 (Raleway Light 11 pt)</a:t>
            </a:r>
          </a:p>
          <a:p>
            <a:pPr lvl="3"/>
            <a:r>
              <a:rPr lang="en-US"/>
              <a:t>Paragraph 04 (</a:t>
            </a:r>
            <a:r>
              <a:rPr lang="en-US" err="1"/>
              <a:t>Raleway</a:t>
            </a:r>
            <a:r>
              <a:rPr lang="en-US"/>
              <a:t> Light 10 </a:t>
            </a:r>
            <a:r>
              <a:rPr lang="en-US" err="1"/>
              <a:t>pt</a:t>
            </a:r>
            <a:r>
              <a:rPr lang="en-US"/>
              <a:t>)</a:t>
            </a:r>
            <a:endParaRPr lang="nl-NL"/>
          </a:p>
        </p:txBody>
      </p:sp>
      <p:sp>
        <p:nvSpPr>
          <p:cNvPr id="2" name="Title 1">
            <a:extLst>
              <a:ext uri="{FF2B5EF4-FFF2-40B4-BE49-F238E27FC236}">
                <a16:creationId xmlns:a16="http://schemas.microsoft.com/office/drawing/2014/main" id="{9BC570E9-2A2F-4939-B0C0-AB1431773FBA}"/>
              </a:ext>
            </a:extLst>
          </p:cNvPr>
          <p:cNvSpPr>
            <a:spLocks noGrp="1"/>
          </p:cNvSpPr>
          <p:nvPr>
            <p:ph type="title" hasCustomPrompt="1"/>
          </p:nvPr>
        </p:nvSpPr>
        <p:spPr bwMode="gray">
          <a:xfrm>
            <a:off x="303548" y="164637"/>
            <a:ext cx="11436096" cy="975360"/>
          </a:xfrm>
        </p:spPr>
        <p:txBody>
          <a:bodyPr/>
          <a:lstStyle/>
          <a:p>
            <a:pPr lvl="0"/>
            <a:r>
              <a:rPr lang="en-US"/>
              <a:t>Title in </a:t>
            </a:r>
            <a:r>
              <a:rPr lang="en-US" err="1"/>
              <a:t>Raleway</a:t>
            </a:r>
            <a:r>
              <a:rPr lang="en-US"/>
              <a:t> </a:t>
            </a:r>
            <a:r>
              <a:rPr lang="en-US" err="1"/>
              <a:t>SemiBold</a:t>
            </a:r>
            <a:r>
              <a:rPr lang="en-US"/>
              <a:t> 20pt</a:t>
            </a:r>
          </a:p>
        </p:txBody>
      </p:sp>
      <p:sp>
        <p:nvSpPr>
          <p:cNvPr id="4" name="Text Placeholder 4">
            <a:extLst>
              <a:ext uri="{FF2B5EF4-FFF2-40B4-BE49-F238E27FC236}">
                <a16:creationId xmlns:a16="http://schemas.microsoft.com/office/drawing/2014/main" id="{58DF64B4-820E-44CB-84F9-19FBC3D52E9A}"/>
              </a:ext>
            </a:extLst>
          </p:cNvPr>
          <p:cNvSpPr>
            <a:spLocks noGrp="1"/>
          </p:cNvSpPr>
          <p:nvPr>
            <p:ph type="body" sz="quarter" idx="10" hasCustomPrompt="1"/>
          </p:nvPr>
        </p:nvSpPr>
        <p:spPr>
          <a:xfrm>
            <a:off x="303547" y="556610"/>
            <a:ext cx="11436096" cy="580529"/>
          </a:xfrm>
        </p:spPr>
        <p:txBody>
          <a:bodyPr/>
          <a:lstStyle>
            <a:lvl1pPr marL="0" indent="0">
              <a:buNone/>
              <a:defRPr sz="2133">
                <a:solidFill>
                  <a:srgbClr val="0596FF"/>
                </a:solidFill>
                <a:latin typeface="+mj-lt"/>
              </a:defRPr>
            </a:lvl1pPr>
          </a:lstStyle>
          <a:p>
            <a:pPr lvl="0"/>
            <a:r>
              <a:rPr lang="en-US"/>
              <a:t>Subtitle in </a:t>
            </a:r>
            <a:r>
              <a:rPr lang="en-US" err="1"/>
              <a:t>Raleway</a:t>
            </a:r>
            <a:r>
              <a:rPr lang="en-US"/>
              <a:t> </a:t>
            </a:r>
            <a:r>
              <a:rPr lang="en-US" err="1"/>
              <a:t>SemiBold</a:t>
            </a:r>
            <a:r>
              <a:rPr lang="en-US"/>
              <a:t> 16pt</a:t>
            </a:r>
          </a:p>
        </p:txBody>
      </p:sp>
    </p:spTree>
    <p:extLst>
      <p:ext uri="{BB962C8B-B14F-4D97-AF65-F5344CB8AC3E}">
        <p14:creationId xmlns:p14="http://schemas.microsoft.com/office/powerpoint/2010/main" val="6700796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s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855AB8-B6EC-4304-ABBB-CA0A4399AC01}"/>
              </a:ext>
            </a:extLst>
          </p:cNvPr>
          <p:cNvSpPr>
            <a:spLocks noGrp="1"/>
          </p:cNvSpPr>
          <p:nvPr>
            <p:ph type="title" hasCustomPrompt="1"/>
          </p:nvPr>
        </p:nvSpPr>
        <p:spPr bwMode="gray">
          <a:xfrm>
            <a:off x="303548" y="164637"/>
            <a:ext cx="11436096" cy="975360"/>
          </a:xfrm>
        </p:spPr>
        <p:txBody>
          <a:bodyPr/>
          <a:lstStyle/>
          <a:p>
            <a:pPr lvl="0"/>
            <a:r>
              <a:rPr lang="en-US"/>
              <a:t>Title in </a:t>
            </a:r>
            <a:r>
              <a:rPr lang="en-US" err="1"/>
              <a:t>Raleway</a:t>
            </a:r>
            <a:r>
              <a:rPr lang="en-US"/>
              <a:t> </a:t>
            </a:r>
            <a:r>
              <a:rPr lang="en-US" err="1"/>
              <a:t>SemiBold</a:t>
            </a:r>
            <a:r>
              <a:rPr lang="en-US"/>
              <a:t> 20pt</a:t>
            </a:r>
          </a:p>
        </p:txBody>
      </p:sp>
      <p:sp>
        <p:nvSpPr>
          <p:cNvPr id="3" name="Text Placeholder 4">
            <a:extLst>
              <a:ext uri="{FF2B5EF4-FFF2-40B4-BE49-F238E27FC236}">
                <a16:creationId xmlns:a16="http://schemas.microsoft.com/office/drawing/2014/main" id="{4FC3B6DC-AAAC-4B11-9BD4-A2E99D2BCBE1}"/>
              </a:ext>
            </a:extLst>
          </p:cNvPr>
          <p:cNvSpPr>
            <a:spLocks noGrp="1"/>
          </p:cNvSpPr>
          <p:nvPr>
            <p:ph type="body" sz="quarter" idx="10" hasCustomPrompt="1"/>
          </p:nvPr>
        </p:nvSpPr>
        <p:spPr>
          <a:xfrm>
            <a:off x="303547" y="556610"/>
            <a:ext cx="11436096" cy="580529"/>
          </a:xfrm>
        </p:spPr>
        <p:txBody>
          <a:bodyPr/>
          <a:lstStyle>
            <a:lvl1pPr marL="0" indent="0">
              <a:buNone/>
              <a:defRPr sz="2133">
                <a:solidFill>
                  <a:srgbClr val="0596FF"/>
                </a:solidFill>
                <a:latin typeface="+mj-lt"/>
              </a:defRPr>
            </a:lvl1pPr>
          </a:lstStyle>
          <a:p>
            <a:pPr lvl="0"/>
            <a:r>
              <a:rPr lang="en-US"/>
              <a:t>Subtitle in </a:t>
            </a:r>
            <a:r>
              <a:rPr lang="en-US" err="1"/>
              <a:t>Raleway</a:t>
            </a:r>
            <a:r>
              <a:rPr lang="en-US"/>
              <a:t> </a:t>
            </a:r>
            <a:r>
              <a:rPr lang="en-US" err="1"/>
              <a:t>SemiBold</a:t>
            </a:r>
            <a:r>
              <a:rPr lang="en-US"/>
              <a:t> 16pt</a:t>
            </a:r>
          </a:p>
        </p:txBody>
      </p:sp>
    </p:spTree>
    <p:extLst>
      <p:ext uri="{BB962C8B-B14F-4D97-AF65-F5344CB8AC3E}">
        <p14:creationId xmlns:p14="http://schemas.microsoft.com/office/powerpoint/2010/main" val="24881680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 colum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bwMode="gray">
          <a:xfrm>
            <a:off x="308311" y="1316765"/>
            <a:ext cx="5608320" cy="4779235"/>
          </a:xfrm>
          <a:prstGeom prst="rect">
            <a:avLst/>
          </a:prstGeom>
        </p:spPr>
        <p:txBody>
          <a:bodyPr/>
          <a:lstStyle>
            <a:lvl1pPr>
              <a:lnSpc>
                <a:spcPct val="100000"/>
              </a:lnSpc>
              <a:spcAft>
                <a:spcPts val="533"/>
              </a:spcAft>
              <a:defRPr/>
            </a:lvl1pPr>
            <a:lvl2pPr>
              <a:lnSpc>
                <a:spcPct val="100000"/>
              </a:lnSpc>
              <a:spcAft>
                <a:spcPts val="533"/>
              </a:spcAft>
              <a:defRPr/>
            </a:lvl2pPr>
            <a:lvl3pPr>
              <a:lnSpc>
                <a:spcPct val="100000"/>
              </a:lnSpc>
              <a:spcAft>
                <a:spcPts val="533"/>
              </a:spcAft>
              <a:defRPr/>
            </a:lvl3pPr>
            <a:lvl4pPr marL="877802" marR="0" indent="-219451" algn="l" defTabSz="1219170" rtl="0" eaLnBrk="1" fontAlgn="auto" latinLnBrk="0" hangingPunct="1">
              <a:lnSpc>
                <a:spcPct val="100000"/>
              </a:lnSpc>
              <a:spcBef>
                <a:spcPts val="0"/>
              </a:spcBef>
              <a:spcAft>
                <a:spcPts val="533"/>
              </a:spcAft>
              <a:buClr>
                <a:schemeClr val="tx1"/>
              </a:buClr>
              <a:buSzTx/>
              <a:buFont typeface="Arial" panose="020B0604020202020204" pitchFamily="34" charset="0"/>
              <a:buChar char="•"/>
              <a:tabLst/>
              <a:defRPr/>
            </a:lvl4pPr>
          </a:lstStyle>
          <a:p>
            <a:pPr lvl="0"/>
            <a:r>
              <a:rPr lang="nl-NL"/>
              <a:t>Paragraph 01 (Raleway Medium 14 pt)</a:t>
            </a:r>
          </a:p>
          <a:p>
            <a:pPr lvl="1"/>
            <a:r>
              <a:rPr lang="nl-NL"/>
              <a:t>Paragraph 02 (Raleway Light 12 pt)</a:t>
            </a:r>
          </a:p>
          <a:p>
            <a:pPr lvl="2"/>
            <a:r>
              <a:rPr lang="nl-NL"/>
              <a:t>Paragraph 03 (Raleway Light 11 pt)</a:t>
            </a:r>
          </a:p>
          <a:p>
            <a:pPr marL="877802" marR="0" lvl="3" indent="-219451" algn="l" defTabSz="1219170" rtl="0" eaLnBrk="1" fontAlgn="auto" latinLnBrk="0" hangingPunct="1">
              <a:lnSpc>
                <a:spcPct val="100000"/>
              </a:lnSpc>
              <a:spcBef>
                <a:spcPts val="0"/>
              </a:spcBef>
              <a:spcAft>
                <a:spcPts val="400"/>
              </a:spcAft>
              <a:buClr>
                <a:schemeClr val="tx1"/>
              </a:buClr>
              <a:buSzTx/>
              <a:buFont typeface="Arial" panose="020B0604020202020204" pitchFamily="34" charset="0"/>
              <a:buChar char="•"/>
              <a:tabLst/>
              <a:defRPr/>
            </a:pPr>
            <a:r>
              <a:rPr lang="en-US"/>
              <a:t>Paragraph 04 (</a:t>
            </a:r>
            <a:r>
              <a:rPr lang="en-US" err="1"/>
              <a:t>Raleway</a:t>
            </a:r>
            <a:r>
              <a:rPr lang="en-US"/>
              <a:t> Light 10 </a:t>
            </a:r>
            <a:r>
              <a:rPr lang="en-US" err="1"/>
              <a:t>pt</a:t>
            </a:r>
            <a:r>
              <a:rPr lang="en-US"/>
              <a:t>)</a:t>
            </a:r>
            <a:endParaRPr lang="nl-NL"/>
          </a:p>
        </p:txBody>
      </p:sp>
      <p:sp>
        <p:nvSpPr>
          <p:cNvPr id="6" name="Content Placeholder 2">
            <a:extLst>
              <a:ext uri="{FF2B5EF4-FFF2-40B4-BE49-F238E27FC236}">
                <a16:creationId xmlns:a16="http://schemas.microsoft.com/office/drawing/2014/main" id="{8F0C999C-E8DD-4EB6-823D-52177C9EEB31}"/>
              </a:ext>
            </a:extLst>
          </p:cNvPr>
          <p:cNvSpPr>
            <a:spLocks noGrp="1"/>
          </p:cNvSpPr>
          <p:nvPr>
            <p:ph idx="11" hasCustomPrompt="1"/>
          </p:nvPr>
        </p:nvSpPr>
        <p:spPr bwMode="gray">
          <a:xfrm>
            <a:off x="6131324" y="1316765"/>
            <a:ext cx="5608320" cy="4779235"/>
          </a:xfrm>
          <a:prstGeom prst="rect">
            <a:avLst/>
          </a:prstGeom>
        </p:spPr>
        <p:txBody>
          <a:bodyPr/>
          <a:lstStyle>
            <a:lvl1pPr>
              <a:lnSpc>
                <a:spcPct val="100000"/>
              </a:lnSpc>
              <a:spcAft>
                <a:spcPts val="533"/>
              </a:spcAft>
              <a:defRPr/>
            </a:lvl1pPr>
            <a:lvl2pPr>
              <a:lnSpc>
                <a:spcPct val="100000"/>
              </a:lnSpc>
              <a:spcAft>
                <a:spcPts val="533"/>
              </a:spcAft>
              <a:defRPr/>
            </a:lvl2pPr>
            <a:lvl3pPr>
              <a:lnSpc>
                <a:spcPct val="100000"/>
              </a:lnSpc>
              <a:spcAft>
                <a:spcPts val="533"/>
              </a:spcAft>
              <a:defRPr/>
            </a:lvl3pPr>
            <a:lvl4pPr marL="877802" marR="0" indent="-219451" algn="l" defTabSz="1219170" rtl="0" eaLnBrk="1" fontAlgn="auto" latinLnBrk="0" hangingPunct="1">
              <a:lnSpc>
                <a:spcPct val="100000"/>
              </a:lnSpc>
              <a:spcBef>
                <a:spcPts val="0"/>
              </a:spcBef>
              <a:spcAft>
                <a:spcPts val="533"/>
              </a:spcAft>
              <a:buClr>
                <a:schemeClr val="tx1"/>
              </a:buClr>
              <a:buSzTx/>
              <a:buFont typeface="Arial" panose="020B0604020202020204" pitchFamily="34" charset="0"/>
              <a:buChar char="•"/>
              <a:tabLst/>
              <a:defRPr/>
            </a:lvl4pPr>
          </a:lstStyle>
          <a:p>
            <a:pPr lvl="0"/>
            <a:r>
              <a:rPr lang="nl-NL"/>
              <a:t>Paragraph 01 (Raleway Medium 14 pt)</a:t>
            </a:r>
          </a:p>
          <a:p>
            <a:pPr lvl="1"/>
            <a:r>
              <a:rPr lang="nl-NL"/>
              <a:t>Paragraph 02 (Raleway Light 12 pt)</a:t>
            </a:r>
          </a:p>
          <a:p>
            <a:pPr lvl="2"/>
            <a:r>
              <a:rPr lang="nl-NL"/>
              <a:t>Paragraph 03 (Raleway Light 11 pt)</a:t>
            </a:r>
          </a:p>
          <a:p>
            <a:pPr marL="877802" marR="0" lvl="3" indent="-219451" algn="l" defTabSz="1219170" rtl="0" eaLnBrk="1" fontAlgn="auto" latinLnBrk="0" hangingPunct="1">
              <a:lnSpc>
                <a:spcPct val="100000"/>
              </a:lnSpc>
              <a:spcBef>
                <a:spcPts val="0"/>
              </a:spcBef>
              <a:spcAft>
                <a:spcPts val="400"/>
              </a:spcAft>
              <a:buClr>
                <a:schemeClr val="tx1"/>
              </a:buClr>
              <a:buSzTx/>
              <a:buFont typeface="Arial" panose="020B0604020202020204" pitchFamily="34" charset="0"/>
              <a:buChar char="•"/>
              <a:tabLst/>
              <a:defRPr/>
            </a:pPr>
            <a:r>
              <a:rPr lang="en-US"/>
              <a:t>Paragraph 04 (</a:t>
            </a:r>
            <a:r>
              <a:rPr lang="en-US" err="1"/>
              <a:t>Raleway</a:t>
            </a:r>
            <a:r>
              <a:rPr lang="en-US"/>
              <a:t> Light 10 </a:t>
            </a:r>
            <a:r>
              <a:rPr lang="en-US" err="1"/>
              <a:t>pt</a:t>
            </a:r>
            <a:r>
              <a:rPr lang="en-US"/>
              <a:t>)</a:t>
            </a:r>
            <a:endParaRPr lang="nl-NL"/>
          </a:p>
        </p:txBody>
      </p:sp>
      <p:sp>
        <p:nvSpPr>
          <p:cNvPr id="2" name="Title 1">
            <a:extLst>
              <a:ext uri="{FF2B5EF4-FFF2-40B4-BE49-F238E27FC236}">
                <a16:creationId xmlns:a16="http://schemas.microsoft.com/office/drawing/2014/main" id="{C4BDEE2C-DCC8-4415-9CAB-605408617EBD}"/>
              </a:ext>
            </a:extLst>
          </p:cNvPr>
          <p:cNvSpPr>
            <a:spLocks noGrp="1"/>
          </p:cNvSpPr>
          <p:nvPr>
            <p:ph type="title" hasCustomPrompt="1"/>
          </p:nvPr>
        </p:nvSpPr>
        <p:spPr bwMode="gray">
          <a:xfrm>
            <a:off x="303548" y="164637"/>
            <a:ext cx="11436096" cy="975360"/>
          </a:xfrm>
        </p:spPr>
        <p:txBody>
          <a:bodyPr/>
          <a:lstStyle/>
          <a:p>
            <a:r>
              <a:rPr lang="en-US"/>
              <a:t>Title in </a:t>
            </a:r>
            <a:r>
              <a:rPr lang="en-US" err="1"/>
              <a:t>Raleway</a:t>
            </a:r>
            <a:r>
              <a:rPr lang="en-US"/>
              <a:t> </a:t>
            </a:r>
            <a:r>
              <a:rPr lang="en-US" err="1"/>
              <a:t>SemiBold</a:t>
            </a:r>
            <a:r>
              <a:rPr lang="en-US"/>
              <a:t> 20pt</a:t>
            </a:r>
          </a:p>
        </p:txBody>
      </p:sp>
      <p:sp>
        <p:nvSpPr>
          <p:cNvPr id="5" name="Text Placeholder 4">
            <a:extLst>
              <a:ext uri="{FF2B5EF4-FFF2-40B4-BE49-F238E27FC236}">
                <a16:creationId xmlns:a16="http://schemas.microsoft.com/office/drawing/2014/main" id="{1BBBDA73-A1CA-4046-A0D5-BDDA5C2E2A1F}"/>
              </a:ext>
            </a:extLst>
          </p:cNvPr>
          <p:cNvSpPr>
            <a:spLocks noGrp="1"/>
          </p:cNvSpPr>
          <p:nvPr>
            <p:ph type="body" sz="quarter" idx="10" hasCustomPrompt="1"/>
          </p:nvPr>
        </p:nvSpPr>
        <p:spPr>
          <a:xfrm>
            <a:off x="303547" y="556610"/>
            <a:ext cx="11436096" cy="580529"/>
          </a:xfrm>
        </p:spPr>
        <p:txBody>
          <a:bodyPr/>
          <a:lstStyle>
            <a:lvl1pPr marL="0" indent="0">
              <a:buNone/>
              <a:defRPr sz="2133">
                <a:solidFill>
                  <a:srgbClr val="0596FF"/>
                </a:solidFill>
                <a:latin typeface="+mj-lt"/>
              </a:defRPr>
            </a:lvl1pPr>
          </a:lstStyle>
          <a:p>
            <a:pPr lvl="0"/>
            <a:r>
              <a:rPr lang="en-US"/>
              <a:t>Subtitle in </a:t>
            </a:r>
            <a:r>
              <a:rPr lang="en-US" err="1"/>
              <a:t>Raleway</a:t>
            </a:r>
            <a:r>
              <a:rPr lang="en-US"/>
              <a:t> </a:t>
            </a:r>
            <a:r>
              <a:rPr lang="en-US" err="1"/>
              <a:t>SemiBold</a:t>
            </a:r>
            <a:r>
              <a:rPr lang="en-US"/>
              <a:t> 16pt</a:t>
            </a:r>
          </a:p>
        </p:txBody>
      </p:sp>
    </p:spTree>
    <p:extLst>
      <p:ext uri="{BB962C8B-B14F-4D97-AF65-F5344CB8AC3E}">
        <p14:creationId xmlns:p14="http://schemas.microsoft.com/office/powerpoint/2010/main" val="31500022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hree colum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bwMode="gray">
          <a:xfrm>
            <a:off x="308311" y="1316765"/>
            <a:ext cx="3657600" cy="4779235"/>
          </a:xfrm>
          <a:prstGeom prst="rect">
            <a:avLst/>
          </a:prstGeom>
        </p:spPr>
        <p:txBody>
          <a:bodyPr/>
          <a:lstStyle>
            <a:lvl1pPr>
              <a:lnSpc>
                <a:spcPct val="100000"/>
              </a:lnSpc>
              <a:spcAft>
                <a:spcPts val="533"/>
              </a:spcAft>
              <a:defRPr/>
            </a:lvl1pPr>
            <a:lvl2pPr>
              <a:lnSpc>
                <a:spcPct val="100000"/>
              </a:lnSpc>
              <a:spcAft>
                <a:spcPts val="533"/>
              </a:spcAft>
              <a:defRPr/>
            </a:lvl2pPr>
            <a:lvl3pPr>
              <a:lnSpc>
                <a:spcPct val="100000"/>
              </a:lnSpc>
              <a:spcAft>
                <a:spcPts val="533"/>
              </a:spcAft>
              <a:defRPr/>
            </a:lvl3pPr>
            <a:lvl4pPr marL="877802" marR="0" indent="-219451" algn="l" defTabSz="1219170" rtl="0" eaLnBrk="1" fontAlgn="auto" latinLnBrk="0" hangingPunct="1">
              <a:lnSpc>
                <a:spcPct val="100000"/>
              </a:lnSpc>
              <a:spcBef>
                <a:spcPts val="0"/>
              </a:spcBef>
              <a:spcAft>
                <a:spcPts val="533"/>
              </a:spcAft>
              <a:buClr>
                <a:schemeClr val="tx1"/>
              </a:buClr>
              <a:buSzTx/>
              <a:buFont typeface="Arial" panose="020B0604020202020204" pitchFamily="34" charset="0"/>
              <a:buChar char="•"/>
              <a:tabLst/>
              <a:defRPr/>
            </a:lvl4pPr>
          </a:lstStyle>
          <a:p>
            <a:pPr lvl="0"/>
            <a:r>
              <a:rPr lang="nl-NL"/>
              <a:t>Paragraph 01 </a:t>
            </a:r>
            <a:br>
              <a:rPr lang="nl-NL"/>
            </a:br>
            <a:r>
              <a:rPr lang="nl-NL"/>
              <a:t>(Raleway Medium 14 pt)</a:t>
            </a:r>
          </a:p>
          <a:p>
            <a:pPr lvl="1"/>
            <a:r>
              <a:rPr lang="nl-NL"/>
              <a:t>Paragraph 02 </a:t>
            </a:r>
            <a:br>
              <a:rPr lang="nl-NL"/>
            </a:br>
            <a:r>
              <a:rPr lang="nl-NL"/>
              <a:t>(Raleway Light 12 pt)</a:t>
            </a:r>
          </a:p>
          <a:p>
            <a:pPr lvl="2"/>
            <a:r>
              <a:rPr lang="nl-NL"/>
              <a:t>Paragraph 03 </a:t>
            </a:r>
            <a:br>
              <a:rPr lang="nl-NL"/>
            </a:br>
            <a:r>
              <a:rPr lang="nl-NL"/>
              <a:t>(Raleway Light 11 pt)</a:t>
            </a:r>
          </a:p>
          <a:p>
            <a:pPr marL="877802" marR="0" lvl="3" indent="-219451" algn="l" defTabSz="1219170" rtl="0" eaLnBrk="1" fontAlgn="auto" latinLnBrk="0" hangingPunct="1">
              <a:lnSpc>
                <a:spcPct val="100000"/>
              </a:lnSpc>
              <a:spcBef>
                <a:spcPts val="0"/>
              </a:spcBef>
              <a:spcAft>
                <a:spcPts val="400"/>
              </a:spcAft>
              <a:buClr>
                <a:schemeClr val="tx1"/>
              </a:buClr>
              <a:buSzTx/>
              <a:buFont typeface="Arial" panose="020B0604020202020204" pitchFamily="34" charset="0"/>
              <a:buChar char="•"/>
              <a:tabLst/>
              <a:defRPr/>
            </a:pPr>
            <a:r>
              <a:rPr lang="en-US"/>
              <a:t>Paragraph 04 </a:t>
            </a:r>
            <a:br>
              <a:rPr lang="en-US"/>
            </a:br>
            <a:r>
              <a:rPr lang="en-US"/>
              <a:t>(</a:t>
            </a:r>
            <a:r>
              <a:rPr lang="en-US" err="1"/>
              <a:t>Raleway</a:t>
            </a:r>
            <a:r>
              <a:rPr lang="en-US"/>
              <a:t> Light 10 </a:t>
            </a:r>
            <a:r>
              <a:rPr lang="en-US" err="1"/>
              <a:t>pt</a:t>
            </a:r>
            <a:r>
              <a:rPr lang="en-US"/>
              <a:t>)</a:t>
            </a:r>
            <a:endParaRPr lang="nl-NL"/>
          </a:p>
        </p:txBody>
      </p:sp>
      <p:sp>
        <p:nvSpPr>
          <p:cNvPr id="6" name="Content Placeholder 2">
            <a:extLst>
              <a:ext uri="{FF2B5EF4-FFF2-40B4-BE49-F238E27FC236}">
                <a16:creationId xmlns:a16="http://schemas.microsoft.com/office/drawing/2014/main" id="{8F0C999C-E8DD-4EB6-823D-52177C9EEB31}"/>
              </a:ext>
            </a:extLst>
          </p:cNvPr>
          <p:cNvSpPr>
            <a:spLocks noGrp="1"/>
          </p:cNvSpPr>
          <p:nvPr>
            <p:ph idx="11" hasCustomPrompt="1"/>
          </p:nvPr>
        </p:nvSpPr>
        <p:spPr bwMode="gray">
          <a:xfrm>
            <a:off x="4207267" y="1316765"/>
            <a:ext cx="3657600" cy="4779235"/>
          </a:xfrm>
          <a:prstGeom prst="rect">
            <a:avLst/>
          </a:prstGeom>
        </p:spPr>
        <p:txBody>
          <a:bodyPr/>
          <a:lstStyle>
            <a:lvl1pPr>
              <a:lnSpc>
                <a:spcPct val="100000"/>
              </a:lnSpc>
              <a:spcAft>
                <a:spcPts val="533"/>
              </a:spcAft>
              <a:defRPr/>
            </a:lvl1pPr>
            <a:lvl2pPr>
              <a:lnSpc>
                <a:spcPct val="100000"/>
              </a:lnSpc>
              <a:spcAft>
                <a:spcPts val="533"/>
              </a:spcAft>
              <a:defRPr/>
            </a:lvl2pPr>
            <a:lvl3pPr>
              <a:lnSpc>
                <a:spcPct val="100000"/>
              </a:lnSpc>
              <a:spcAft>
                <a:spcPts val="533"/>
              </a:spcAft>
              <a:defRPr/>
            </a:lvl3pPr>
            <a:lvl4pPr marL="877802" marR="0" indent="-219451" algn="l" defTabSz="1219170" rtl="0" eaLnBrk="1" fontAlgn="auto" latinLnBrk="0" hangingPunct="1">
              <a:lnSpc>
                <a:spcPct val="100000"/>
              </a:lnSpc>
              <a:spcBef>
                <a:spcPts val="0"/>
              </a:spcBef>
              <a:spcAft>
                <a:spcPts val="400"/>
              </a:spcAft>
              <a:buClr>
                <a:schemeClr val="tx1"/>
              </a:buClr>
              <a:buSzTx/>
              <a:buFont typeface="Arial" panose="020B0604020202020204" pitchFamily="34" charset="0"/>
              <a:buChar char="•"/>
              <a:tabLst/>
              <a:defRPr/>
            </a:lvl4pPr>
          </a:lstStyle>
          <a:p>
            <a:pPr lvl="0"/>
            <a:r>
              <a:rPr lang="nl-NL"/>
              <a:t>Paragraph 01 </a:t>
            </a:r>
            <a:br>
              <a:rPr lang="nl-NL"/>
            </a:br>
            <a:r>
              <a:rPr lang="nl-NL"/>
              <a:t>(Raleway Medium 14 pt)</a:t>
            </a:r>
          </a:p>
          <a:p>
            <a:pPr lvl="1"/>
            <a:r>
              <a:rPr lang="nl-NL"/>
              <a:t>Paragraph 02 </a:t>
            </a:r>
            <a:br>
              <a:rPr lang="nl-NL"/>
            </a:br>
            <a:r>
              <a:rPr lang="nl-NL"/>
              <a:t>(Raleway Light 12 pt)</a:t>
            </a:r>
          </a:p>
          <a:p>
            <a:pPr lvl="2"/>
            <a:r>
              <a:rPr lang="nl-NL"/>
              <a:t>Paragraph 03 </a:t>
            </a:r>
            <a:br>
              <a:rPr lang="nl-NL"/>
            </a:br>
            <a:r>
              <a:rPr lang="nl-NL"/>
              <a:t>(Raleway Light 11 pt)</a:t>
            </a:r>
          </a:p>
          <a:p>
            <a:pPr marL="877802" marR="0" lvl="3" indent="-219451" algn="l" defTabSz="1219170" rtl="0" eaLnBrk="1" fontAlgn="auto" latinLnBrk="0" hangingPunct="1">
              <a:lnSpc>
                <a:spcPct val="100000"/>
              </a:lnSpc>
              <a:spcBef>
                <a:spcPts val="0"/>
              </a:spcBef>
              <a:spcAft>
                <a:spcPts val="400"/>
              </a:spcAft>
              <a:buClr>
                <a:schemeClr val="tx1"/>
              </a:buClr>
              <a:buSzTx/>
              <a:buFont typeface="Arial" panose="020B0604020202020204" pitchFamily="34" charset="0"/>
              <a:buChar char="•"/>
              <a:tabLst/>
              <a:defRPr/>
            </a:pPr>
            <a:r>
              <a:rPr lang="en-US"/>
              <a:t>Paragraph 04 </a:t>
            </a:r>
            <a:br>
              <a:rPr lang="en-US"/>
            </a:br>
            <a:r>
              <a:rPr lang="en-US"/>
              <a:t>(</a:t>
            </a:r>
            <a:r>
              <a:rPr lang="en-US" err="1"/>
              <a:t>Raleway</a:t>
            </a:r>
            <a:r>
              <a:rPr lang="en-US"/>
              <a:t> Light 10 </a:t>
            </a:r>
            <a:r>
              <a:rPr lang="en-US" err="1"/>
              <a:t>pt</a:t>
            </a:r>
            <a:r>
              <a:rPr lang="en-US"/>
              <a:t>)</a:t>
            </a:r>
            <a:endParaRPr lang="nl-NL"/>
          </a:p>
        </p:txBody>
      </p:sp>
      <p:sp>
        <p:nvSpPr>
          <p:cNvPr id="8" name="Content Placeholder 2">
            <a:extLst>
              <a:ext uri="{FF2B5EF4-FFF2-40B4-BE49-F238E27FC236}">
                <a16:creationId xmlns:a16="http://schemas.microsoft.com/office/drawing/2014/main" id="{4B9EAFC4-2931-4078-BD56-0615F35AC039}"/>
              </a:ext>
            </a:extLst>
          </p:cNvPr>
          <p:cNvSpPr>
            <a:spLocks noGrp="1"/>
          </p:cNvSpPr>
          <p:nvPr>
            <p:ph idx="12" hasCustomPrompt="1"/>
          </p:nvPr>
        </p:nvSpPr>
        <p:spPr bwMode="gray">
          <a:xfrm>
            <a:off x="8082044" y="1316765"/>
            <a:ext cx="3657600" cy="4779235"/>
          </a:xfrm>
          <a:prstGeom prst="rect">
            <a:avLst/>
          </a:prstGeom>
        </p:spPr>
        <p:txBody>
          <a:bodyPr/>
          <a:lstStyle>
            <a:lvl1pPr>
              <a:lnSpc>
                <a:spcPct val="100000"/>
              </a:lnSpc>
              <a:spcAft>
                <a:spcPts val="533"/>
              </a:spcAft>
              <a:defRPr/>
            </a:lvl1pPr>
            <a:lvl2pPr>
              <a:lnSpc>
                <a:spcPct val="100000"/>
              </a:lnSpc>
              <a:spcAft>
                <a:spcPts val="533"/>
              </a:spcAft>
              <a:defRPr/>
            </a:lvl2pPr>
            <a:lvl3pPr>
              <a:lnSpc>
                <a:spcPct val="100000"/>
              </a:lnSpc>
              <a:spcAft>
                <a:spcPts val="533"/>
              </a:spcAft>
              <a:defRPr/>
            </a:lvl3pPr>
            <a:lvl4pPr marL="877802" marR="0" indent="-219451" algn="l" defTabSz="1219170" rtl="0" eaLnBrk="1" fontAlgn="auto" latinLnBrk="0" hangingPunct="1">
              <a:lnSpc>
                <a:spcPct val="100000"/>
              </a:lnSpc>
              <a:spcBef>
                <a:spcPts val="0"/>
              </a:spcBef>
              <a:spcAft>
                <a:spcPts val="400"/>
              </a:spcAft>
              <a:buClr>
                <a:schemeClr val="tx1"/>
              </a:buClr>
              <a:buSzTx/>
              <a:buFont typeface="Arial" panose="020B0604020202020204" pitchFamily="34" charset="0"/>
              <a:buChar char="•"/>
              <a:tabLst/>
              <a:defRPr/>
            </a:lvl4pPr>
          </a:lstStyle>
          <a:p>
            <a:pPr lvl="0"/>
            <a:r>
              <a:rPr lang="nl-NL"/>
              <a:t>Paragraph 01 </a:t>
            </a:r>
            <a:br>
              <a:rPr lang="nl-NL"/>
            </a:br>
            <a:r>
              <a:rPr lang="nl-NL"/>
              <a:t>(Raleway Medium 14 pt)</a:t>
            </a:r>
          </a:p>
          <a:p>
            <a:pPr lvl="1"/>
            <a:r>
              <a:rPr lang="nl-NL"/>
              <a:t>Paragraph 02 </a:t>
            </a:r>
            <a:br>
              <a:rPr lang="nl-NL"/>
            </a:br>
            <a:r>
              <a:rPr lang="nl-NL"/>
              <a:t>(Raleway Light 12 pt)</a:t>
            </a:r>
          </a:p>
          <a:p>
            <a:pPr lvl="2"/>
            <a:r>
              <a:rPr lang="nl-NL"/>
              <a:t>Paragraph 03 </a:t>
            </a:r>
            <a:br>
              <a:rPr lang="nl-NL"/>
            </a:br>
            <a:r>
              <a:rPr lang="nl-NL"/>
              <a:t>(Raleway Light 11 pt)</a:t>
            </a:r>
          </a:p>
          <a:p>
            <a:pPr marL="877802" marR="0" lvl="3" indent="-219451" algn="l" defTabSz="1219170" rtl="0" eaLnBrk="1" fontAlgn="auto" latinLnBrk="0" hangingPunct="1">
              <a:lnSpc>
                <a:spcPct val="100000"/>
              </a:lnSpc>
              <a:spcBef>
                <a:spcPts val="0"/>
              </a:spcBef>
              <a:spcAft>
                <a:spcPts val="400"/>
              </a:spcAft>
              <a:buClr>
                <a:schemeClr val="tx1"/>
              </a:buClr>
              <a:buSzTx/>
              <a:buFont typeface="Arial" panose="020B0604020202020204" pitchFamily="34" charset="0"/>
              <a:buChar char="•"/>
              <a:tabLst/>
              <a:defRPr/>
            </a:pPr>
            <a:r>
              <a:rPr lang="en-US"/>
              <a:t>Paragraph 04 </a:t>
            </a:r>
            <a:br>
              <a:rPr lang="en-US"/>
            </a:br>
            <a:r>
              <a:rPr lang="en-US"/>
              <a:t>(</a:t>
            </a:r>
            <a:r>
              <a:rPr lang="en-US" err="1"/>
              <a:t>Raleway</a:t>
            </a:r>
            <a:r>
              <a:rPr lang="en-US"/>
              <a:t> Light 10 </a:t>
            </a:r>
            <a:r>
              <a:rPr lang="en-US" err="1"/>
              <a:t>pt</a:t>
            </a:r>
            <a:r>
              <a:rPr lang="en-US"/>
              <a:t>)</a:t>
            </a:r>
            <a:endParaRPr lang="nl-NL"/>
          </a:p>
        </p:txBody>
      </p:sp>
      <p:sp>
        <p:nvSpPr>
          <p:cNvPr id="2" name="Title 1">
            <a:extLst>
              <a:ext uri="{FF2B5EF4-FFF2-40B4-BE49-F238E27FC236}">
                <a16:creationId xmlns:a16="http://schemas.microsoft.com/office/drawing/2014/main" id="{48B33866-2876-4BF0-9DE2-747710DFDDCB}"/>
              </a:ext>
            </a:extLst>
          </p:cNvPr>
          <p:cNvSpPr>
            <a:spLocks noGrp="1"/>
          </p:cNvSpPr>
          <p:nvPr>
            <p:ph type="title" hasCustomPrompt="1"/>
          </p:nvPr>
        </p:nvSpPr>
        <p:spPr bwMode="gray">
          <a:xfrm>
            <a:off x="303548" y="164637"/>
            <a:ext cx="11436096" cy="975360"/>
          </a:xfrm>
        </p:spPr>
        <p:txBody>
          <a:bodyPr/>
          <a:lstStyle/>
          <a:p>
            <a:r>
              <a:rPr lang="en-US"/>
              <a:t>Title in </a:t>
            </a:r>
            <a:r>
              <a:rPr lang="en-US" err="1"/>
              <a:t>Raleway</a:t>
            </a:r>
            <a:r>
              <a:rPr lang="en-US"/>
              <a:t> </a:t>
            </a:r>
            <a:r>
              <a:rPr lang="en-US" err="1"/>
              <a:t>SemiBold</a:t>
            </a:r>
            <a:r>
              <a:rPr lang="en-US"/>
              <a:t> 20pt</a:t>
            </a:r>
          </a:p>
        </p:txBody>
      </p:sp>
      <p:sp>
        <p:nvSpPr>
          <p:cNvPr id="7" name="Text Placeholder 4">
            <a:extLst>
              <a:ext uri="{FF2B5EF4-FFF2-40B4-BE49-F238E27FC236}">
                <a16:creationId xmlns:a16="http://schemas.microsoft.com/office/drawing/2014/main" id="{01A60ECB-6EBC-4D73-80BF-8386A8B8CD15}"/>
              </a:ext>
            </a:extLst>
          </p:cNvPr>
          <p:cNvSpPr>
            <a:spLocks noGrp="1"/>
          </p:cNvSpPr>
          <p:nvPr>
            <p:ph type="body" sz="quarter" idx="10" hasCustomPrompt="1"/>
          </p:nvPr>
        </p:nvSpPr>
        <p:spPr>
          <a:xfrm>
            <a:off x="303547" y="556610"/>
            <a:ext cx="11436096" cy="580529"/>
          </a:xfrm>
        </p:spPr>
        <p:txBody>
          <a:bodyPr/>
          <a:lstStyle>
            <a:lvl1pPr marL="0" indent="0">
              <a:buNone/>
              <a:defRPr sz="2133">
                <a:solidFill>
                  <a:srgbClr val="0596FF"/>
                </a:solidFill>
                <a:latin typeface="+mj-lt"/>
              </a:defRPr>
            </a:lvl1pPr>
          </a:lstStyle>
          <a:p>
            <a:pPr lvl="0"/>
            <a:r>
              <a:rPr lang="en-US"/>
              <a:t>Subtitle in </a:t>
            </a:r>
            <a:r>
              <a:rPr lang="en-US" err="1"/>
              <a:t>Raleway</a:t>
            </a:r>
            <a:r>
              <a:rPr lang="en-US"/>
              <a:t> </a:t>
            </a:r>
            <a:r>
              <a:rPr lang="en-US" err="1"/>
              <a:t>SemiBold</a:t>
            </a:r>
            <a:r>
              <a:rPr lang="en-US"/>
              <a:t> 16pt</a:t>
            </a:r>
          </a:p>
        </p:txBody>
      </p:sp>
    </p:spTree>
    <p:extLst>
      <p:ext uri="{BB962C8B-B14F-4D97-AF65-F5344CB8AC3E}">
        <p14:creationId xmlns:p14="http://schemas.microsoft.com/office/powerpoint/2010/main" val="415929778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wo column with design">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D485E858-7277-4523-AC6A-346226C6B618}"/>
              </a:ext>
            </a:extLst>
          </p:cNvPr>
          <p:cNvGrpSpPr/>
          <p:nvPr/>
        </p:nvGrpSpPr>
        <p:grpSpPr bwMode="gray">
          <a:xfrm>
            <a:off x="6589906" y="0"/>
            <a:ext cx="5602095" cy="5867400"/>
            <a:chOff x="1271192" y="805323"/>
            <a:chExt cx="4461628" cy="4672922"/>
          </a:xfrm>
        </p:grpSpPr>
        <p:sp>
          <p:nvSpPr>
            <p:cNvPr id="23" name="Freeform: Shape 22">
              <a:extLst>
                <a:ext uri="{FF2B5EF4-FFF2-40B4-BE49-F238E27FC236}">
                  <a16:creationId xmlns:a16="http://schemas.microsoft.com/office/drawing/2014/main" id="{0B2F2D73-3DD3-40BF-8096-F1D0AA2DBD43}"/>
                </a:ext>
              </a:extLst>
            </p:cNvPr>
            <p:cNvSpPr/>
            <p:nvPr userDrawn="1"/>
          </p:nvSpPr>
          <p:spPr bwMode="gray">
            <a:xfrm>
              <a:off x="1271192" y="805324"/>
              <a:ext cx="4461628" cy="4672921"/>
            </a:xfrm>
            <a:custGeom>
              <a:avLst/>
              <a:gdLst>
                <a:gd name="connsiteX0" fmla="*/ 738812 w 4461628"/>
                <a:gd name="connsiteY0" fmla="*/ 0 h 4672921"/>
                <a:gd name="connsiteX1" fmla="*/ 4461628 w 4461628"/>
                <a:gd name="connsiteY1" fmla="*/ 0 h 4672921"/>
                <a:gd name="connsiteX2" fmla="*/ 4461628 w 4461628"/>
                <a:gd name="connsiteY2" fmla="*/ 4110245 h 4672921"/>
                <a:gd name="connsiteX3" fmla="*/ 4345762 w 4461628"/>
                <a:gd name="connsiteY3" fmla="*/ 4196888 h 4672921"/>
                <a:gd name="connsiteX4" fmla="*/ 2787336 w 4461628"/>
                <a:gd name="connsiteY4" fmla="*/ 4672921 h 4672921"/>
                <a:gd name="connsiteX5" fmla="*/ 0 w 4461628"/>
                <a:gd name="connsiteY5" fmla="*/ 1885585 h 4672921"/>
                <a:gd name="connsiteX6" fmla="*/ 636492 w 4461628"/>
                <a:gd name="connsiteY6" fmla="*/ 112581 h 4672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61628" h="4672921">
                  <a:moveTo>
                    <a:pt x="738812" y="0"/>
                  </a:moveTo>
                  <a:lnTo>
                    <a:pt x="4461628" y="0"/>
                  </a:lnTo>
                  <a:lnTo>
                    <a:pt x="4461628" y="4110245"/>
                  </a:lnTo>
                  <a:lnTo>
                    <a:pt x="4345762" y="4196888"/>
                  </a:lnTo>
                  <a:cubicBezTo>
                    <a:pt x="3900900" y="4497431"/>
                    <a:pt x="3364612" y="4672921"/>
                    <a:pt x="2787336" y="4672921"/>
                  </a:cubicBezTo>
                  <a:cubicBezTo>
                    <a:pt x="1247933" y="4672921"/>
                    <a:pt x="0" y="3424988"/>
                    <a:pt x="0" y="1885585"/>
                  </a:cubicBezTo>
                  <a:cubicBezTo>
                    <a:pt x="0" y="1212096"/>
                    <a:pt x="238862" y="594397"/>
                    <a:pt x="636492" y="112581"/>
                  </a:cubicBezTo>
                  <a:close/>
                </a:path>
              </a:pathLst>
            </a:custGeom>
            <a:gradFill flip="none" rotWithShape="1">
              <a:gsLst>
                <a:gs pos="46000">
                  <a:srgbClr val="039BDA">
                    <a:alpha val="38000"/>
                  </a:srgbClr>
                </a:gs>
                <a:gs pos="0">
                  <a:schemeClr val="accent1"/>
                </a:gs>
                <a:gs pos="100000">
                  <a:schemeClr val="accent1">
                    <a:alpha val="0"/>
                  </a:schemeClr>
                </a:gs>
              </a:gsLst>
              <a:lin ang="16800000" scaled="0"/>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4" name="Freeform: Shape 23">
              <a:extLst>
                <a:ext uri="{FF2B5EF4-FFF2-40B4-BE49-F238E27FC236}">
                  <a16:creationId xmlns:a16="http://schemas.microsoft.com/office/drawing/2014/main" id="{C464B45B-BE47-4C67-90A6-19379D104E55}"/>
                </a:ext>
              </a:extLst>
            </p:cNvPr>
            <p:cNvSpPr/>
            <p:nvPr userDrawn="1"/>
          </p:nvSpPr>
          <p:spPr bwMode="gray">
            <a:xfrm>
              <a:off x="2875525" y="805323"/>
              <a:ext cx="2857295" cy="2998788"/>
            </a:xfrm>
            <a:custGeom>
              <a:avLst/>
              <a:gdLst>
                <a:gd name="connsiteX0" fmla="*/ 43110 w 2857295"/>
                <a:gd name="connsiteY0" fmla="*/ 0 h 2998788"/>
                <a:gd name="connsiteX1" fmla="*/ 2857295 w 2857295"/>
                <a:gd name="connsiteY1" fmla="*/ 0 h 2998788"/>
                <a:gd name="connsiteX2" fmla="*/ 2857295 w 2857295"/>
                <a:gd name="connsiteY2" fmla="*/ 2977273 h 2998788"/>
                <a:gd name="connsiteX3" fmla="*/ 2802326 w 2857295"/>
                <a:gd name="connsiteY3" fmla="*/ 2985662 h 2998788"/>
                <a:gd name="connsiteX4" fmla="*/ 2542382 w 2857295"/>
                <a:gd name="connsiteY4" fmla="*/ 2998788 h 2998788"/>
                <a:gd name="connsiteX5" fmla="*/ 0 w 2857295"/>
                <a:gd name="connsiteY5" fmla="*/ 456406 h 2998788"/>
                <a:gd name="connsiteX6" fmla="*/ 13126 w 2857295"/>
                <a:gd name="connsiteY6" fmla="*/ 196462 h 2998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295" h="2998788">
                  <a:moveTo>
                    <a:pt x="43110" y="0"/>
                  </a:moveTo>
                  <a:lnTo>
                    <a:pt x="2857295" y="0"/>
                  </a:lnTo>
                  <a:lnTo>
                    <a:pt x="2857295" y="2977273"/>
                  </a:lnTo>
                  <a:lnTo>
                    <a:pt x="2802326" y="2985662"/>
                  </a:lnTo>
                  <a:cubicBezTo>
                    <a:pt x="2716859" y="2994342"/>
                    <a:pt x="2630140" y="2998788"/>
                    <a:pt x="2542382" y="2998788"/>
                  </a:cubicBezTo>
                  <a:cubicBezTo>
                    <a:pt x="1138263" y="2998788"/>
                    <a:pt x="0" y="1860525"/>
                    <a:pt x="0" y="456406"/>
                  </a:cubicBezTo>
                  <a:cubicBezTo>
                    <a:pt x="0" y="368649"/>
                    <a:pt x="4447" y="281930"/>
                    <a:pt x="13126" y="196462"/>
                  </a:cubicBezTo>
                  <a:close/>
                </a:path>
              </a:pathLst>
            </a:custGeom>
            <a:solidFill>
              <a:schemeClr val="accent2">
                <a:alpha val="22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grpSp>
      <p:sp>
        <p:nvSpPr>
          <p:cNvPr id="7" name="Content Placeholder 2">
            <a:extLst>
              <a:ext uri="{FF2B5EF4-FFF2-40B4-BE49-F238E27FC236}">
                <a16:creationId xmlns:a16="http://schemas.microsoft.com/office/drawing/2014/main" id="{6C20DF42-863D-4864-B783-B1EC7CEE7910}"/>
              </a:ext>
            </a:extLst>
          </p:cNvPr>
          <p:cNvSpPr>
            <a:spLocks noGrp="1"/>
          </p:cNvSpPr>
          <p:nvPr>
            <p:ph idx="1" hasCustomPrompt="1"/>
          </p:nvPr>
        </p:nvSpPr>
        <p:spPr bwMode="gray">
          <a:xfrm>
            <a:off x="308311" y="1316765"/>
            <a:ext cx="6339840" cy="4779235"/>
          </a:xfrm>
          <a:prstGeom prst="rect">
            <a:avLst/>
          </a:prstGeom>
        </p:spPr>
        <p:txBody>
          <a:bodyPr/>
          <a:lstStyle>
            <a:lvl1pPr>
              <a:lnSpc>
                <a:spcPct val="100000"/>
              </a:lnSpc>
              <a:spcAft>
                <a:spcPts val="533"/>
              </a:spcAft>
              <a:defRPr/>
            </a:lvl1pPr>
            <a:lvl2pPr>
              <a:lnSpc>
                <a:spcPct val="100000"/>
              </a:lnSpc>
              <a:spcAft>
                <a:spcPts val="533"/>
              </a:spcAft>
              <a:defRPr/>
            </a:lvl2pPr>
            <a:lvl3pPr>
              <a:lnSpc>
                <a:spcPct val="100000"/>
              </a:lnSpc>
              <a:spcAft>
                <a:spcPts val="533"/>
              </a:spcAft>
              <a:defRPr/>
            </a:lvl3pPr>
            <a:lvl4pPr marL="877802" marR="0" indent="-219451" algn="l" defTabSz="1219170" rtl="0" eaLnBrk="1" fontAlgn="auto" latinLnBrk="0" hangingPunct="1">
              <a:lnSpc>
                <a:spcPct val="100000"/>
              </a:lnSpc>
              <a:spcBef>
                <a:spcPts val="0"/>
              </a:spcBef>
              <a:spcAft>
                <a:spcPts val="533"/>
              </a:spcAft>
              <a:buClr>
                <a:schemeClr val="tx1"/>
              </a:buClr>
              <a:buSzTx/>
              <a:buFont typeface="Arial" panose="020B0604020202020204" pitchFamily="34" charset="0"/>
              <a:buChar char="•"/>
              <a:tabLst/>
              <a:defRPr/>
            </a:lvl4pPr>
          </a:lstStyle>
          <a:p>
            <a:pPr lvl="0"/>
            <a:r>
              <a:rPr lang="nl-NL"/>
              <a:t>Paragraph 01 (Raleway Medium 14 pt)</a:t>
            </a:r>
          </a:p>
          <a:p>
            <a:pPr lvl="1"/>
            <a:r>
              <a:rPr lang="nl-NL"/>
              <a:t>Paragraph 02 (Raleway Light 12 pt)</a:t>
            </a:r>
          </a:p>
          <a:p>
            <a:pPr lvl="2"/>
            <a:r>
              <a:rPr lang="nl-NL"/>
              <a:t>Paragraph 03 (Raleway Light 11 pt)</a:t>
            </a:r>
          </a:p>
          <a:p>
            <a:pPr marL="877802" marR="0" lvl="3" indent="-219451" algn="l" defTabSz="1219170" rtl="0" eaLnBrk="1" fontAlgn="auto" latinLnBrk="0" hangingPunct="1">
              <a:lnSpc>
                <a:spcPct val="100000"/>
              </a:lnSpc>
              <a:spcBef>
                <a:spcPts val="0"/>
              </a:spcBef>
              <a:spcAft>
                <a:spcPts val="400"/>
              </a:spcAft>
              <a:buClr>
                <a:schemeClr val="tx1"/>
              </a:buClr>
              <a:buSzTx/>
              <a:buFont typeface="Arial" panose="020B0604020202020204" pitchFamily="34" charset="0"/>
              <a:buChar char="•"/>
              <a:tabLst/>
              <a:defRPr/>
            </a:pPr>
            <a:r>
              <a:rPr lang="en-US"/>
              <a:t>Paragraph 04 (</a:t>
            </a:r>
            <a:r>
              <a:rPr lang="en-US" err="1"/>
              <a:t>Raleway</a:t>
            </a:r>
            <a:r>
              <a:rPr lang="en-US"/>
              <a:t> Light 10 </a:t>
            </a:r>
            <a:r>
              <a:rPr lang="en-US" err="1"/>
              <a:t>pt</a:t>
            </a:r>
            <a:r>
              <a:rPr lang="en-US"/>
              <a:t>)</a:t>
            </a:r>
            <a:endParaRPr lang="nl-NL"/>
          </a:p>
        </p:txBody>
      </p:sp>
      <p:sp>
        <p:nvSpPr>
          <p:cNvPr id="9" name="Content Placeholder 2">
            <a:extLst>
              <a:ext uri="{FF2B5EF4-FFF2-40B4-BE49-F238E27FC236}">
                <a16:creationId xmlns:a16="http://schemas.microsoft.com/office/drawing/2014/main" id="{1DBE6B0A-11C9-4607-AEBB-04B9ED54F675}"/>
              </a:ext>
            </a:extLst>
          </p:cNvPr>
          <p:cNvSpPr>
            <a:spLocks noGrp="1"/>
          </p:cNvSpPr>
          <p:nvPr>
            <p:ph idx="11" hasCustomPrompt="1"/>
          </p:nvPr>
        </p:nvSpPr>
        <p:spPr bwMode="gray">
          <a:xfrm>
            <a:off x="6862844" y="1316765"/>
            <a:ext cx="4876800" cy="4779235"/>
          </a:xfrm>
          <a:prstGeom prst="rect">
            <a:avLst/>
          </a:prstGeom>
        </p:spPr>
        <p:txBody>
          <a:bodyPr/>
          <a:lstStyle>
            <a:lvl1pPr>
              <a:lnSpc>
                <a:spcPct val="100000"/>
              </a:lnSpc>
              <a:spcAft>
                <a:spcPts val="533"/>
              </a:spcAft>
              <a:defRPr>
                <a:solidFill>
                  <a:schemeClr val="tx1"/>
                </a:solidFill>
              </a:defRPr>
            </a:lvl1pPr>
            <a:lvl2pPr>
              <a:lnSpc>
                <a:spcPct val="100000"/>
              </a:lnSpc>
              <a:spcAft>
                <a:spcPts val="533"/>
              </a:spcAft>
              <a:defRPr>
                <a:solidFill>
                  <a:schemeClr val="tx1"/>
                </a:solidFill>
              </a:defRPr>
            </a:lvl2pPr>
            <a:lvl3pPr>
              <a:lnSpc>
                <a:spcPct val="100000"/>
              </a:lnSpc>
              <a:spcAft>
                <a:spcPts val="533"/>
              </a:spcAft>
              <a:defRPr>
                <a:solidFill>
                  <a:schemeClr val="tx1"/>
                </a:solidFill>
              </a:defRPr>
            </a:lvl3pPr>
            <a:lvl4pPr marL="877802" marR="0" indent="-219451" algn="l" defTabSz="1219170" rtl="0" eaLnBrk="1" fontAlgn="auto" latinLnBrk="0" hangingPunct="1">
              <a:lnSpc>
                <a:spcPct val="100000"/>
              </a:lnSpc>
              <a:spcBef>
                <a:spcPts val="0"/>
              </a:spcBef>
              <a:spcAft>
                <a:spcPts val="533"/>
              </a:spcAft>
              <a:buClr>
                <a:schemeClr val="tx1"/>
              </a:buClr>
              <a:buSzTx/>
              <a:buFont typeface="Arial" panose="020B0604020202020204" pitchFamily="34" charset="0"/>
              <a:buChar char="•"/>
              <a:tabLst/>
              <a:defRPr>
                <a:solidFill>
                  <a:schemeClr val="tx1"/>
                </a:solidFill>
              </a:defRPr>
            </a:lvl4pPr>
          </a:lstStyle>
          <a:p>
            <a:pPr lvl="0"/>
            <a:r>
              <a:rPr lang="nl-NL"/>
              <a:t>Paragraph 01 (Raleway Medium 14 pt)</a:t>
            </a:r>
          </a:p>
          <a:p>
            <a:pPr lvl="1"/>
            <a:r>
              <a:rPr lang="nl-NL"/>
              <a:t>Paragraph 02 (Raleway Light 12 pt)</a:t>
            </a:r>
          </a:p>
          <a:p>
            <a:pPr lvl="2"/>
            <a:r>
              <a:rPr lang="nl-NL"/>
              <a:t>Paragraph 03 (Raleway Light 11 pt)</a:t>
            </a:r>
          </a:p>
          <a:p>
            <a:pPr marL="877802" marR="0" lvl="3" indent="-219451" algn="l" defTabSz="1219170" rtl="0" eaLnBrk="1" fontAlgn="auto" latinLnBrk="0" hangingPunct="1">
              <a:lnSpc>
                <a:spcPct val="100000"/>
              </a:lnSpc>
              <a:spcBef>
                <a:spcPts val="0"/>
              </a:spcBef>
              <a:spcAft>
                <a:spcPts val="400"/>
              </a:spcAft>
              <a:buClr>
                <a:schemeClr val="tx1"/>
              </a:buClr>
              <a:buSzTx/>
              <a:buFont typeface="Arial" panose="020B0604020202020204" pitchFamily="34" charset="0"/>
              <a:buChar char="•"/>
              <a:tabLst/>
              <a:defRPr/>
            </a:pPr>
            <a:r>
              <a:rPr lang="en-US"/>
              <a:t>Paragraph 04 (</a:t>
            </a:r>
            <a:r>
              <a:rPr lang="en-US" err="1"/>
              <a:t>Raleway</a:t>
            </a:r>
            <a:r>
              <a:rPr lang="en-US"/>
              <a:t> Light 10 </a:t>
            </a:r>
            <a:r>
              <a:rPr lang="en-US" err="1"/>
              <a:t>pt</a:t>
            </a:r>
            <a:r>
              <a:rPr lang="en-US"/>
              <a:t>)</a:t>
            </a:r>
            <a:endParaRPr lang="nl-NL"/>
          </a:p>
        </p:txBody>
      </p:sp>
      <p:sp>
        <p:nvSpPr>
          <p:cNvPr id="2" name="Title 1">
            <a:extLst>
              <a:ext uri="{FF2B5EF4-FFF2-40B4-BE49-F238E27FC236}">
                <a16:creationId xmlns:a16="http://schemas.microsoft.com/office/drawing/2014/main" id="{6625216C-BD30-4E0C-98A7-B66CA3B490D4}"/>
              </a:ext>
            </a:extLst>
          </p:cNvPr>
          <p:cNvSpPr>
            <a:spLocks noGrp="1"/>
          </p:cNvSpPr>
          <p:nvPr>
            <p:ph type="title" hasCustomPrompt="1"/>
          </p:nvPr>
        </p:nvSpPr>
        <p:spPr bwMode="gray">
          <a:xfrm>
            <a:off x="303548" y="164637"/>
            <a:ext cx="11436096" cy="975360"/>
          </a:xfrm>
        </p:spPr>
        <p:txBody>
          <a:bodyPr/>
          <a:lstStyle/>
          <a:p>
            <a:r>
              <a:rPr lang="en-US"/>
              <a:t>Title in </a:t>
            </a:r>
            <a:r>
              <a:rPr lang="en-US" err="1"/>
              <a:t>Raleway</a:t>
            </a:r>
            <a:r>
              <a:rPr lang="en-US"/>
              <a:t> </a:t>
            </a:r>
            <a:r>
              <a:rPr lang="en-US" err="1"/>
              <a:t>SemiBold</a:t>
            </a:r>
            <a:r>
              <a:rPr lang="en-US"/>
              <a:t> 20pt</a:t>
            </a:r>
          </a:p>
        </p:txBody>
      </p:sp>
      <p:sp>
        <p:nvSpPr>
          <p:cNvPr id="8" name="Text Placeholder 4">
            <a:extLst>
              <a:ext uri="{FF2B5EF4-FFF2-40B4-BE49-F238E27FC236}">
                <a16:creationId xmlns:a16="http://schemas.microsoft.com/office/drawing/2014/main" id="{51A3424B-3137-4162-8F0D-DFDAB92C0D28}"/>
              </a:ext>
            </a:extLst>
          </p:cNvPr>
          <p:cNvSpPr>
            <a:spLocks noGrp="1"/>
          </p:cNvSpPr>
          <p:nvPr>
            <p:ph type="body" sz="quarter" idx="10" hasCustomPrompt="1"/>
          </p:nvPr>
        </p:nvSpPr>
        <p:spPr>
          <a:xfrm>
            <a:off x="303547" y="556610"/>
            <a:ext cx="11436096" cy="580529"/>
          </a:xfrm>
        </p:spPr>
        <p:txBody>
          <a:bodyPr/>
          <a:lstStyle>
            <a:lvl1pPr marL="0" indent="0">
              <a:buNone/>
              <a:defRPr sz="2133">
                <a:solidFill>
                  <a:srgbClr val="0596FF"/>
                </a:solidFill>
                <a:latin typeface="+mj-lt"/>
              </a:defRPr>
            </a:lvl1pPr>
          </a:lstStyle>
          <a:p>
            <a:pPr lvl="0"/>
            <a:r>
              <a:rPr lang="en-US"/>
              <a:t>Subtitle in </a:t>
            </a:r>
            <a:r>
              <a:rPr lang="en-US" err="1"/>
              <a:t>Raleway</a:t>
            </a:r>
            <a:r>
              <a:rPr lang="en-US"/>
              <a:t> </a:t>
            </a:r>
            <a:r>
              <a:rPr lang="en-US" err="1"/>
              <a:t>SemiBold</a:t>
            </a:r>
            <a:r>
              <a:rPr lang="en-US"/>
              <a:t> 16pt</a:t>
            </a:r>
          </a:p>
        </p:txBody>
      </p:sp>
    </p:spTree>
    <p:extLst>
      <p:ext uri="{BB962C8B-B14F-4D97-AF65-F5344CB8AC3E}">
        <p14:creationId xmlns:p14="http://schemas.microsoft.com/office/powerpoint/2010/main" val="362687787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2 x 3 Table format">
    <p:spTree>
      <p:nvGrpSpPr>
        <p:cNvPr id="1" name=""/>
        <p:cNvGrpSpPr/>
        <p:nvPr/>
      </p:nvGrpSpPr>
      <p:grpSpPr>
        <a:xfrm>
          <a:off x="0" y="0"/>
          <a:ext cx="0" cy="0"/>
          <a:chOff x="0" y="0"/>
          <a:chExt cx="0" cy="0"/>
        </a:xfrm>
      </p:grpSpPr>
      <p:sp>
        <p:nvSpPr>
          <p:cNvPr id="16" name="Rectangle: Rounded Corners 15">
            <a:extLst>
              <a:ext uri="{FF2B5EF4-FFF2-40B4-BE49-F238E27FC236}">
                <a16:creationId xmlns:a16="http://schemas.microsoft.com/office/drawing/2014/main" id="{FD2044E8-B170-4670-93E7-0D73DE2C2BA1}"/>
              </a:ext>
            </a:extLst>
          </p:cNvPr>
          <p:cNvSpPr/>
          <p:nvPr/>
        </p:nvSpPr>
        <p:spPr bwMode="gray">
          <a:xfrm>
            <a:off x="3858929" y="1432984"/>
            <a:ext cx="3823123" cy="721331"/>
          </a:xfrm>
          <a:prstGeom prst="roundRect">
            <a:avLst/>
          </a:prstGeom>
          <a:gradFill flip="none" rotWithShape="1">
            <a:gsLst>
              <a:gs pos="0">
                <a:schemeClr val="bg2"/>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867">
              <a:solidFill>
                <a:schemeClr val="accent1"/>
              </a:solidFill>
              <a:latin typeface="+mj-lt"/>
            </a:endParaRPr>
          </a:p>
        </p:txBody>
      </p:sp>
      <p:sp>
        <p:nvSpPr>
          <p:cNvPr id="17" name="Rectangle: Rounded Corners 16">
            <a:extLst>
              <a:ext uri="{FF2B5EF4-FFF2-40B4-BE49-F238E27FC236}">
                <a16:creationId xmlns:a16="http://schemas.microsoft.com/office/drawing/2014/main" id="{60471C9D-9067-4CE4-9B0A-0516F060B6DD}"/>
              </a:ext>
            </a:extLst>
          </p:cNvPr>
          <p:cNvSpPr/>
          <p:nvPr/>
        </p:nvSpPr>
        <p:spPr bwMode="gray">
          <a:xfrm>
            <a:off x="7930728" y="1432984"/>
            <a:ext cx="3823123" cy="721331"/>
          </a:xfrm>
          <a:prstGeom prst="roundRect">
            <a:avLst/>
          </a:prstGeom>
          <a:gradFill flip="none" rotWithShape="1">
            <a:gsLst>
              <a:gs pos="0">
                <a:schemeClr val="bg2"/>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867">
              <a:solidFill>
                <a:schemeClr val="accent4"/>
              </a:solidFill>
              <a:latin typeface="+mj-lt"/>
            </a:endParaRPr>
          </a:p>
        </p:txBody>
      </p:sp>
      <p:sp>
        <p:nvSpPr>
          <p:cNvPr id="13" name="Rectangle: Rounded Corners 12">
            <a:extLst>
              <a:ext uri="{FF2B5EF4-FFF2-40B4-BE49-F238E27FC236}">
                <a16:creationId xmlns:a16="http://schemas.microsoft.com/office/drawing/2014/main" id="{0AAC43FA-2C17-4310-975D-9F2CC8E8A130}"/>
              </a:ext>
            </a:extLst>
          </p:cNvPr>
          <p:cNvSpPr/>
          <p:nvPr/>
        </p:nvSpPr>
        <p:spPr bwMode="gray">
          <a:xfrm>
            <a:off x="431801" y="2331867"/>
            <a:ext cx="3178452" cy="1100831"/>
          </a:xfrm>
          <a:prstGeom prst="roundRect">
            <a:avLst/>
          </a:prstGeom>
          <a:gradFill flip="none" rotWithShape="1">
            <a:gsLst>
              <a:gs pos="0">
                <a:schemeClr val="bg2"/>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600">
              <a:solidFill>
                <a:schemeClr val="tx1"/>
              </a:solidFill>
              <a:latin typeface="+mj-lt"/>
            </a:endParaRPr>
          </a:p>
        </p:txBody>
      </p:sp>
      <p:sp>
        <p:nvSpPr>
          <p:cNvPr id="14" name="Rectangle: Rounded Corners 13">
            <a:extLst>
              <a:ext uri="{FF2B5EF4-FFF2-40B4-BE49-F238E27FC236}">
                <a16:creationId xmlns:a16="http://schemas.microsoft.com/office/drawing/2014/main" id="{EA29D3CB-04E1-4254-96D2-04A5B8CB64A8}"/>
              </a:ext>
            </a:extLst>
          </p:cNvPr>
          <p:cNvSpPr/>
          <p:nvPr/>
        </p:nvSpPr>
        <p:spPr bwMode="gray">
          <a:xfrm>
            <a:off x="431801" y="3663519"/>
            <a:ext cx="3178452" cy="1100831"/>
          </a:xfrm>
          <a:prstGeom prst="roundRect">
            <a:avLst/>
          </a:prstGeom>
          <a:gradFill flip="none" rotWithShape="1">
            <a:gsLst>
              <a:gs pos="0">
                <a:schemeClr val="bg2"/>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600">
              <a:solidFill>
                <a:schemeClr val="tx1"/>
              </a:solidFill>
              <a:latin typeface="+mj-lt"/>
            </a:endParaRPr>
          </a:p>
        </p:txBody>
      </p:sp>
      <p:sp>
        <p:nvSpPr>
          <p:cNvPr id="15" name="Rectangle: Rounded Corners 14">
            <a:extLst>
              <a:ext uri="{FF2B5EF4-FFF2-40B4-BE49-F238E27FC236}">
                <a16:creationId xmlns:a16="http://schemas.microsoft.com/office/drawing/2014/main" id="{363853CF-3336-48A6-A5C4-BD73780749EA}"/>
              </a:ext>
            </a:extLst>
          </p:cNvPr>
          <p:cNvSpPr/>
          <p:nvPr/>
        </p:nvSpPr>
        <p:spPr bwMode="gray">
          <a:xfrm>
            <a:off x="431801" y="4995170"/>
            <a:ext cx="3178452" cy="1100831"/>
          </a:xfrm>
          <a:prstGeom prst="roundRect">
            <a:avLst/>
          </a:prstGeom>
          <a:gradFill flip="none" rotWithShape="1">
            <a:gsLst>
              <a:gs pos="0">
                <a:schemeClr val="bg2"/>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600">
              <a:solidFill>
                <a:schemeClr val="tx1"/>
              </a:solidFill>
              <a:latin typeface="+mj-lt"/>
            </a:endParaRPr>
          </a:p>
        </p:txBody>
      </p:sp>
      <p:sp>
        <p:nvSpPr>
          <p:cNvPr id="20" name="Text Placeholder 5">
            <a:extLst>
              <a:ext uri="{FF2B5EF4-FFF2-40B4-BE49-F238E27FC236}">
                <a16:creationId xmlns:a16="http://schemas.microsoft.com/office/drawing/2014/main" id="{865DE240-9DED-468B-8408-87FDDC1791EE}"/>
              </a:ext>
            </a:extLst>
          </p:cNvPr>
          <p:cNvSpPr>
            <a:spLocks noGrp="1"/>
          </p:cNvSpPr>
          <p:nvPr>
            <p:ph type="body" sz="quarter" idx="14" hasCustomPrompt="1"/>
          </p:nvPr>
        </p:nvSpPr>
        <p:spPr bwMode="gray">
          <a:xfrm>
            <a:off x="431800" y="2331867"/>
            <a:ext cx="3182112" cy="1097280"/>
          </a:xfrm>
        </p:spPr>
        <p:txBody>
          <a:bodyPr lIns="91440" tIns="91440" rIns="91440" bIns="45720" anchor="t"/>
          <a:lstStyle>
            <a:lvl1pPr marL="0" indent="0" algn="l">
              <a:buNone/>
              <a:defRPr sz="1600">
                <a:latin typeface="+mj-lt"/>
              </a:defRPr>
            </a:lvl1pPr>
          </a:lstStyle>
          <a:p>
            <a:pPr lvl="0"/>
            <a:r>
              <a:rPr lang="en-US"/>
              <a:t>Text</a:t>
            </a:r>
          </a:p>
        </p:txBody>
      </p:sp>
      <p:sp>
        <p:nvSpPr>
          <p:cNvPr id="21" name="Text Placeholder 5">
            <a:extLst>
              <a:ext uri="{FF2B5EF4-FFF2-40B4-BE49-F238E27FC236}">
                <a16:creationId xmlns:a16="http://schemas.microsoft.com/office/drawing/2014/main" id="{24221231-F65C-444E-86F3-11E362190CDA}"/>
              </a:ext>
            </a:extLst>
          </p:cNvPr>
          <p:cNvSpPr>
            <a:spLocks noGrp="1"/>
          </p:cNvSpPr>
          <p:nvPr>
            <p:ph type="body" sz="quarter" idx="15" hasCustomPrompt="1"/>
          </p:nvPr>
        </p:nvSpPr>
        <p:spPr bwMode="gray">
          <a:xfrm>
            <a:off x="431800" y="3663519"/>
            <a:ext cx="3182112" cy="1097280"/>
          </a:xfrm>
        </p:spPr>
        <p:txBody>
          <a:bodyPr lIns="91440" tIns="91440" rIns="91440" bIns="45720" anchor="t"/>
          <a:lstStyle>
            <a:lvl1pPr marL="0" indent="0" algn="l">
              <a:buNone/>
              <a:defRPr sz="1600">
                <a:latin typeface="+mj-lt"/>
              </a:defRPr>
            </a:lvl1pPr>
          </a:lstStyle>
          <a:p>
            <a:pPr lvl="0"/>
            <a:r>
              <a:rPr lang="en-US"/>
              <a:t>Text</a:t>
            </a:r>
          </a:p>
        </p:txBody>
      </p:sp>
      <p:sp>
        <p:nvSpPr>
          <p:cNvPr id="22" name="Text Placeholder 5">
            <a:extLst>
              <a:ext uri="{FF2B5EF4-FFF2-40B4-BE49-F238E27FC236}">
                <a16:creationId xmlns:a16="http://schemas.microsoft.com/office/drawing/2014/main" id="{2482BD1E-38F6-47D7-BBAC-A70C8E7A28F6}"/>
              </a:ext>
            </a:extLst>
          </p:cNvPr>
          <p:cNvSpPr>
            <a:spLocks noGrp="1"/>
          </p:cNvSpPr>
          <p:nvPr>
            <p:ph type="body" sz="quarter" idx="16" hasCustomPrompt="1"/>
          </p:nvPr>
        </p:nvSpPr>
        <p:spPr bwMode="gray">
          <a:xfrm>
            <a:off x="431800" y="4995169"/>
            <a:ext cx="3182112" cy="1097280"/>
          </a:xfrm>
        </p:spPr>
        <p:txBody>
          <a:bodyPr lIns="91440" tIns="91440" rIns="91440" bIns="45720" anchor="t"/>
          <a:lstStyle>
            <a:lvl1pPr marL="0" indent="0" algn="l">
              <a:buNone/>
              <a:defRPr sz="1600">
                <a:latin typeface="+mj-lt"/>
              </a:defRPr>
            </a:lvl1pPr>
          </a:lstStyle>
          <a:p>
            <a:pPr lvl="0"/>
            <a:r>
              <a:rPr lang="en-US"/>
              <a:t>Text</a:t>
            </a:r>
          </a:p>
        </p:txBody>
      </p: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gray">
          <a:xfrm>
            <a:off x="303548" y="164637"/>
            <a:ext cx="11436096" cy="975360"/>
          </a:xfrm>
        </p:spPr>
        <p:txBody>
          <a:bodyPr/>
          <a:lstStyle/>
          <a:p>
            <a:r>
              <a:rPr lang="en-US"/>
              <a:t>Title in </a:t>
            </a:r>
            <a:r>
              <a:rPr lang="en-US" err="1"/>
              <a:t>Raleway</a:t>
            </a:r>
            <a:r>
              <a:rPr lang="en-US"/>
              <a:t> </a:t>
            </a:r>
            <a:r>
              <a:rPr lang="en-US" err="1"/>
              <a:t>SemiBold</a:t>
            </a:r>
            <a:r>
              <a:rPr lang="en-US"/>
              <a:t> 20pt</a:t>
            </a:r>
          </a:p>
        </p:txBody>
      </p:sp>
      <p:sp>
        <p:nvSpPr>
          <p:cNvPr id="12" name="Text Placeholder 4">
            <a:extLst>
              <a:ext uri="{FF2B5EF4-FFF2-40B4-BE49-F238E27FC236}">
                <a16:creationId xmlns:a16="http://schemas.microsoft.com/office/drawing/2014/main" id="{20E81642-44FE-49E3-9BF9-79C2AC852D3A}"/>
              </a:ext>
            </a:extLst>
          </p:cNvPr>
          <p:cNvSpPr>
            <a:spLocks noGrp="1"/>
          </p:cNvSpPr>
          <p:nvPr>
            <p:ph type="body" sz="quarter" idx="10" hasCustomPrompt="1"/>
          </p:nvPr>
        </p:nvSpPr>
        <p:spPr bwMode="gray">
          <a:xfrm>
            <a:off x="303547" y="556610"/>
            <a:ext cx="11436096" cy="580529"/>
          </a:xfrm>
        </p:spPr>
        <p:txBody>
          <a:bodyPr/>
          <a:lstStyle>
            <a:lvl1pPr marL="0" indent="0">
              <a:buNone/>
              <a:defRPr sz="2133">
                <a:solidFill>
                  <a:srgbClr val="0596FF"/>
                </a:solidFill>
                <a:latin typeface="+mj-lt"/>
              </a:defRPr>
            </a:lvl1pPr>
          </a:lstStyle>
          <a:p>
            <a:pPr lvl="0"/>
            <a:r>
              <a:rPr lang="en-US"/>
              <a:t>Subtitle in </a:t>
            </a:r>
            <a:r>
              <a:rPr lang="en-US" err="1"/>
              <a:t>Raleway</a:t>
            </a:r>
            <a:r>
              <a:rPr lang="en-US"/>
              <a:t> </a:t>
            </a:r>
            <a:r>
              <a:rPr lang="en-US" err="1"/>
              <a:t>SemiBold</a:t>
            </a:r>
            <a:r>
              <a:rPr lang="en-US"/>
              <a:t> 16pt</a:t>
            </a:r>
          </a:p>
        </p:txBody>
      </p:sp>
      <p:sp>
        <p:nvSpPr>
          <p:cNvPr id="19" name="Text Placeholder 5">
            <a:extLst>
              <a:ext uri="{FF2B5EF4-FFF2-40B4-BE49-F238E27FC236}">
                <a16:creationId xmlns:a16="http://schemas.microsoft.com/office/drawing/2014/main" id="{DF47391B-86BB-448B-BDAB-35ECA05C01C8}"/>
              </a:ext>
            </a:extLst>
          </p:cNvPr>
          <p:cNvSpPr>
            <a:spLocks noGrp="1"/>
          </p:cNvSpPr>
          <p:nvPr>
            <p:ph type="body" sz="quarter" idx="13" hasCustomPrompt="1"/>
          </p:nvPr>
        </p:nvSpPr>
        <p:spPr bwMode="gray">
          <a:xfrm>
            <a:off x="3858929" y="2331867"/>
            <a:ext cx="3828288" cy="1097280"/>
          </a:xfrm>
        </p:spPr>
        <p:txBody>
          <a:bodyPr lIns="91440" tIns="45720" rIns="91440" bIns="45720" anchor="t"/>
          <a:lstStyle>
            <a:lvl1pPr marL="0" indent="0" algn="l">
              <a:buNone/>
              <a:defRPr sz="1600">
                <a:latin typeface="+mn-lt"/>
              </a:defRPr>
            </a:lvl1pPr>
          </a:lstStyle>
          <a:p>
            <a:pPr lvl="0"/>
            <a:r>
              <a:rPr lang="en-US"/>
              <a:t>Text</a:t>
            </a:r>
          </a:p>
        </p:txBody>
      </p:sp>
      <p:sp>
        <p:nvSpPr>
          <p:cNvPr id="23" name="Text Placeholder 5">
            <a:extLst>
              <a:ext uri="{FF2B5EF4-FFF2-40B4-BE49-F238E27FC236}">
                <a16:creationId xmlns:a16="http://schemas.microsoft.com/office/drawing/2014/main" id="{DFD8F45F-7B56-4332-AF85-2AE6A07C0D23}"/>
              </a:ext>
            </a:extLst>
          </p:cNvPr>
          <p:cNvSpPr>
            <a:spLocks noGrp="1"/>
          </p:cNvSpPr>
          <p:nvPr>
            <p:ph type="body" sz="quarter" idx="17" hasCustomPrompt="1"/>
          </p:nvPr>
        </p:nvSpPr>
        <p:spPr bwMode="gray">
          <a:xfrm>
            <a:off x="3858929" y="3663519"/>
            <a:ext cx="3828288" cy="1097280"/>
          </a:xfrm>
        </p:spPr>
        <p:txBody>
          <a:bodyPr lIns="91440" tIns="45720" rIns="91440" bIns="45720" anchor="t"/>
          <a:lstStyle>
            <a:lvl1pPr marL="0" indent="0" algn="l">
              <a:buNone/>
              <a:defRPr sz="1600">
                <a:latin typeface="+mn-lt"/>
              </a:defRPr>
            </a:lvl1pPr>
          </a:lstStyle>
          <a:p>
            <a:pPr lvl="0"/>
            <a:r>
              <a:rPr lang="en-US"/>
              <a:t>Text</a:t>
            </a:r>
          </a:p>
        </p:txBody>
      </p:sp>
      <p:sp>
        <p:nvSpPr>
          <p:cNvPr id="24" name="Text Placeholder 5">
            <a:extLst>
              <a:ext uri="{FF2B5EF4-FFF2-40B4-BE49-F238E27FC236}">
                <a16:creationId xmlns:a16="http://schemas.microsoft.com/office/drawing/2014/main" id="{CDE47660-6FF5-4273-927F-10B15F30F6BA}"/>
              </a:ext>
            </a:extLst>
          </p:cNvPr>
          <p:cNvSpPr>
            <a:spLocks noGrp="1"/>
          </p:cNvSpPr>
          <p:nvPr>
            <p:ph type="body" sz="quarter" idx="18" hasCustomPrompt="1"/>
          </p:nvPr>
        </p:nvSpPr>
        <p:spPr bwMode="gray">
          <a:xfrm>
            <a:off x="3858929" y="4995169"/>
            <a:ext cx="3828288" cy="1097280"/>
          </a:xfrm>
        </p:spPr>
        <p:txBody>
          <a:bodyPr lIns="91440" tIns="45720" rIns="91440" bIns="45720" anchor="t"/>
          <a:lstStyle>
            <a:lvl1pPr marL="0" indent="0" algn="l">
              <a:buNone/>
              <a:defRPr sz="1600">
                <a:latin typeface="+mn-lt"/>
              </a:defRPr>
            </a:lvl1pPr>
          </a:lstStyle>
          <a:p>
            <a:pPr lvl="0"/>
            <a:r>
              <a:rPr lang="en-US"/>
              <a:t>Text</a:t>
            </a:r>
          </a:p>
        </p:txBody>
      </p:sp>
      <p:sp>
        <p:nvSpPr>
          <p:cNvPr id="25" name="Text Placeholder 5">
            <a:extLst>
              <a:ext uri="{FF2B5EF4-FFF2-40B4-BE49-F238E27FC236}">
                <a16:creationId xmlns:a16="http://schemas.microsoft.com/office/drawing/2014/main" id="{A0B1C8B2-9DC8-4FF8-A533-631CF381CF76}"/>
              </a:ext>
            </a:extLst>
          </p:cNvPr>
          <p:cNvSpPr>
            <a:spLocks noGrp="1"/>
          </p:cNvSpPr>
          <p:nvPr>
            <p:ph type="body" sz="quarter" idx="19" hasCustomPrompt="1"/>
          </p:nvPr>
        </p:nvSpPr>
        <p:spPr bwMode="gray">
          <a:xfrm>
            <a:off x="7930728" y="2331867"/>
            <a:ext cx="3828288" cy="1097280"/>
          </a:xfrm>
        </p:spPr>
        <p:txBody>
          <a:bodyPr lIns="91440" tIns="45720" rIns="91440" bIns="45720" anchor="t"/>
          <a:lstStyle>
            <a:lvl1pPr marL="0" indent="0" algn="l">
              <a:buNone/>
              <a:defRPr sz="1600">
                <a:latin typeface="+mn-lt"/>
              </a:defRPr>
            </a:lvl1pPr>
          </a:lstStyle>
          <a:p>
            <a:pPr lvl="0"/>
            <a:r>
              <a:rPr lang="en-US"/>
              <a:t>Text</a:t>
            </a:r>
          </a:p>
        </p:txBody>
      </p:sp>
      <p:sp>
        <p:nvSpPr>
          <p:cNvPr id="26" name="Text Placeholder 5">
            <a:extLst>
              <a:ext uri="{FF2B5EF4-FFF2-40B4-BE49-F238E27FC236}">
                <a16:creationId xmlns:a16="http://schemas.microsoft.com/office/drawing/2014/main" id="{CDB831E6-1489-49ED-9F9D-7DAAC230B4E6}"/>
              </a:ext>
            </a:extLst>
          </p:cNvPr>
          <p:cNvSpPr>
            <a:spLocks noGrp="1"/>
          </p:cNvSpPr>
          <p:nvPr>
            <p:ph type="body" sz="quarter" idx="20" hasCustomPrompt="1"/>
          </p:nvPr>
        </p:nvSpPr>
        <p:spPr bwMode="gray">
          <a:xfrm>
            <a:off x="7930728" y="3663519"/>
            <a:ext cx="3828288" cy="1097280"/>
          </a:xfrm>
        </p:spPr>
        <p:txBody>
          <a:bodyPr lIns="91440" tIns="45720" rIns="91440" bIns="45720" anchor="t"/>
          <a:lstStyle>
            <a:lvl1pPr marL="0" indent="0" algn="l">
              <a:buNone/>
              <a:defRPr sz="1600">
                <a:latin typeface="+mn-lt"/>
              </a:defRPr>
            </a:lvl1pPr>
          </a:lstStyle>
          <a:p>
            <a:pPr lvl="0"/>
            <a:r>
              <a:rPr lang="en-US"/>
              <a:t>Text</a:t>
            </a:r>
          </a:p>
        </p:txBody>
      </p:sp>
      <p:sp>
        <p:nvSpPr>
          <p:cNvPr id="27" name="Text Placeholder 5">
            <a:extLst>
              <a:ext uri="{FF2B5EF4-FFF2-40B4-BE49-F238E27FC236}">
                <a16:creationId xmlns:a16="http://schemas.microsoft.com/office/drawing/2014/main" id="{63D5D76A-D62F-4F95-80F9-A22030B23127}"/>
              </a:ext>
            </a:extLst>
          </p:cNvPr>
          <p:cNvSpPr>
            <a:spLocks noGrp="1"/>
          </p:cNvSpPr>
          <p:nvPr>
            <p:ph type="body" sz="quarter" idx="21" hasCustomPrompt="1"/>
          </p:nvPr>
        </p:nvSpPr>
        <p:spPr bwMode="gray">
          <a:xfrm>
            <a:off x="7930728" y="4995169"/>
            <a:ext cx="3828288" cy="1097280"/>
          </a:xfrm>
        </p:spPr>
        <p:txBody>
          <a:bodyPr lIns="91440" tIns="45720" rIns="91440" bIns="45720" anchor="t"/>
          <a:lstStyle>
            <a:lvl1pPr marL="0" indent="0" algn="l">
              <a:buNone/>
              <a:defRPr sz="1600">
                <a:latin typeface="+mn-lt"/>
              </a:defRPr>
            </a:lvl1pPr>
          </a:lstStyle>
          <a:p>
            <a:pPr lvl="0"/>
            <a:r>
              <a:rPr lang="en-US"/>
              <a:t>Text</a:t>
            </a:r>
          </a:p>
        </p:txBody>
      </p:sp>
      <p:sp>
        <p:nvSpPr>
          <p:cNvPr id="28" name="Text Placeholder 5">
            <a:extLst>
              <a:ext uri="{FF2B5EF4-FFF2-40B4-BE49-F238E27FC236}">
                <a16:creationId xmlns:a16="http://schemas.microsoft.com/office/drawing/2014/main" id="{9F96D3A1-11B2-4382-8EB9-8DA25C910034}"/>
              </a:ext>
            </a:extLst>
          </p:cNvPr>
          <p:cNvSpPr>
            <a:spLocks noGrp="1"/>
          </p:cNvSpPr>
          <p:nvPr>
            <p:ph type="body" sz="quarter" idx="22" hasCustomPrompt="1"/>
          </p:nvPr>
        </p:nvSpPr>
        <p:spPr bwMode="gray">
          <a:xfrm>
            <a:off x="3858929" y="1432984"/>
            <a:ext cx="3828288" cy="719328"/>
          </a:xfrm>
        </p:spPr>
        <p:txBody>
          <a:bodyPr lIns="91440" tIns="45720" rIns="91440" bIns="45720" anchor="ctr"/>
          <a:lstStyle>
            <a:lvl1pPr marL="0" indent="0" algn="l">
              <a:buNone/>
              <a:defRPr sz="1867">
                <a:solidFill>
                  <a:schemeClr val="accent1"/>
                </a:solidFill>
                <a:latin typeface="+mj-lt"/>
              </a:defRPr>
            </a:lvl1pPr>
          </a:lstStyle>
          <a:p>
            <a:pPr lvl="0"/>
            <a:r>
              <a:rPr lang="en-US"/>
              <a:t>Title</a:t>
            </a:r>
          </a:p>
        </p:txBody>
      </p:sp>
      <p:sp>
        <p:nvSpPr>
          <p:cNvPr id="29" name="Text Placeholder 5">
            <a:extLst>
              <a:ext uri="{FF2B5EF4-FFF2-40B4-BE49-F238E27FC236}">
                <a16:creationId xmlns:a16="http://schemas.microsoft.com/office/drawing/2014/main" id="{A80A609B-1E9B-43D5-9C67-882D8D8F76A0}"/>
              </a:ext>
            </a:extLst>
          </p:cNvPr>
          <p:cNvSpPr>
            <a:spLocks noGrp="1"/>
          </p:cNvSpPr>
          <p:nvPr>
            <p:ph type="body" sz="quarter" idx="23" hasCustomPrompt="1"/>
          </p:nvPr>
        </p:nvSpPr>
        <p:spPr bwMode="gray">
          <a:xfrm>
            <a:off x="7930728" y="1432984"/>
            <a:ext cx="3828288" cy="719328"/>
          </a:xfrm>
        </p:spPr>
        <p:txBody>
          <a:bodyPr lIns="91440" tIns="45720" rIns="91440" bIns="45720" anchor="ctr"/>
          <a:lstStyle>
            <a:lvl1pPr marL="0" indent="0" algn="l">
              <a:buNone/>
              <a:defRPr sz="1867">
                <a:solidFill>
                  <a:schemeClr val="accent4"/>
                </a:solidFill>
                <a:latin typeface="+mj-lt"/>
              </a:defRPr>
            </a:lvl1pPr>
          </a:lstStyle>
          <a:p>
            <a:pPr lvl="0"/>
            <a:r>
              <a:rPr lang="en-US"/>
              <a:t>Title</a:t>
            </a:r>
          </a:p>
        </p:txBody>
      </p:sp>
    </p:spTree>
    <p:extLst>
      <p:ext uri="{BB962C8B-B14F-4D97-AF65-F5344CB8AC3E}">
        <p14:creationId xmlns:p14="http://schemas.microsoft.com/office/powerpoint/2010/main" val="42743844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ingle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753AB01-8E4C-47D6-B8E3-10AC53C8EB24}"/>
              </a:ext>
            </a:extLst>
          </p:cNvPr>
          <p:cNvSpPr>
            <a:spLocks noGrp="1" noChangeAspect="1"/>
          </p:cNvSpPr>
          <p:nvPr>
            <p:ph type="pic" sz="quarter" idx="10" hasCustomPrompt="1"/>
          </p:nvPr>
        </p:nvSpPr>
        <p:spPr bwMode="gray">
          <a:xfrm>
            <a:off x="444500" y="2432897"/>
            <a:ext cx="2767584" cy="2767584"/>
          </a:xfrm>
          <a:prstGeom prst="ellipse">
            <a:avLst/>
          </a:prstGeom>
        </p:spPr>
        <p:txBody>
          <a:bodyPr anchor="ctr"/>
          <a:lstStyle>
            <a:lvl1pPr marL="0" indent="0" algn="l">
              <a:buNone/>
              <a:defRPr sz="1200">
                <a:solidFill>
                  <a:schemeClr val="tx1"/>
                </a:solidFill>
              </a:defRPr>
            </a:lvl1pPr>
          </a:lstStyle>
          <a:p>
            <a:r>
              <a:rPr lang="en-US"/>
              <a:t>Step 1: Click icon to add picture</a:t>
            </a:r>
            <a:br>
              <a:rPr lang="en-US"/>
            </a:br>
            <a:r>
              <a:rPr lang="en-US"/>
              <a:t>Step 2: Go to View &gt;&gt; Slide Master and copy the gradient shapes, close the Slide Master and paste the gradient shapes on top of the selected image</a:t>
            </a:r>
          </a:p>
        </p:txBody>
      </p:sp>
      <p:sp>
        <p:nvSpPr>
          <p:cNvPr id="5" name="Oval 4">
            <a:extLst>
              <a:ext uri="{FF2B5EF4-FFF2-40B4-BE49-F238E27FC236}">
                <a16:creationId xmlns:a16="http://schemas.microsoft.com/office/drawing/2014/main" id="{D8BAC6B4-51B9-4B47-8996-D65FBF9EDB5F}"/>
              </a:ext>
            </a:extLst>
          </p:cNvPr>
          <p:cNvSpPr>
            <a:spLocks noChangeAspect="1"/>
          </p:cNvSpPr>
          <p:nvPr/>
        </p:nvSpPr>
        <p:spPr>
          <a:xfrm>
            <a:off x="451104" y="2432051"/>
            <a:ext cx="2767584" cy="2767584"/>
          </a:xfrm>
          <a:prstGeom prst="ellipse">
            <a:avLst/>
          </a:prstGeom>
          <a:gradFill>
            <a:gsLst>
              <a:gs pos="48000">
                <a:schemeClr val="accent1">
                  <a:alpha val="0"/>
                </a:schemeClr>
              </a:gs>
              <a:gs pos="0">
                <a:schemeClr val="accent1"/>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2" name="Oval 41">
            <a:extLst>
              <a:ext uri="{FF2B5EF4-FFF2-40B4-BE49-F238E27FC236}">
                <a16:creationId xmlns:a16="http://schemas.microsoft.com/office/drawing/2014/main" id="{F6D67A50-8F02-4A68-A376-32DC985938EC}"/>
              </a:ext>
            </a:extLst>
          </p:cNvPr>
          <p:cNvSpPr>
            <a:spLocks noChangeAspect="1"/>
          </p:cNvSpPr>
          <p:nvPr/>
        </p:nvSpPr>
        <p:spPr bwMode="gray">
          <a:xfrm>
            <a:off x="1425346" y="1864793"/>
            <a:ext cx="2767583" cy="2767584"/>
          </a:xfrm>
          <a:prstGeom prst="ellipse">
            <a:avLst/>
          </a:prstGeom>
          <a:gradFill flip="none" rotWithShape="1">
            <a:gsLst>
              <a:gs pos="43000">
                <a:schemeClr val="accent4">
                  <a:alpha val="13000"/>
                </a:schemeClr>
              </a:gs>
              <a:gs pos="8000">
                <a:schemeClr val="accent4"/>
              </a:gs>
              <a:gs pos="71000">
                <a:schemeClr val="accent4">
                  <a:alpha val="0"/>
                </a:schemeClr>
              </a:gs>
            </a:gsLst>
            <a:lin ang="13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gray">
          <a:xfrm>
            <a:off x="303548" y="164637"/>
            <a:ext cx="11436096" cy="975360"/>
          </a:xfrm>
        </p:spPr>
        <p:txBody>
          <a:bodyPr/>
          <a:lstStyle/>
          <a:p>
            <a:r>
              <a:rPr lang="en-US"/>
              <a:t>Title in </a:t>
            </a:r>
            <a:r>
              <a:rPr lang="en-US" err="1"/>
              <a:t>Raleway</a:t>
            </a:r>
            <a:r>
              <a:rPr lang="en-US"/>
              <a:t> </a:t>
            </a:r>
            <a:r>
              <a:rPr lang="en-US" err="1"/>
              <a:t>SemiBold</a:t>
            </a:r>
            <a:r>
              <a:rPr lang="en-US"/>
              <a:t> 20pt</a:t>
            </a:r>
          </a:p>
        </p:txBody>
      </p:sp>
      <p:sp>
        <p:nvSpPr>
          <p:cNvPr id="6" name="Text Placeholder 5">
            <a:extLst>
              <a:ext uri="{FF2B5EF4-FFF2-40B4-BE49-F238E27FC236}">
                <a16:creationId xmlns:a16="http://schemas.microsoft.com/office/drawing/2014/main" id="{5745C628-C734-425D-A3FF-809A59836586}"/>
              </a:ext>
            </a:extLst>
          </p:cNvPr>
          <p:cNvSpPr>
            <a:spLocks noGrp="1"/>
          </p:cNvSpPr>
          <p:nvPr>
            <p:ph type="body" sz="quarter" idx="11" hasCustomPrompt="1"/>
          </p:nvPr>
        </p:nvSpPr>
        <p:spPr bwMode="gray">
          <a:xfrm>
            <a:off x="4467636" y="1432984"/>
            <a:ext cx="7278624" cy="4657344"/>
          </a:xfrm>
        </p:spPr>
        <p:txBody>
          <a:bodyPr lIns="0" tIns="0" rIns="0" bIns="0" anchor="ctr"/>
          <a:lstStyle>
            <a:lvl1pPr marL="0" indent="0" algn="ctr">
              <a:buNone/>
              <a:defRPr>
                <a:latin typeface="Raleway Light" pitchFamily="2" charset="0"/>
              </a:defRPr>
            </a:lvl1pPr>
          </a:lstStyle>
          <a:p>
            <a:pPr lvl="0"/>
            <a:r>
              <a:rPr lang="en-US"/>
              <a:t>Quote/Introduction text</a:t>
            </a:r>
          </a:p>
        </p:txBody>
      </p:sp>
      <p:sp>
        <p:nvSpPr>
          <p:cNvPr id="7" name="Text Placeholder 4">
            <a:extLst>
              <a:ext uri="{FF2B5EF4-FFF2-40B4-BE49-F238E27FC236}">
                <a16:creationId xmlns:a16="http://schemas.microsoft.com/office/drawing/2014/main" id="{09468FF4-883B-440C-A361-DDE3DFD3EE4E}"/>
              </a:ext>
            </a:extLst>
          </p:cNvPr>
          <p:cNvSpPr>
            <a:spLocks noGrp="1"/>
          </p:cNvSpPr>
          <p:nvPr>
            <p:ph type="body" sz="quarter" idx="12" hasCustomPrompt="1"/>
          </p:nvPr>
        </p:nvSpPr>
        <p:spPr>
          <a:xfrm>
            <a:off x="303547" y="556610"/>
            <a:ext cx="11436096" cy="580529"/>
          </a:xfrm>
        </p:spPr>
        <p:txBody>
          <a:bodyPr/>
          <a:lstStyle>
            <a:lvl1pPr marL="0" indent="0">
              <a:buNone/>
              <a:defRPr sz="2133">
                <a:solidFill>
                  <a:srgbClr val="0596FF"/>
                </a:solidFill>
                <a:latin typeface="+mj-lt"/>
              </a:defRPr>
            </a:lvl1pPr>
          </a:lstStyle>
          <a:p>
            <a:pPr lvl="0"/>
            <a:r>
              <a:rPr lang="en-US"/>
              <a:t>Subtitle in </a:t>
            </a:r>
            <a:r>
              <a:rPr lang="en-US" err="1"/>
              <a:t>Raleway</a:t>
            </a:r>
            <a:r>
              <a:rPr lang="en-US"/>
              <a:t> </a:t>
            </a:r>
            <a:r>
              <a:rPr lang="en-US" err="1"/>
              <a:t>SemiBold</a:t>
            </a:r>
            <a:r>
              <a:rPr lang="en-US"/>
              <a:t> 16pt</a:t>
            </a:r>
          </a:p>
        </p:txBody>
      </p:sp>
    </p:spTree>
    <p:extLst>
      <p:ext uri="{BB962C8B-B14F-4D97-AF65-F5344CB8AC3E}">
        <p14:creationId xmlns:p14="http://schemas.microsoft.com/office/powerpoint/2010/main" val="250984549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hree para with desig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gray">
          <a:xfrm>
            <a:off x="303548" y="164637"/>
            <a:ext cx="11436096" cy="975360"/>
          </a:xfrm>
        </p:spPr>
        <p:txBody>
          <a:bodyPr/>
          <a:lstStyle/>
          <a:p>
            <a:r>
              <a:rPr lang="en-US"/>
              <a:t>Title in </a:t>
            </a:r>
            <a:r>
              <a:rPr lang="en-US" err="1"/>
              <a:t>Raleway</a:t>
            </a:r>
            <a:r>
              <a:rPr lang="en-US"/>
              <a:t> </a:t>
            </a:r>
            <a:r>
              <a:rPr lang="en-US" err="1"/>
              <a:t>SemiBold</a:t>
            </a:r>
            <a:r>
              <a:rPr lang="en-US"/>
              <a:t> 20pt</a:t>
            </a:r>
          </a:p>
        </p:txBody>
      </p:sp>
      <p:sp>
        <p:nvSpPr>
          <p:cNvPr id="6" name="Text Placeholder 5">
            <a:extLst>
              <a:ext uri="{FF2B5EF4-FFF2-40B4-BE49-F238E27FC236}">
                <a16:creationId xmlns:a16="http://schemas.microsoft.com/office/drawing/2014/main" id="{5745C628-C734-425D-A3FF-809A59836586}"/>
              </a:ext>
            </a:extLst>
          </p:cNvPr>
          <p:cNvSpPr>
            <a:spLocks noGrp="1"/>
          </p:cNvSpPr>
          <p:nvPr>
            <p:ph type="body" sz="quarter" idx="11" hasCustomPrompt="1"/>
          </p:nvPr>
        </p:nvSpPr>
        <p:spPr bwMode="gray">
          <a:xfrm>
            <a:off x="427565" y="1432984"/>
            <a:ext cx="7559040" cy="1341120"/>
          </a:xfrm>
        </p:spPr>
        <p:txBody>
          <a:bodyPr lIns="0" tIns="0" rIns="0" bIns="0" anchor="ctr"/>
          <a:lstStyle>
            <a:lvl1pPr marL="0" indent="0" algn="l">
              <a:buNone/>
              <a:defRPr>
                <a:latin typeface="Raleway Light" pitchFamily="2" charset="0"/>
              </a:defRPr>
            </a:lvl1pPr>
          </a:lstStyle>
          <a:p>
            <a:pPr lvl="0"/>
            <a:r>
              <a:rPr lang="en-US"/>
              <a:t>Text</a:t>
            </a:r>
          </a:p>
        </p:txBody>
      </p:sp>
      <p:sp>
        <p:nvSpPr>
          <p:cNvPr id="7" name="Text Placeholder 4">
            <a:extLst>
              <a:ext uri="{FF2B5EF4-FFF2-40B4-BE49-F238E27FC236}">
                <a16:creationId xmlns:a16="http://schemas.microsoft.com/office/drawing/2014/main" id="{A231BA4B-8E51-4730-9569-847C0722DAC8}"/>
              </a:ext>
            </a:extLst>
          </p:cNvPr>
          <p:cNvSpPr>
            <a:spLocks noGrp="1"/>
          </p:cNvSpPr>
          <p:nvPr>
            <p:ph type="body" sz="quarter" idx="12" hasCustomPrompt="1"/>
          </p:nvPr>
        </p:nvSpPr>
        <p:spPr bwMode="gray">
          <a:xfrm>
            <a:off x="303547" y="556610"/>
            <a:ext cx="11436096" cy="580529"/>
          </a:xfrm>
        </p:spPr>
        <p:txBody>
          <a:bodyPr/>
          <a:lstStyle>
            <a:lvl1pPr marL="0" indent="0">
              <a:buNone/>
              <a:defRPr sz="2133">
                <a:solidFill>
                  <a:srgbClr val="0596FF"/>
                </a:solidFill>
                <a:latin typeface="+mj-lt"/>
              </a:defRPr>
            </a:lvl1pPr>
          </a:lstStyle>
          <a:p>
            <a:pPr lvl="0"/>
            <a:r>
              <a:rPr lang="en-US"/>
              <a:t>Subtitle in </a:t>
            </a:r>
            <a:r>
              <a:rPr lang="en-US" err="1"/>
              <a:t>Raleway</a:t>
            </a:r>
            <a:r>
              <a:rPr lang="en-US"/>
              <a:t> </a:t>
            </a:r>
            <a:r>
              <a:rPr lang="en-US" err="1"/>
              <a:t>SemiBold</a:t>
            </a:r>
            <a:r>
              <a:rPr lang="en-US"/>
              <a:t> 16pt</a:t>
            </a:r>
          </a:p>
        </p:txBody>
      </p:sp>
      <p:sp>
        <p:nvSpPr>
          <p:cNvPr id="8" name="Text Placeholder 5">
            <a:extLst>
              <a:ext uri="{FF2B5EF4-FFF2-40B4-BE49-F238E27FC236}">
                <a16:creationId xmlns:a16="http://schemas.microsoft.com/office/drawing/2014/main" id="{D36EF7ED-6900-4FD5-AA62-B93F5B77D31D}"/>
              </a:ext>
            </a:extLst>
          </p:cNvPr>
          <p:cNvSpPr>
            <a:spLocks noGrp="1"/>
          </p:cNvSpPr>
          <p:nvPr>
            <p:ph type="body" sz="quarter" idx="13" hasCustomPrompt="1"/>
          </p:nvPr>
        </p:nvSpPr>
        <p:spPr bwMode="gray">
          <a:xfrm>
            <a:off x="427565" y="3093400"/>
            <a:ext cx="7559040" cy="1341120"/>
          </a:xfrm>
        </p:spPr>
        <p:txBody>
          <a:bodyPr lIns="0" tIns="0" rIns="0" bIns="0" anchor="ctr"/>
          <a:lstStyle>
            <a:lvl1pPr marL="0" indent="0" algn="l">
              <a:buNone/>
              <a:defRPr>
                <a:latin typeface="Raleway Light" pitchFamily="2" charset="0"/>
              </a:defRPr>
            </a:lvl1pPr>
          </a:lstStyle>
          <a:p>
            <a:pPr lvl="0"/>
            <a:r>
              <a:rPr lang="en-US"/>
              <a:t>Text</a:t>
            </a:r>
          </a:p>
        </p:txBody>
      </p:sp>
      <p:sp>
        <p:nvSpPr>
          <p:cNvPr id="9" name="Text Placeholder 5">
            <a:extLst>
              <a:ext uri="{FF2B5EF4-FFF2-40B4-BE49-F238E27FC236}">
                <a16:creationId xmlns:a16="http://schemas.microsoft.com/office/drawing/2014/main" id="{ED4A2992-ECB4-49A6-8DA5-345891EC76FE}"/>
              </a:ext>
            </a:extLst>
          </p:cNvPr>
          <p:cNvSpPr>
            <a:spLocks noGrp="1"/>
          </p:cNvSpPr>
          <p:nvPr>
            <p:ph type="body" sz="quarter" idx="14" hasCustomPrompt="1"/>
          </p:nvPr>
        </p:nvSpPr>
        <p:spPr bwMode="gray">
          <a:xfrm>
            <a:off x="427565" y="4753816"/>
            <a:ext cx="7559040" cy="1341120"/>
          </a:xfrm>
        </p:spPr>
        <p:txBody>
          <a:bodyPr lIns="0" tIns="0" rIns="0" bIns="0" anchor="ctr"/>
          <a:lstStyle>
            <a:lvl1pPr marL="0" indent="0" algn="l">
              <a:buNone/>
              <a:defRPr>
                <a:latin typeface="Raleway Light" pitchFamily="2" charset="0"/>
              </a:defRPr>
            </a:lvl1pPr>
          </a:lstStyle>
          <a:p>
            <a:pPr lvl="0"/>
            <a:r>
              <a:rPr lang="en-US"/>
              <a:t>Text</a:t>
            </a:r>
          </a:p>
        </p:txBody>
      </p:sp>
      <p:sp>
        <p:nvSpPr>
          <p:cNvPr id="15" name="Arc 14">
            <a:extLst>
              <a:ext uri="{FF2B5EF4-FFF2-40B4-BE49-F238E27FC236}">
                <a16:creationId xmlns:a16="http://schemas.microsoft.com/office/drawing/2014/main" id="{DAEC8E06-34A8-456E-9A2E-696A684F3B89}"/>
              </a:ext>
            </a:extLst>
          </p:cNvPr>
          <p:cNvSpPr>
            <a:spLocks noChangeAspect="1"/>
          </p:cNvSpPr>
          <p:nvPr/>
        </p:nvSpPr>
        <p:spPr bwMode="gray">
          <a:xfrm>
            <a:off x="8719037" y="1701839"/>
            <a:ext cx="4063999" cy="4063999"/>
          </a:xfrm>
          <a:prstGeom prst="arc">
            <a:avLst>
              <a:gd name="adj1" fmla="val 5277044"/>
              <a:gd name="adj2" fmla="val 16275839"/>
            </a:avLst>
          </a:prstGeom>
          <a:ln w="47625">
            <a:gradFill flip="none" rotWithShape="1">
              <a:gsLst>
                <a:gs pos="0">
                  <a:schemeClr val="bg1">
                    <a:alpha val="0"/>
                  </a:schemeClr>
                </a:gs>
                <a:gs pos="50000">
                  <a:schemeClr val="accent6"/>
                </a:gs>
                <a:gs pos="6000">
                  <a:schemeClr val="accent6">
                    <a:lumMod val="25000"/>
                    <a:lumOff val="75000"/>
                  </a:schemeClr>
                </a:gs>
                <a:gs pos="94000">
                  <a:schemeClr val="accent6">
                    <a:lumMod val="25000"/>
                    <a:lumOff val="75000"/>
                  </a:schemeClr>
                </a:gs>
                <a:gs pos="100000">
                  <a:schemeClr val="bg1">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p>
        </p:txBody>
      </p:sp>
      <p:sp>
        <p:nvSpPr>
          <p:cNvPr id="12" name="Oval 11">
            <a:extLst>
              <a:ext uri="{FF2B5EF4-FFF2-40B4-BE49-F238E27FC236}">
                <a16:creationId xmlns:a16="http://schemas.microsoft.com/office/drawing/2014/main" id="{FEA2561D-8307-4588-B581-F9B15BE8CF14}"/>
              </a:ext>
            </a:extLst>
          </p:cNvPr>
          <p:cNvSpPr>
            <a:spLocks noChangeAspect="1"/>
          </p:cNvSpPr>
          <p:nvPr/>
        </p:nvSpPr>
        <p:spPr bwMode="gray">
          <a:xfrm>
            <a:off x="9133440" y="4880652"/>
            <a:ext cx="1182624" cy="1182624"/>
          </a:xfrm>
          <a:prstGeom prst="ellipse">
            <a:avLst/>
          </a:prstGeom>
          <a:gradFill flip="none" rotWithShape="1">
            <a:gsLst>
              <a:gs pos="58000">
                <a:srgbClr val="039BDA">
                  <a:alpha val="30000"/>
                </a:srgbClr>
              </a:gs>
              <a:gs pos="9000">
                <a:schemeClr val="accent1"/>
              </a:gs>
              <a:gs pos="84000">
                <a:schemeClr val="accent1">
                  <a:alpha val="0"/>
                </a:schemeClr>
              </a:gs>
            </a:gsLst>
            <a:lin ang="17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Oval 12">
            <a:extLst>
              <a:ext uri="{FF2B5EF4-FFF2-40B4-BE49-F238E27FC236}">
                <a16:creationId xmlns:a16="http://schemas.microsoft.com/office/drawing/2014/main" id="{5C2EA899-5726-4F3E-A809-0837BD902FD6}"/>
              </a:ext>
            </a:extLst>
          </p:cNvPr>
          <p:cNvSpPr>
            <a:spLocks noChangeAspect="1"/>
          </p:cNvSpPr>
          <p:nvPr/>
        </p:nvSpPr>
        <p:spPr bwMode="gray">
          <a:xfrm>
            <a:off x="9133440" y="1452035"/>
            <a:ext cx="1182624" cy="1182624"/>
          </a:xfrm>
          <a:prstGeom prst="ellipse">
            <a:avLst/>
          </a:prstGeom>
          <a:gradFill flip="none" rotWithShape="1">
            <a:gsLst>
              <a:gs pos="58000">
                <a:srgbClr val="039BDA">
                  <a:alpha val="30000"/>
                </a:srgbClr>
              </a:gs>
              <a:gs pos="9000">
                <a:schemeClr val="accent1"/>
              </a:gs>
              <a:gs pos="89000">
                <a:schemeClr val="accent1">
                  <a:alpha val="0"/>
                </a:schemeClr>
              </a:gs>
            </a:gsLst>
            <a:lin ang="4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Oval 9">
            <a:extLst>
              <a:ext uri="{FF2B5EF4-FFF2-40B4-BE49-F238E27FC236}">
                <a16:creationId xmlns:a16="http://schemas.microsoft.com/office/drawing/2014/main" id="{57EB26C2-51F4-4065-B6A9-87F434601DAA}"/>
              </a:ext>
            </a:extLst>
          </p:cNvPr>
          <p:cNvSpPr>
            <a:spLocks noChangeAspect="1"/>
          </p:cNvSpPr>
          <p:nvPr/>
        </p:nvSpPr>
        <p:spPr bwMode="gray">
          <a:xfrm>
            <a:off x="8242040" y="3190208"/>
            <a:ext cx="1182624" cy="1182624"/>
          </a:xfrm>
          <a:prstGeom prst="ellipse">
            <a:avLst/>
          </a:prstGeom>
          <a:gradFill flip="none" rotWithShape="1">
            <a:gsLst>
              <a:gs pos="58000">
                <a:srgbClr val="039BDA">
                  <a:alpha val="30000"/>
                </a:srgbClr>
              </a:gs>
              <a:gs pos="9000">
                <a:schemeClr val="accent1"/>
              </a:gs>
              <a:gs pos="98000">
                <a:schemeClr val="accent1">
                  <a:alpha val="0"/>
                </a:schemeClr>
              </a:gs>
            </a:gsLst>
            <a:lin ang="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277998634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Four images 1">
    <p:spTree>
      <p:nvGrpSpPr>
        <p:cNvPr id="1" name=""/>
        <p:cNvGrpSpPr/>
        <p:nvPr/>
      </p:nvGrpSpPr>
      <p:grpSpPr>
        <a:xfrm>
          <a:off x="0" y="0"/>
          <a:ext cx="0" cy="0"/>
          <a:chOff x="0" y="0"/>
          <a:chExt cx="0" cy="0"/>
        </a:xfrm>
      </p:grpSpPr>
      <p:sp>
        <p:nvSpPr>
          <p:cNvPr id="22" name="Picture Placeholder 3">
            <a:extLst>
              <a:ext uri="{FF2B5EF4-FFF2-40B4-BE49-F238E27FC236}">
                <a16:creationId xmlns:a16="http://schemas.microsoft.com/office/drawing/2014/main" id="{95F79ED8-DE62-4265-BF98-CA8F3250F44E}"/>
              </a:ext>
            </a:extLst>
          </p:cNvPr>
          <p:cNvSpPr>
            <a:spLocks noGrp="1" noChangeAspect="1"/>
          </p:cNvSpPr>
          <p:nvPr>
            <p:ph type="pic" sz="quarter" idx="15" hasCustomPrompt="1"/>
          </p:nvPr>
        </p:nvSpPr>
        <p:spPr bwMode="gray">
          <a:xfrm>
            <a:off x="426739" y="4212377"/>
            <a:ext cx="1597152" cy="1597152"/>
          </a:xfrm>
          <a:prstGeom prst="ellipse">
            <a:avLst/>
          </a:prstGeom>
        </p:spPr>
        <p:txBody>
          <a:bodyPr lIns="0" tIns="0" rIns="0" bIns="0" anchor="ctr"/>
          <a:lstStyle>
            <a:lvl1pPr marL="0" indent="0" algn="ctr">
              <a:buNone/>
              <a:defRPr sz="800">
                <a:solidFill>
                  <a:schemeClr val="tx1"/>
                </a:solidFill>
              </a:defRPr>
            </a:lvl1pPr>
          </a:lstStyle>
          <a:p>
            <a:r>
              <a:rPr lang="en-US"/>
              <a:t>Step 1: Click icon to add picture</a:t>
            </a:r>
            <a:br>
              <a:rPr lang="en-US"/>
            </a:br>
            <a:r>
              <a:rPr lang="en-US"/>
              <a:t>Step 2: Go to View &gt;&gt; Slide Master and copy the gradient shape, close the Slide Master and paste the gradient shape on top of the selected image</a:t>
            </a:r>
          </a:p>
        </p:txBody>
      </p:sp>
      <p:sp>
        <p:nvSpPr>
          <p:cNvPr id="24" name="Picture Placeholder 3">
            <a:extLst>
              <a:ext uri="{FF2B5EF4-FFF2-40B4-BE49-F238E27FC236}">
                <a16:creationId xmlns:a16="http://schemas.microsoft.com/office/drawing/2014/main" id="{23DF603E-3B4A-4E51-8C9E-306B088CC2B0}"/>
              </a:ext>
            </a:extLst>
          </p:cNvPr>
          <p:cNvSpPr>
            <a:spLocks noGrp="1" noChangeAspect="1"/>
          </p:cNvSpPr>
          <p:nvPr>
            <p:ph type="pic" sz="quarter" idx="17" hasCustomPrompt="1"/>
          </p:nvPr>
        </p:nvSpPr>
        <p:spPr bwMode="gray">
          <a:xfrm>
            <a:off x="10147772" y="4212377"/>
            <a:ext cx="1597152" cy="1597152"/>
          </a:xfrm>
          <a:prstGeom prst="ellipse">
            <a:avLst/>
          </a:prstGeom>
        </p:spPr>
        <p:txBody>
          <a:bodyPr lIns="0" tIns="0" rIns="0" bIns="0" anchor="ctr"/>
          <a:lstStyle>
            <a:lvl1pPr marL="0" indent="0" algn="ctr">
              <a:buNone/>
              <a:defRPr sz="800">
                <a:solidFill>
                  <a:schemeClr val="tx1"/>
                </a:solidFill>
              </a:defRPr>
            </a:lvl1pPr>
          </a:lstStyle>
          <a:p>
            <a:r>
              <a:rPr lang="en-US"/>
              <a:t>Step 1: Click icon to add picture</a:t>
            </a:r>
            <a:br>
              <a:rPr lang="en-US"/>
            </a:br>
            <a:r>
              <a:rPr lang="en-US"/>
              <a:t>Step 2: Go to View &gt;&gt; Slide Master and copy the gradient shape, close the Slide Master and paste the gradient shape on top of the selected image</a:t>
            </a:r>
          </a:p>
        </p:txBody>
      </p:sp>
      <p:sp>
        <p:nvSpPr>
          <p:cNvPr id="23" name="Picture Placeholder 3">
            <a:extLst>
              <a:ext uri="{FF2B5EF4-FFF2-40B4-BE49-F238E27FC236}">
                <a16:creationId xmlns:a16="http://schemas.microsoft.com/office/drawing/2014/main" id="{8079FDD0-E93A-4BF9-AE06-64395560F12E}"/>
              </a:ext>
            </a:extLst>
          </p:cNvPr>
          <p:cNvSpPr>
            <a:spLocks noGrp="1" noChangeAspect="1"/>
          </p:cNvSpPr>
          <p:nvPr>
            <p:ph type="pic" sz="quarter" idx="16" hasCustomPrompt="1"/>
          </p:nvPr>
        </p:nvSpPr>
        <p:spPr bwMode="gray">
          <a:xfrm>
            <a:off x="10147772" y="1746997"/>
            <a:ext cx="1597152" cy="1597152"/>
          </a:xfrm>
          <a:prstGeom prst="ellipse">
            <a:avLst/>
          </a:prstGeom>
        </p:spPr>
        <p:txBody>
          <a:bodyPr lIns="0" tIns="0" rIns="0" bIns="0" anchor="ctr"/>
          <a:lstStyle>
            <a:lvl1pPr marL="0" indent="0" algn="ctr">
              <a:buNone/>
              <a:defRPr sz="800">
                <a:solidFill>
                  <a:schemeClr val="tx1"/>
                </a:solidFill>
              </a:defRPr>
            </a:lvl1pPr>
          </a:lstStyle>
          <a:p>
            <a:r>
              <a:rPr lang="en-US"/>
              <a:t>Step 1: Click icon to add picture</a:t>
            </a:r>
            <a:br>
              <a:rPr lang="en-US"/>
            </a:br>
            <a:r>
              <a:rPr lang="en-US"/>
              <a:t>Step 2: Go to View &gt;&gt; Slide Master and copy the gradient shape, close the Slide Master and paste the gradient shape on top of the selected image</a:t>
            </a:r>
          </a:p>
        </p:txBody>
      </p:sp>
      <p:sp>
        <p:nvSpPr>
          <p:cNvPr id="4" name="Picture Placeholder 3">
            <a:extLst>
              <a:ext uri="{FF2B5EF4-FFF2-40B4-BE49-F238E27FC236}">
                <a16:creationId xmlns:a16="http://schemas.microsoft.com/office/drawing/2014/main" id="{3753AB01-8E4C-47D6-B8E3-10AC53C8EB24}"/>
              </a:ext>
            </a:extLst>
          </p:cNvPr>
          <p:cNvSpPr>
            <a:spLocks noGrp="1" noChangeAspect="1"/>
          </p:cNvSpPr>
          <p:nvPr>
            <p:ph type="pic" sz="quarter" idx="10" hasCustomPrompt="1"/>
          </p:nvPr>
        </p:nvSpPr>
        <p:spPr bwMode="gray">
          <a:xfrm>
            <a:off x="426739" y="1750864"/>
            <a:ext cx="1597152" cy="1597152"/>
          </a:xfrm>
          <a:prstGeom prst="ellipse">
            <a:avLst/>
          </a:prstGeom>
        </p:spPr>
        <p:txBody>
          <a:bodyPr lIns="0" tIns="0" rIns="0" bIns="0" anchor="ctr"/>
          <a:lstStyle>
            <a:lvl1pPr marL="0" indent="0" algn="ctr">
              <a:buNone/>
              <a:defRPr sz="800">
                <a:solidFill>
                  <a:schemeClr val="tx1"/>
                </a:solidFill>
              </a:defRPr>
            </a:lvl1pPr>
          </a:lstStyle>
          <a:p>
            <a:r>
              <a:rPr lang="en-US"/>
              <a:t>Step 1: Click icon to add picture</a:t>
            </a:r>
            <a:br>
              <a:rPr lang="en-US"/>
            </a:br>
            <a:r>
              <a:rPr lang="en-US"/>
              <a:t>Step 2: Go to View &gt;&gt; Slide Master and copy the gradient shape, close the Slide Master and paste the gradient shape on top of the selected image</a:t>
            </a:r>
          </a:p>
        </p:txBody>
      </p:sp>
      <p:sp>
        <p:nvSpPr>
          <p:cNvPr id="15" name="Oval 14">
            <a:extLst>
              <a:ext uri="{FF2B5EF4-FFF2-40B4-BE49-F238E27FC236}">
                <a16:creationId xmlns:a16="http://schemas.microsoft.com/office/drawing/2014/main" id="{AD321218-61CD-4A7C-A430-F5A1DDE9AD9B}"/>
              </a:ext>
            </a:extLst>
          </p:cNvPr>
          <p:cNvSpPr>
            <a:spLocks noChangeAspect="1"/>
          </p:cNvSpPr>
          <p:nvPr/>
        </p:nvSpPr>
        <p:spPr bwMode="gray">
          <a:xfrm>
            <a:off x="420643" y="1755648"/>
            <a:ext cx="1597152" cy="1597152"/>
          </a:xfrm>
          <a:prstGeom prst="ellipse">
            <a:avLst/>
          </a:prstGeom>
          <a:gradFill flip="none" rotWithShape="1">
            <a:gsLst>
              <a:gs pos="47000">
                <a:schemeClr val="accent1">
                  <a:alpha val="0"/>
                </a:schemeClr>
              </a:gs>
              <a:gs pos="0">
                <a:schemeClr val="accent1"/>
              </a:gs>
            </a:gsLst>
            <a:lin ang="4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67">
              <a:solidFill>
                <a:schemeClr val="bg1"/>
              </a:solidFill>
              <a:latin typeface="+mj-lt"/>
            </a:endParaRPr>
          </a:p>
        </p:txBody>
      </p:sp>
      <p:sp>
        <p:nvSpPr>
          <p:cNvPr id="25" name="Oval 24">
            <a:extLst>
              <a:ext uri="{FF2B5EF4-FFF2-40B4-BE49-F238E27FC236}">
                <a16:creationId xmlns:a16="http://schemas.microsoft.com/office/drawing/2014/main" id="{835E1044-5A44-4BFE-89AF-ACDEEA2B4BF2}"/>
              </a:ext>
            </a:extLst>
          </p:cNvPr>
          <p:cNvSpPr>
            <a:spLocks noChangeAspect="1"/>
          </p:cNvSpPr>
          <p:nvPr/>
        </p:nvSpPr>
        <p:spPr bwMode="gray">
          <a:xfrm>
            <a:off x="420643" y="4218432"/>
            <a:ext cx="1597152" cy="1597152"/>
          </a:xfrm>
          <a:prstGeom prst="ellipse">
            <a:avLst/>
          </a:prstGeom>
          <a:gradFill flip="none" rotWithShape="1">
            <a:gsLst>
              <a:gs pos="47000">
                <a:schemeClr val="accent4">
                  <a:alpha val="0"/>
                </a:schemeClr>
              </a:gs>
              <a:gs pos="0">
                <a:schemeClr val="accent4"/>
              </a:gs>
            </a:gsLst>
            <a:lin ang="17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67">
              <a:solidFill>
                <a:schemeClr val="bg1"/>
              </a:solidFill>
              <a:latin typeface="+mj-lt"/>
            </a:endParaRPr>
          </a:p>
        </p:txBody>
      </p:sp>
      <p:sp>
        <p:nvSpPr>
          <p:cNvPr id="26" name="Oval 25">
            <a:extLst>
              <a:ext uri="{FF2B5EF4-FFF2-40B4-BE49-F238E27FC236}">
                <a16:creationId xmlns:a16="http://schemas.microsoft.com/office/drawing/2014/main" id="{058BCB6D-0CAC-42F5-AA2A-440E5D9D92B4}"/>
              </a:ext>
            </a:extLst>
          </p:cNvPr>
          <p:cNvSpPr>
            <a:spLocks noChangeAspect="1"/>
          </p:cNvSpPr>
          <p:nvPr/>
        </p:nvSpPr>
        <p:spPr bwMode="gray">
          <a:xfrm>
            <a:off x="10141676" y="4218432"/>
            <a:ext cx="1597152" cy="1597152"/>
          </a:xfrm>
          <a:prstGeom prst="ellipse">
            <a:avLst/>
          </a:prstGeom>
          <a:gradFill flip="none" rotWithShape="1">
            <a:gsLst>
              <a:gs pos="47000">
                <a:schemeClr val="accent3">
                  <a:alpha val="0"/>
                </a:schemeClr>
              </a:gs>
              <a:gs pos="8000">
                <a:schemeClr val="accent3"/>
              </a:gs>
            </a:gsLst>
            <a:lin ang="17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67">
              <a:solidFill>
                <a:schemeClr val="bg1"/>
              </a:solidFill>
              <a:latin typeface="+mj-lt"/>
            </a:endParaRPr>
          </a:p>
        </p:txBody>
      </p:sp>
      <p:sp>
        <p:nvSpPr>
          <p:cNvPr id="27" name="Oval 26">
            <a:extLst>
              <a:ext uri="{FF2B5EF4-FFF2-40B4-BE49-F238E27FC236}">
                <a16:creationId xmlns:a16="http://schemas.microsoft.com/office/drawing/2014/main" id="{74BE5BC6-9E7F-4FC5-9732-D81384AB690C}"/>
              </a:ext>
            </a:extLst>
          </p:cNvPr>
          <p:cNvSpPr>
            <a:spLocks noChangeAspect="1"/>
          </p:cNvSpPr>
          <p:nvPr/>
        </p:nvSpPr>
        <p:spPr bwMode="gray">
          <a:xfrm>
            <a:off x="10141676" y="1740901"/>
            <a:ext cx="1597152" cy="1597152"/>
          </a:xfrm>
          <a:prstGeom prst="ellipse">
            <a:avLst/>
          </a:prstGeom>
          <a:gradFill flip="none" rotWithShape="1">
            <a:gsLst>
              <a:gs pos="47000">
                <a:schemeClr val="accent2">
                  <a:alpha val="0"/>
                </a:schemeClr>
              </a:gs>
              <a:gs pos="10000">
                <a:schemeClr val="accent2"/>
              </a:gs>
            </a:gsLst>
            <a:lin ang="4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67">
              <a:solidFill>
                <a:schemeClr val="bg1"/>
              </a:solidFill>
              <a:latin typeface="+mj-lt"/>
            </a:endParaRPr>
          </a:p>
        </p:txBody>
      </p: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gray">
          <a:xfrm>
            <a:off x="303548" y="164637"/>
            <a:ext cx="11436096" cy="975360"/>
          </a:xfrm>
        </p:spPr>
        <p:txBody>
          <a:bodyPr/>
          <a:lstStyle/>
          <a:p>
            <a:r>
              <a:rPr lang="en-US"/>
              <a:t>Title in </a:t>
            </a:r>
            <a:r>
              <a:rPr lang="en-US" err="1"/>
              <a:t>Raleway</a:t>
            </a:r>
            <a:r>
              <a:rPr lang="en-US"/>
              <a:t> </a:t>
            </a:r>
            <a:r>
              <a:rPr lang="en-US" err="1"/>
              <a:t>SemiBold</a:t>
            </a:r>
            <a:r>
              <a:rPr lang="en-US"/>
              <a:t> 20pt</a:t>
            </a:r>
          </a:p>
        </p:txBody>
      </p:sp>
      <p:sp>
        <p:nvSpPr>
          <p:cNvPr id="6" name="Text Placeholder 5">
            <a:extLst>
              <a:ext uri="{FF2B5EF4-FFF2-40B4-BE49-F238E27FC236}">
                <a16:creationId xmlns:a16="http://schemas.microsoft.com/office/drawing/2014/main" id="{5745C628-C734-425D-A3FF-809A59836586}"/>
              </a:ext>
            </a:extLst>
          </p:cNvPr>
          <p:cNvSpPr>
            <a:spLocks noGrp="1"/>
          </p:cNvSpPr>
          <p:nvPr>
            <p:ph type="body" sz="quarter" idx="11" hasCustomPrompt="1"/>
          </p:nvPr>
        </p:nvSpPr>
        <p:spPr bwMode="gray">
          <a:xfrm>
            <a:off x="2235201" y="1444821"/>
            <a:ext cx="3784308" cy="2194560"/>
          </a:xfrm>
        </p:spPr>
        <p:txBody>
          <a:bodyPr lIns="0" tIns="0" rIns="0" bIns="0" anchor="ctr"/>
          <a:lstStyle>
            <a:lvl1pPr marL="0" indent="0">
              <a:buNone/>
              <a:defRPr>
                <a:latin typeface="Raleway Light" pitchFamily="2" charset="0"/>
              </a:defRPr>
            </a:lvl1pPr>
          </a:lstStyle>
          <a:p>
            <a:pPr lvl="0"/>
            <a:r>
              <a:rPr lang="en-US"/>
              <a:t>Text</a:t>
            </a:r>
          </a:p>
        </p:txBody>
      </p:sp>
      <p:sp>
        <p:nvSpPr>
          <p:cNvPr id="19" name="Text Placeholder 5">
            <a:extLst>
              <a:ext uri="{FF2B5EF4-FFF2-40B4-BE49-F238E27FC236}">
                <a16:creationId xmlns:a16="http://schemas.microsoft.com/office/drawing/2014/main" id="{81DB8866-7A09-49FF-8B8F-A2030E186C7D}"/>
              </a:ext>
            </a:extLst>
          </p:cNvPr>
          <p:cNvSpPr>
            <a:spLocks noGrp="1"/>
          </p:cNvSpPr>
          <p:nvPr>
            <p:ph type="body" sz="quarter" idx="12" hasCustomPrompt="1"/>
          </p:nvPr>
        </p:nvSpPr>
        <p:spPr bwMode="gray">
          <a:xfrm>
            <a:off x="2235201" y="3901440"/>
            <a:ext cx="3784308" cy="2194560"/>
          </a:xfrm>
        </p:spPr>
        <p:txBody>
          <a:bodyPr lIns="0" tIns="0" rIns="0" bIns="0" anchor="ctr"/>
          <a:lstStyle>
            <a:lvl1pPr marL="0" indent="0">
              <a:buNone/>
              <a:defRPr>
                <a:latin typeface="Raleway Light" pitchFamily="2" charset="0"/>
              </a:defRPr>
            </a:lvl1pPr>
          </a:lstStyle>
          <a:p>
            <a:pPr lvl="0"/>
            <a:r>
              <a:rPr lang="en-US"/>
              <a:t>Text</a:t>
            </a:r>
          </a:p>
        </p:txBody>
      </p:sp>
      <p:sp>
        <p:nvSpPr>
          <p:cNvPr id="20" name="Text Placeholder 5">
            <a:extLst>
              <a:ext uri="{FF2B5EF4-FFF2-40B4-BE49-F238E27FC236}">
                <a16:creationId xmlns:a16="http://schemas.microsoft.com/office/drawing/2014/main" id="{2E07EB45-86F8-4B7E-B80F-413B61F063C2}"/>
              </a:ext>
            </a:extLst>
          </p:cNvPr>
          <p:cNvSpPr>
            <a:spLocks noGrp="1"/>
          </p:cNvSpPr>
          <p:nvPr>
            <p:ph type="body" sz="quarter" idx="13" hasCustomPrompt="1"/>
          </p:nvPr>
        </p:nvSpPr>
        <p:spPr bwMode="gray">
          <a:xfrm>
            <a:off x="6185878" y="1444821"/>
            <a:ext cx="3784308" cy="2194560"/>
          </a:xfrm>
        </p:spPr>
        <p:txBody>
          <a:bodyPr lIns="0" tIns="0" rIns="0" bIns="0" anchor="ctr"/>
          <a:lstStyle>
            <a:lvl1pPr marL="0" indent="0" algn="r">
              <a:buNone/>
              <a:defRPr>
                <a:latin typeface="Raleway Light" pitchFamily="2" charset="0"/>
              </a:defRPr>
            </a:lvl1pPr>
          </a:lstStyle>
          <a:p>
            <a:pPr lvl="0"/>
            <a:r>
              <a:rPr lang="en-US"/>
              <a:t>Text</a:t>
            </a:r>
          </a:p>
        </p:txBody>
      </p:sp>
      <p:sp>
        <p:nvSpPr>
          <p:cNvPr id="21" name="Text Placeholder 5">
            <a:extLst>
              <a:ext uri="{FF2B5EF4-FFF2-40B4-BE49-F238E27FC236}">
                <a16:creationId xmlns:a16="http://schemas.microsoft.com/office/drawing/2014/main" id="{3E432386-8EA5-4AD4-BF83-1A3847D5D488}"/>
              </a:ext>
            </a:extLst>
          </p:cNvPr>
          <p:cNvSpPr>
            <a:spLocks noGrp="1"/>
          </p:cNvSpPr>
          <p:nvPr>
            <p:ph type="body" sz="quarter" idx="14" hasCustomPrompt="1"/>
          </p:nvPr>
        </p:nvSpPr>
        <p:spPr bwMode="gray">
          <a:xfrm>
            <a:off x="6185878" y="3901440"/>
            <a:ext cx="3784308" cy="2194560"/>
          </a:xfrm>
        </p:spPr>
        <p:txBody>
          <a:bodyPr lIns="0" tIns="0" rIns="0" bIns="0" anchor="ctr"/>
          <a:lstStyle>
            <a:lvl1pPr marL="0" indent="0" algn="r">
              <a:buNone/>
              <a:defRPr>
                <a:latin typeface="Raleway Light" pitchFamily="2" charset="0"/>
              </a:defRPr>
            </a:lvl1pPr>
          </a:lstStyle>
          <a:p>
            <a:pPr lvl="0"/>
            <a:r>
              <a:rPr lang="en-US"/>
              <a:t>Text</a:t>
            </a:r>
          </a:p>
        </p:txBody>
      </p:sp>
      <p:sp>
        <p:nvSpPr>
          <p:cNvPr id="16" name="Text Placeholder 4">
            <a:extLst>
              <a:ext uri="{FF2B5EF4-FFF2-40B4-BE49-F238E27FC236}">
                <a16:creationId xmlns:a16="http://schemas.microsoft.com/office/drawing/2014/main" id="{7322B76E-A710-4C85-816A-763EBC340C21}"/>
              </a:ext>
            </a:extLst>
          </p:cNvPr>
          <p:cNvSpPr>
            <a:spLocks noGrp="1"/>
          </p:cNvSpPr>
          <p:nvPr>
            <p:ph type="body" sz="quarter" idx="18" hasCustomPrompt="1"/>
          </p:nvPr>
        </p:nvSpPr>
        <p:spPr>
          <a:xfrm>
            <a:off x="303547" y="556610"/>
            <a:ext cx="11436096" cy="580529"/>
          </a:xfrm>
        </p:spPr>
        <p:txBody>
          <a:bodyPr/>
          <a:lstStyle>
            <a:lvl1pPr marL="0" indent="0">
              <a:buNone/>
              <a:defRPr sz="2133">
                <a:solidFill>
                  <a:srgbClr val="0596FF"/>
                </a:solidFill>
                <a:latin typeface="+mj-lt"/>
              </a:defRPr>
            </a:lvl1pPr>
          </a:lstStyle>
          <a:p>
            <a:pPr lvl="0"/>
            <a:r>
              <a:rPr lang="en-US"/>
              <a:t>Subtitle in </a:t>
            </a:r>
            <a:r>
              <a:rPr lang="en-US" err="1"/>
              <a:t>Raleway</a:t>
            </a:r>
            <a:r>
              <a:rPr lang="en-US"/>
              <a:t> </a:t>
            </a:r>
            <a:r>
              <a:rPr lang="en-US" err="1"/>
              <a:t>SemiBold</a:t>
            </a:r>
            <a:r>
              <a:rPr lang="en-US"/>
              <a:t> 16pt</a:t>
            </a:r>
          </a:p>
        </p:txBody>
      </p:sp>
    </p:spTree>
    <p:extLst>
      <p:ext uri="{BB962C8B-B14F-4D97-AF65-F5344CB8AC3E}">
        <p14:creationId xmlns:p14="http://schemas.microsoft.com/office/powerpoint/2010/main" val="88829542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Four images 2">
    <p:spTree>
      <p:nvGrpSpPr>
        <p:cNvPr id="1" name=""/>
        <p:cNvGrpSpPr/>
        <p:nvPr/>
      </p:nvGrpSpPr>
      <p:grpSpPr>
        <a:xfrm>
          <a:off x="0" y="0"/>
          <a:ext cx="0" cy="0"/>
          <a:chOff x="0" y="0"/>
          <a:chExt cx="0" cy="0"/>
        </a:xfrm>
      </p:grpSpPr>
      <p:sp>
        <p:nvSpPr>
          <p:cNvPr id="42" name="Picture Placeholder 3">
            <a:extLst>
              <a:ext uri="{FF2B5EF4-FFF2-40B4-BE49-F238E27FC236}">
                <a16:creationId xmlns:a16="http://schemas.microsoft.com/office/drawing/2014/main" id="{87ECCD5F-585C-4256-9B5B-49C97CB57375}"/>
              </a:ext>
            </a:extLst>
          </p:cNvPr>
          <p:cNvSpPr>
            <a:spLocks noGrp="1" noChangeAspect="1"/>
          </p:cNvSpPr>
          <p:nvPr>
            <p:ph type="pic" sz="quarter" idx="21" hasCustomPrompt="1"/>
          </p:nvPr>
        </p:nvSpPr>
        <p:spPr bwMode="gray">
          <a:xfrm>
            <a:off x="9645229" y="1432984"/>
            <a:ext cx="1597152" cy="1597152"/>
          </a:xfrm>
          <a:prstGeom prst="ellipse">
            <a:avLst/>
          </a:prstGeom>
        </p:spPr>
        <p:txBody>
          <a:bodyPr lIns="0" tIns="0" rIns="0" bIns="0" anchor="ctr"/>
          <a:lstStyle>
            <a:lvl1pPr marL="0" indent="0" algn="ctr">
              <a:buNone/>
              <a:defRPr sz="800">
                <a:solidFill>
                  <a:schemeClr val="tx1"/>
                </a:solidFill>
              </a:defRPr>
            </a:lvl1pPr>
          </a:lstStyle>
          <a:p>
            <a:r>
              <a:rPr lang="en-US"/>
              <a:t>Step 1: Click icon to add picture</a:t>
            </a:r>
            <a:br>
              <a:rPr lang="en-US"/>
            </a:br>
            <a:r>
              <a:rPr lang="en-US"/>
              <a:t>Step 2: Go to View &gt;&gt; Slide Master and copy the gradient shape, close the Slide Master and paste the gradient shape on top of the selected image</a:t>
            </a:r>
          </a:p>
        </p:txBody>
      </p:sp>
      <p:sp>
        <p:nvSpPr>
          <p:cNvPr id="41" name="Picture Placeholder 3">
            <a:extLst>
              <a:ext uri="{FF2B5EF4-FFF2-40B4-BE49-F238E27FC236}">
                <a16:creationId xmlns:a16="http://schemas.microsoft.com/office/drawing/2014/main" id="{B21D74B9-8621-4C24-8533-7BE723A60770}"/>
              </a:ext>
            </a:extLst>
          </p:cNvPr>
          <p:cNvSpPr>
            <a:spLocks noGrp="1" noChangeAspect="1"/>
          </p:cNvSpPr>
          <p:nvPr>
            <p:ph type="pic" sz="quarter" idx="20" hasCustomPrompt="1"/>
          </p:nvPr>
        </p:nvSpPr>
        <p:spPr bwMode="gray">
          <a:xfrm>
            <a:off x="6764219" y="1432984"/>
            <a:ext cx="1597152" cy="1597152"/>
          </a:xfrm>
          <a:prstGeom prst="ellipse">
            <a:avLst/>
          </a:prstGeom>
        </p:spPr>
        <p:txBody>
          <a:bodyPr lIns="0" tIns="0" rIns="0" bIns="0" anchor="ctr"/>
          <a:lstStyle>
            <a:lvl1pPr marL="0" indent="0" algn="ctr">
              <a:buNone/>
              <a:defRPr sz="800">
                <a:solidFill>
                  <a:schemeClr val="tx1"/>
                </a:solidFill>
              </a:defRPr>
            </a:lvl1pPr>
          </a:lstStyle>
          <a:p>
            <a:r>
              <a:rPr lang="en-US"/>
              <a:t>Step 1: Click icon to add picture</a:t>
            </a:r>
            <a:br>
              <a:rPr lang="en-US"/>
            </a:br>
            <a:r>
              <a:rPr lang="en-US"/>
              <a:t>Step 2: Go to View &gt;&gt; Slide Master and copy the gradient shape, close the Slide Master and paste the gradient shape on top of the selected image</a:t>
            </a:r>
          </a:p>
        </p:txBody>
      </p:sp>
      <p:sp>
        <p:nvSpPr>
          <p:cNvPr id="40" name="Picture Placeholder 3">
            <a:extLst>
              <a:ext uri="{FF2B5EF4-FFF2-40B4-BE49-F238E27FC236}">
                <a16:creationId xmlns:a16="http://schemas.microsoft.com/office/drawing/2014/main" id="{0084BE70-235A-4A84-BDB3-2A7C9EDFF3D1}"/>
              </a:ext>
            </a:extLst>
          </p:cNvPr>
          <p:cNvSpPr>
            <a:spLocks noGrp="1" noChangeAspect="1"/>
          </p:cNvSpPr>
          <p:nvPr>
            <p:ph type="pic" sz="quarter" idx="19" hasCustomPrompt="1"/>
          </p:nvPr>
        </p:nvSpPr>
        <p:spPr bwMode="gray">
          <a:xfrm>
            <a:off x="3820163" y="1432984"/>
            <a:ext cx="1597152" cy="1597152"/>
          </a:xfrm>
          <a:prstGeom prst="ellipse">
            <a:avLst/>
          </a:prstGeom>
        </p:spPr>
        <p:txBody>
          <a:bodyPr lIns="0" tIns="0" rIns="0" bIns="0" anchor="ctr"/>
          <a:lstStyle>
            <a:lvl1pPr marL="0" indent="0" algn="ctr">
              <a:buNone/>
              <a:defRPr sz="800">
                <a:solidFill>
                  <a:schemeClr val="tx1"/>
                </a:solidFill>
              </a:defRPr>
            </a:lvl1pPr>
          </a:lstStyle>
          <a:p>
            <a:r>
              <a:rPr lang="en-US"/>
              <a:t>Step 1: Click icon to add picture</a:t>
            </a:r>
            <a:br>
              <a:rPr lang="en-US"/>
            </a:br>
            <a:r>
              <a:rPr lang="en-US"/>
              <a:t>Step 2: Go to View &gt;&gt; Slide Master and copy the gradient shape, close the Slide Master and paste the gradient shape on top of the selected image</a:t>
            </a:r>
          </a:p>
        </p:txBody>
      </p:sp>
      <p:sp>
        <p:nvSpPr>
          <p:cNvPr id="4" name="Picture Placeholder 3">
            <a:extLst>
              <a:ext uri="{FF2B5EF4-FFF2-40B4-BE49-F238E27FC236}">
                <a16:creationId xmlns:a16="http://schemas.microsoft.com/office/drawing/2014/main" id="{3753AB01-8E4C-47D6-B8E3-10AC53C8EB24}"/>
              </a:ext>
            </a:extLst>
          </p:cNvPr>
          <p:cNvSpPr>
            <a:spLocks noGrp="1" noChangeAspect="1"/>
          </p:cNvSpPr>
          <p:nvPr>
            <p:ph type="pic" sz="quarter" idx="10" hasCustomPrompt="1"/>
          </p:nvPr>
        </p:nvSpPr>
        <p:spPr bwMode="gray">
          <a:xfrm>
            <a:off x="941496" y="1432984"/>
            <a:ext cx="1597152" cy="1597152"/>
          </a:xfrm>
          <a:prstGeom prst="ellipse">
            <a:avLst/>
          </a:prstGeom>
        </p:spPr>
        <p:txBody>
          <a:bodyPr lIns="0" tIns="0" rIns="0" bIns="0" anchor="ctr"/>
          <a:lstStyle>
            <a:lvl1pPr marL="0" indent="0" algn="ctr">
              <a:buNone/>
              <a:defRPr sz="800">
                <a:solidFill>
                  <a:schemeClr val="tx1"/>
                </a:solidFill>
              </a:defRPr>
            </a:lvl1pPr>
          </a:lstStyle>
          <a:p>
            <a:r>
              <a:rPr lang="en-US"/>
              <a:t>Step 1: Click icon to add picture</a:t>
            </a:r>
            <a:br>
              <a:rPr lang="en-US"/>
            </a:br>
            <a:r>
              <a:rPr lang="en-US"/>
              <a:t>Step 2: Go to View &gt;&gt; Slide Master and copy the gradient shape, close the Slide Master and paste the gradient shape on top of the selected image</a:t>
            </a:r>
          </a:p>
        </p:txBody>
      </p:sp>
      <p:sp>
        <p:nvSpPr>
          <p:cNvPr id="5" name="Oval 4">
            <a:extLst>
              <a:ext uri="{FF2B5EF4-FFF2-40B4-BE49-F238E27FC236}">
                <a16:creationId xmlns:a16="http://schemas.microsoft.com/office/drawing/2014/main" id="{9525D430-C43C-4729-86E5-DEA9E9E60E43}"/>
              </a:ext>
            </a:extLst>
          </p:cNvPr>
          <p:cNvSpPr>
            <a:spLocks noChangeAspect="1"/>
          </p:cNvSpPr>
          <p:nvPr/>
        </p:nvSpPr>
        <p:spPr>
          <a:xfrm>
            <a:off x="938784" y="1438656"/>
            <a:ext cx="1597152" cy="1597152"/>
          </a:xfrm>
          <a:prstGeom prst="ellipse">
            <a:avLst/>
          </a:prstGeom>
          <a:gradFill>
            <a:gsLst>
              <a:gs pos="47000">
                <a:schemeClr val="accent1">
                  <a:alpha val="0"/>
                </a:schemeClr>
              </a:gs>
              <a:gs pos="0">
                <a:schemeClr val="accent1"/>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 name="Oval 7">
            <a:extLst>
              <a:ext uri="{FF2B5EF4-FFF2-40B4-BE49-F238E27FC236}">
                <a16:creationId xmlns:a16="http://schemas.microsoft.com/office/drawing/2014/main" id="{AFD6F98B-7844-403D-B366-D998D999F999}"/>
              </a:ext>
            </a:extLst>
          </p:cNvPr>
          <p:cNvSpPr>
            <a:spLocks noChangeAspect="1"/>
          </p:cNvSpPr>
          <p:nvPr/>
        </p:nvSpPr>
        <p:spPr>
          <a:xfrm>
            <a:off x="6766560" y="1438656"/>
            <a:ext cx="1597152" cy="1597152"/>
          </a:xfrm>
          <a:prstGeom prst="ellipse">
            <a:avLst/>
          </a:prstGeom>
          <a:gradFill>
            <a:gsLst>
              <a:gs pos="47000">
                <a:schemeClr val="accent2">
                  <a:alpha val="0"/>
                </a:schemeClr>
              </a:gs>
              <a:gs pos="0">
                <a:schemeClr val="accent2"/>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Oval 8">
            <a:extLst>
              <a:ext uri="{FF2B5EF4-FFF2-40B4-BE49-F238E27FC236}">
                <a16:creationId xmlns:a16="http://schemas.microsoft.com/office/drawing/2014/main" id="{8068B072-953A-47FF-A114-8E7D56DE298E}"/>
              </a:ext>
            </a:extLst>
          </p:cNvPr>
          <p:cNvSpPr>
            <a:spLocks noChangeAspect="1"/>
          </p:cNvSpPr>
          <p:nvPr/>
        </p:nvSpPr>
        <p:spPr>
          <a:xfrm>
            <a:off x="9643872" y="1438656"/>
            <a:ext cx="1597152" cy="1597152"/>
          </a:xfrm>
          <a:prstGeom prst="ellipse">
            <a:avLst/>
          </a:prstGeom>
          <a:gradFill>
            <a:gsLst>
              <a:gs pos="47000">
                <a:schemeClr val="accent3">
                  <a:alpha val="0"/>
                </a:schemeClr>
              </a:gs>
              <a:gs pos="0">
                <a:schemeClr val="accent3"/>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Oval 9">
            <a:extLst>
              <a:ext uri="{FF2B5EF4-FFF2-40B4-BE49-F238E27FC236}">
                <a16:creationId xmlns:a16="http://schemas.microsoft.com/office/drawing/2014/main" id="{2E232DF0-A5F7-42CE-A8B7-B50478ADC87D}"/>
              </a:ext>
            </a:extLst>
          </p:cNvPr>
          <p:cNvSpPr>
            <a:spLocks noChangeAspect="1"/>
          </p:cNvSpPr>
          <p:nvPr/>
        </p:nvSpPr>
        <p:spPr>
          <a:xfrm>
            <a:off x="3816096" y="1438656"/>
            <a:ext cx="1597152" cy="1597152"/>
          </a:xfrm>
          <a:prstGeom prst="ellipse">
            <a:avLst/>
          </a:prstGeom>
          <a:gradFill>
            <a:gsLst>
              <a:gs pos="47000">
                <a:schemeClr val="accent4">
                  <a:alpha val="0"/>
                </a:schemeClr>
              </a:gs>
              <a:gs pos="0">
                <a:schemeClr val="accent4"/>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gray">
          <a:xfrm>
            <a:off x="303548" y="164637"/>
            <a:ext cx="11436096" cy="975360"/>
          </a:xfrm>
        </p:spPr>
        <p:txBody>
          <a:bodyPr/>
          <a:lstStyle/>
          <a:p>
            <a:r>
              <a:rPr lang="en-US"/>
              <a:t>Title in </a:t>
            </a:r>
            <a:r>
              <a:rPr lang="en-US" err="1"/>
              <a:t>Raleway</a:t>
            </a:r>
            <a:r>
              <a:rPr lang="en-US"/>
              <a:t> </a:t>
            </a:r>
            <a:r>
              <a:rPr lang="en-US" err="1"/>
              <a:t>SemiBold</a:t>
            </a:r>
            <a:r>
              <a:rPr lang="en-US"/>
              <a:t> 20pt</a:t>
            </a:r>
          </a:p>
        </p:txBody>
      </p:sp>
      <p:sp>
        <p:nvSpPr>
          <p:cNvPr id="6" name="Text Placeholder 5">
            <a:extLst>
              <a:ext uri="{FF2B5EF4-FFF2-40B4-BE49-F238E27FC236}">
                <a16:creationId xmlns:a16="http://schemas.microsoft.com/office/drawing/2014/main" id="{5745C628-C734-425D-A3FF-809A59836586}"/>
              </a:ext>
            </a:extLst>
          </p:cNvPr>
          <p:cNvSpPr>
            <a:spLocks noGrp="1"/>
          </p:cNvSpPr>
          <p:nvPr>
            <p:ph type="body" sz="quarter" idx="11" hasCustomPrompt="1"/>
          </p:nvPr>
        </p:nvSpPr>
        <p:spPr bwMode="gray">
          <a:xfrm>
            <a:off x="444336" y="3629237"/>
            <a:ext cx="2609088" cy="2462784"/>
          </a:xfrm>
        </p:spPr>
        <p:txBody>
          <a:bodyPr lIns="0" tIns="0" rIns="0" bIns="0" anchor="t"/>
          <a:lstStyle>
            <a:lvl1pPr marL="0" indent="0" algn="ctr">
              <a:buNone/>
              <a:defRPr sz="1600">
                <a:latin typeface="Raleway Light" pitchFamily="2" charset="0"/>
              </a:defRPr>
            </a:lvl1pPr>
          </a:lstStyle>
          <a:p>
            <a:pPr lvl="0"/>
            <a:r>
              <a:rPr lang="en-US"/>
              <a:t>Text</a:t>
            </a:r>
          </a:p>
        </p:txBody>
      </p:sp>
      <p:sp>
        <p:nvSpPr>
          <p:cNvPr id="15" name="Text Placeholder 5">
            <a:extLst>
              <a:ext uri="{FF2B5EF4-FFF2-40B4-BE49-F238E27FC236}">
                <a16:creationId xmlns:a16="http://schemas.microsoft.com/office/drawing/2014/main" id="{C7808F05-407F-4197-BCEF-70999CAED6F0}"/>
              </a:ext>
            </a:extLst>
          </p:cNvPr>
          <p:cNvSpPr>
            <a:spLocks noGrp="1"/>
          </p:cNvSpPr>
          <p:nvPr>
            <p:ph type="body" sz="quarter" idx="12" hasCustomPrompt="1"/>
          </p:nvPr>
        </p:nvSpPr>
        <p:spPr bwMode="gray">
          <a:xfrm>
            <a:off x="444336" y="3165232"/>
            <a:ext cx="2609088" cy="365760"/>
          </a:xfrm>
        </p:spPr>
        <p:txBody>
          <a:bodyPr lIns="0" tIns="0" rIns="0" bIns="0" anchor="ctr"/>
          <a:lstStyle>
            <a:lvl1pPr marL="0" indent="0" algn="ctr">
              <a:buNone/>
              <a:defRPr sz="1600">
                <a:solidFill>
                  <a:schemeClr val="accent1"/>
                </a:solidFill>
                <a:latin typeface="+mj-lt"/>
              </a:defRPr>
            </a:lvl1pPr>
          </a:lstStyle>
          <a:p>
            <a:pPr lvl="0"/>
            <a:r>
              <a:rPr lang="en-US"/>
              <a:t>Text or Name</a:t>
            </a:r>
          </a:p>
        </p:txBody>
      </p:sp>
      <p:sp>
        <p:nvSpPr>
          <p:cNvPr id="16" name="Text Placeholder 5">
            <a:extLst>
              <a:ext uri="{FF2B5EF4-FFF2-40B4-BE49-F238E27FC236}">
                <a16:creationId xmlns:a16="http://schemas.microsoft.com/office/drawing/2014/main" id="{ACD32266-B506-4017-85D4-6D3B7BFD84BB}"/>
              </a:ext>
            </a:extLst>
          </p:cNvPr>
          <p:cNvSpPr>
            <a:spLocks noGrp="1"/>
          </p:cNvSpPr>
          <p:nvPr>
            <p:ph type="body" sz="quarter" idx="13" hasCustomPrompt="1"/>
          </p:nvPr>
        </p:nvSpPr>
        <p:spPr bwMode="gray">
          <a:xfrm>
            <a:off x="3339865" y="3629237"/>
            <a:ext cx="2609088" cy="2462784"/>
          </a:xfrm>
        </p:spPr>
        <p:txBody>
          <a:bodyPr lIns="0" tIns="0" rIns="0" bIns="0" anchor="t"/>
          <a:lstStyle>
            <a:lvl1pPr marL="0" indent="0" algn="ctr">
              <a:buNone/>
              <a:defRPr sz="1600">
                <a:latin typeface="Raleway Light" pitchFamily="2" charset="0"/>
              </a:defRPr>
            </a:lvl1pPr>
          </a:lstStyle>
          <a:p>
            <a:pPr lvl="0"/>
            <a:r>
              <a:rPr lang="en-US"/>
              <a:t>Text</a:t>
            </a:r>
          </a:p>
        </p:txBody>
      </p:sp>
      <p:sp>
        <p:nvSpPr>
          <p:cNvPr id="17" name="Text Placeholder 5">
            <a:extLst>
              <a:ext uri="{FF2B5EF4-FFF2-40B4-BE49-F238E27FC236}">
                <a16:creationId xmlns:a16="http://schemas.microsoft.com/office/drawing/2014/main" id="{EF3D9A09-E93B-484F-B386-63D774A061AD}"/>
              </a:ext>
            </a:extLst>
          </p:cNvPr>
          <p:cNvSpPr>
            <a:spLocks noGrp="1"/>
          </p:cNvSpPr>
          <p:nvPr>
            <p:ph type="body" sz="quarter" idx="14" hasCustomPrompt="1"/>
          </p:nvPr>
        </p:nvSpPr>
        <p:spPr bwMode="gray">
          <a:xfrm>
            <a:off x="3339865" y="3165232"/>
            <a:ext cx="2609088" cy="365760"/>
          </a:xfrm>
        </p:spPr>
        <p:txBody>
          <a:bodyPr lIns="0" tIns="0" rIns="0" bIns="0" anchor="ctr"/>
          <a:lstStyle>
            <a:lvl1pPr marL="0" indent="0" algn="ctr">
              <a:buNone/>
              <a:defRPr sz="1600">
                <a:solidFill>
                  <a:schemeClr val="accent4"/>
                </a:solidFill>
                <a:latin typeface="+mj-lt"/>
              </a:defRPr>
            </a:lvl1pPr>
          </a:lstStyle>
          <a:p>
            <a:pPr lvl="0"/>
            <a:r>
              <a:rPr lang="en-US"/>
              <a:t>Text or Name</a:t>
            </a:r>
          </a:p>
        </p:txBody>
      </p:sp>
      <p:sp>
        <p:nvSpPr>
          <p:cNvPr id="18" name="Text Placeholder 5">
            <a:extLst>
              <a:ext uri="{FF2B5EF4-FFF2-40B4-BE49-F238E27FC236}">
                <a16:creationId xmlns:a16="http://schemas.microsoft.com/office/drawing/2014/main" id="{9643D738-DC84-4B6E-8D85-DB4008829909}"/>
              </a:ext>
            </a:extLst>
          </p:cNvPr>
          <p:cNvSpPr>
            <a:spLocks noGrp="1"/>
          </p:cNvSpPr>
          <p:nvPr>
            <p:ph type="body" sz="quarter" idx="15" hasCustomPrompt="1"/>
          </p:nvPr>
        </p:nvSpPr>
        <p:spPr bwMode="gray">
          <a:xfrm>
            <a:off x="6235395" y="3629237"/>
            <a:ext cx="2609088" cy="2462784"/>
          </a:xfrm>
        </p:spPr>
        <p:txBody>
          <a:bodyPr lIns="0" tIns="0" rIns="0" bIns="0" anchor="t"/>
          <a:lstStyle>
            <a:lvl1pPr marL="0" indent="0" algn="ctr">
              <a:buNone/>
              <a:defRPr sz="1600">
                <a:latin typeface="Raleway Light" pitchFamily="2" charset="0"/>
              </a:defRPr>
            </a:lvl1pPr>
          </a:lstStyle>
          <a:p>
            <a:pPr lvl="0"/>
            <a:r>
              <a:rPr lang="en-US"/>
              <a:t>Text</a:t>
            </a:r>
          </a:p>
        </p:txBody>
      </p:sp>
      <p:sp>
        <p:nvSpPr>
          <p:cNvPr id="25" name="Text Placeholder 5">
            <a:extLst>
              <a:ext uri="{FF2B5EF4-FFF2-40B4-BE49-F238E27FC236}">
                <a16:creationId xmlns:a16="http://schemas.microsoft.com/office/drawing/2014/main" id="{C69CB2B6-4B44-44E8-8312-78C8DCE900DC}"/>
              </a:ext>
            </a:extLst>
          </p:cNvPr>
          <p:cNvSpPr>
            <a:spLocks noGrp="1"/>
          </p:cNvSpPr>
          <p:nvPr>
            <p:ph type="body" sz="quarter" idx="16" hasCustomPrompt="1"/>
          </p:nvPr>
        </p:nvSpPr>
        <p:spPr bwMode="gray">
          <a:xfrm>
            <a:off x="6235395" y="3165232"/>
            <a:ext cx="2609088" cy="365760"/>
          </a:xfrm>
        </p:spPr>
        <p:txBody>
          <a:bodyPr lIns="0" tIns="0" rIns="0" bIns="0" anchor="ctr"/>
          <a:lstStyle>
            <a:lvl1pPr marL="0" indent="0" algn="ctr">
              <a:buNone/>
              <a:defRPr sz="1600">
                <a:solidFill>
                  <a:schemeClr val="accent2"/>
                </a:solidFill>
                <a:latin typeface="+mj-lt"/>
              </a:defRPr>
            </a:lvl1pPr>
          </a:lstStyle>
          <a:p>
            <a:pPr lvl="0"/>
            <a:r>
              <a:rPr lang="en-US"/>
              <a:t>Text or Name</a:t>
            </a:r>
          </a:p>
        </p:txBody>
      </p:sp>
      <p:sp>
        <p:nvSpPr>
          <p:cNvPr id="26" name="Text Placeholder 5">
            <a:extLst>
              <a:ext uri="{FF2B5EF4-FFF2-40B4-BE49-F238E27FC236}">
                <a16:creationId xmlns:a16="http://schemas.microsoft.com/office/drawing/2014/main" id="{F6ACF818-5DC5-469C-BD9D-38C2BED2F786}"/>
              </a:ext>
            </a:extLst>
          </p:cNvPr>
          <p:cNvSpPr>
            <a:spLocks noGrp="1"/>
          </p:cNvSpPr>
          <p:nvPr>
            <p:ph type="body" sz="quarter" idx="17" hasCustomPrompt="1"/>
          </p:nvPr>
        </p:nvSpPr>
        <p:spPr bwMode="gray">
          <a:xfrm>
            <a:off x="9130923" y="3629237"/>
            <a:ext cx="2609088" cy="2462784"/>
          </a:xfrm>
        </p:spPr>
        <p:txBody>
          <a:bodyPr lIns="0" tIns="0" rIns="0" bIns="0" anchor="t"/>
          <a:lstStyle>
            <a:lvl1pPr marL="0" indent="0" algn="ctr">
              <a:buNone/>
              <a:defRPr sz="1600">
                <a:latin typeface="Raleway Light" pitchFamily="2" charset="0"/>
              </a:defRPr>
            </a:lvl1pPr>
          </a:lstStyle>
          <a:p>
            <a:pPr lvl="0"/>
            <a:r>
              <a:rPr lang="en-US"/>
              <a:t>Text</a:t>
            </a:r>
          </a:p>
        </p:txBody>
      </p:sp>
      <p:sp>
        <p:nvSpPr>
          <p:cNvPr id="27" name="Text Placeholder 5">
            <a:extLst>
              <a:ext uri="{FF2B5EF4-FFF2-40B4-BE49-F238E27FC236}">
                <a16:creationId xmlns:a16="http://schemas.microsoft.com/office/drawing/2014/main" id="{52343530-9785-4BA5-AB3D-ED1A31D4EC71}"/>
              </a:ext>
            </a:extLst>
          </p:cNvPr>
          <p:cNvSpPr>
            <a:spLocks noGrp="1"/>
          </p:cNvSpPr>
          <p:nvPr>
            <p:ph type="body" sz="quarter" idx="18" hasCustomPrompt="1"/>
          </p:nvPr>
        </p:nvSpPr>
        <p:spPr bwMode="gray">
          <a:xfrm>
            <a:off x="9130923" y="3165232"/>
            <a:ext cx="2609088" cy="365760"/>
          </a:xfrm>
        </p:spPr>
        <p:txBody>
          <a:bodyPr lIns="0" tIns="0" rIns="0" bIns="0" anchor="ctr"/>
          <a:lstStyle>
            <a:lvl1pPr marL="0" indent="0" algn="ctr">
              <a:buNone/>
              <a:defRPr sz="1600">
                <a:solidFill>
                  <a:schemeClr val="accent3"/>
                </a:solidFill>
                <a:latin typeface="+mj-lt"/>
              </a:defRPr>
            </a:lvl1pPr>
          </a:lstStyle>
          <a:p>
            <a:pPr lvl="0"/>
            <a:r>
              <a:rPr lang="en-US"/>
              <a:t>Text or Name</a:t>
            </a:r>
          </a:p>
        </p:txBody>
      </p:sp>
      <p:sp>
        <p:nvSpPr>
          <p:cNvPr id="19" name="Text Placeholder 4">
            <a:extLst>
              <a:ext uri="{FF2B5EF4-FFF2-40B4-BE49-F238E27FC236}">
                <a16:creationId xmlns:a16="http://schemas.microsoft.com/office/drawing/2014/main" id="{A1F4DD1D-EEF5-4369-86E6-771BD1D13B72}"/>
              </a:ext>
            </a:extLst>
          </p:cNvPr>
          <p:cNvSpPr>
            <a:spLocks noGrp="1"/>
          </p:cNvSpPr>
          <p:nvPr>
            <p:ph type="body" sz="quarter" idx="22" hasCustomPrompt="1"/>
          </p:nvPr>
        </p:nvSpPr>
        <p:spPr>
          <a:xfrm>
            <a:off x="303547" y="556610"/>
            <a:ext cx="11436096" cy="580529"/>
          </a:xfrm>
        </p:spPr>
        <p:txBody>
          <a:bodyPr/>
          <a:lstStyle>
            <a:lvl1pPr marL="0" indent="0">
              <a:buNone/>
              <a:defRPr sz="2133">
                <a:solidFill>
                  <a:srgbClr val="0596FF"/>
                </a:solidFill>
                <a:latin typeface="+mj-lt"/>
              </a:defRPr>
            </a:lvl1pPr>
          </a:lstStyle>
          <a:p>
            <a:pPr lvl="0"/>
            <a:r>
              <a:rPr lang="en-US"/>
              <a:t>Subtitle in </a:t>
            </a:r>
            <a:r>
              <a:rPr lang="en-US" err="1"/>
              <a:t>Raleway</a:t>
            </a:r>
            <a:r>
              <a:rPr lang="en-US"/>
              <a:t> </a:t>
            </a:r>
            <a:r>
              <a:rPr lang="en-US" err="1"/>
              <a:t>SemiBold</a:t>
            </a:r>
            <a:r>
              <a:rPr lang="en-US"/>
              <a:t> 16pt</a:t>
            </a:r>
          </a:p>
        </p:txBody>
      </p:sp>
    </p:spTree>
    <p:extLst>
      <p:ext uri="{BB962C8B-B14F-4D97-AF65-F5344CB8AC3E}">
        <p14:creationId xmlns:p14="http://schemas.microsoft.com/office/powerpoint/2010/main" val="23407353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Number slide #2">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a:t>Click to add chapter title </a:t>
            </a:r>
          </a:p>
        </p:txBody>
      </p:sp>
      <p:pic>
        <p:nvPicPr>
          <p:cNvPr id="16" name="Picture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936" y="2046008"/>
            <a:ext cx="12256619" cy="2734113"/>
          </a:xfrm>
          <a:prstGeom prst="rect">
            <a:avLst/>
          </a:prstGeom>
        </p:spPr>
      </p:pic>
    </p:spTree>
    <p:extLst>
      <p:ext uri="{BB962C8B-B14F-4D97-AF65-F5344CB8AC3E}">
        <p14:creationId xmlns:p14="http://schemas.microsoft.com/office/powerpoint/2010/main" val="344701257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Four images 3">
    <p:spTree>
      <p:nvGrpSpPr>
        <p:cNvPr id="1" name=""/>
        <p:cNvGrpSpPr/>
        <p:nvPr/>
      </p:nvGrpSpPr>
      <p:grpSpPr>
        <a:xfrm>
          <a:off x="0" y="0"/>
          <a:ext cx="0" cy="0"/>
          <a:chOff x="0" y="0"/>
          <a:chExt cx="0" cy="0"/>
        </a:xfrm>
      </p:grpSpPr>
      <p:sp>
        <p:nvSpPr>
          <p:cNvPr id="63" name="Picture Placeholder 3">
            <a:extLst>
              <a:ext uri="{FF2B5EF4-FFF2-40B4-BE49-F238E27FC236}">
                <a16:creationId xmlns:a16="http://schemas.microsoft.com/office/drawing/2014/main" id="{878B2F4C-301A-408C-8855-A7AF9EB8E00F}"/>
              </a:ext>
            </a:extLst>
          </p:cNvPr>
          <p:cNvSpPr>
            <a:spLocks noGrp="1" noChangeAspect="1"/>
          </p:cNvSpPr>
          <p:nvPr>
            <p:ph type="pic" sz="quarter" idx="21" hasCustomPrompt="1"/>
          </p:nvPr>
        </p:nvSpPr>
        <p:spPr bwMode="gray">
          <a:xfrm>
            <a:off x="9636891" y="4077675"/>
            <a:ext cx="1597152" cy="1597152"/>
          </a:xfrm>
          <a:prstGeom prst="ellipse">
            <a:avLst/>
          </a:prstGeom>
        </p:spPr>
        <p:txBody>
          <a:bodyPr lIns="0" tIns="0" rIns="0" bIns="0" anchor="ctr"/>
          <a:lstStyle>
            <a:lvl1pPr marL="0" indent="0" algn="ctr">
              <a:buNone/>
              <a:defRPr sz="800">
                <a:solidFill>
                  <a:schemeClr val="tx1"/>
                </a:solidFill>
              </a:defRPr>
            </a:lvl1pPr>
          </a:lstStyle>
          <a:p>
            <a:r>
              <a:rPr lang="en-US"/>
              <a:t>Step 1: Click icon to add picture</a:t>
            </a:r>
            <a:br>
              <a:rPr lang="en-US"/>
            </a:br>
            <a:r>
              <a:rPr lang="en-US"/>
              <a:t>Step 2: Go to View &gt;&gt; Slide Master and copy the gradient shape, close the Slide Master and paste the gradient shape on top of the selected image</a:t>
            </a:r>
          </a:p>
        </p:txBody>
      </p:sp>
      <p:sp>
        <p:nvSpPr>
          <p:cNvPr id="61" name="Picture Placeholder 3">
            <a:extLst>
              <a:ext uri="{FF2B5EF4-FFF2-40B4-BE49-F238E27FC236}">
                <a16:creationId xmlns:a16="http://schemas.microsoft.com/office/drawing/2014/main" id="{77537E8F-8975-4A18-9813-D10B75751278}"/>
              </a:ext>
            </a:extLst>
          </p:cNvPr>
          <p:cNvSpPr>
            <a:spLocks noGrp="1" noChangeAspect="1"/>
          </p:cNvSpPr>
          <p:nvPr>
            <p:ph type="pic" sz="quarter" idx="19" hasCustomPrompt="1"/>
          </p:nvPr>
        </p:nvSpPr>
        <p:spPr bwMode="gray">
          <a:xfrm>
            <a:off x="3845833" y="4077675"/>
            <a:ext cx="1597152" cy="1597152"/>
          </a:xfrm>
          <a:prstGeom prst="ellipse">
            <a:avLst/>
          </a:prstGeom>
        </p:spPr>
        <p:txBody>
          <a:bodyPr lIns="0" tIns="0" rIns="0" bIns="0" anchor="ctr"/>
          <a:lstStyle>
            <a:lvl1pPr marL="0" indent="0" algn="ctr">
              <a:buNone/>
              <a:defRPr sz="800">
                <a:solidFill>
                  <a:schemeClr val="tx1"/>
                </a:solidFill>
              </a:defRPr>
            </a:lvl1pPr>
          </a:lstStyle>
          <a:p>
            <a:r>
              <a:rPr lang="en-US"/>
              <a:t>Step 1: Click icon to add picture</a:t>
            </a:r>
            <a:br>
              <a:rPr lang="en-US"/>
            </a:br>
            <a:r>
              <a:rPr lang="en-US"/>
              <a:t>Step 2: Go to View &gt;&gt; Slide Master and copy the gradient shape, close the Slide Master and paste the gradient shape on top of the selected image</a:t>
            </a:r>
          </a:p>
        </p:txBody>
      </p:sp>
      <p:sp>
        <p:nvSpPr>
          <p:cNvPr id="62" name="Picture Placeholder 3">
            <a:extLst>
              <a:ext uri="{FF2B5EF4-FFF2-40B4-BE49-F238E27FC236}">
                <a16:creationId xmlns:a16="http://schemas.microsoft.com/office/drawing/2014/main" id="{427954B6-42E4-49AC-A8CC-2B56F6B24301}"/>
              </a:ext>
            </a:extLst>
          </p:cNvPr>
          <p:cNvSpPr>
            <a:spLocks noGrp="1" noChangeAspect="1"/>
          </p:cNvSpPr>
          <p:nvPr>
            <p:ph type="pic" sz="quarter" idx="20" hasCustomPrompt="1"/>
          </p:nvPr>
        </p:nvSpPr>
        <p:spPr bwMode="gray">
          <a:xfrm>
            <a:off x="6741363" y="1850291"/>
            <a:ext cx="1597152" cy="1597152"/>
          </a:xfrm>
          <a:prstGeom prst="ellipse">
            <a:avLst/>
          </a:prstGeom>
        </p:spPr>
        <p:txBody>
          <a:bodyPr lIns="0" tIns="0" rIns="0" bIns="0" anchor="ctr"/>
          <a:lstStyle>
            <a:lvl1pPr marL="0" indent="0" algn="ctr">
              <a:buNone/>
              <a:defRPr sz="800">
                <a:solidFill>
                  <a:schemeClr val="tx1"/>
                </a:solidFill>
              </a:defRPr>
            </a:lvl1pPr>
          </a:lstStyle>
          <a:p>
            <a:r>
              <a:rPr lang="en-US"/>
              <a:t>Step 1: Click icon to add picture</a:t>
            </a:r>
            <a:br>
              <a:rPr lang="en-US"/>
            </a:br>
            <a:r>
              <a:rPr lang="en-US"/>
              <a:t>Step 2: Go to View &gt;&gt; Slide Master and copy the gradient shape, close the Slide Master and paste the gradient shape on top of the selected image</a:t>
            </a:r>
          </a:p>
        </p:txBody>
      </p:sp>
      <p:sp>
        <p:nvSpPr>
          <p:cNvPr id="4" name="Picture Placeholder 3">
            <a:extLst>
              <a:ext uri="{FF2B5EF4-FFF2-40B4-BE49-F238E27FC236}">
                <a16:creationId xmlns:a16="http://schemas.microsoft.com/office/drawing/2014/main" id="{3753AB01-8E4C-47D6-B8E3-10AC53C8EB24}"/>
              </a:ext>
            </a:extLst>
          </p:cNvPr>
          <p:cNvSpPr>
            <a:spLocks noGrp="1" noChangeAspect="1"/>
          </p:cNvSpPr>
          <p:nvPr>
            <p:ph type="pic" sz="quarter" idx="10" hasCustomPrompt="1"/>
          </p:nvPr>
        </p:nvSpPr>
        <p:spPr bwMode="gray">
          <a:xfrm>
            <a:off x="950304" y="1850291"/>
            <a:ext cx="1597152" cy="1597152"/>
          </a:xfrm>
          <a:prstGeom prst="ellipse">
            <a:avLst/>
          </a:prstGeom>
        </p:spPr>
        <p:txBody>
          <a:bodyPr lIns="0" tIns="0" rIns="0" bIns="0" anchor="ctr"/>
          <a:lstStyle>
            <a:lvl1pPr marL="0" indent="0" algn="ctr">
              <a:buNone/>
              <a:defRPr sz="800">
                <a:solidFill>
                  <a:schemeClr val="tx1"/>
                </a:solidFill>
              </a:defRPr>
            </a:lvl1pPr>
          </a:lstStyle>
          <a:p>
            <a:r>
              <a:rPr lang="en-US"/>
              <a:t>Step 1: Click icon to add picture</a:t>
            </a:r>
            <a:br>
              <a:rPr lang="en-US"/>
            </a:br>
            <a:r>
              <a:rPr lang="en-US"/>
              <a:t>Step 2: Go to View &gt;&gt; Slide Master and copy the gradient shape, close the Slide Master and paste the gradient shape on top of the selected image</a:t>
            </a:r>
          </a:p>
        </p:txBody>
      </p:sp>
      <p:sp>
        <p:nvSpPr>
          <p:cNvPr id="58" name="Oval 57">
            <a:extLst>
              <a:ext uri="{FF2B5EF4-FFF2-40B4-BE49-F238E27FC236}">
                <a16:creationId xmlns:a16="http://schemas.microsoft.com/office/drawing/2014/main" id="{B59C02B8-89D8-479B-9609-A61307C54B5F}"/>
              </a:ext>
            </a:extLst>
          </p:cNvPr>
          <p:cNvSpPr>
            <a:spLocks noChangeAspect="1"/>
          </p:cNvSpPr>
          <p:nvPr/>
        </p:nvSpPr>
        <p:spPr bwMode="gray">
          <a:xfrm>
            <a:off x="9630795" y="4077675"/>
            <a:ext cx="1597152" cy="1597152"/>
          </a:xfrm>
          <a:prstGeom prst="ellipse">
            <a:avLst/>
          </a:prstGeom>
          <a:gradFill flip="none" rotWithShape="1">
            <a:gsLst>
              <a:gs pos="47000">
                <a:schemeClr val="accent3">
                  <a:alpha val="0"/>
                </a:schemeClr>
              </a:gs>
              <a:gs pos="0">
                <a:schemeClr val="accent3"/>
              </a:gs>
            </a:gsLst>
            <a:lin ang="17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67">
              <a:solidFill>
                <a:schemeClr val="bg1"/>
              </a:solidFill>
              <a:latin typeface="+mj-lt"/>
            </a:endParaRPr>
          </a:p>
        </p:txBody>
      </p:sp>
      <p:sp>
        <p:nvSpPr>
          <p:cNvPr id="50" name="Oval 49">
            <a:extLst>
              <a:ext uri="{FF2B5EF4-FFF2-40B4-BE49-F238E27FC236}">
                <a16:creationId xmlns:a16="http://schemas.microsoft.com/office/drawing/2014/main" id="{8CFCD3AC-BC13-484A-9DB6-0687ADDFA522}"/>
              </a:ext>
            </a:extLst>
          </p:cNvPr>
          <p:cNvSpPr>
            <a:spLocks noChangeAspect="1"/>
          </p:cNvSpPr>
          <p:nvPr/>
        </p:nvSpPr>
        <p:spPr bwMode="gray">
          <a:xfrm>
            <a:off x="6742176" y="1853184"/>
            <a:ext cx="1597152" cy="1597152"/>
          </a:xfrm>
          <a:prstGeom prst="ellipse">
            <a:avLst/>
          </a:prstGeom>
          <a:gradFill flip="none" rotWithShape="1">
            <a:gsLst>
              <a:gs pos="47000">
                <a:schemeClr val="accent2">
                  <a:alpha val="0"/>
                </a:schemeClr>
              </a:gs>
              <a:gs pos="0">
                <a:schemeClr val="accent2"/>
              </a:gs>
            </a:gsLst>
            <a:lin ang="17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67">
              <a:solidFill>
                <a:schemeClr val="bg1"/>
              </a:solidFill>
              <a:latin typeface="+mj-lt"/>
            </a:endParaRPr>
          </a:p>
        </p:txBody>
      </p:sp>
      <p:sp>
        <p:nvSpPr>
          <p:cNvPr id="54" name="Oval 53">
            <a:extLst>
              <a:ext uri="{FF2B5EF4-FFF2-40B4-BE49-F238E27FC236}">
                <a16:creationId xmlns:a16="http://schemas.microsoft.com/office/drawing/2014/main" id="{A0257437-5EEA-4AFD-AFBD-4160FDF4BBC1}"/>
              </a:ext>
            </a:extLst>
          </p:cNvPr>
          <p:cNvSpPr>
            <a:spLocks noChangeAspect="1"/>
          </p:cNvSpPr>
          <p:nvPr/>
        </p:nvSpPr>
        <p:spPr bwMode="gray">
          <a:xfrm>
            <a:off x="3839737" y="4077675"/>
            <a:ext cx="1597152" cy="1597152"/>
          </a:xfrm>
          <a:prstGeom prst="ellipse">
            <a:avLst/>
          </a:prstGeom>
          <a:gradFill flip="none" rotWithShape="1">
            <a:gsLst>
              <a:gs pos="47000">
                <a:schemeClr val="accent4">
                  <a:alpha val="0"/>
                </a:schemeClr>
              </a:gs>
              <a:gs pos="0">
                <a:schemeClr val="accent4"/>
              </a:gs>
            </a:gsLst>
            <a:lin ang="17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67">
              <a:solidFill>
                <a:schemeClr val="bg1"/>
              </a:solidFill>
              <a:latin typeface="+mj-lt"/>
            </a:endParaRPr>
          </a:p>
        </p:txBody>
      </p:sp>
      <p:sp>
        <p:nvSpPr>
          <p:cNvPr id="12" name="Oval 11">
            <a:extLst>
              <a:ext uri="{FF2B5EF4-FFF2-40B4-BE49-F238E27FC236}">
                <a16:creationId xmlns:a16="http://schemas.microsoft.com/office/drawing/2014/main" id="{ADACA83E-D11F-4623-9756-E043FFD2354A}"/>
              </a:ext>
            </a:extLst>
          </p:cNvPr>
          <p:cNvSpPr>
            <a:spLocks noChangeAspect="1"/>
          </p:cNvSpPr>
          <p:nvPr/>
        </p:nvSpPr>
        <p:spPr bwMode="gray">
          <a:xfrm>
            <a:off x="950976" y="1853184"/>
            <a:ext cx="1597152" cy="1597152"/>
          </a:xfrm>
          <a:prstGeom prst="ellipse">
            <a:avLst/>
          </a:prstGeom>
          <a:gradFill flip="none" rotWithShape="1">
            <a:gsLst>
              <a:gs pos="47000">
                <a:schemeClr val="accent1">
                  <a:alpha val="0"/>
                </a:schemeClr>
              </a:gs>
              <a:gs pos="0">
                <a:schemeClr val="accent1"/>
              </a:gs>
            </a:gsLst>
            <a:lin ang="17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67">
              <a:solidFill>
                <a:schemeClr val="bg1"/>
              </a:solidFill>
              <a:latin typeface="+mj-lt"/>
            </a:endParaRPr>
          </a:p>
        </p:txBody>
      </p: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gray">
          <a:xfrm>
            <a:off x="303548" y="164637"/>
            <a:ext cx="11436096" cy="975360"/>
          </a:xfrm>
        </p:spPr>
        <p:txBody>
          <a:bodyPr/>
          <a:lstStyle/>
          <a:p>
            <a:r>
              <a:rPr lang="en-US"/>
              <a:t>Title in </a:t>
            </a:r>
            <a:r>
              <a:rPr lang="en-US" err="1"/>
              <a:t>Raleway</a:t>
            </a:r>
            <a:r>
              <a:rPr lang="en-US"/>
              <a:t> </a:t>
            </a:r>
            <a:r>
              <a:rPr lang="en-US" err="1"/>
              <a:t>SemiBold</a:t>
            </a:r>
            <a:r>
              <a:rPr lang="en-US"/>
              <a:t> 20pt</a:t>
            </a:r>
          </a:p>
        </p:txBody>
      </p:sp>
      <p:sp>
        <p:nvSpPr>
          <p:cNvPr id="6" name="Text Placeholder 5">
            <a:extLst>
              <a:ext uri="{FF2B5EF4-FFF2-40B4-BE49-F238E27FC236}">
                <a16:creationId xmlns:a16="http://schemas.microsoft.com/office/drawing/2014/main" id="{5745C628-C734-425D-A3FF-809A59836586}"/>
              </a:ext>
            </a:extLst>
          </p:cNvPr>
          <p:cNvSpPr>
            <a:spLocks noGrp="1"/>
          </p:cNvSpPr>
          <p:nvPr>
            <p:ph type="body" sz="quarter" idx="11" hasCustomPrompt="1"/>
          </p:nvPr>
        </p:nvSpPr>
        <p:spPr bwMode="gray">
          <a:xfrm>
            <a:off x="444336" y="3558213"/>
            <a:ext cx="2609088" cy="2535936"/>
          </a:xfrm>
        </p:spPr>
        <p:txBody>
          <a:bodyPr lIns="0" tIns="0" rIns="0" bIns="0" anchor="t"/>
          <a:lstStyle>
            <a:lvl1pPr marL="0" indent="0" algn="ctr">
              <a:buNone/>
              <a:defRPr sz="1600">
                <a:latin typeface="Raleway Light" pitchFamily="2" charset="0"/>
              </a:defRPr>
            </a:lvl1pPr>
          </a:lstStyle>
          <a:p>
            <a:pPr lvl="0"/>
            <a:r>
              <a:rPr lang="en-US"/>
              <a:t>Text</a:t>
            </a:r>
          </a:p>
        </p:txBody>
      </p:sp>
      <p:sp>
        <p:nvSpPr>
          <p:cNvPr id="15" name="Text Placeholder 5">
            <a:extLst>
              <a:ext uri="{FF2B5EF4-FFF2-40B4-BE49-F238E27FC236}">
                <a16:creationId xmlns:a16="http://schemas.microsoft.com/office/drawing/2014/main" id="{C7808F05-407F-4197-BCEF-70999CAED6F0}"/>
              </a:ext>
            </a:extLst>
          </p:cNvPr>
          <p:cNvSpPr>
            <a:spLocks noGrp="1"/>
          </p:cNvSpPr>
          <p:nvPr>
            <p:ph type="body" sz="quarter" idx="12" hasCustomPrompt="1"/>
          </p:nvPr>
        </p:nvSpPr>
        <p:spPr bwMode="gray">
          <a:xfrm>
            <a:off x="444336" y="1432984"/>
            <a:ext cx="2609088" cy="304800"/>
          </a:xfrm>
        </p:spPr>
        <p:txBody>
          <a:bodyPr lIns="0" tIns="0" rIns="0" bIns="0" anchor="t"/>
          <a:lstStyle>
            <a:lvl1pPr marL="0" indent="0" algn="ctr">
              <a:buNone/>
              <a:defRPr sz="1600">
                <a:solidFill>
                  <a:schemeClr val="accent1"/>
                </a:solidFill>
                <a:latin typeface="+mj-lt"/>
              </a:defRPr>
            </a:lvl1pPr>
          </a:lstStyle>
          <a:p>
            <a:pPr lvl="0"/>
            <a:r>
              <a:rPr lang="en-US"/>
              <a:t>Text or Name</a:t>
            </a:r>
          </a:p>
        </p:txBody>
      </p:sp>
      <p:sp>
        <p:nvSpPr>
          <p:cNvPr id="43" name="Text Placeholder 5">
            <a:extLst>
              <a:ext uri="{FF2B5EF4-FFF2-40B4-BE49-F238E27FC236}">
                <a16:creationId xmlns:a16="http://schemas.microsoft.com/office/drawing/2014/main" id="{0E1A69AA-BB08-47ED-8A27-3EBD2285D3D0}"/>
              </a:ext>
            </a:extLst>
          </p:cNvPr>
          <p:cNvSpPr>
            <a:spLocks noGrp="1"/>
          </p:cNvSpPr>
          <p:nvPr>
            <p:ph type="body" sz="quarter" idx="13" hasCustomPrompt="1"/>
          </p:nvPr>
        </p:nvSpPr>
        <p:spPr bwMode="gray">
          <a:xfrm>
            <a:off x="3339865" y="1432984"/>
            <a:ext cx="2609088" cy="2535936"/>
          </a:xfrm>
        </p:spPr>
        <p:txBody>
          <a:bodyPr lIns="0" tIns="0" rIns="0" bIns="0" anchor="b"/>
          <a:lstStyle>
            <a:lvl1pPr marL="0" indent="0" algn="ctr">
              <a:buNone/>
              <a:defRPr sz="1600">
                <a:latin typeface="Raleway Light" pitchFamily="2" charset="0"/>
              </a:defRPr>
            </a:lvl1pPr>
          </a:lstStyle>
          <a:p>
            <a:pPr lvl="0"/>
            <a:r>
              <a:rPr lang="en-US"/>
              <a:t>Text</a:t>
            </a:r>
          </a:p>
        </p:txBody>
      </p:sp>
      <p:sp>
        <p:nvSpPr>
          <p:cNvPr id="44" name="Text Placeholder 5">
            <a:extLst>
              <a:ext uri="{FF2B5EF4-FFF2-40B4-BE49-F238E27FC236}">
                <a16:creationId xmlns:a16="http://schemas.microsoft.com/office/drawing/2014/main" id="{E568E458-ED09-4594-BF03-6E7B9E566220}"/>
              </a:ext>
            </a:extLst>
          </p:cNvPr>
          <p:cNvSpPr>
            <a:spLocks noGrp="1"/>
          </p:cNvSpPr>
          <p:nvPr>
            <p:ph type="body" sz="quarter" idx="14" hasCustomPrompt="1"/>
          </p:nvPr>
        </p:nvSpPr>
        <p:spPr bwMode="gray">
          <a:xfrm>
            <a:off x="6235395" y="3558213"/>
            <a:ext cx="2609088" cy="2535936"/>
          </a:xfrm>
        </p:spPr>
        <p:txBody>
          <a:bodyPr lIns="0" tIns="0" rIns="0" bIns="0" anchor="t"/>
          <a:lstStyle>
            <a:lvl1pPr marL="0" indent="0" algn="ctr">
              <a:buNone/>
              <a:defRPr sz="1600">
                <a:latin typeface="Raleway Light" pitchFamily="2" charset="0"/>
              </a:defRPr>
            </a:lvl1pPr>
          </a:lstStyle>
          <a:p>
            <a:pPr lvl="0"/>
            <a:r>
              <a:rPr lang="en-US"/>
              <a:t>Text</a:t>
            </a:r>
          </a:p>
        </p:txBody>
      </p:sp>
      <p:sp>
        <p:nvSpPr>
          <p:cNvPr id="45" name="Text Placeholder 5">
            <a:extLst>
              <a:ext uri="{FF2B5EF4-FFF2-40B4-BE49-F238E27FC236}">
                <a16:creationId xmlns:a16="http://schemas.microsoft.com/office/drawing/2014/main" id="{B164CC54-F8A7-4852-B819-D7C108DCD290}"/>
              </a:ext>
            </a:extLst>
          </p:cNvPr>
          <p:cNvSpPr>
            <a:spLocks noGrp="1"/>
          </p:cNvSpPr>
          <p:nvPr>
            <p:ph type="body" sz="quarter" idx="15" hasCustomPrompt="1"/>
          </p:nvPr>
        </p:nvSpPr>
        <p:spPr bwMode="gray">
          <a:xfrm>
            <a:off x="9130923" y="1432984"/>
            <a:ext cx="2609088" cy="2535936"/>
          </a:xfrm>
        </p:spPr>
        <p:txBody>
          <a:bodyPr lIns="0" tIns="0" rIns="0" bIns="0" anchor="b"/>
          <a:lstStyle>
            <a:lvl1pPr marL="0" indent="0" algn="ctr">
              <a:buNone/>
              <a:defRPr sz="1600">
                <a:latin typeface="Raleway Light" pitchFamily="2" charset="0"/>
              </a:defRPr>
            </a:lvl1pPr>
          </a:lstStyle>
          <a:p>
            <a:pPr lvl="0"/>
            <a:r>
              <a:rPr lang="en-US"/>
              <a:t>Text</a:t>
            </a:r>
          </a:p>
        </p:txBody>
      </p:sp>
      <p:sp>
        <p:nvSpPr>
          <p:cNvPr id="46" name="Text Placeholder 5">
            <a:extLst>
              <a:ext uri="{FF2B5EF4-FFF2-40B4-BE49-F238E27FC236}">
                <a16:creationId xmlns:a16="http://schemas.microsoft.com/office/drawing/2014/main" id="{1E3A88E7-988D-47C0-8A7F-409F5119B7F5}"/>
              </a:ext>
            </a:extLst>
          </p:cNvPr>
          <p:cNvSpPr>
            <a:spLocks noGrp="1"/>
          </p:cNvSpPr>
          <p:nvPr>
            <p:ph type="body" sz="quarter" idx="16" hasCustomPrompt="1"/>
          </p:nvPr>
        </p:nvSpPr>
        <p:spPr bwMode="gray">
          <a:xfrm>
            <a:off x="3339865" y="5789349"/>
            <a:ext cx="2609088" cy="304800"/>
          </a:xfrm>
        </p:spPr>
        <p:txBody>
          <a:bodyPr lIns="0" tIns="0" rIns="0" bIns="0" anchor="b"/>
          <a:lstStyle>
            <a:lvl1pPr marL="0" indent="0" algn="ctr">
              <a:buNone/>
              <a:defRPr sz="1600">
                <a:solidFill>
                  <a:schemeClr val="accent4"/>
                </a:solidFill>
                <a:latin typeface="+mj-lt"/>
              </a:defRPr>
            </a:lvl1pPr>
          </a:lstStyle>
          <a:p>
            <a:pPr lvl="0"/>
            <a:r>
              <a:rPr lang="en-US"/>
              <a:t>Text or Name</a:t>
            </a:r>
          </a:p>
        </p:txBody>
      </p:sp>
      <p:sp>
        <p:nvSpPr>
          <p:cNvPr id="47" name="Text Placeholder 5">
            <a:extLst>
              <a:ext uri="{FF2B5EF4-FFF2-40B4-BE49-F238E27FC236}">
                <a16:creationId xmlns:a16="http://schemas.microsoft.com/office/drawing/2014/main" id="{1FBC6CF9-7E8C-4DC5-9B67-468A5F82C02E}"/>
              </a:ext>
            </a:extLst>
          </p:cNvPr>
          <p:cNvSpPr>
            <a:spLocks noGrp="1"/>
          </p:cNvSpPr>
          <p:nvPr>
            <p:ph type="body" sz="quarter" idx="17" hasCustomPrompt="1"/>
          </p:nvPr>
        </p:nvSpPr>
        <p:spPr bwMode="gray">
          <a:xfrm>
            <a:off x="6235395" y="1432984"/>
            <a:ext cx="2609088" cy="304800"/>
          </a:xfrm>
        </p:spPr>
        <p:txBody>
          <a:bodyPr lIns="0" tIns="0" rIns="0" bIns="0" anchor="t"/>
          <a:lstStyle>
            <a:lvl1pPr marL="0" indent="0" algn="ctr">
              <a:buNone/>
              <a:defRPr sz="1600">
                <a:solidFill>
                  <a:schemeClr val="accent2"/>
                </a:solidFill>
                <a:latin typeface="+mj-lt"/>
              </a:defRPr>
            </a:lvl1pPr>
          </a:lstStyle>
          <a:p>
            <a:pPr lvl="0"/>
            <a:r>
              <a:rPr lang="en-US"/>
              <a:t>Text or Name</a:t>
            </a:r>
          </a:p>
        </p:txBody>
      </p:sp>
      <p:sp>
        <p:nvSpPr>
          <p:cNvPr id="48" name="Text Placeholder 5">
            <a:extLst>
              <a:ext uri="{FF2B5EF4-FFF2-40B4-BE49-F238E27FC236}">
                <a16:creationId xmlns:a16="http://schemas.microsoft.com/office/drawing/2014/main" id="{2C3C7B8A-741D-49C0-B7FB-F8BF4C55FBD5}"/>
              </a:ext>
            </a:extLst>
          </p:cNvPr>
          <p:cNvSpPr>
            <a:spLocks noGrp="1"/>
          </p:cNvSpPr>
          <p:nvPr>
            <p:ph type="body" sz="quarter" idx="18" hasCustomPrompt="1"/>
          </p:nvPr>
        </p:nvSpPr>
        <p:spPr bwMode="gray">
          <a:xfrm>
            <a:off x="9130923" y="5789349"/>
            <a:ext cx="2609088" cy="304800"/>
          </a:xfrm>
        </p:spPr>
        <p:txBody>
          <a:bodyPr lIns="0" tIns="0" rIns="0" bIns="0" anchor="b"/>
          <a:lstStyle>
            <a:lvl1pPr marL="0" indent="0" algn="ctr">
              <a:buNone/>
              <a:defRPr sz="1600">
                <a:solidFill>
                  <a:schemeClr val="accent3"/>
                </a:solidFill>
                <a:latin typeface="+mj-lt"/>
              </a:defRPr>
            </a:lvl1pPr>
          </a:lstStyle>
          <a:p>
            <a:pPr lvl="0"/>
            <a:r>
              <a:rPr lang="en-US"/>
              <a:t>Text or Name</a:t>
            </a:r>
          </a:p>
        </p:txBody>
      </p:sp>
      <p:sp>
        <p:nvSpPr>
          <p:cNvPr id="19" name="Text Placeholder 4">
            <a:extLst>
              <a:ext uri="{FF2B5EF4-FFF2-40B4-BE49-F238E27FC236}">
                <a16:creationId xmlns:a16="http://schemas.microsoft.com/office/drawing/2014/main" id="{B12C8930-4036-4586-BFA3-861A9E0E2D94}"/>
              </a:ext>
            </a:extLst>
          </p:cNvPr>
          <p:cNvSpPr>
            <a:spLocks noGrp="1"/>
          </p:cNvSpPr>
          <p:nvPr>
            <p:ph type="body" sz="quarter" idx="22" hasCustomPrompt="1"/>
          </p:nvPr>
        </p:nvSpPr>
        <p:spPr>
          <a:xfrm>
            <a:off x="303547" y="556610"/>
            <a:ext cx="11436096" cy="580529"/>
          </a:xfrm>
        </p:spPr>
        <p:txBody>
          <a:bodyPr/>
          <a:lstStyle>
            <a:lvl1pPr marL="0" indent="0">
              <a:buNone/>
              <a:defRPr sz="2133">
                <a:solidFill>
                  <a:srgbClr val="0596FF"/>
                </a:solidFill>
                <a:latin typeface="+mj-lt"/>
              </a:defRPr>
            </a:lvl1pPr>
          </a:lstStyle>
          <a:p>
            <a:pPr lvl="0"/>
            <a:r>
              <a:rPr lang="en-US"/>
              <a:t>Subtitle in </a:t>
            </a:r>
            <a:r>
              <a:rPr lang="en-US" err="1"/>
              <a:t>Raleway</a:t>
            </a:r>
            <a:r>
              <a:rPr lang="en-US"/>
              <a:t> </a:t>
            </a:r>
            <a:r>
              <a:rPr lang="en-US" err="1"/>
              <a:t>SemiBold</a:t>
            </a:r>
            <a:r>
              <a:rPr lang="en-US"/>
              <a:t> 16pt</a:t>
            </a:r>
          </a:p>
        </p:txBody>
      </p:sp>
    </p:spTree>
    <p:extLst>
      <p:ext uri="{BB962C8B-B14F-4D97-AF65-F5344CB8AC3E}">
        <p14:creationId xmlns:p14="http://schemas.microsoft.com/office/powerpoint/2010/main" val="32935402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with 3 column">
    <p:spTree>
      <p:nvGrpSpPr>
        <p:cNvPr id="1" name=""/>
        <p:cNvGrpSpPr/>
        <p:nvPr/>
      </p:nvGrpSpPr>
      <p:grpSpPr>
        <a:xfrm>
          <a:off x="0" y="0"/>
          <a:ext cx="0" cy="0"/>
          <a:chOff x="0" y="0"/>
          <a:chExt cx="0" cy="0"/>
        </a:xfrm>
      </p:grpSpPr>
      <p:sp>
        <p:nvSpPr>
          <p:cNvPr id="27" name="Rectangle: Rounded Corners 26">
            <a:extLst>
              <a:ext uri="{FF2B5EF4-FFF2-40B4-BE49-F238E27FC236}">
                <a16:creationId xmlns:a16="http://schemas.microsoft.com/office/drawing/2014/main" id="{DED66E28-51A1-4EDD-9DCC-EC73859E41C7}"/>
              </a:ext>
            </a:extLst>
          </p:cNvPr>
          <p:cNvSpPr/>
          <p:nvPr/>
        </p:nvSpPr>
        <p:spPr bwMode="gray">
          <a:xfrm>
            <a:off x="8106795" y="1432984"/>
            <a:ext cx="3633216" cy="721331"/>
          </a:xfrm>
          <a:prstGeom prst="roundRect">
            <a:avLst/>
          </a:prstGeom>
          <a:gradFill flip="none" rotWithShape="1">
            <a:gsLst>
              <a:gs pos="0">
                <a:schemeClr val="bg2"/>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a:solidFill>
                <a:schemeClr val="accent4"/>
              </a:solidFill>
              <a:latin typeface="+mj-lt"/>
            </a:endParaRPr>
          </a:p>
        </p:txBody>
      </p:sp>
      <p:sp>
        <p:nvSpPr>
          <p:cNvPr id="21" name="Rectangle: Rounded Corners 20">
            <a:extLst>
              <a:ext uri="{FF2B5EF4-FFF2-40B4-BE49-F238E27FC236}">
                <a16:creationId xmlns:a16="http://schemas.microsoft.com/office/drawing/2014/main" id="{1B1E5C47-290E-4DD8-AE0F-3D43227016A2}"/>
              </a:ext>
            </a:extLst>
          </p:cNvPr>
          <p:cNvSpPr/>
          <p:nvPr/>
        </p:nvSpPr>
        <p:spPr bwMode="gray">
          <a:xfrm>
            <a:off x="427567" y="1432984"/>
            <a:ext cx="3633216" cy="721331"/>
          </a:xfrm>
          <a:prstGeom prst="roundRect">
            <a:avLst/>
          </a:prstGeom>
          <a:gradFill flip="none" rotWithShape="1">
            <a:gsLst>
              <a:gs pos="0">
                <a:schemeClr val="bg2"/>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867">
              <a:solidFill>
                <a:schemeClr val="accent1"/>
              </a:solidFill>
              <a:latin typeface="+mj-lt"/>
            </a:endParaRPr>
          </a:p>
        </p:txBody>
      </p:sp>
      <p:sp>
        <p:nvSpPr>
          <p:cNvPr id="22" name="Rectangle: Rounded Corners 21">
            <a:extLst>
              <a:ext uri="{FF2B5EF4-FFF2-40B4-BE49-F238E27FC236}">
                <a16:creationId xmlns:a16="http://schemas.microsoft.com/office/drawing/2014/main" id="{7984E68D-245D-427A-865A-C7013D0986B5}"/>
              </a:ext>
            </a:extLst>
          </p:cNvPr>
          <p:cNvSpPr/>
          <p:nvPr/>
        </p:nvSpPr>
        <p:spPr bwMode="gray">
          <a:xfrm>
            <a:off x="4267181" y="1432984"/>
            <a:ext cx="3633216" cy="721331"/>
          </a:xfrm>
          <a:prstGeom prst="roundRect">
            <a:avLst/>
          </a:prstGeom>
          <a:gradFill flip="none" rotWithShape="1">
            <a:gsLst>
              <a:gs pos="0">
                <a:schemeClr val="bg2"/>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867">
              <a:solidFill>
                <a:schemeClr val="accent4"/>
              </a:solidFill>
              <a:latin typeface="+mj-lt"/>
            </a:endParaRPr>
          </a:p>
        </p:txBody>
      </p:sp>
      <p:sp>
        <p:nvSpPr>
          <p:cNvPr id="25" name="Text Placeholder 5">
            <a:extLst>
              <a:ext uri="{FF2B5EF4-FFF2-40B4-BE49-F238E27FC236}">
                <a16:creationId xmlns:a16="http://schemas.microsoft.com/office/drawing/2014/main" id="{8DC324A1-4EA0-4B60-8634-9BB3EA2FF481}"/>
              </a:ext>
            </a:extLst>
          </p:cNvPr>
          <p:cNvSpPr>
            <a:spLocks noGrp="1"/>
          </p:cNvSpPr>
          <p:nvPr>
            <p:ph type="body" sz="quarter" idx="23" hasCustomPrompt="1"/>
          </p:nvPr>
        </p:nvSpPr>
        <p:spPr bwMode="gray">
          <a:xfrm>
            <a:off x="427567" y="1432984"/>
            <a:ext cx="3633216" cy="719328"/>
          </a:xfrm>
        </p:spPr>
        <p:txBody>
          <a:bodyPr lIns="91440" tIns="45720" rIns="91440" bIns="45720" anchor="ctr"/>
          <a:lstStyle>
            <a:lvl1pPr marL="0" indent="0" algn="l">
              <a:buNone/>
              <a:defRPr sz="1600">
                <a:solidFill>
                  <a:schemeClr val="accent1"/>
                </a:solidFill>
                <a:latin typeface="+mj-lt"/>
              </a:defRPr>
            </a:lvl1pPr>
          </a:lstStyle>
          <a:p>
            <a:pPr lvl="0"/>
            <a:r>
              <a:rPr lang="en-US"/>
              <a:t>Title</a:t>
            </a:r>
          </a:p>
        </p:txBody>
      </p:sp>
      <p:sp>
        <p:nvSpPr>
          <p:cNvPr id="26" name="Text Placeholder 5">
            <a:extLst>
              <a:ext uri="{FF2B5EF4-FFF2-40B4-BE49-F238E27FC236}">
                <a16:creationId xmlns:a16="http://schemas.microsoft.com/office/drawing/2014/main" id="{57EF9072-27DC-4A6B-AC6A-03E9331EFCE7}"/>
              </a:ext>
            </a:extLst>
          </p:cNvPr>
          <p:cNvSpPr>
            <a:spLocks noGrp="1"/>
          </p:cNvSpPr>
          <p:nvPr>
            <p:ph type="body" sz="quarter" idx="24" hasCustomPrompt="1"/>
          </p:nvPr>
        </p:nvSpPr>
        <p:spPr bwMode="gray">
          <a:xfrm>
            <a:off x="4267181" y="1432984"/>
            <a:ext cx="3633216" cy="719328"/>
          </a:xfrm>
        </p:spPr>
        <p:txBody>
          <a:bodyPr lIns="91440" tIns="45720" rIns="91440" bIns="45720" anchor="ctr"/>
          <a:lstStyle>
            <a:lvl1pPr marL="0" indent="0" algn="l">
              <a:buNone/>
              <a:defRPr sz="1600">
                <a:solidFill>
                  <a:schemeClr val="accent4"/>
                </a:solidFill>
                <a:latin typeface="+mj-lt"/>
              </a:defRPr>
            </a:lvl1pPr>
          </a:lstStyle>
          <a:p>
            <a:pPr lvl="0"/>
            <a:r>
              <a:rPr lang="en-US"/>
              <a:t>Title</a:t>
            </a:r>
          </a:p>
        </p:txBody>
      </p:sp>
      <p:sp>
        <p:nvSpPr>
          <p:cNvPr id="28" name="Text Placeholder 5">
            <a:extLst>
              <a:ext uri="{FF2B5EF4-FFF2-40B4-BE49-F238E27FC236}">
                <a16:creationId xmlns:a16="http://schemas.microsoft.com/office/drawing/2014/main" id="{DE29ADF8-A949-4BF8-9F98-C3A577F67A49}"/>
              </a:ext>
            </a:extLst>
          </p:cNvPr>
          <p:cNvSpPr>
            <a:spLocks noGrp="1"/>
          </p:cNvSpPr>
          <p:nvPr>
            <p:ph type="body" sz="quarter" idx="25" hasCustomPrompt="1"/>
          </p:nvPr>
        </p:nvSpPr>
        <p:spPr bwMode="gray">
          <a:xfrm>
            <a:off x="8106795" y="1432984"/>
            <a:ext cx="3633216" cy="719328"/>
          </a:xfrm>
        </p:spPr>
        <p:txBody>
          <a:bodyPr lIns="91440" tIns="45720" rIns="91440" bIns="45720" anchor="ctr"/>
          <a:lstStyle>
            <a:lvl1pPr marL="0" indent="0" algn="l">
              <a:buNone/>
              <a:defRPr sz="1600">
                <a:solidFill>
                  <a:schemeClr val="accent2"/>
                </a:solidFill>
                <a:latin typeface="+mj-lt"/>
              </a:defRPr>
            </a:lvl1pPr>
          </a:lstStyle>
          <a:p>
            <a:pPr lvl="0"/>
            <a:r>
              <a:rPr lang="en-US"/>
              <a:t>Title</a:t>
            </a:r>
          </a:p>
        </p:txBody>
      </p: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gray">
          <a:xfrm>
            <a:off x="303548" y="164637"/>
            <a:ext cx="11436096" cy="975360"/>
          </a:xfrm>
        </p:spPr>
        <p:txBody>
          <a:bodyPr/>
          <a:lstStyle/>
          <a:p>
            <a:r>
              <a:rPr lang="en-US"/>
              <a:t>Title in </a:t>
            </a:r>
            <a:r>
              <a:rPr lang="en-US" err="1"/>
              <a:t>Raleway</a:t>
            </a:r>
            <a:r>
              <a:rPr lang="en-US"/>
              <a:t> </a:t>
            </a:r>
            <a:r>
              <a:rPr lang="en-US" err="1"/>
              <a:t>SemiBold</a:t>
            </a:r>
            <a:r>
              <a:rPr lang="en-US"/>
              <a:t> 20pt</a:t>
            </a:r>
          </a:p>
        </p:txBody>
      </p:sp>
      <p:sp>
        <p:nvSpPr>
          <p:cNvPr id="19" name="Text Placeholder 4">
            <a:extLst>
              <a:ext uri="{FF2B5EF4-FFF2-40B4-BE49-F238E27FC236}">
                <a16:creationId xmlns:a16="http://schemas.microsoft.com/office/drawing/2014/main" id="{EA80C96E-3929-4152-AB01-4A8F2872A058}"/>
              </a:ext>
            </a:extLst>
          </p:cNvPr>
          <p:cNvSpPr>
            <a:spLocks noGrp="1"/>
          </p:cNvSpPr>
          <p:nvPr>
            <p:ph type="body" sz="quarter" idx="22" hasCustomPrompt="1"/>
          </p:nvPr>
        </p:nvSpPr>
        <p:spPr bwMode="gray">
          <a:xfrm>
            <a:off x="303547" y="556610"/>
            <a:ext cx="11436096" cy="580529"/>
          </a:xfrm>
        </p:spPr>
        <p:txBody>
          <a:bodyPr/>
          <a:lstStyle>
            <a:lvl1pPr marL="0" indent="0">
              <a:buNone/>
              <a:defRPr sz="2133">
                <a:solidFill>
                  <a:srgbClr val="0596FF"/>
                </a:solidFill>
                <a:latin typeface="+mj-lt"/>
              </a:defRPr>
            </a:lvl1pPr>
          </a:lstStyle>
          <a:p>
            <a:pPr lvl="0"/>
            <a:r>
              <a:rPr lang="en-US"/>
              <a:t>Subtitle in </a:t>
            </a:r>
            <a:r>
              <a:rPr lang="en-US" err="1"/>
              <a:t>Raleway</a:t>
            </a:r>
            <a:r>
              <a:rPr lang="en-US"/>
              <a:t> </a:t>
            </a:r>
            <a:r>
              <a:rPr lang="en-US" err="1"/>
              <a:t>SemiBold</a:t>
            </a:r>
            <a:r>
              <a:rPr lang="en-US"/>
              <a:t> 16pt</a:t>
            </a:r>
          </a:p>
        </p:txBody>
      </p:sp>
      <p:sp>
        <p:nvSpPr>
          <p:cNvPr id="23" name="Text Placeholder 5">
            <a:extLst>
              <a:ext uri="{FF2B5EF4-FFF2-40B4-BE49-F238E27FC236}">
                <a16:creationId xmlns:a16="http://schemas.microsoft.com/office/drawing/2014/main" id="{91329EB5-A393-461C-A77C-EDBC8F7B9F64}"/>
              </a:ext>
            </a:extLst>
          </p:cNvPr>
          <p:cNvSpPr>
            <a:spLocks noGrp="1"/>
          </p:cNvSpPr>
          <p:nvPr>
            <p:ph type="body" sz="quarter" idx="13" hasCustomPrompt="1"/>
          </p:nvPr>
        </p:nvSpPr>
        <p:spPr bwMode="gray">
          <a:xfrm>
            <a:off x="427567" y="2297723"/>
            <a:ext cx="3633216" cy="3801472"/>
          </a:xfrm>
        </p:spPr>
        <p:txBody>
          <a:bodyPr lIns="91440" tIns="45720" rIns="91440" bIns="45720" anchor="t"/>
          <a:lstStyle>
            <a:lvl1pPr marL="0" indent="0" algn="l">
              <a:buNone/>
              <a:defRPr sz="1467">
                <a:latin typeface="+mn-lt"/>
              </a:defRPr>
            </a:lvl1pPr>
          </a:lstStyle>
          <a:p>
            <a:pPr lvl="0"/>
            <a:r>
              <a:rPr lang="en-US"/>
              <a:t>Text</a:t>
            </a:r>
          </a:p>
        </p:txBody>
      </p:sp>
      <p:sp>
        <p:nvSpPr>
          <p:cNvPr id="29" name="Text Placeholder 5">
            <a:extLst>
              <a:ext uri="{FF2B5EF4-FFF2-40B4-BE49-F238E27FC236}">
                <a16:creationId xmlns:a16="http://schemas.microsoft.com/office/drawing/2014/main" id="{88337F3F-158A-4DE6-829A-FDD67407C6F1}"/>
              </a:ext>
            </a:extLst>
          </p:cNvPr>
          <p:cNvSpPr>
            <a:spLocks noGrp="1"/>
          </p:cNvSpPr>
          <p:nvPr>
            <p:ph type="body" sz="quarter" idx="26" hasCustomPrompt="1"/>
          </p:nvPr>
        </p:nvSpPr>
        <p:spPr bwMode="gray">
          <a:xfrm>
            <a:off x="4267181" y="2297723"/>
            <a:ext cx="3633216" cy="3801472"/>
          </a:xfrm>
        </p:spPr>
        <p:txBody>
          <a:bodyPr lIns="91440" tIns="45720" rIns="91440" bIns="45720" anchor="t"/>
          <a:lstStyle>
            <a:lvl1pPr marL="0" indent="0" algn="l">
              <a:buNone/>
              <a:defRPr sz="1467">
                <a:latin typeface="+mn-lt"/>
              </a:defRPr>
            </a:lvl1pPr>
          </a:lstStyle>
          <a:p>
            <a:pPr lvl="0"/>
            <a:r>
              <a:rPr lang="en-US"/>
              <a:t>Text</a:t>
            </a:r>
          </a:p>
        </p:txBody>
      </p:sp>
      <p:sp>
        <p:nvSpPr>
          <p:cNvPr id="31" name="Text Placeholder 5">
            <a:extLst>
              <a:ext uri="{FF2B5EF4-FFF2-40B4-BE49-F238E27FC236}">
                <a16:creationId xmlns:a16="http://schemas.microsoft.com/office/drawing/2014/main" id="{A4016478-8F60-49D5-810D-2850AB8FF90C}"/>
              </a:ext>
            </a:extLst>
          </p:cNvPr>
          <p:cNvSpPr>
            <a:spLocks noGrp="1"/>
          </p:cNvSpPr>
          <p:nvPr>
            <p:ph type="body" sz="quarter" idx="28" hasCustomPrompt="1"/>
          </p:nvPr>
        </p:nvSpPr>
        <p:spPr bwMode="gray">
          <a:xfrm>
            <a:off x="8106795" y="2297723"/>
            <a:ext cx="3633216" cy="3801472"/>
          </a:xfrm>
        </p:spPr>
        <p:txBody>
          <a:bodyPr lIns="91440" tIns="45720" rIns="91440" bIns="45720" anchor="t"/>
          <a:lstStyle>
            <a:lvl1pPr marL="0" indent="0" algn="l">
              <a:buNone/>
              <a:defRPr sz="1467">
                <a:latin typeface="+mn-lt"/>
              </a:defRPr>
            </a:lvl1pPr>
          </a:lstStyle>
          <a:p>
            <a:pPr lvl="0"/>
            <a:r>
              <a:rPr lang="en-US"/>
              <a:t>Text</a:t>
            </a:r>
          </a:p>
        </p:txBody>
      </p:sp>
    </p:spTree>
    <p:extLst>
      <p:ext uri="{BB962C8B-B14F-4D97-AF65-F5344CB8AC3E}">
        <p14:creationId xmlns:p14="http://schemas.microsoft.com/office/powerpoint/2010/main" val="299976110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with 4 column">
    <p:spTree>
      <p:nvGrpSpPr>
        <p:cNvPr id="1" name=""/>
        <p:cNvGrpSpPr/>
        <p:nvPr/>
      </p:nvGrpSpPr>
      <p:grpSpPr>
        <a:xfrm>
          <a:off x="0" y="0"/>
          <a:ext cx="0" cy="0"/>
          <a:chOff x="0" y="0"/>
          <a:chExt cx="0" cy="0"/>
        </a:xfrm>
      </p:grpSpPr>
      <p:sp>
        <p:nvSpPr>
          <p:cNvPr id="21" name="Rectangle: Rounded Corners 20">
            <a:extLst>
              <a:ext uri="{FF2B5EF4-FFF2-40B4-BE49-F238E27FC236}">
                <a16:creationId xmlns:a16="http://schemas.microsoft.com/office/drawing/2014/main" id="{1B1E5C47-290E-4DD8-AE0F-3D43227016A2}"/>
              </a:ext>
            </a:extLst>
          </p:cNvPr>
          <p:cNvSpPr/>
          <p:nvPr/>
        </p:nvSpPr>
        <p:spPr bwMode="gray">
          <a:xfrm>
            <a:off x="427567" y="1432984"/>
            <a:ext cx="2706624" cy="721331"/>
          </a:xfrm>
          <a:prstGeom prst="roundRect">
            <a:avLst/>
          </a:prstGeom>
          <a:gradFill flip="none" rotWithShape="1">
            <a:gsLst>
              <a:gs pos="0">
                <a:schemeClr val="bg2"/>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867">
              <a:solidFill>
                <a:schemeClr val="accent1"/>
              </a:solidFill>
              <a:latin typeface="+mj-lt"/>
            </a:endParaRPr>
          </a:p>
        </p:txBody>
      </p:sp>
      <p:sp>
        <p:nvSpPr>
          <p:cNvPr id="22" name="Rectangle: Rounded Corners 21">
            <a:extLst>
              <a:ext uri="{FF2B5EF4-FFF2-40B4-BE49-F238E27FC236}">
                <a16:creationId xmlns:a16="http://schemas.microsoft.com/office/drawing/2014/main" id="{7984E68D-245D-427A-865A-C7013D0986B5}"/>
              </a:ext>
            </a:extLst>
          </p:cNvPr>
          <p:cNvSpPr/>
          <p:nvPr/>
        </p:nvSpPr>
        <p:spPr bwMode="gray">
          <a:xfrm>
            <a:off x="3296173" y="1432984"/>
            <a:ext cx="2706624" cy="721331"/>
          </a:xfrm>
          <a:prstGeom prst="roundRect">
            <a:avLst/>
          </a:prstGeom>
          <a:gradFill flip="none" rotWithShape="1">
            <a:gsLst>
              <a:gs pos="0">
                <a:schemeClr val="bg2"/>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867">
              <a:solidFill>
                <a:schemeClr val="accent4"/>
              </a:solidFill>
              <a:latin typeface="+mj-lt"/>
            </a:endParaRPr>
          </a:p>
        </p:txBody>
      </p:sp>
      <p:sp>
        <p:nvSpPr>
          <p:cNvPr id="27" name="Rectangle: Rounded Corners 26">
            <a:extLst>
              <a:ext uri="{FF2B5EF4-FFF2-40B4-BE49-F238E27FC236}">
                <a16:creationId xmlns:a16="http://schemas.microsoft.com/office/drawing/2014/main" id="{DED66E28-51A1-4EDD-9DCC-EC73859E41C7}"/>
              </a:ext>
            </a:extLst>
          </p:cNvPr>
          <p:cNvSpPr/>
          <p:nvPr/>
        </p:nvSpPr>
        <p:spPr bwMode="gray">
          <a:xfrm>
            <a:off x="6164780" y="1432984"/>
            <a:ext cx="2706624" cy="721331"/>
          </a:xfrm>
          <a:prstGeom prst="roundRect">
            <a:avLst/>
          </a:prstGeom>
          <a:gradFill flip="none" rotWithShape="1">
            <a:gsLst>
              <a:gs pos="0">
                <a:schemeClr val="bg2"/>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a:solidFill>
                <a:schemeClr val="accent4"/>
              </a:solidFill>
              <a:latin typeface="+mj-lt"/>
            </a:endParaRPr>
          </a:p>
        </p:txBody>
      </p:sp>
      <p:sp>
        <p:nvSpPr>
          <p:cNvPr id="16" name="Rectangle: Rounded Corners 15">
            <a:extLst>
              <a:ext uri="{FF2B5EF4-FFF2-40B4-BE49-F238E27FC236}">
                <a16:creationId xmlns:a16="http://schemas.microsoft.com/office/drawing/2014/main" id="{40882BC4-5797-4DD0-AB8A-F46290A4A2A0}"/>
              </a:ext>
            </a:extLst>
          </p:cNvPr>
          <p:cNvSpPr/>
          <p:nvPr/>
        </p:nvSpPr>
        <p:spPr bwMode="gray">
          <a:xfrm>
            <a:off x="9033387" y="1432984"/>
            <a:ext cx="2706624" cy="721331"/>
          </a:xfrm>
          <a:prstGeom prst="roundRect">
            <a:avLst/>
          </a:prstGeom>
          <a:gradFill flip="none" rotWithShape="1">
            <a:gsLst>
              <a:gs pos="0">
                <a:schemeClr val="bg2"/>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a:solidFill>
                <a:schemeClr val="accent4"/>
              </a:solidFill>
              <a:latin typeface="+mj-lt"/>
            </a:endParaRPr>
          </a:p>
        </p:txBody>
      </p:sp>
      <p:sp>
        <p:nvSpPr>
          <p:cNvPr id="25" name="Text Placeholder 5">
            <a:extLst>
              <a:ext uri="{FF2B5EF4-FFF2-40B4-BE49-F238E27FC236}">
                <a16:creationId xmlns:a16="http://schemas.microsoft.com/office/drawing/2014/main" id="{8DC324A1-4EA0-4B60-8634-9BB3EA2FF481}"/>
              </a:ext>
            </a:extLst>
          </p:cNvPr>
          <p:cNvSpPr>
            <a:spLocks noGrp="1"/>
          </p:cNvSpPr>
          <p:nvPr>
            <p:ph type="body" sz="quarter" idx="23" hasCustomPrompt="1"/>
          </p:nvPr>
        </p:nvSpPr>
        <p:spPr bwMode="gray">
          <a:xfrm>
            <a:off x="427567" y="1432984"/>
            <a:ext cx="2706624" cy="719328"/>
          </a:xfrm>
        </p:spPr>
        <p:txBody>
          <a:bodyPr lIns="91440" tIns="45720" rIns="91440" bIns="45720" anchor="ctr"/>
          <a:lstStyle>
            <a:lvl1pPr marL="0" indent="0" algn="l">
              <a:buNone/>
              <a:defRPr sz="1600">
                <a:solidFill>
                  <a:schemeClr val="accent1"/>
                </a:solidFill>
                <a:latin typeface="+mj-lt"/>
              </a:defRPr>
            </a:lvl1pPr>
          </a:lstStyle>
          <a:p>
            <a:pPr lvl="0"/>
            <a:r>
              <a:rPr lang="en-US"/>
              <a:t>Title</a:t>
            </a:r>
          </a:p>
        </p:txBody>
      </p:sp>
      <p:sp>
        <p:nvSpPr>
          <p:cNvPr id="26" name="Text Placeholder 5">
            <a:extLst>
              <a:ext uri="{FF2B5EF4-FFF2-40B4-BE49-F238E27FC236}">
                <a16:creationId xmlns:a16="http://schemas.microsoft.com/office/drawing/2014/main" id="{57EF9072-27DC-4A6B-AC6A-03E9331EFCE7}"/>
              </a:ext>
            </a:extLst>
          </p:cNvPr>
          <p:cNvSpPr>
            <a:spLocks noGrp="1"/>
          </p:cNvSpPr>
          <p:nvPr>
            <p:ph type="body" sz="quarter" idx="24" hasCustomPrompt="1"/>
          </p:nvPr>
        </p:nvSpPr>
        <p:spPr bwMode="gray">
          <a:xfrm>
            <a:off x="3296173" y="1432984"/>
            <a:ext cx="2706624" cy="719328"/>
          </a:xfrm>
        </p:spPr>
        <p:txBody>
          <a:bodyPr lIns="91440" tIns="45720" rIns="91440" bIns="45720" anchor="ctr"/>
          <a:lstStyle>
            <a:lvl1pPr marL="0" indent="0" algn="l">
              <a:buNone/>
              <a:defRPr sz="1600">
                <a:solidFill>
                  <a:schemeClr val="accent4"/>
                </a:solidFill>
                <a:latin typeface="+mj-lt"/>
              </a:defRPr>
            </a:lvl1pPr>
          </a:lstStyle>
          <a:p>
            <a:pPr lvl="0"/>
            <a:r>
              <a:rPr lang="en-US"/>
              <a:t>Title</a:t>
            </a:r>
          </a:p>
        </p:txBody>
      </p:sp>
      <p:sp>
        <p:nvSpPr>
          <p:cNvPr id="28" name="Text Placeholder 5">
            <a:extLst>
              <a:ext uri="{FF2B5EF4-FFF2-40B4-BE49-F238E27FC236}">
                <a16:creationId xmlns:a16="http://schemas.microsoft.com/office/drawing/2014/main" id="{DE29ADF8-A949-4BF8-9F98-C3A577F67A49}"/>
              </a:ext>
            </a:extLst>
          </p:cNvPr>
          <p:cNvSpPr>
            <a:spLocks noGrp="1"/>
          </p:cNvSpPr>
          <p:nvPr>
            <p:ph type="body" sz="quarter" idx="25" hasCustomPrompt="1"/>
          </p:nvPr>
        </p:nvSpPr>
        <p:spPr bwMode="gray">
          <a:xfrm>
            <a:off x="6164780" y="1432984"/>
            <a:ext cx="2706624" cy="719328"/>
          </a:xfrm>
        </p:spPr>
        <p:txBody>
          <a:bodyPr lIns="91440" tIns="45720" rIns="91440" bIns="45720" anchor="ctr"/>
          <a:lstStyle>
            <a:lvl1pPr marL="0" indent="0" algn="l">
              <a:buNone/>
              <a:defRPr sz="1600">
                <a:solidFill>
                  <a:schemeClr val="accent2"/>
                </a:solidFill>
                <a:latin typeface="+mj-lt"/>
              </a:defRPr>
            </a:lvl1pPr>
          </a:lstStyle>
          <a:p>
            <a:pPr lvl="0"/>
            <a:r>
              <a:rPr lang="en-US"/>
              <a:t>Title</a:t>
            </a:r>
          </a:p>
        </p:txBody>
      </p:sp>
      <p:sp>
        <p:nvSpPr>
          <p:cNvPr id="17" name="Text Placeholder 5">
            <a:extLst>
              <a:ext uri="{FF2B5EF4-FFF2-40B4-BE49-F238E27FC236}">
                <a16:creationId xmlns:a16="http://schemas.microsoft.com/office/drawing/2014/main" id="{3890DA71-057A-40D0-8945-E35FA005F45D}"/>
              </a:ext>
            </a:extLst>
          </p:cNvPr>
          <p:cNvSpPr>
            <a:spLocks noGrp="1"/>
          </p:cNvSpPr>
          <p:nvPr>
            <p:ph type="body" sz="quarter" idx="30" hasCustomPrompt="1"/>
          </p:nvPr>
        </p:nvSpPr>
        <p:spPr bwMode="gray">
          <a:xfrm>
            <a:off x="9033387" y="1432984"/>
            <a:ext cx="2706624" cy="719328"/>
          </a:xfrm>
        </p:spPr>
        <p:txBody>
          <a:bodyPr lIns="91440" tIns="45720" rIns="91440" bIns="45720" anchor="ctr"/>
          <a:lstStyle>
            <a:lvl1pPr marL="0" indent="0" algn="l">
              <a:buNone/>
              <a:defRPr sz="1600">
                <a:solidFill>
                  <a:schemeClr val="accent3"/>
                </a:solidFill>
                <a:latin typeface="+mj-lt"/>
              </a:defRPr>
            </a:lvl1pPr>
          </a:lstStyle>
          <a:p>
            <a:pPr lvl="0"/>
            <a:r>
              <a:rPr lang="en-US"/>
              <a:t>Title</a:t>
            </a:r>
          </a:p>
        </p:txBody>
      </p: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gray">
          <a:xfrm>
            <a:off x="303548" y="164637"/>
            <a:ext cx="11436096" cy="975360"/>
          </a:xfrm>
        </p:spPr>
        <p:txBody>
          <a:bodyPr/>
          <a:lstStyle/>
          <a:p>
            <a:r>
              <a:rPr lang="en-US"/>
              <a:t>Title in </a:t>
            </a:r>
            <a:r>
              <a:rPr lang="en-US" err="1"/>
              <a:t>Raleway</a:t>
            </a:r>
            <a:r>
              <a:rPr lang="en-US"/>
              <a:t> </a:t>
            </a:r>
            <a:r>
              <a:rPr lang="en-US" err="1"/>
              <a:t>SemiBold</a:t>
            </a:r>
            <a:r>
              <a:rPr lang="en-US"/>
              <a:t> 20pt</a:t>
            </a:r>
          </a:p>
        </p:txBody>
      </p:sp>
      <p:sp>
        <p:nvSpPr>
          <p:cNvPr id="19" name="Text Placeholder 4">
            <a:extLst>
              <a:ext uri="{FF2B5EF4-FFF2-40B4-BE49-F238E27FC236}">
                <a16:creationId xmlns:a16="http://schemas.microsoft.com/office/drawing/2014/main" id="{EA80C96E-3929-4152-AB01-4A8F2872A058}"/>
              </a:ext>
            </a:extLst>
          </p:cNvPr>
          <p:cNvSpPr>
            <a:spLocks noGrp="1"/>
          </p:cNvSpPr>
          <p:nvPr>
            <p:ph type="body" sz="quarter" idx="22" hasCustomPrompt="1"/>
          </p:nvPr>
        </p:nvSpPr>
        <p:spPr bwMode="gray">
          <a:xfrm>
            <a:off x="303547" y="556610"/>
            <a:ext cx="11436096" cy="580529"/>
          </a:xfrm>
        </p:spPr>
        <p:txBody>
          <a:bodyPr/>
          <a:lstStyle>
            <a:lvl1pPr marL="0" indent="0">
              <a:buNone/>
              <a:defRPr sz="2133">
                <a:solidFill>
                  <a:srgbClr val="0596FF"/>
                </a:solidFill>
                <a:latin typeface="+mj-lt"/>
              </a:defRPr>
            </a:lvl1pPr>
          </a:lstStyle>
          <a:p>
            <a:pPr lvl="0"/>
            <a:r>
              <a:rPr lang="en-US"/>
              <a:t>Subtitle in </a:t>
            </a:r>
            <a:r>
              <a:rPr lang="en-US" err="1"/>
              <a:t>Raleway</a:t>
            </a:r>
            <a:r>
              <a:rPr lang="en-US"/>
              <a:t> </a:t>
            </a:r>
            <a:r>
              <a:rPr lang="en-US" err="1"/>
              <a:t>SemiBold</a:t>
            </a:r>
            <a:r>
              <a:rPr lang="en-US"/>
              <a:t> 16pt</a:t>
            </a:r>
          </a:p>
        </p:txBody>
      </p:sp>
      <p:sp>
        <p:nvSpPr>
          <p:cNvPr id="23" name="Text Placeholder 5">
            <a:extLst>
              <a:ext uri="{FF2B5EF4-FFF2-40B4-BE49-F238E27FC236}">
                <a16:creationId xmlns:a16="http://schemas.microsoft.com/office/drawing/2014/main" id="{91329EB5-A393-461C-A77C-EDBC8F7B9F64}"/>
              </a:ext>
            </a:extLst>
          </p:cNvPr>
          <p:cNvSpPr>
            <a:spLocks noGrp="1"/>
          </p:cNvSpPr>
          <p:nvPr>
            <p:ph type="body" sz="quarter" idx="13" hasCustomPrompt="1"/>
          </p:nvPr>
        </p:nvSpPr>
        <p:spPr bwMode="gray">
          <a:xfrm>
            <a:off x="427567" y="2297723"/>
            <a:ext cx="2706624" cy="3801472"/>
          </a:xfrm>
        </p:spPr>
        <p:txBody>
          <a:bodyPr lIns="91440" tIns="45720" rIns="91440" bIns="45720" anchor="t"/>
          <a:lstStyle>
            <a:lvl1pPr marL="0" indent="0" algn="l">
              <a:buNone/>
              <a:defRPr sz="1467">
                <a:latin typeface="+mn-lt"/>
              </a:defRPr>
            </a:lvl1pPr>
          </a:lstStyle>
          <a:p>
            <a:pPr lvl="0"/>
            <a:r>
              <a:rPr lang="en-US"/>
              <a:t>Text</a:t>
            </a:r>
          </a:p>
        </p:txBody>
      </p:sp>
      <p:sp>
        <p:nvSpPr>
          <p:cNvPr id="29" name="Text Placeholder 5">
            <a:extLst>
              <a:ext uri="{FF2B5EF4-FFF2-40B4-BE49-F238E27FC236}">
                <a16:creationId xmlns:a16="http://schemas.microsoft.com/office/drawing/2014/main" id="{88337F3F-158A-4DE6-829A-FDD67407C6F1}"/>
              </a:ext>
            </a:extLst>
          </p:cNvPr>
          <p:cNvSpPr>
            <a:spLocks noGrp="1"/>
          </p:cNvSpPr>
          <p:nvPr>
            <p:ph type="body" sz="quarter" idx="26" hasCustomPrompt="1"/>
          </p:nvPr>
        </p:nvSpPr>
        <p:spPr bwMode="gray">
          <a:xfrm>
            <a:off x="3296173" y="2297723"/>
            <a:ext cx="2706624" cy="3801472"/>
          </a:xfrm>
        </p:spPr>
        <p:txBody>
          <a:bodyPr lIns="91440" tIns="45720" rIns="91440" bIns="45720" anchor="t"/>
          <a:lstStyle>
            <a:lvl1pPr marL="0" indent="0" algn="l">
              <a:buNone/>
              <a:defRPr sz="1467">
                <a:latin typeface="+mn-lt"/>
              </a:defRPr>
            </a:lvl1pPr>
          </a:lstStyle>
          <a:p>
            <a:pPr lvl="0"/>
            <a:r>
              <a:rPr lang="en-US"/>
              <a:t>Text</a:t>
            </a:r>
          </a:p>
        </p:txBody>
      </p:sp>
      <p:sp>
        <p:nvSpPr>
          <p:cNvPr id="14" name="Text Placeholder 5">
            <a:extLst>
              <a:ext uri="{FF2B5EF4-FFF2-40B4-BE49-F238E27FC236}">
                <a16:creationId xmlns:a16="http://schemas.microsoft.com/office/drawing/2014/main" id="{FAB5558D-85E7-455F-8197-2348C0C6BDA7}"/>
              </a:ext>
            </a:extLst>
          </p:cNvPr>
          <p:cNvSpPr>
            <a:spLocks noGrp="1"/>
          </p:cNvSpPr>
          <p:nvPr>
            <p:ph type="body" sz="quarter" idx="28" hasCustomPrompt="1"/>
          </p:nvPr>
        </p:nvSpPr>
        <p:spPr bwMode="gray">
          <a:xfrm>
            <a:off x="6164780" y="2297723"/>
            <a:ext cx="2706624" cy="3801472"/>
          </a:xfrm>
        </p:spPr>
        <p:txBody>
          <a:bodyPr lIns="91440" tIns="45720" rIns="91440" bIns="45720" anchor="t"/>
          <a:lstStyle>
            <a:lvl1pPr marL="0" indent="0" algn="l">
              <a:buNone/>
              <a:defRPr sz="1467">
                <a:latin typeface="+mn-lt"/>
              </a:defRPr>
            </a:lvl1pPr>
          </a:lstStyle>
          <a:p>
            <a:pPr lvl="0"/>
            <a:r>
              <a:rPr lang="en-US"/>
              <a:t>Text</a:t>
            </a:r>
          </a:p>
        </p:txBody>
      </p:sp>
      <p:sp>
        <p:nvSpPr>
          <p:cNvPr id="18" name="Text Placeholder 5">
            <a:extLst>
              <a:ext uri="{FF2B5EF4-FFF2-40B4-BE49-F238E27FC236}">
                <a16:creationId xmlns:a16="http://schemas.microsoft.com/office/drawing/2014/main" id="{30E329C1-D403-47DC-9799-C5143A308349}"/>
              </a:ext>
            </a:extLst>
          </p:cNvPr>
          <p:cNvSpPr>
            <a:spLocks noGrp="1"/>
          </p:cNvSpPr>
          <p:nvPr>
            <p:ph type="body" sz="quarter" idx="31" hasCustomPrompt="1"/>
          </p:nvPr>
        </p:nvSpPr>
        <p:spPr bwMode="gray">
          <a:xfrm>
            <a:off x="9033387" y="2297723"/>
            <a:ext cx="2706624" cy="3801472"/>
          </a:xfrm>
        </p:spPr>
        <p:txBody>
          <a:bodyPr lIns="91440" tIns="45720" rIns="91440" bIns="45720" anchor="t"/>
          <a:lstStyle>
            <a:lvl1pPr marL="0" indent="0" algn="l">
              <a:buNone/>
              <a:defRPr sz="1467">
                <a:latin typeface="+mn-lt"/>
              </a:defRPr>
            </a:lvl1pPr>
          </a:lstStyle>
          <a:p>
            <a:pPr lvl="0"/>
            <a:r>
              <a:rPr lang="en-US"/>
              <a:t>Text</a:t>
            </a:r>
          </a:p>
        </p:txBody>
      </p:sp>
    </p:spTree>
    <p:extLst>
      <p:ext uri="{BB962C8B-B14F-4D97-AF65-F5344CB8AC3E}">
        <p14:creationId xmlns:p14="http://schemas.microsoft.com/office/powerpoint/2010/main" val="183319673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with 5 column">
    <p:spTree>
      <p:nvGrpSpPr>
        <p:cNvPr id="1" name=""/>
        <p:cNvGrpSpPr/>
        <p:nvPr/>
      </p:nvGrpSpPr>
      <p:grpSpPr>
        <a:xfrm>
          <a:off x="0" y="0"/>
          <a:ext cx="0" cy="0"/>
          <a:chOff x="0" y="0"/>
          <a:chExt cx="0" cy="0"/>
        </a:xfrm>
      </p:grpSpPr>
      <p:sp>
        <p:nvSpPr>
          <p:cNvPr id="21" name="Rectangle: Rounded Corners 20">
            <a:extLst>
              <a:ext uri="{FF2B5EF4-FFF2-40B4-BE49-F238E27FC236}">
                <a16:creationId xmlns:a16="http://schemas.microsoft.com/office/drawing/2014/main" id="{1B1E5C47-290E-4DD8-AE0F-3D43227016A2}"/>
              </a:ext>
            </a:extLst>
          </p:cNvPr>
          <p:cNvSpPr/>
          <p:nvPr/>
        </p:nvSpPr>
        <p:spPr bwMode="gray">
          <a:xfrm>
            <a:off x="427567" y="1432984"/>
            <a:ext cx="2145792" cy="721331"/>
          </a:xfrm>
          <a:prstGeom prst="roundRect">
            <a:avLst/>
          </a:prstGeom>
          <a:gradFill flip="none" rotWithShape="1">
            <a:gsLst>
              <a:gs pos="0">
                <a:schemeClr val="bg2"/>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867">
              <a:solidFill>
                <a:schemeClr val="accent1"/>
              </a:solidFill>
              <a:latin typeface="+mj-lt"/>
            </a:endParaRPr>
          </a:p>
        </p:txBody>
      </p:sp>
      <p:sp>
        <p:nvSpPr>
          <p:cNvPr id="25" name="Text Placeholder 5">
            <a:extLst>
              <a:ext uri="{FF2B5EF4-FFF2-40B4-BE49-F238E27FC236}">
                <a16:creationId xmlns:a16="http://schemas.microsoft.com/office/drawing/2014/main" id="{8DC324A1-4EA0-4B60-8634-9BB3EA2FF481}"/>
              </a:ext>
            </a:extLst>
          </p:cNvPr>
          <p:cNvSpPr>
            <a:spLocks noGrp="1"/>
          </p:cNvSpPr>
          <p:nvPr>
            <p:ph type="body" sz="quarter" idx="23" hasCustomPrompt="1"/>
          </p:nvPr>
        </p:nvSpPr>
        <p:spPr bwMode="gray">
          <a:xfrm>
            <a:off x="427567" y="1432984"/>
            <a:ext cx="2145792" cy="719328"/>
          </a:xfrm>
        </p:spPr>
        <p:txBody>
          <a:bodyPr lIns="91440" tIns="45720" rIns="91440" bIns="45720" anchor="ctr"/>
          <a:lstStyle>
            <a:lvl1pPr marL="0" indent="0" algn="l">
              <a:buNone/>
              <a:defRPr sz="1600">
                <a:solidFill>
                  <a:schemeClr val="accent1"/>
                </a:solidFill>
                <a:latin typeface="+mj-lt"/>
              </a:defRPr>
            </a:lvl1pPr>
          </a:lstStyle>
          <a:p>
            <a:pPr lvl="0"/>
            <a:r>
              <a:rPr lang="en-US"/>
              <a:t>Title</a:t>
            </a:r>
          </a:p>
        </p:txBody>
      </p:sp>
      <p:sp>
        <p:nvSpPr>
          <p:cNvPr id="27" name="Rectangle: Rounded Corners 26">
            <a:extLst>
              <a:ext uri="{FF2B5EF4-FFF2-40B4-BE49-F238E27FC236}">
                <a16:creationId xmlns:a16="http://schemas.microsoft.com/office/drawing/2014/main" id="{DED66E28-51A1-4EDD-9DCC-EC73859E41C7}"/>
              </a:ext>
            </a:extLst>
          </p:cNvPr>
          <p:cNvSpPr/>
          <p:nvPr/>
        </p:nvSpPr>
        <p:spPr bwMode="gray">
          <a:xfrm>
            <a:off x="5010892" y="1432984"/>
            <a:ext cx="2145792" cy="721331"/>
          </a:xfrm>
          <a:prstGeom prst="roundRect">
            <a:avLst/>
          </a:prstGeom>
          <a:gradFill flip="none" rotWithShape="1">
            <a:gsLst>
              <a:gs pos="0">
                <a:schemeClr val="bg2"/>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a:solidFill>
                <a:schemeClr val="accent4"/>
              </a:solidFill>
              <a:latin typeface="+mj-lt"/>
            </a:endParaRPr>
          </a:p>
        </p:txBody>
      </p:sp>
      <p:sp>
        <p:nvSpPr>
          <p:cNvPr id="22" name="Rectangle: Rounded Corners 21">
            <a:extLst>
              <a:ext uri="{FF2B5EF4-FFF2-40B4-BE49-F238E27FC236}">
                <a16:creationId xmlns:a16="http://schemas.microsoft.com/office/drawing/2014/main" id="{7984E68D-245D-427A-865A-C7013D0986B5}"/>
              </a:ext>
            </a:extLst>
          </p:cNvPr>
          <p:cNvSpPr/>
          <p:nvPr/>
        </p:nvSpPr>
        <p:spPr bwMode="gray">
          <a:xfrm>
            <a:off x="2719229" y="1432984"/>
            <a:ext cx="2145792" cy="721331"/>
          </a:xfrm>
          <a:prstGeom prst="roundRect">
            <a:avLst/>
          </a:prstGeom>
          <a:gradFill flip="none" rotWithShape="1">
            <a:gsLst>
              <a:gs pos="0">
                <a:schemeClr val="bg2"/>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867">
              <a:solidFill>
                <a:schemeClr val="accent4"/>
              </a:solidFill>
              <a:latin typeface="+mj-lt"/>
            </a:endParaRPr>
          </a:p>
        </p:txBody>
      </p:sp>
      <p:sp>
        <p:nvSpPr>
          <p:cNvPr id="16" name="Rectangle: Rounded Corners 15">
            <a:extLst>
              <a:ext uri="{FF2B5EF4-FFF2-40B4-BE49-F238E27FC236}">
                <a16:creationId xmlns:a16="http://schemas.microsoft.com/office/drawing/2014/main" id="{40882BC4-5797-4DD0-AB8A-F46290A4A2A0}"/>
              </a:ext>
            </a:extLst>
          </p:cNvPr>
          <p:cNvSpPr/>
          <p:nvPr/>
        </p:nvSpPr>
        <p:spPr bwMode="gray">
          <a:xfrm>
            <a:off x="9594219" y="1432984"/>
            <a:ext cx="2145792" cy="721331"/>
          </a:xfrm>
          <a:prstGeom prst="roundRect">
            <a:avLst/>
          </a:prstGeom>
          <a:gradFill flip="none" rotWithShape="1">
            <a:gsLst>
              <a:gs pos="0">
                <a:schemeClr val="bg2"/>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a:solidFill>
                <a:schemeClr val="accent4"/>
              </a:solidFill>
              <a:latin typeface="+mj-lt"/>
            </a:endParaRPr>
          </a:p>
        </p:txBody>
      </p:sp>
      <p:sp>
        <p:nvSpPr>
          <p:cNvPr id="30" name="Rectangle: Rounded Corners 29">
            <a:extLst>
              <a:ext uri="{FF2B5EF4-FFF2-40B4-BE49-F238E27FC236}">
                <a16:creationId xmlns:a16="http://schemas.microsoft.com/office/drawing/2014/main" id="{89A430DB-9AC6-4124-9F1D-3E09ED198280}"/>
              </a:ext>
            </a:extLst>
          </p:cNvPr>
          <p:cNvSpPr/>
          <p:nvPr/>
        </p:nvSpPr>
        <p:spPr bwMode="gray">
          <a:xfrm>
            <a:off x="7302555" y="1432984"/>
            <a:ext cx="2145792" cy="721331"/>
          </a:xfrm>
          <a:prstGeom prst="roundRect">
            <a:avLst/>
          </a:prstGeom>
          <a:gradFill flip="none" rotWithShape="1">
            <a:gsLst>
              <a:gs pos="0">
                <a:schemeClr val="bg2"/>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a:solidFill>
                <a:schemeClr val="accent4"/>
              </a:solidFill>
              <a:latin typeface="+mj-lt"/>
            </a:endParaRPr>
          </a:p>
        </p:txBody>
      </p:sp>
      <p:sp>
        <p:nvSpPr>
          <p:cNvPr id="26" name="Text Placeholder 5">
            <a:extLst>
              <a:ext uri="{FF2B5EF4-FFF2-40B4-BE49-F238E27FC236}">
                <a16:creationId xmlns:a16="http://schemas.microsoft.com/office/drawing/2014/main" id="{57EF9072-27DC-4A6B-AC6A-03E9331EFCE7}"/>
              </a:ext>
            </a:extLst>
          </p:cNvPr>
          <p:cNvSpPr>
            <a:spLocks noGrp="1"/>
          </p:cNvSpPr>
          <p:nvPr>
            <p:ph type="body" sz="quarter" idx="24" hasCustomPrompt="1"/>
          </p:nvPr>
        </p:nvSpPr>
        <p:spPr bwMode="gray">
          <a:xfrm>
            <a:off x="2719229" y="1432984"/>
            <a:ext cx="2145792" cy="719328"/>
          </a:xfrm>
        </p:spPr>
        <p:txBody>
          <a:bodyPr lIns="91440" tIns="45720" rIns="91440" bIns="45720" anchor="ctr"/>
          <a:lstStyle>
            <a:lvl1pPr marL="0" indent="0" algn="l">
              <a:buNone/>
              <a:defRPr sz="1600">
                <a:solidFill>
                  <a:schemeClr val="accent4"/>
                </a:solidFill>
                <a:latin typeface="+mj-lt"/>
              </a:defRPr>
            </a:lvl1pPr>
          </a:lstStyle>
          <a:p>
            <a:pPr lvl="0"/>
            <a:r>
              <a:rPr lang="en-US"/>
              <a:t>Title</a:t>
            </a:r>
          </a:p>
        </p:txBody>
      </p:sp>
      <p:sp>
        <p:nvSpPr>
          <p:cNvPr id="28" name="Text Placeholder 5">
            <a:extLst>
              <a:ext uri="{FF2B5EF4-FFF2-40B4-BE49-F238E27FC236}">
                <a16:creationId xmlns:a16="http://schemas.microsoft.com/office/drawing/2014/main" id="{DE29ADF8-A949-4BF8-9F98-C3A577F67A49}"/>
              </a:ext>
            </a:extLst>
          </p:cNvPr>
          <p:cNvSpPr>
            <a:spLocks noGrp="1"/>
          </p:cNvSpPr>
          <p:nvPr>
            <p:ph type="body" sz="quarter" idx="25" hasCustomPrompt="1"/>
          </p:nvPr>
        </p:nvSpPr>
        <p:spPr bwMode="gray">
          <a:xfrm>
            <a:off x="5010892" y="1432984"/>
            <a:ext cx="2145792" cy="719328"/>
          </a:xfrm>
        </p:spPr>
        <p:txBody>
          <a:bodyPr lIns="91440" tIns="45720" rIns="91440" bIns="45720" anchor="ctr"/>
          <a:lstStyle>
            <a:lvl1pPr marL="0" indent="0" algn="l">
              <a:buNone/>
              <a:defRPr sz="1600">
                <a:solidFill>
                  <a:schemeClr val="accent2"/>
                </a:solidFill>
                <a:latin typeface="+mj-lt"/>
              </a:defRPr>
            </a:lvl1pPr>
          </a:lstStyle>
          <a:p>
            <a:pPr lvl="0"/>
            <a:r>
              <a:rPr lang="en-US"/>
              <a:t>Title</a:t>
            </a:r>
          </a:p>
        </p:txBody>
      </p:sp>
      <p:sp>
        <p:nvSpPr>
          <p:cNvPr id="17" name="Text Placeholder 5">
            <a:extLst>
              <a:ext uri="{FF2B5EF4-FFF2-40B4-BE49-F238E27FC236}">
                <a16:creationId xmlns:a16="http://schemas.microsoft.com/office/drawing/2014/main" id="{3890DA71-057A-40D0-8945-E35FA005F45D}"/>
              </a:ext>
            </a:extLst>
          </p:cNvPr>
          <p:cNvSpPr>
            <a:spLocks noGrp="1"/>
          </p:cNvSpPr>
          <p:nvPr>
            <p:ph type="body" sz="quarter" idx="30" hasCustomPrompt="1"/>
          </p:nvPr>
        </p:nvSpPr>
        <p:spPr bwMode="gray">
          <a:xfrm>
            <a:off x="7302555" y="1432984"/>
            <a:ext cx="2145792" cy="719328"/>
          </a:xfrm>
        </p:spPr>
        <p:txBody>
          <a:bodyPr lIns="91440" tIns="45720" rIns="91440" bIns="45720" anchor="ctr"/>
          <a:lstStyle>
            <a:lvl1pPr marL="0" indent="0" algn="l">
              <a:buNone/>
              <a:defRPr sz="1600">
                <a:solidFill>
                  <a:schemeClr val="accent3"/>
                </a:solidFill>
                <a:latin typeface="+mj-lt"/>
              </a:defRPr>
            </a:lvl1pPr>
          </a:lstStyle>
          <a:p>
            <a:pPr lvl="0"/>
            <a:r>
              <a:rPr lang="en-US"/>
              <a:t>Title</a:t>
            </a:r>
          </a:p>
        </p:txBody>
      </p:sp>
      <p:sp>
        <p:nvSpPr>
          <p:cNvPr id="18" name="Text Placeholder 5">
            <a:extLst>
              <a:ext uri="{FF2B5EF4-FFF2-40B4-BE49-F238E27FC236}">
                <a16:creationId xmlns:a16="http://schemas.microsoft.com/office/drawing/2014/main" id="{4348901D-A737-400F-9AEA-C80A37435537}"/>
              </a:ext>
            </a:extLst>
          </p:cNvPr>
          <p:cNvSpPr>
            <a:spLocks noGrp="1"/>
          </p:cNvSpPr>
          <p:nvPr>
            <p:ph type="body" sz="quarter" idx="31" hasCustomPrompt="1"/>
          </p:nvPr>
        </p:nvSpPr>
        <p:spPr bwMode="gray">
          <a:xfrm>
            <a:off x="9594219" y="1432984"/>
            <a:ext cx="2145792" cy="719328"/>
          </a:xfrm>
        </p:spPr>
        <p:txBody>
          <a:bodyPr lIns="91440" tIns="45720" rIns="91440" bIns="45720" anchor="ctr"/>
          <a:lstStyle>
            <a:lvl1pPr marL="0" indent="0" algn="l">
              <a:buNone/>
              <a:defRPr sz="1600">
                <a:solidFill>
                  <a:schemeClr val="accent5"/>
                </a:solidFill>
                <a:latin typeface="+mj-lt"/>
              </a:defRPr>
            </a:lvl1pPr>
          </a:lstStyle>
          <a:p>
            <a:pPr lvl="0"/>
            <a:r>
              <a:rPr lang="en-US"/>
              <a:t>Title</a:t>
            </a:r>
          </a:p>
        </p:txBody>
      </p: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gray">
          <a:xfrm>
            <a:off x="303548" y="164637"/>
            <a:ext cx="11436096" cy="975360"/>
          </a:xfrm>
        </p:spPr>
        <p:txBody>
          <a:bodyPr/>
          <a:lstStyle/>
          <a:p>
            <a:r>
              <a:rPr lang="en-US"/>
              <a:t>Title in </a:t>
            </a:r>
            <a:r>
              <a:rPr lang="en-US" err="1"/>
              <a:t>Raleway</a:t>
            </a:r>
            <a:r>
              <a:rPr lang="en-US"/>
              <a:t> </a:t>
            </a:r>
            <a:r>
              <a:rPr lang="en-US" err="1"/>
              <a:t>SemiBold</a:t>
            </a:r>
            <a:r>
              <a:rPr lang="en-US"/>
              <a:t> 20pt</a:t>
            </a:r>
          </a:p>
        </p:txBody>
      </p:sp>
      <p:sp>
        <p:nvSpPr>
          <p:cNvPr id="19" name="Text Placeholder 4">
            <a:extLst>
              <a:ext uri="{FF2B5EF4-FFF2-40B4-BE49-F238E27FC236}">
                <a16:creationId xmlns:a16="http://schemas.microsoft.com/office/drawing/2014/main" id="{EA80C96E-3929-4152-AB01-4A8F2872A058}"/>
              </a:ext>
            </a:extLst>
          </p:cNvPr>
          <p:cNvSpPr>
            <a:spLocks noGrp="1"/>
          </p:cNvSpPr>
          <p:nvPr>
            <p:ph type="body" sz="quarter" idx="22" hasCustomPrompt="1"/>
          </p:nvPr>
        </p:nvSpPr>
        <p:spPr bwMode="gray">
          <a:xfrm>
            <a:off x="303547" y="556610"/>
            <a:ext cx="11436096" cy="580529"/>
          </a:xfrm>
        </p:spPr>
        <p:txBody>
          <a:bodyPr/>
          <a:lstStyle>
            <a:lvl1pPr marL="0" indent="0">
              <a:buNone/>
              <a:defRPr sz="2133">
                <a:solidFill>
                  <a:srgbClr val="0596FF"/>
                </a:solidFill>
                <a:latin typeface="+mj-lt"/>
              </a:defRPr>
            </a:lvl1pPr>
          </a:lstStyle>
          <a:p>
            <a:pPr lvl="0"/>
            <a:r>
              <a:rPr lang="en-US"/>
              <a:t>Subtitle in </a:t>
            </a:r>
            <a:r>
              <a:rPr lang="en-US" err="1"/>
              <a:t>Raleway</a:t>
            </a:r>
            <a:r>
              <a:rPr lang="en-US"/>
              <a:t> </a:t>
            </a:r>
            <a:r>
              <a:rPr lang="en-US" err="1"/>
              <a:t>SemiBold</a:t>
            </a:r>
            <a:r>
              <a:rPr lang="en-US"/>
              <a:t> 16pt</a:t>
            </a:r>
          </a:p>
        </p:txBody>
      </p:sp>
      <p:sp>
        <p:nvSpPr>
          <p:cNvPr id="23" name="Text Placeholder 5">
            <a:extLst>
              <a:ext uri="{FF2B5EF4-FFF2-40B4-BE49-F238E27FC236}">
                <a16:creationId xmlns:a16="http://schemas.microsoft.com/office/drawing/2014/main" id="{91329EB5-A393-461C-A77C-EDBC8F7B9F64}"/>
              </a:ext>
            </a:extLst>
          </p:cNvPr>
          <p:cNvSpPr>
            <a:spLocks noGrp="1"/>
          </p:cNvSpPr>
          <p:nvPr>
            <p:ph type="body" sz="quarter" idx="13" hasCustomPrompt="1"/>
          </p:nvPr>
        </p:nvSpPr>
        <p:spPr bwMode="gray">
          <a:xfrm>
            <a:off x="427567" y="2297723"/>
            <a:ext cx="2145792" cy="3801472"/>
          </a:xfrm>
        </p:spPr>
        <p:txBody>
          <a:bodyPr lIns="91440" tIns="45720" rIns="91440" bIns="45720" anchor="t"/>
          <a:lstStyle>
            <a:lvl1pPr marL="0" indent="0" algn="l">
              <a:buNone/>
              <a:defRPr sz="1467">
                <a:latin typeface="+mn-lt"/>
              </a:defRPr>
            </a:lvl1pPr>
          </a:lstStyle>
          <a:p>
            <a:pPr lvl="0"/>
            <a:r>
              <a:rPr lang="en-US"/>
              <a:t>Text</a:t>
            </a:r>
          </a:p>
        </p:txBody>
      </p:sp>
      <p:sp>
        <p:nvSpPr>
          <p:cNvPr id="29" name="Text Placeholder 5">
            <a:extLst>
              <a:ext uri="{FF2B5EF4-FFF2-40B4-BE49-F238E27FC236}">
                <a16:creationId xmlns:a16="http://schemas.microsoft.com/office/drawing/2014/main" id="{88337F3F-158A-4DE6-829A-FDD67407C6F1}"/>
              </a:ext>
            </a:extLst>
          </p:cNvPr>
          <p:cNvSpPr>
            <a:spLocks noGrp="1"/>
          </p:cNvSpPr>
          <p:nvPr>
            <p:ph type="body" sz="quarter" idx="26" hasCustomPrompt="1"/>
          </p:nvPr>
        </p:nvSpPr>
        <p:spPr bwMode="gray">
          <a:xfrm>
            <a:off x="2719229" y="2297723"/>
            <a:ext cx="2145792" cy="3801472"/>
          </a:xfrm>
        </p:spPr>
        <p:txBody>
          <a:bodyPr lIns="91440" tIns="45720" rIns="91440" bIns="45720" anchor="t"/>
          <a:lstStyle>
            <a:lvl1pPr marL="0" indent="0" algn="l">
              <a:buNone/>
              <a:defRPr sz="1467">
                <a:latin typeface="+mn-lt"/>
              </a:defRPr>
            </a:lvl1pPr>
          </a:lstStyle>
          <a:p>
            <a:pPr lvl="0"/>
            <a:r>
              <a:rPr lang="en-US"/>
              <a:t>Text</a:t>
            </a:r>
          </a:p>
        </p:txBody>
      </p:sp>
      <p:sp>
        <p:nvSpPr>
          <p:cNvPr id="14" name="Text Placeholder 5">
            <a:extLst>
              <a:ext uri="{FF2B5EF4-FFF2-40B4-BE49-F238E27FC236}">
                <a16:creationId xmlns:a16="http://schemas.microsoft.com/office/drawing/2014/main" id="{FAB5558D-85E7-455F-8197-2348C0C6BDA7}"/>
              </a:ext>
            </a:extLst>
          </p:cNvPr>
          <p:cNvSpPr>
            <a:spLocks noGrp="1"/>
          </p:cNvSpPr>
          <p:nvPr>
            <p:ph type="body" sz="quarter" idx="28" hasCustomPrompt="1"/>
          </p:nvPr>
        </p:nvSpPr>
        <p:spPr bwMode="gray">
          <a:xfrm>
            <a:off x="5010892" y="2297723"/>
            <a:ext cx="2145792" cy="3801472"/>
          </a:xfrm>
        </p:spPr>
        <p:txBody>
          <a:bodyPr lIns="91440" tIns="45720" rIns="91440" bIns="45720" anchor="t"/>
          <a:lstStyle>
            <a:lvl1pPr marL="0" indent="0" algn="l">
              <a:buNone/>
              <a:defRPr sz="1467">
                <a:latin typeface="+mn-lt"/>
              </a:defRPr>
            </a:lvl1pPr>
          </a:lstStyle>
          <a:p>
            <a:pPr lvl="0"/>
            <a:r>
              <a:rPr lang="en-US"/>
              <a:t>Text</a:t>
            </a:r>
          </a:p>
        </p:txBody>
      </p:sp>
      <p:sp>
        <p:nvSpPr>
          <p:cNvPr id="24" name="Text Placeholder 5">
            <a:extLst>
              <a:ext uri="{FF2B5EF4-FFF2-40B4-BE49-F238E27FC236}">
                <a16:creationId xmlns:a16="http://schemas.microsoft.com/office/drawing/2014/main" id="{E55A2A1D-3F56-4503-9059-B511BC314172}"/>
              </a:ext>
            </a:extLst>
          </p:cNvPr>
          <p:cNvSpPr>
            <a:spLocks noGrp="1"/>
          </p:cNvSpPr>
          <p:nvPr>
            <p:ph type="body" sz="quarter" idx="33" hasCustomPrompt="1"/>
          </p:nvPr>
        </p:nvSpPr>
        <p:spPr bwMode="gray">
          <a:xfrm>
            <a:off x="7302555" y="2297723"/>
            <a:ext cx="2145792" cy="3801472"/>
          </a:xfrm>
        </p:spPr>
        <p:txBody>
          <a:bodyPr lIns="91440" tIns="45720" rIns="91440" bIns="45720" anchor="t"/>
          <a:lstStyle>
            <a:lvl1pPr marL="0" indent="0" algn="l">
              <a:buNone/>
              <a:defRPr sz="1467">
                <a:latin typeface="+mn-lt"/>
              </a:defRPr>
            </a:lvl1pPr>
          </a:lstStyle>
          <a:p>
            <a:pPr lvl="0"/>
            <a:r>
              <a:rPr lang="en-US"/>
              <a:t>Text</a:t>
            </a:r>
          </a:p>
        </p:txBody>
      </p:sp>
      <p:sp>
        <p:nvSpPr>
          <p:cNvPr id="31" name="Text Placeholder 5">
            <a:extLst>
              <a:ext uri="{FF2B5EF4-FFF2-40B4-BE49-F238E27FC236}">
                <a16:creationId xmlns:a16="http://schemas.microsoft.com/office/drawing/2014/main" id="{2E545EB7-8306-4D99-9657-FBCB23C098F2}"/>
              </a:ext>
            </a:extLst>
          </p:cNvPr>
          <p:cNvSpPr>
            <a:spLocks noGrp="1"/>
          </p:cNvSpPr>
          <p:nvPr>
            <p:ph type="body" sz="quarter" idx="34" hasCustomPrompt="1"/>
          </p:nvPr>
        </p:nvSpPr>
        <p:spPr bwMode="gray">
          <a:xfrm>
            <a:off x="9594219" y="2297723"/>
            <a:ext cx="2145792" cy="3801472"/>
          </a:xfrm>
        </p:spPr>
        <p:txBody>
          <a:bodyPr lIns="91440" tIns="45720" rIns="91440" bIns="45720" anchor="t"/>
          <a:lstStyle>
            <a:lvl1pPr marL="0" indent="0" algn="l">
              <a:buNone/>
              <a:defRPr sz="1467">
                <a:latin typeface="+mn-lt"/>
              </a:defRPr>
            </a:lvl1pPr>
          </a:lstStyle>
          <a:p>
            <a:pPr lvl="0"/>
            <a:r>
              <a:rPr lang="en-US"/>
              <a:t>Text</a:t>
            </a:r>
          </a:p>
        </p:txBody>
      </p:sp>
    </p:spTree>
    <p:extLst>
      <p:ext uri="{BB962C8B-B14F-4D97-AF65-F5344CB8AC3E}">
        <p14:creationId xmlns:p14="http://schemas.microsoft.com/office/powerpoint/2010/main" val="419252452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Five pointers">
    <p:spTree>
      <p:nvGrpSpPr>
        <p:cNvPr id="1" name=""/>
        <p:cNvGrpSpPr/>
        <p:nvPr/>
      </p:nvGrpSpPr>
      <p:grpSpPr>
        <a:xfrm>
          <a:off x="0" y="0"/>
          <a:ext cx="0" cy="0"/>
          <a:chOff x="0" y="0"/>
          <a:chExt cx="0" cy="0"/>
        </a:xfrm>
      </p:grpSpPr>
      <p:sp>
        <p:nvSpPr>
          <p:cNvPr id="42" name="Rectangle: Rounded Corners 41">
            <a:extLst>
              <a:ext uri="{FF2B5EF4-FFF2-40B4-BE49-F238E27FC236}">
                <a16:creationId xmlns:a16="http://schemas.microsoft.com/office/drawing/2014/main" id="{8126CDE0-1019-4C6A-A885-33A29BC441DE}"/>
              </a:ext>
            </a:extLst>
          </p:cNvPr>
          <p:cNvSpPr>
            <a:spLocks/>
          </p:cNvSpPr>
          <p:nvPr/>
        </p:nvSpPr>
        <p:spPr bwMode="gray">
          <a:xfrm>
            <a:off x="3231587" y="4726189"/>
            <a:ext cx="8508423" cy="497148"/>
          </a:xfrm>
          <a:prstGeom prst="roundRect">
            <a:avLst/>
          </a:prstGeom>
          <a:gradFill flip="none" rotWithShape="1">
            <a:gsLst>
              <a:gs pos="0">
                <a:schemeClr val="bg1"/>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a:solidFill>
                <a:schemeClr val="accent4"/>
              </a:solidFill>
              <a:latin typeface="+mj-lt"/>
            </a:endParaRPr>
          </a:p>
        </p:txBody>
      </p:sp>
      <p:sp>
        <p:nvSpPr>
          <p:cNvPr id="43" name="Rectangle: Rounded Corners 42">
            <a:extLst>
              <a:ext uri="{FF2B5EF4-FFF2-40B4-BE49-F238E27FC236}">
                <a16:creationId xmlns:a16="http://schemas.microsoft.com/office/drawing/2014/main" id="{48DC1592-6D6A-44FC-BEE8-54ACFA33F527}"/>
              </a:ext>
            </a:extLst>
          </p:cNvPr>
          <p:cNvSpPr>
            <a:spLocks/>
          </p:cNvSpPr>
          <p:nvPr/>
        </p:nvSpPr>
        <p:spPr bwMode="gray">
          <a:xfrm>
            <a:off x="4438950" y="3853526"/>
            <a:ext cx="7301060" cy="497148"/>
          </a:xfrm>
          <a:prstGeom prst="roundRect">
            <a:avLst/>
          </a:prstGeom>
          <a:gradFill flip="none" rotWithShape="1">
            <a:gsLst>
              <a:gs pos="0">
                <a:schemeClr val="bg1"/>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a:solidFill>
                <a:schemeClr val="accent2"/>
              </a:solidFill>
              <a:latin typeface="+mj-lt"/>
            </a:endParaRPr>
          </a:p>
        </p:txBody>
      </p:sp>
      <p:sp>
        <p:nvSpPr>
          <p:cNvPr id="44" name="Rectangle: Rounded Corners 43">
            <a:extLst>
              <a:ext uri="{FF2B5EF4-FFF2-40B4-BE49-F238E27FC236}">
                <a16:creationId xmlns:a16="http://schemas.microsoft.com/office/drawing/2014/main" id="{6055CC8A-A8C2-4330-804C-8514561E0CC7}"/>
              </a:ext>
            </a:extLst>
          </p:cNvPr>
          <p:cNvSpPr>
            <a:spLocks/>
          </p:cNvSpPr>
          <p:nvPr/>
        </p:nvSpPr>
        <p:spPr bwMode="gray">
          <a:xfrm>
            <a:off x="5681823" y="2980863"/>
            <a:ext cx="6058187" cy="497148"/>
          </a:xfrm>
          <a:prstGeom prst="roundRect">
            <a:avLst/>
          </a:prstGeom>
          <a:gradFill flip="none" rotWithShape="1">
            <a:gsLst>
              <a:gs pos="0">
                <a:schemeClr val="bg1"/>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a:solidFill>
                <a:schemeClr val="accent3"/>
              </a:solidFill>
              <a:latin typeface="+mj-lt"/>
            </a:endParaRPr>
          </a:p>
        </p:txBody>
      </p:sp>
      <p:sp>
        <p:nvSpPr>
          <p:cNvPr id="45" name="Rectangle: Rounded Corners 44">
            <a:extLst>
              <a:ext uri="{FF2B5EF4-FFF2-40B4-BE49-F238E27FC236}">
                <a16:creationId xmlns:a16="http://schemas.microsoft.com/office/drawing/2014/main" id="{A76F0322-7273-4B4B-827B-1CFB479D1C12}"/>
              </a:ext>
            </a:extLst>
          </p:cNvPr>
          <p:cNvSpPr>
            <a:spLocks/>
          </p:cNvSpPr>
          <p:nvPr/>
        </p:nvSpPr>
        <p:spPr bwMode="gray">
          <a:xfrm>
            <a:off x="6905126" y="2108201"/>
            <a:ext cx="4834884" cy="497148"/>
          </a:xfrm>
          <a:prstGeom prst="roundRect">
            <a:avLst/>
          </a:prstGeom>
          <a:gradFill flip="none" rotWithShape="1">
            <a:gsLst>
              <a:gs pos="0">
                <a:schemeClr val="bg1"/>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a:solidFill>
                <a:schemeClr val="accent5"/>
              </a:solidFill>
              <a:latin typeface="+mj-lt"/>
            </a:endParaRPr>
          </a:p>
        </p:txBody>
      </p:sp>
      <p:sp>
        <p:nvSpPr>
          <p:cNvPr id="26" name="Text Placeholder 5">
            <a:extLst>
              <a:ext uri="{FF2B5EF4-FFF2-40B4-BE49-F238E27FC236}">
                <a16:creationId xmlns:a16="http://schemas.microsoft.com/office/drawing/2014/main" id="{57EF9072-27DC-4A6B-AC6A-03E9331EFCE7}"/>
              </a:ext>
            </a:extLst>
          </p:cNvPr>
          <p:cNvSpPr>
            <a:spLocks noGrp="1"/>
          </p:cNvSpPr>
          <p:nvPr>
            <p:ph type="body" sz="quarter" idx="24" hasCustomPrompt="1"/>
          </p:nvPr>
        </p:nvSpPr>
        <p:spPr bwMode="gray">
          <a:xfrm>
            <a:off x="3231587" y="4726189"/>
            <a:ext cx="8508423" cy="497148"/>
          </a:xfrm>
        </p:spPr>
        <p:txBody>
          <a:bodyPr lIns="91440" tIns="45720" rIns="91440" bIns="45720" anchor="ctr"/>
          <a:lstStyle>
            <a:lvl1pPr marL="0" indent="0" algn="l">
              <a:buNone/>
              <a:defRPr sz="1600">
                <a:solidFill>
                  <a:schemeClr val="accent4"/>
                </a:solidFill>
                <a:latin typeface="+mj-lt"/>
              </a:defRPr>
            </a:lvl1pPr>
          </a:lstStyle>
          <a:p>
            <a:pPr lvl="0"/>
            <a:r>
              <a:rPr lang="en-US"/>
              <a:t>Title</a:t>
            </a:r>
          </a:p>
        </p:txBody>
      </p:sp>
      <p:sp>
        <p:nvSpPr>
          <p:cNvPr id="28" name="Text Placeholder 5">
            <a:extLst>
              <a:ext uri="{FF2B5EF4-FFF2-40B4-BE49-F238E27FC236}">
                <a16:creationId xmlns:a16="http://schemas.microsoft.com/office/drawing/2014/main" id="{DE29ADF8-A949-4BF8-9F98-C3A577F67A49}"/>
              </a:ext>
            </a:extLst>
          </p:cNvPr>
          <p:cNvSpPr>
            <a:spLocks noGrp="1"/>
          </p:cNvSpPr>
          <p:nvPr>
            <p:ph type="body" sz="quarter" idx="25" hasCustomPrompt="1"/>
          </p:nvPr>
        </p:nvSpPr>
        <p:spPr bwMode="gray">
          <a:xfrm>
            <a:off x="4438950" y="3853526"/>
            <a:ext cx="7301060" cy="497148"/>
          </a:xfrm>
        </p:spPr>
        <p:txBody>
          <a:bodyPr lIns="91440" tIns="45720" rIns="91440" bIns="45720" anchor="ctr"/>
          <a:lstStyle>
            <a:lvl1pPr marL="0" indent="0" algn="l">
              <a:buNone/>
              <a:defRPr sz="1600">
                <a:solidFill>
                  <a:schemeClr val="accent2"/>
                </a:solidFill>
                <a:latin typeface="+mj-lt"/>
              </a:defRPr>
            </a:lvl1pPr>
          </a:lstStyle>
          <a:p>
            <a:pPr lvl="0"/>
            <a:r>
              <a:rPr lang="en-US"/>
              <a:t>Title</a:t>
            </a:r>
          </a:p>
        </p:txBody>
      </p:sp>
      <p:sp>
        <p:nvSpPr>
          <p:cNvPr id="17" name="Text Placeholder 5">
            <a:extLst>
              <a:ext uri="{FF2B5EF4-FFF2-40B4-BE49-F238E27FC236}">
                <a16:creationId xmlns:a16="http://schemas.microsoft.com/office/drawing/2014/main" id="{3890DA71-057A-40D0-8945-E35FA005F45D}"/>
              </a:ext>
            </a:extLst>
          </p:cNvPr>
          <p:cNvSpPr>
            <a:spLocks noGrp="1"/>
          </p:cNvSpPr>
          <p:nvPr>
            <p:ph type="body" sz="quarter" idx="30" hasCustomPrompt="1"/>
          </p:nvPr>
        </p:nvSpPr>
        <p:spPr bwMode="gray">
          <a:xfrm>
            <a:off x="5681823" y="2980863"/>
            <a:ext cx="6058187" cy="497148"/>
          </a:xfrm>
        </p:spPr>
        <p:txBody>
          <a:bodyPr lIns="91440" tIns="45720" rIns="91440" bIns="45720" anchor="ctr"/>
          <a:lstStyle>
            <a:lvl1pPr marL="0" indent="0" algn="l">
              <a:buNone/>
              <a:defRPr sz="1600">
                <a:solidFill>
                  <a:schemeClr val="accent3"/>
                </a:solidFill>
                <a:latin typeface="+mj-lt"/>
              </a:defRPr>
            </a:lvl1pPr>
          </a:lstStyle>
          <a:p>
            <a:pPr lvl="0"/>
            <a:r>
              <a:rPr lang="en-US"/>
              <a:t>Title</a:t>
            </a:r>
          </a:p>
        </p:txBody>
      </p:sp>
      <p:sp>
        <p:nvSpPr>
          <p:cNvPr id="18" name="Text Placeholder 5">
            <a:extLst>
              <a:ext uri="{FF2B5EF4-FFF2-40B4-BE49-F238E27FC236}">
                <a16:creationId xmlns:a16="http://schemas.microsoft.com/office/drawing/2014/main" id="{4348901D-A737-400F-9AEA-C80A37435537}"/>
              </a:ext>
            </a:extLst>
          </p:cNvPr>
          <p:cNvSpPr>
            <a:spLocks noGrp="1"/>
          </p:cNvSpPr>
          <p:nvPr>
            <p:ph type="body" sz="quarter" idx="31" hasCustomPrompt="1"/>
          </p:nvPr>
        </p:nvSpPr>
        <p:spPr bwMode="gray">
          <a:xfrm>
            <a:off x="6905126" y="2108201"/>
            <a:ext cx="4834884" cy="497148"/>
          </a:xfrm>
        </p:spPr>
        <p:txBody>
          <a:bodyPr lIns="91440" tIns="45720" rIns="91440" bIns="45720" anchor="ctr"/>
          <a:lstStyle>
            <a:lvl1pPr marL="0" indent="0" algn="l">
              <a:buNone/>
              <a:defRPr sz="1600">
                <a:solidFill>
                  <a:schemeClr val="accent5"/>
                </a:solidFill>
                <a:latin typeface="+mj-lt"/>
              </a:defRPr>
            </a:lvl1pPr>
          </a:lstStyle>
          <a:p>
            <a:pPr lvl="0"/>
            <a:r>
              <a:rPr lang="en-US"/>
              <a:t>Title</a:t>
            </a:r>
          </a:p>
        </p:txBody>
      </p:sp>
      <p:sp>
        <p:nvSpPr>
          <p:cNvPr id="41" name="Rectangle: Rounded Corners 40">
            <a:extLst>
              <a:ext uri="{FF2B5EF4-FFF2-40B4-BE49-F238E27FC236}">
                <a16:creationId xmlns:a16="http://schemas.microsoft.com/office/drawing/2014/main" id="{0E24CE73-EE80-44BF-BEE2-FD200652961F}"/>
              </a:ext>
            </a:extLst>
          </p:cNvPr>
          <p:cNvSpPr>
            <a:spLocks/>
          </p:cNvSpPr>
          <p:nvPr/>
        </p:nvSpPr>
        <p:spPr bwMode="gray">
          <a:xfrm>
            <a:off x="2000550" y="5598850"/>
            <a:ext cx="9739460" cy="497148"/>
          </a:xfrm>
          <a:prstGeom prst="roundRect">
            <a:avLst/>
          </a:prstGeom>
          <a:gradFill flip="none" rotWithShape="1">
            <a:gsLst>
              <a:gs pos="0">
                <a:schemeClr val="bg1"/>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a:solidFill>
                <a:schemeClr val="accent1"/>
              </a:solidFill>
              <a:latin typeface="+mj-lt"/>
            </a:endParaRPr>
          </a:p>
        </p:txBody>
      </p:sp>
      <p:sp>
        <p:nvSpPr>
          <p:cNvPr id="25" name="Text Placeholder 5">
            <a:extLst>
              <a:ext uri="{FF2B5EF4-FFF2-40B4-BE49-F238E27FC236}">
                <a16:creationId xmlns:a16="http://schemas.microsoft.com/office/drawing/2014/main" id="{8DC324A1-4EA0-4B60-8634-9BB3EA2FF481}"/>
              </a:ext>
            </a:extLst>
          </p:cNvPr>
          <p:cNvSpPr>
            <a:spLocks noGrp="1"/>
          </p:cNvSpPr>
          <p:nvPr>
            <p:ph type="body" sz="quarter" idx="23" hasCustomPrompt="1"/>
          </p:nvPr>
        </p:nvSpPr>
        <p:spPr bwMode="gray">
          <a:xfrm>
            <a:off x="2000550" y="5598850"/>
            <a:ext cx="9739460" cy="497148"/>
          </a:xfrm>
        </p:spPr>
        <p:txBody>
          <a:bodyPr lIns="91440" tIns="45720" rIns="91440" bIns="45720" anchor="ctr"/>
          <a:lstStyle>
            <a:lvl1pPr marL="0" indent="0" algn="l">
              <a:buNone/>
              <a:defRPr sz="1600">
                <a:solidFill>
                  <a:schemeClr val="accent1"/>
                </a:solidFill>
                <a:latin typeface="+mj-lt"/>
              </a:defRPr>
            </a:lvl1pPr>
          </a:lstStyle>
          <a:p>
            <a:pPr lvl="0"/>
            <a:r>
              <a:rPr lang="en-US"/>
              <a:t>Title</a:t>
            </a:r>
          </a:p>
        </p:txBody>
      </p: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gray">
          <a:xfrm>
            <a:off x="303548" y="164637"/>
            <a:ext cx="11436096" cy="975360"/>
          </a:xfrm>
        </p:spPr>
        <p:txBody>
          <a:bodyPr/>
          <a:lstStyle/>
          <a:p>
            <a:r>
              <a:rPr lang="en-US"/>
              <a:t>Title in </a:t>
            </a:r>
            <a:r>
              <a:rPr lang="en-US" err="1"/>
              <a:t>Raleway</a:t>
            </a:r>
            <a:r>
              <a:rPr lang="en-US"/>
              <a:t> </a:t>
            </a:r>
            <a:r>
              <a:rPr lang="en-US" err="1"/>
              <a:t>SemiBold</a:t>
            </a:r>
            <a:r>
              <a:rPr lang="en-US"/>
              <a:t> 20pt</a:t>
            </a:r>
          </a:p>
        </p:txBody>
      </p:sp>
      <p:sp>
        <p:nvSpPr>
          <p:cNvPr id="19" name="Text Placeholder 4">
            <a:extLst>
              <a:ext uri="{FF2B5EF4-FFF2-40B4-BE49-F238E27FC236}">
                <a16:creationId xmlns:a16="http://schemas.microsoft.com/office/drawing/2014/main" id="{EA80C96E-3929-4152-AB01-4A8F2872A058}"/>
              </a:ext>
            </a:extLst>
          </p:cNvPr>
          <p:cNvSpPr>
            <a:spLocks noGrp="1"/>
          </p:cNvSpPr>
          <p:nvPr>
            <p:ph type="body" sz="quarter" idx="22" hasCustomPrompt="1"/>
          </p:nvPr>
        </p:nvSpPr>
        <p:spPr bwMode="gray">
          <a:xfrm>
            <a:off x="303547" y="556610"/>
            <a:ext cx="11436096" cy="580529"/>
          </a:xfrm>
        </p:spPr>
        <p:txBody>
          <a:bodyPr/>
          <a:lstStyle>
            <a:lvl1pPr marL="0" indent="0">
              <a:buNone/>
              <a:defRPr sz="2133">
                <a:solidFill>
                  <a:srgbClr val="0596FF"/>
                </a:solidFill>
                <a:latin typeface="+mj-lt"/>
              </a:defRPr>
            </a:lvl1pPr>
          </a:lstStyle>
          <a:p>
            <a:pPr lvl="0"/>
            <a:r>
              <a:rPr lang="en-US"/>
              <a:t>Subtitle in </a:t>
            </a:r>
            <a:r>
              <a:rPr lang="en-US" err="1"/>
              <a:t>Raleway</a:t>
            </a:r>
            <a:r>
              <a:rPr lang="en-US"/>
              <a:t> </a:t>
            </a:r>
            <a:r>
              <a:rPr lang="en-US" err="1"/>
              <a:t>SemiBold</a:t>
            </a:r>
            <a:r>
              <a:rPr lang="en-US"/>
              <a:t> 16pt</a:t>
            </a:r>
          </a:p>
        </p:txBody>
      </p:sp>
      <p:sp>
        <p:nvSpPr>
          <p:cNvPr id="20" name="Oval 19">
            <a:extLst>
              <a:ext uri="{FF2B5EF4-FFF2-40B4-BE49-F238E27FC236}">
                <a16:creationId xmlns:a16="http://schemas.microsoft.com/office/drawing/2014/main" id="{A7C0A67C-066C-49DC-8DF6-DAA330603A48}"/>
              </a:ext>
            </a:extLst>
          </p:cNvPr>
          <p:cNvSpPr>
            <a:spLocks noChangeAspect="1"/>
          </p:cNvSpPr>
          <p:nvPr/>
        </p:nvSpPr>
        <p:spPr bwMode="gray">
          <a:xfrm>
            <a:off x="431800" y="4864608"/>
            <a:ext cx="1231392" cy="1231392"/>
          </a:xfrm>
          <a:prstGeom prst="ellipse">
            <a:avLst/>
          </a:prstGeom>
          <a:gradFill flip="none" rotWithShape="1">
            <a:gsLst>
              <a:gs pos="49000">
                <a:schemeClr val="accent1">
                  <a:alpha val="30000"/>
                </a:schemeClr>
              </a:gs>
              <a:gs pos="10000">
                <a:schemeClr val="accent1"/>
              </a:gs>
              <a:gs pos="79000">
                <a:schemeClr val="accent1">
                  <a:alpha val="0"/>
                </a:schemeClr>
              </a:gs>
            </a:gsLst>
            <a:lin ang="180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solidFill>
                <a:schemeClr val="tx1"/>
              </a:solidFill>
              <a:latin typeface="+mj-lt"/>
            </a:endParaRPr>
          </a:p>
        </p:txBody>
      </p:sp>
      <p:sp>
        <p:nvSpPr>
          <p:cNvPr id="32" name="Oval 31">
            <a:extLst>
              <a:ext uri="{FF2B5EF4-FFF2-40B4-BE49-F238E27FC236}">
                <a16:creationId xmlns:a16="http://schemas.microsoft.com/office/drawing/2014/main" id="{5A438331-C85F-48AF-A24C-E2C430632BA0}"/>
              </a:ext>
            </a:extLst>
          </p:cNvPr>
          <p:cNvSpPr>
            <a:spLocks noChangeAspect="1"/>
          </p:cNvSpPr>
          <p:nvPr/>
        </p:nvSpPr>
        <p:spPr bwMode="gray">
          <a:xfrm>
            <a:off x="5321303" y="1423460"/>
            <a:ext cx="1231392" cy="1231392"/>
          </a:xfrm>
          <a:prstGeom prst="ellipse">
            <a:avLst/>
          </a:prstGeom>
          <a:gradFill flip="none" rotWithShape="1">
            <a:gsLst>
              <a:gs pos="49000">
                <a:schemeClr val="accent5">
                  <a:alpha val="30000"/>
                </a:schemeClr>
              </a:gs>
              <a:gs pos="10000">
                <a:schemeClr val="accent5"/>
              </a:gs>
              <a:gs pos="79000">
                <a:schemeClr val="accent5">
                  <a:alpha val="0"/>
                </a:schemeClr>
              </a:gs>
            </a:gsLst>
            <a:lin ang="180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solidFill>
                <a:schemeClr val="tx1"/>
              </a:solidFill>
              <a:latin typeface="+mj-lt"/>
            </a:endParaRPr>
          </a:p>
        </p:txBody>
      </p:sp>
      <p:sp>
        <p:nvSpPr>
          <p:cNvPr id="33" name="Oval 32">
            <a:extLst>
              <a:ext uri="{FF2B5EF4-FFF2-40B4-BE49-F238E27FC236}">
                <a16:creationId xmlns:a16="http://schemas.microsoft.com/office/drawing/2014/main" id="{CDED2A66-82D5-4890-B5B8-CCEB31BA74E9}"/>
              </a:ext>
            </a:extLst>
          </p:cNvPr>
          <p:cNvSpPr>
            <a:spLocks noChangeAspect="1"/>
          </p:cNvSpPr>
          <p:nvPr/>
        </p:nvSpPr>
        <p:spPr bwMode="gray">
          <a:xfrm>
            <a:off x="4098928" y="2283747"/>
            <a:ext cx="1231392" cy="1231392"/>
          </a:xfrm>
          <a:prstGeom prst="ellipse">
            <a:avLst/>
          </a:prstGeom>
          <a:gradFill flip="none" rotWithShape="1">
            <a:gsLst>
              <a:gs pos="49000">
                <a:schemeClr val="accent3">
                  <a:alpha val="30000"/>
                </a:schemeClr>
              </a:gs>
              <a:gs pos="10000">
                <a:schemeClr val="accent3"/>
              </a:gs>
              <a:gs pos="79000">
                <a:schemeClr val="accent3">
                  <a:alpha val="0"/>
                </a:schemeClr>
              </a:gs>
            </a:gsLst>
            <a:lin ang="180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solidFill>
                <a:schemeClr val="tx1"/>
              </a:solidFill>
              <a:latin typeface="+mj-lt"/>
            </a:endParaRPr>
          </a:p>
        </p:txBody>
      </p:sp>
      <p:sp>
        <p:nvSpPr>
          <p:cNvPr id="34" name="Oval 33">
            <a:extLst>
              <a:ext uri="{FF2B5EF4-FFF2-40B4-BE49-F238E27FC236}">
                <a16:creationId xmlns:a16="http://schemas.microsoft.com/office/drawing/2014/main" id="{B05863E1-0514-4EDC-A051-23EF69D0327D}"/>
              </a:ext>
            </a:extLst>
          </p:cNvPr>
          <p:cNvSpPr>
            <a:spLocks noChangeAspect="1"/>
          </p:cNvSpPr>
          <p:nvPr/>
        </p:nvSpPr>
        <p:spPr bwMode="gray">
          <a:xfrm>
            <a:off x="2876552" y="3144033"/>
            <a:ext cx="1231392" cy="1231392"/>
          </a:xfrm>
          <a:prstGeom prst="ellipse">
            <a:avLst/>
          </a:prstGeom>
          <a:gradFill flip="none" rotWithShape="1">
            <a:gsLst>
              <a:gs pos="49000">
                <a:schemeClr val="accent2">
                  <a:alpha val="30000"/>
                </a:schemeClr>
              </a:gs>
              <a:gs pos="10000">
                <a:schemeClr val="accent2"/>
              </a:gs>
              <a:gs pos="79000">
                <a:schemeClr val="accent2">
                  <a:alpha val="0"/>
                </a:schemeClr>
              </a:gs>
            </a:gsLst>
            <a:lin ang="180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solidFill>
                <a:schemeClr val="tx1"/>
              </a:solidFill>
              <a:latin typeface="+mj-lt"/>
            </a:endParaRPr>
          </a:p>
        </p:txBody>
      </p:sp>
      <p:sp>
        <p:nvSpPr>
          <p:cNvPr id="35" name="Oval 34">
            <a:extLst>
              <a:ext uri="{FF2B5EF4-FFF2-40B4-BE49-F238E27FC236}">
                <a16:creationId xmlns:a16="http://schemas.microsoft.com/office/drawing/2014/main" id="{EFF42376-58D1-4153-ADFE-E0F2635F3518}"/>
              </a:ext>
            </a:extLst>
          </p:cNvPr>
          <p:cNvSpPr>
            <a:spLocks noChangeAspect="1"/>
          </p:cNvSpPr>
          <p:nvPr/>
        </p:nvSpPr>
        <p:spPr bwMode="gray">
          <a:xfrm>
            <a:off x="1654176" y="4004320"/>
            <a:ext cx="1231392" cy="1231392"/>
          </a:xfrm>
          <a:prstGeom prst="ellipse">
            <a:avLst/>
          </a:prstGeom>
          <a:gradFill flip="none" rotWithShape="1">
            <a:gsLst>
              <a:gs pos="49000">
                <a:schemeClr val="accent4">
                  <a:alpha val="30000"/>
                </a:schemeClr>
              </a:gs>
              <a:gs pos="10000">
                <a:schemeClr val="accent4"/>
              </a:gs>
              <a:gs pos="79000">
                <a:schemeClr val="accent4">
                  <a:alpha val="0"/>
                </a:schemeClr>
              </a:gs>
            </a:gsLst>
            <a:lin ang="180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solidFill>
                <a:schemeClr val="tx1"/>
              </a:solidFill>
              <a:latin typeface="+mj-lt"/>
            </a:endParaRPr>
          </a:p>
        </p:txBody>
      </p:sp>
      <p:sp>
        <p:nvSpPr>
          <p:cNvPr id="36" name="Text Placeholder 5">
            <a:extLst>
              <a:ext uri="{FF2B5EF4-FFF2-40B4-BE49-F238E27FC236}">
                <a16:creationId xmlns:a16="http://schemas.microsoft.com/office/drawing/2014/main" id="{BA553ED2-1D0F-4A21-AC19-AD21E2B808D0}"/>
              </a:ext>
            </a:extLst>
          </p:cNvPr>
          <p:cNvSpPr>
            <a:spLocks noGrp="1"/>
          </p:cNvSpPr>
          <p:nvPr>
            <p:ph type="body" sz="quarter" idx="32" hasCustomPrompt="1"/>
          </p:nvPr>
        </p:nvSpPr>
        <p:spPr bwMode="gray">
          <a:xfrm>
            <a:off x="951316" y="5234083"/>
            <a:ext cx="192360" cy="492443"/>
          </a:xfrm>
        </p:spPr>
        <p:txBody>
          <a:bodyPr wrap="none" lIns="0" tIns="0" rIns="0" bIns="0" anchor="ctr">
            <a:spAutoFit/>
          </a:bodyPr>
          <a:lstStyle>
            <a:lvl1pPr marL="0" indent="0" algn="l">
              <a:buNone/>
              <a:defRPr sz="3200">
                <a:solidFill>
                  <a:schemeClr val="tx1"/>
                </a:solidFill>
                <a:latin typeface="+mj-lt"/>
              </a:defRPr>
            </a:lvl1pPr>
          </a:lstStyle>
          <a:p>
            <a:pPr lvl="0"/>
            <a:r>
              <a:rPr lang="en-US"/>
              <a:t>1</a:t>
            </a:r>
          </a:p>
        </p:txBody>
      </p:sp>
      <p:sp>
        <p:nvSpPr>
          <p:cNvPr id="37" name="Text Placeholder 5">
            <a:extLst>
              <a:ext uri="{FF2B5EF4-FFF2-40B4-BE49-F238E27FC236}">
                <a16:creationId xmlns:a16="http://schemas.microsoft.com/office/drawing/2014/main" id="{2DF333ED-9AC6-4BF6-B310-813AD8D5D37A}"/>
              </a:ext>
            </a:extLst>
          </p:cNvPr>
          <p:cNvSpPr>
            <a:spLocks noGrp="1"/>
          </p:cNvSpPr>
          <p:nvPr>
            <p:ph type="body" sz="quarter" idx="33" hasCustomPrompt="1"/>
          </p:nvPr>
        </p:nvSpPr>
        <p:spPr bwMode="gray">
          <a:xfrm>
            <a:off x="2151164" y="4324521"/>
            <a:ext cx="224421" cy="492443"/>
          </a:xfrm>
        </p:spPr>
        <p:txBody>
          <a:bodyPr wrap="none" lIns="0" tIns="0" rIns="0" bIns="0" anchor="ctr">
            <a:spAutoFit/>
          </a:bodyPr>
          <a:lstStyle>
            <a:lvl1pPr marL="0" indent="0" algn="l">
              <a:buNone/>
              <a:defRPr sz="3200">
                <a:solidFill>
                  <a:schemeClr val="tx1"/>
                </a:solidFill>
                <a:latin typeface="+mj-lt"/>
              </a:defRPr>
            </a:lvl1pPr>
          </a:lstStyle>
          <a:p>
            <a:pPr lvl="0"/>
            <a:r>
              <a:rPr lang="en-US"/>
              <a:t>2</a:t>
            </a:r>
          </a:p>
        </p:txBody>
      </p:sp>
      <p:sp>
        <p:nvSpPr>
          <p:cNvPr id="38" name="Text Placeholder 5">
            <a:extLst>
              <a:ext uri="{FF2B5EF4-FFF2-40B4-BE49-F238E27FC236}">
                <a16:creationId xmlns:a16="http://schemas.microsoft.com/office/drawing/2014/main" id="{209A6F68-8C0A-41BD-AC98-FC9BDC36C3C3}"/>
              </a:ext>
            </a:extLst>
          </p:cNvPr>
          <p:cNvSpPr>
            <a:spLocks noGrp="1"/>
          </p:cNvSpPr>
          <p:nvPr>
            <p:ph type="body" sz="quarter" idx="34" hasCustomPrompt="1"/>
          </p:nvPr>
        </p:nvSpPr>
        <p:spPr bwMode="gray">
          <a:xfrm>
            <a:off x="3396068" y="3513508"/>
            <a:ext cx="224421" cy="492443"/>
          </a:xfrm>
        </p:spPr>
        <p:txBody>
          <a:bodyPr wrap="none" lIns="0" tIns="0" rIns="0" bIns="0" anchor="ctr">
            <a:spAutoFit/>
          </a:bodyPr>
          <a:lstStyle>
            <a:lvl1pPr marL="0" indent="0" algn="l">
              <a:buNone/>
              <a:defRPr sz="3200">
                <a:solidFill>
                  <a:schemeClr val="tx1"/>
                </a:solidFill>
                <a:latin typeface="+mj-lt"/>
              </a:defRPr>
            </a:lvl1pPr>
          </a:lstStyle>
          <a:p>
            <a:pPr lvl="0"/>
            <a:r>
              <a:rPr lang="en-US"/>
              <a:t>3</a:t>
            </a:r>
          </a:p>
        </p:txBody>
      </p:sp>
      <p:sp>
        <p:nvSpPr>
          <p:cNvPr id="39" name="Text Placeholder 5">
            <a:extLst>
              <a:ext uri="{FF2B5EF4-FFF2-40B4-BE49-F238E27FC236}">
                <a16:creationId xmlns:a16="http://schemas.microsoft.com/office/drawing/2014/main" id="{8F393371-8C00-4B19-BB4B-D34D077027D3}"/>
              </a:ext>
            </a:extLst>
          </p:cNvPr>
          <p:cNvSpPr>
            <a:spLocks noGrp="1"/>
          </p:cNvSpPr>
          <p:nvPr>
            <p:ph type="body" sz="quarter" idx="35" hasCustomPrompt="1"/>
          </p:nvPr>
        </p:nvSpPr>
        <p:spPr bwMode="gray">
          <a:xfrm>
            <a:off x="4618444" y="2653221"/>
            <a:ext cx="230832" cy="492443"/>
          </a:xfrm>
        </p:spPr>
        <p:txBody>
          <a:bodyPr wrap="none" lIns="0" tIns="0" rIns="0" bIns="0" anchor="ctr">
            <a:spAutoFit/>
          </a:bodyPr>
          <a:lstStyle>
            <a:lvl1pPr marL="0" indent="0" algn="l">
              <a:buNone/>
              <a:defRPr sz="3200">
                <a:solidFill>
                  <a:schemeClr val="tx1"/>
                </a:solidFill>
                <a:latin typeface="+mj-lt"/>
              </a:defRPr>
            </a:lvl1pPr>
          </a:lstStyle>
          <a:p>
            <a:pPr lvl="0"/>
            <a:r>
              <a:rPr lang="en-US"/>
              <a:t>4</a:t>
            </a:r>
          </a:p>
        </p:txBody>
      </p:sp>
      <p:sp>
        <p:nvSpPr>
          <p:cNvPr id="40" name="Text Placeholder 5">
            <a:extLst>
              <a:ext uri="{FF2B5EF4-FFF2-40B4-BE49-F238E27FC236}">
                <a16:creationId xmlns:a16="http://schemas.microsoft.com/office/drawing/2014/main" id="{792273FE-E1E9-4FF4-AD6F-174466E8E357}"/>
              </a:ext>
            </a:extLst>
          </p:cNvPr>
          <p:cNvSpPr>
            <a:spLocks noGrp="1"/>
          </p:cNvSpPr>
          <p:nvPr>
            <p:ph type="body" sz="quarter" idx="36" hasCustomPrompt="1"/>
          </p:nvPr>
        </p:nvSpPr>
        <p:spPr bwMode="gray">
          <a:xfrm>
            <a:off x="5840819" y="1792935"/>
            <a:ext cx="226557" cy="492443"/>
          </a:xfrm>
        </p:spPr>
        <p:txBody>
          <a:bodyPr wrap="none" lIns="0" tIns="0" rIns="0" bIns="0" anchor="ctr">
            <a:spAutoFit/>
          </a:bodyPr>
          <a:lstStyle>
            <a:lvl1pPr marL="0" indent="0" algn="l">
              <a:buNone/>
              <a:defRPr sz="3200">
                <a:solidFill>
                  <a:schemeClr val="tx1"/>
                </a:solidFill>
                <a:latin typeface="+mj-lt"/>
              </a:defRPr>
            </a:lvl1pPr>
          </a:lstStyle>
          <a:p>
            <a:pPr lvl="0"/>
            <a:r>
              <a:rPr lang="en-US"/>
              <a:t>5</a:t>
            </a:r>
          </a:p>
        </p:txBody>
      </p:sp>
    </p:spTree>
    <p:extLst>
      <p:ext uri="{BB962C8B-B14F-4D97-AF65-F5344CB8AC3E}">
        <p14:creationId xmlns:p14="http://schemas.microsoft.com/office/powerpoint/2010/main" val="108094450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with 6 column">
    <p:spTree>
      <p:nvGrpSpPr>
        <p:cNvPr id="1" name=""/>
        <p:cNvGrpSpPr/>
        <p:nvPr/>
      </p:nvGrpSpPr>
      <p:grpSpPr>
        <a:xfrm>
          <a:off x="0" y="0"/>
          <a:ext cx="0" cy="0"/>
          <a:chOff x="0" y="0"/>
          <a:chExt cx="0" cy="0"/>
        </a:xfrm>
      </p:grpSpPr>
      <p:sp>
        <p:nvSpPr>
          <p:cNvPr id="24" name="Rectangle: Rounded Corners 23">
            <a:extLst>
              <a:ext uri="{FF2B5EF4-FFF2-40B4-BE49-F238E27FC236}">
                <a16:creationId xmlns:a16="http://schemas.microsoft.com/office/drawing/2014/main" id="{67FAC3D9-3CB7-44BC-8BD3-ED8D16B9C396}"/>
              </a:ext>
            </a:extLst>
          </p:cNvPr>
          <p:cNvSpPr/>
          <p:nvPr/>
        </p:nvSpPr>
        <p:spPr bwMode="gray">
          <a:xfrm>
            <a:off x="427567" y="1432984"/>
            <a:ext cx="3657600" cy="560832"/>
          </a:xfrm>
          <a:prstGeom prst="roundRect">
            <a:avLst/>
          </a:prstGeom>
          <a:gradFill flip="none" rotWithShape="1">
            <a:gsLst>
              <a:gs pos="0">
                <a:schemeClr val="bg2"/>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867">
              <a:solidFill>
                <a:schemeClr val="accent1"/>
              </a:solidFill>
              <a:latin typeface="+mj-lt"/>
            </a:endParaRPr>
          </a:p>
        </p:txBody>
      </p:sp>
      <p:sp>
        <p:nvSpPr>
          <p:cNvPr id="29" name="Rectangle: Rounded Corners 28">
            <a:extLst>
              <a:ext uri="{FF2B5EF4-FFF2-40B4-BE49-F238E27FC236}">
                <a16:creationId xmlns:a16="http://schemas.microsoft.com/office/drawing/2014/main" id="{EB0CDC1D-F65F-4E0F-A42A-B1115FC45140}"/>
              </a:ext>
            </a:extLst>
          </p:cNvPr>
          <p:cNvSpPr/>
          <p:nvPr/>
        </p:nvSpPr>
        <p:spPr bwMode="gray">
          <a:xfrm>
            <a:off x="8082411" y="1432984"/>
            <a:ext cx="3657600" cy="560832"/>
          </a:xfrm>
          <a:prstGeom prst="roundRect">
            <a:avLst/>
          </a:prstGeom>
          <a:gradFill flip="none" rotWithShape="1">
            <a:gsLst>
              <a:gs pos="0">
                <a:schemeClr val="bg2"/>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a:solidFill>
                <a:schemeClr val="accent4"/>
              </a:solidFill>
              <a:latin typeface="+mj-lt"/>
            </a:endParaRPr>
          </a:p>
        </p:txBody>
      </p:sp>
      <p:sp>
        <p:nvSpPr>
          <p:cNvPr id="30" name="Rectangle: Rounded Corners 29">
            <a:extLst>
              <a:ext uri="{FF2B5EF4-FFF2-40B4-BE49-F238E27FC236}">
                <a16:creationId xmlns:a16="http://schemas.microsoft.com/office/drawing/2014/main" id="{1550A7E0-AA27-4593-906F-628101D0865C}"/>
              </a:ext>
            </a:extLst>
          </p:cNvPr>
          <p:cNvSpPr/>
          <p:nvPr/>
        </p:nvSpPr>
        <p:spPr bwMode="gray">
          <a:xfrm>
            <a:off x="4254989" y="1432984"/>
            <a:ext cx="3657600" cy="560832"/>
          </a:xfrm>
          <a:prstGeom prst="roundRect">
            <a:avLst/>
          </a:prstGeom>
          <a:gradFill flip="none" rotWithShape="1">
            <a:gsLst>
              <a:gs pos="0">
                <a:schemeClr val="bg2"/>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867">
              <a:solidFill>
                <a:schemeClr val="accent4"/>
              </a:solidFill>
              <a:latin typeface="+mj-lt"/>
            </a:endParaRPr>
          </a:p>
        </p:txBody>
      </p:sp>
      <p:sp>
        <p:nvSpPr>
          <p:cNvPr id="27" name="Text Placeholder 5">
            <a:extLst>
              <a:ext uri="{FF2B5EF4-FFF2-40B4-BE49-F238E27FC236}">
                <a16:creationId xmlns:a16="http://schemas.microsoft.com/office/drawing/2014/main" id="{A99F561A-3D04-4AD1-B624-3E5304B57315}"/>
              </a:ext>
            </a:extLst>
          </p:cNvPr>
          <p:cNvSpPr>
            <a:spLocks noGrp="1"/>
          </p:cNvSpPr>
          <p:nvPr>
            <p:ph type="body" sz="quarter" idx="23" hasCustomPrompt="1"/>
          </p:nvPr>
        </p:nvSpPr>
        <p:spPr bwMode="gray">
          <a:xfrm>
            <a:off x="427567" y="1432984"/>
            <a:ext cx="3657600" cy="560832"/>
          </a:xfrm>
        </p:spPr>
        <p:txBody>
          <a:bodyPr lIns="91440" tIns="45720" rIns="91440" bIns="45720" anchor="ctr"/>
          <a:lstStyle>
            <a:lvl1pPr marL="0" indent="0" algn="l">
              <a:buNone/>
              <a:defRPr sz="1600">
                <a:solidFill>
                  <a:schemeClr val="accent1"/>
                </a:solidFill>
                <a:latin typeface="+mj-lt"/>
              </a:defRPr>
            </a:lvl1pPr>
          </a:lstStyle>
          <a:p>
            <a:pPr lvl="0"/>
            <a:r>
              <a:rPr lang="en-US"/>
              <a:t>Title</a:t>
            </a:r>
          </a:p>
        </p:txBody>
      </p:sp>
      <p:sp>
        <p:nvSpPr>
          <p:cNvPr id="47" name="Text Placeholder 5">
            <a:extLst>
              <a:ext uri="{FF2B5EF4-FFF2-40B4-BE49-F238E27FC236}">
                <a16:creationId xmlns:a16="http://schemas.microsoft.com/office/drawing/2014/main" id="{B8813ED6-0387-4311-86DE-6EE0C77DE451}"/>
              </a:ext>
            </a:extLst>
          </p:cNvPr>
          <p:cNvSpPr>
            <a:spLocks noGrp="1"/>
          </p:cNvSpPr>
          <p:nvPr>
            <p:ph type="body" sz="quarter" idx="24" hasCustomPrompt="1"/>
          </p:nvPr>
        </p:nvSpPr>
        <p:spPr bwMode="gray">
          <a:xfrm>
            <a:off x="4254988" y="1432984"/>
            <a:ext cx="3657600" cy="560832"/>
          </a:xfrm>
        </p:spPr>
        <p:txBody>
          <a:bodyPr lIns="91440" tIns="45720" rIns="91440" bIns="45720" anchor="ctr"/>
          <a:lstStyle>
            <a:lvl1pPr marL="0" indent="0" algn="l">
              <a:buNone/>
              <a:defRPr sz="1600">
                <a:solidFill>
                  <a:schemeClr val="accent1"/>
                </a:solidFill>
                <a:latin typeface="+mj-lt"/>
              </a:defRPr>
            </a:lvl1pPr>
          </a:lstStyle>
          <a:p>
            <a:pPr lvl="0"/>
            <a:r>
              <a:rPr lang="en-US"/>
              <a:t>Title</a:t>
            </a:r>
          </a:p>
        </p:txBody>
      </p:sp>
      <p:sp>
        <p:nvSpPr>
          <p:cNvPr id="48" name="Text Placeholder 5">
            <a:extLst>
              <a:ext uri="{FF2B5EF4-FFF2-40B4-BE49-F238E27FC236}">
                <a16:creationId xmlns:a16="http://schemas.microsoft.com/office/drawing/2014/main" id="{4B248BA4-415C-4ED3-98C5-1C2FF0B2717C}"/>
              </a:ext>
            </a:extLst>
          </p:cNvPr>
          <p:cNvSpPr>
            <a:spLocks noGrp="1"/>
          </p:cNvSpPr>
          <p:nvPr>
            <p:ph type="body" sz="quarter" idx="25" hasCustomPrompt="1"/>
          </p:nvPr>
        </p:nvSpPr>
        <p:spPr bwMode="gray">
          <a:xfrm>
            <a:off x="8082411" y="1432984"/>
            <a:ext cx="3657600" cy="560832"/>
          </a:xfrm>
        </p:spPr>
        <p:txBody>
          <a:bodyPr lIns="91440" tIns="45720" rIns="91440" bIns="45720" anchor="ctr"/>
          <a:lstStyle>
            <a:lvl1pPr marL="0" indent="0" algn="l">
              <a:buNone/>
              <a:defRPr sz="1600">
                <a:solidFill>
                  <a:schemeClr val="accent1"/>
                </a:solidFill>
                <a:latin typeface="+mj-lt"/>
              </a:defRPr>
            </a:lvl1pPr>
          </a:lstStyle>
          <a:p>
            <a:pPr lvl="0"/>
            <a:r>
              <a:rPr lang="en-US"/>
              <a:t>Title</a:t>
            </a:r>
          </a:p>
        </p:txBody>
      </p: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gray">
          <a:xfrm>
            <a:off x="303548" y="164637"/>
            <a:ext cx="11436096" cy="975360"/>
          </a:xfrm>
        </p:spPr>
        <p:txBody>
          <a:bodyPr/>
          <a:lstStyle/>
          <a:p>
            <a:r>
              <a:rPr lang="en-US"/>
              <a:t>Title in </a:t>
            </a:r>
            <a:r>
              <a:rPr lang="en-US" err="1"/>
              <a:t>Raleway</a:t>
            </a:r>
            <a:r>
              <a:rPr lang="en-US"/>
              <a:t> </a:t>
            </a:r>
            <a:r>
              <a:rPr lang="en-US" err="1"/>
              <a:t>SemiBold</a:t>
            </a:r>
            <a:r>
              <a:rPr lang="en-US"/>
              <a:t> 20pt</a:t>
            </a:r>
          </a:p>
        </p:txBody>
      </p:sp>
      <p:sp>
        <p:nvSpPr>
          <p:cNvPr id="19" name="Text Placeholder 4">
            <a:extLst>
              <a:ext uri="{FF2B5EF4-FFF2-40B4-BE49-F238E27FC236}">
                <a16:creationId xmlns:a16="http://schemas.microsoft.com/office/drawing/2014/main" id="{EA80C96E-3929-4152-AB01-4A8F2872A058}"/>
              </a:ext>
            </a:extLst>
          </p:cNvPr>
          <p:cNvSpPr>
            <a:spLocks noGrp="1"/>
          </p:cNvSpPr>
          <p:nvPr>
            <p:ph type="body" sz="quarter" idx="22" hasCustomPrompt="1"/>
          </p:nvPr>
        </p:nvSpPr>
        <p:spPr bwMode="gray">
          <a:xfrm>
            <a:off x="303547" y="556610"/>
            <a:ext cx="11436096" cy="580529"/>
          </a:xfrm>
        </p:spPr>
        <p:txBody>
          <a:bodyPr/>
          <a:lstStyle>
            <a:lvl1pPr marL="0" indent="0">
              <a:buNone/>
              <a:defRPr sz="2133">
                <a:solidFill>
                  <a:srgbClr val="0596FF"/>
                </a:solidFill>
                <a:latin typeface="+mj-lt"/>
              </a:defRPr>
            </a:lvl1pPr>
          </a:lstStyle>
          <a:p>
            <a:pPr lvl="0"/>
            <a:r>
              <a:rPr lang="en-US"/>
              <a:t>Subtitle in </a:t>
            </a:r>
            <a:r>
              <a:rPr lang="en-US" err="1"/>
              <a:t>Raleway</a:t>
            </a:r>
            <a:r>
              <a:rPr lang="en-US"/>
              <a:t> </a:t>
            </a:r>
            <a:r>
              <a:rPr lang="en-US" err="1"/>
              <a:t>SemiBold</a:t>
            </a:r>
            <a:r>
              <a:rPr lang="en-US"/>
              <a:t> 16pt</a:t>
            </a:r>
          </a:p>
        </p:txBody>
      </p:sp>
      <p:sp>
        <p:nvSpPr>
          <p:cNvPr id="51" name="Text Placeholder 5">
            <a:extLst>
              <a:ext uri="{FF2B5EF4-FFF2-40B4-BE49-F238E27FC236}">
                <a16:creationId xmlns:a16="http://schemas.microsoft.com/office/drawing/2014/main" id="{1870F207-DAE0-4F9E-BC24-FBAF964B37A7}"/>
              </a:ext>
            </a:extLst>
          </p:cNvPr>
          <p:cNvSpPr>
            <a:spLocks noGrp="1"/>
          </p:cNvSpPr>
          <p:nvPr>
            <p:ph type="body" sz="quarter" idx="13" hasCustomPrompt="1"/>
          </p:nvPr>
        </p:nvSpPr>
        <p:spPr bwMode="gray">
          <a:xfrm>
            <a:off x="427567" y="2039817"/>
            <a:ext cx="3657600" cy="1682496"/>
          </a:xfrm>
        </p:spPr>
        <p:txBody>
          <a:bodyPr lIns="91440" tIns="45720" rIns="91440" bIns="45720" anchor="t"/>
          <a:lstStyle>
            <a:lvl1pPr marL="243834" indent="-243834" algn="l">
              <a:buFont typeface="Arial" panose="020B0604020202020204" pitchFamily="34" charset="0"/>
              <a:buChar char="•"/>
              <a:defRPr sz="1467">
                <a:latin typeface="+mn-lt"/>
              </a:defRPr>
            </a:lvl1pPr>
          </a:lstStyle>
          <a:p>
            <a:pPr lvl="0"/>
            <a:r>
              <a:rPr lang="en-US"/>
              <a:t>Text</a:t>
            </a:r>
          </a:p>
        </p:txBody>
      </p:sp>
      <p:sp>
        <p:nvSpPr>
          <p:cNvPr id="52" name="Text Placeholder 5">
            <a:extLst>
              <a:ext uri="{FF2B5EF4-FFF2-40B4-BE49-F238E27FC236}">
                <a16:creationId xmlns:a16="http://schemas.microsoft.com/office/drawing/2014/main" id="{DB4A13E2-127A-4334-AD45-2634FFD83827}"/>
              </a:ext>
            </a:extLst>
          </p:cNvPr>
          <p:cNvSpPr>
            <a:spLocks noGrp="1"/>
          </p:cNvSpPr>
          <p:nvPr>
            <p:ph type="body" sz="quarter" idx="26" hasCustomPrompt="1"/>
          </p:nvPr>
        </p:nvSpPr>
        <p:spPr bwMode="gray">
          <a:xfrm>
            <a:off x="4254988" y="2039817"/>
            <a:ext cx="3657600" cy="1682496"/>
          </a:xfrm>
        </p:spPr>
        <p:txBody>
          <a:bodyPr lIns="91440" tIns="45720" rIns="91440" bIns="45720" anchor="t"/>
          <a:lstStyle>
            <a:lvl1pPr marL="243834" indent="-243834" algn="l">
              <a:buFont typeface="Arial" panose="020B0604020202020204" pitchFamily="34" charset="0"/>
              <a:buChar char="•"/>
              <a:defRPr sz="1467">
                <a:latin typeface="+mn-lt"/>
              </a:defRPr>
            </a:lvl1pPr>
          </a:lstStyle>
          <a:p>
            <a:pPr lvl="0"/>
            <a:r>
              <a:rPr lang="en-US"/>
              <a:t>Text</a:t>
            </a:r>
          </a:p>
        </p:txBody>
      </p:sp>
      <p:sp>
        <p:nvSpPr>
          <p:cNvPr id="53" name="Text Placeholder 5">
            <a:extLst>
              <a:ext uri="{FF2B5EF4-FFF2-40B4-BE49-F238E27FC236}">
                <a16:creationId xmlns:a16="http://schemas.microsoft.com/office/drawing/2014/main" id="{51A44452-CBAC-4F3B-A256-C86AB53549C3}"/>
              </a:ext>
            </a:extLst>
          </p:cNvPr>
          <p:cNvSpPr>
            <a:spLocks noGrp="1"/>
          </p:cNvSpPr>
          <p:nvPr>
            <p:ph type="body" sz="quarter" idx="28" hasCustomPrompt="1"/>
          </p:nvPr>
        </p:nvSpPr>
        <p:spPr bwMode="gray">
          <a:xfrm>
            <a:off x="8082411" y="2039817"/>
            <a:ext cx="3657600" cy="1682496"/>
          </a:xfrm>
        </p:spPr>
        <p:txBody>
          <a:bodyPr lIns="91440" tIns="45720" rIns="91440" bIns="45720" anchor="t"/>
          <a:lstStyle>
            <a:lvl1pPr marL="243834" indent="-243834" algn="l">
              <a:buFont typeface="Arial" panose="020B0604020202020204" pitchFamily="34" charset="0"/>
              <a:buChar char="•"/>
              <a:defRPr sz="1467">
                <a:latin typeface="+mn-lt"/>
              </a:defRPr>
            </a:lvl1pPr>
          </a:lstStyle>
          <a:p>
            <a:pPr lvl="0"/>
            <a:r>
              <a:rPr lang="en-US"/>
              <a:t>Text</a:t>
            </a:r>
          </a:p>
        </p:txBody>
      </p:sp>
      <p:sp>
        <p:nvSpPr>
          <p:cNvPr id="57" name="Rectangle: Rounded Corners 56">
            <a:extLst>
              <a:ext uri="{FF2B5EF4-FFF2-40B4-BE49-F238E27FC236}">
                <a16:creationId xmlns:a16="http://schemas.microsoft.com/office/drawing/2014/main" id="{439D8311-5867-4392-930D-CDDC27F9CC03}"/>
              </a:ext>
            </a:extLst>
          </p:cNvPr>
          <p:cNvSpPr/>
          <p:nvPr/>
        </p:nvSpPr>
        <p:spPr bwMode="gray">
          <a:xfrm>
            <a:off x="427567" y="3818393"/>
            <a:ext cx="3657600" cy="560832"/>
          </a:xfrm>
          <a:prstGeom prst="roundRect">
            <a:avLst/>
          </a:prstGeom>
          <a:gradFill flip="none" rotWithShape="1">
            <a:gsLst>
              <a:gs pos="0">
                <a:schemeClr val="bg2"/>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867">
              <a:solidFill>
                <a:schemeClr val="accent1"/>
              </a:solidFill>
              <a:latin typeface="+mj-lt"/>
            </a:endParaRPr>
          </a:p>
        </p:txBody>
      </p:sp>
      <p:sp>
        <p:nvSpPr>
          <p:cNvPr id="58" name="Rectangle: Rounded Corners 57">
            <a:extLst>
              <a:ext uri="{FF2B5EF4-FFF2-40B4-BE49-F238E27FC236}">
                <a16:creationId xmlns:a16="http://schemas.microsoft.com/office/drawing/2014/main" id="{841A6125-46B5-4F19-95FE-773C0281ADE4}"/>
              </a:ext>
            </a:extLst>
          </p:cNvPr>
          <p:cNvSpPr/>
          <p:nvPr/>
        </p:nvSpPr>
        <p:spPr bwMode="gray">
          <a:xfrm>
            <a:off x="8082411" y="3818393"/>
            <a:ext cx="3657600" cy="560832"/>
          </a:xfrm>
          <a:prstGeom prst="roundRect">
            <a:avLst/>
          </a:prstGeom>
          <a:gradFill flip="none" rotWithShape="1">
            <a:gsLst>
              <a:gs pos="0">
                <a:schemeClr val="bg2"/>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a:solidFill>
                <a:schemeClr val="accent4"/>
              </a:solidFill>
              <a:latin typeface="+mj-lt"/>
            </a:endParaRPr>
          </a:p>
        </p:txBody>
      </p:sp>
      <p:sp>
        <p:nvSpPr>
          <p:cNvPr id="59" name="Rectangle: Rounded Corners 58">
            <a:extLst>
              <a:ext uri="{FF2B5EF4-FFF2-40B4-BE49-F238E27FC236}">
                <a16:creationId xmlns:a16="http://schemas.microsoft.com/office/drawing/2014/main" id="{C1A3F742-8DE5-4547-B40F-23DB2591AE39}"/>
              </a:ext>
            </a:extLst>
          </p:cNvPr>
          <p:cNvSpPr/>
          <p:nvPr/>
        </p:nvSpPr>
        <p:spPr bwMode="gray">
          <a:xfrm>
            <a:off x="4254989" y="3818393"/>
            <a:ext cx="3657600" cy="560832"/>
          </a:xfrm>
          <a:prstGeom prst="roundRect">
            <a:avLst/>
          </a:prstGeom>
          <a:gradFill flip="none" rotWithShape="1">
            <a:gsLst>
              <a:gs pos="0">
                <a:schemeClr val="bg2"/>
              </a:gs>
              <a:gs pos="37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867">
              <a:solidFill>
                <a:schemeClr val="accent4"/>
              </a:solidFill>
              <a:latin typeface="+mj-lt"/>
            </a:endParaRPr>
          </a:p>
        </p:txBody>
      </p:sp>
      <p:sp>
        <p:nvSpPr>
          <p:cNvPr id="60" name="Text Placeholder 5">
            <a:extLst>
              <a:ext uri="{FF2B5EF4-FFF2-40B4-BE49-F238E27FC236}">
                <a16:creationId xmlns:a16="http://schemas.microsoft.com/office/drawing/2014/main" id="{E4F73AE4-3ACA-46DF-A2F8-51C9D276C6C9}"/>
              </a:ext>
            </a:extLst>
          </p:cNvPr>
          <p:cNvSpPr>
            <a:spLocks noGrp="1"/>
          </p:cNvSpPr>
          <p:nvPr>
            <p:ph type="body" sz="quarter" idx="29" hasCustomPrompt="1"/>
          </p:nvPr>
        </p:nvSpPr>
        <p:spPr bwMode="gray">
          <a:xfrm>
            <a:off x="427567" y="3818393"/>
            <a:ext cx="3657600" cy="560832"/>
          </a:xfrm>
        </p:spPr>
        <p:txBody>
          <a:bodyPr lIns="91440" tIns="45720" rIns="91440" bIns="45720" anchor="ctr"/>
          <a:lstStyle>
            <a:lvl1pPr marL="0" indent="0" algn="l">
              <a:buNone/>
              <a:defRPr sz="1600">
                <a:solidFill>
                  <a:schemeClr val="accent1"/>
                </a:solidFill>
                <a:latin typeface="+mj-lt"/>
              </a:defRPr>
            </a:lvl1pPr>
          </a:lstStyle>
          <a:p>
            <a:pPr lvl="0"/>
            <a:r>
              <a:rPr lang="en-US"/>
              <a:t>Title</a:t>
            </a:r>
          </a:p>
        </p:txBody>
      </p:sp>
      <p:sp>
        <p:nvSpPr>
          <p:cNvPr id="61" name="Text Placeholder 5">
            <a:extLst>
              <a:ext uri="{FF2B5EF4-FFF2-40B4-BE49-F238E27FC236}">
                <a16:creationId xmlns:a16="http://schemas.microsoft.com/office/drawing/2014/main" id="{C9D745B1-AB1E-4086-9CC3-3D525FF05E7C}"/>
              </a:ext>
            </a:extLst>
          </p:cNvPr>
          <p:cNvSpPr>
            <a:spLocks noGrp="1"/>
          </p:cNvSpPr>
          <p:nvPr>
            <p:ph type="body" sz="quarter" idx="30" hasCustomPrompt="1"/>
          </p:nvPr>
        </p:nvSpPr>
        <p:spPr bwMode="gray">
          <a:xfrm>
            <a:off x="4254988" y="3818393"/>
            <a:ext cx="3657600" cy="560832"/>
          </a:xfrm>
        </p:spPr>
        <p:txBody>
          <a:bodyPr lIns="91440" tIns="45720" rIns="91440" bIns="45720" anchor="ctr"/>
          <a:lstStyle>
            <a:lvl1pPr marL="0" indent="0" algn="l">
              <a:buNone/>
              <a:defRPr sz="1600">
                <a:solidFill>
                  <a:schemeClr val="accent1"/>
                </a:solidFill>
                <a:latin typeface="+mj-lt"/>
              </a:defRPr>
            </a:lvl1pPr>
          </a:lstStyle>
          <a:p>
            <a:pPr lvl="0"/>
            <a:r>
              <a:rPr lang="en-US"/>
              <a:t>Title</a:t>
            </a:r>
          </a:p>
        </p:txBody>
      </p:sp>
      <p:sp>
        <p:nvSpPr>
          <p:cNvPr id="62" name="Text Placeholder 5">
            <a:extLst>
              <a:ext uri="{FF2B5EF4-FFF2-40B4-BE49-F238E27FC236}">
                <a16:creationId xmlns:a16="http://schemas.microsoft.com/office/drawing/2014/main" id="{33140BFA-0167-4E3B-9ACB-DF7E0D61B0EA}"/>
              </a:ext>
            </a:extLst>
          </p:cNvPr>
          <p:cNvSpPr>
            <a:spLocks noGrp="1"/>
          </p:cNvSpPr>
          <p:nvPr>
            <p:ph type="body" sz="quarter" idx="31" hasCustomPrompt="1"/>
          </p:nvPr>
        </p:nvSpPr>
        <p:spPr bwMode="gray">
          <a:xfrm>
            <a:off x="8082411" y="3818393"/>
            <a:ext cx="3657600" cy="560832"/>
          </a:xfrm>
        </p:spPr>
        <p:txBody>
          <a:bodyPr lIns="91440" tIns="45720" rIns="91440" bIns="45720" anchor="ctr"/>
          <a:lstStyle>
            <a:lvl1pPr marL="0" indent="0" algn="l">
              <a:buNone/>
              <a:defRPr sz="1600">
                <a:solidFill>
                  <a:schemeClr val="accent1"/>
                </a:solidFill>
                <a:latin typeface="+mj-lt"/>
              </a:defRPr>
            </a:lvl1pPr>
          </a:lstStyle>
          <a:p>
            <a:pPr lvl="0"/>
            <a:r>
              <a:rPr lang="en-US"/>
              <a:t>Title</a:t>
            </a:r>
          </a:p>
        </p:txBody>
      </p:sp>
      <p:sp>
        <p:nvSpPr>
          <p:cNvPr id="63" name="Text Placeholder 5">
            <a:extLst>
              <a:ext uri="{FF2B5EF4-FFF2-40B4-BE49-F238E27FC236}">
                <a16:creationId xmlns:a16="http://schemas.microsoft.com/office/drawing/2014/main" id="{25151AA9-F1AE-42EA-81BD-CE6A771801E4}"/>
              </a:ext>
            </a:extLst>
          </p:cNvPr>
          <p:cNvSpPr>
            <a:spLocks noGrp="1"/>
          </p:cNvSpPr>
          <p:nvPr>
            <p:ph type="body" sz="quarter" idx="32" hasCustomPrompt="1"/>
          </p:nvPr>
        </p:nvSpPr>
        <p:spPr bwMode="gray">
          <a:xfrm>
            <a:off x="427567" y="4413504"/>
            <a:ext cx="3657600" cy="1682496"/>
          </a:xfrm>
        </p:spPr>
        <p:txBody>
          <a:bodyPr lIns="91440" tIns="45720" rIns="91440" bIns="45720" anchor="t"/>
          <a:lstStyle>
            <a:lvl1pPr marL="243834" indent="-243834" algn="l">
              <a:buFont typeface="Arial" panose="020B0604020202020204" pitchFamily="34" charset="0"/>
              <a:buChar char="•"/>
              <a:defRPr sz="1467">
                <a:latin typeface="+mn-lt"/>
              </a:defRPr>
            </a:lvl1pPr>
          </a:lstStyle>
          <a:p>
            <a:pPr lvl="0"/>
            <a:r>
              <a:rPr lang="en-US"/>
              <a:t>Text</a:t>
            </a:r>
          </a:p>
        </p:txBody>
      </p:sp>
      <p:sp>
        <p:nvSpPr>
          <p:cNvPr id="64" name="Text Placeholder 5">
            <a:extLst>
              <a:ext uri="{FF2B5EF4-FFF2-40B4-BE49-F238E27FC236}">
                <a16:creationId xmlns:a16="http://schemas.microsoft.com/office/drawing/2014/main" id="{84591BF7-D684-400E-ADB3-8BA8566583A4}"/>
              </a:ext>
            </a:extLst>
          </p:cNvPr>
          <p:cNvSpPr>
            <a:spLocks noGrp="1"/>
          </p:cNvSpPr>
          <p:nvPr>
            <p:ph type="body" sz="quarter" idx="33" hasCustomPrompt="1"/>
          </p:nvPr>
        </p:nvSpPr>
        <p:spPr bwMode="gray">
          <a:xfrm>
            <a:off x="4254988" y="4413504"/>
            <a:ext cx="3657600" cy="1682496"/>
          </a:xfrm>
        </p:spPr>
        <p:txBody>
          <a:bodyPr lIns="91440" tIns="45720" rIns="91440" bIns="45720" anchor="t"/>
          <a:lstStyle>
            <a:lvl1pPr marL="243834" indent="-243834" algn="l">
              <a:buFont typeface="Arial" panose="020B0604020202020204" pitchFamily="34" charset="0"/>
              <a:buChar char="•"/>
              <a:defRPr sz="1467">
                <a:latin typeface="+mn-lt"/>
              </a:defRPr>
            </a:lvl1pPr>
          </a:lstStyle>
          <a:p>
            <a:pPr lvl="0"/>
            <a:r>
              <a:rPr lang="en-US"/>
              <a:t>Text</a:t>
            </a:r>
          </a:p>
        </p:txBody>
      </p:sp>
      <p:sp>
        <p:nvSpPr>
          <p:cNvPr id="65" name="Text Placeholder 5">
            <a:extLst>
              <a:ext uri="{FF2B5EF4-FFF2-40B4-BE49-F238E27FC236}">
                <a16:creationId xmlns:a16="http://schemas.microsoft.com/office/drawing/2014/main" id="{0621D659-92B1-4C6E-BA9E-340B7DE5A15D}"/>
              </a:ext>
            </a:extLst>
          </p:cNvPr>
          <p:cNvSpPr>
            <a:spLocks noGrp="1"/>
          </p:cNvSpPr>
          <p:nvPr>
            <p:ph type="body" sz="quarter" idx="34" hasCustomPrompt="1"/>
          </p:nvPr>
        </p:nvSpPr>
        <p:spPr bwMode="gray">
          <a:xfrm>
            <a:off x="8082411" y="4413504"/>
            <a:ext cx="3657600" cy="1682496"/>
          </a:xfrm>
        </p:spPr>
        <p:txBody>
          <a:bodyPr lIns="91440" tIns="45720" rIns="91440" bIns="45720" anchor="t"/>
          <a:lstStyle>
            <a:lvl1pPr marL="243834" indent="-243834" algn="l">
              <a:buFont typeface="Arial" panose="020B0604020202020204" pitchFamily="34" charset="0"/>
              <a:buChar char="•"/>
              <a:defRPr sz="1467">
                <a:latin typeface="+mn-lt"/>
              </a:defRPr>
            </a:lvl1pPr>
          </a:lstStyle>
          <a:p>
            <a:pPr lvl="0"/>
            <a:r>
              <a:rPr lang="en-US"/>
              <a:t>Text</a:t>
            </a:r>
          </a:p>
        </p:txBody>
      </p:sp>
    </p:spTree>
    <p:extLst>
      <p:ext uri="{BB962C8B-B14F-4D97-AF65-F5344CB8AC3E}">
        <p14:creationId xmlns:p14="http://schemas.microsoft.com/office/powerpoint/2010/main" val="185172354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hree column title">
    <p:spTree>
      <p:nvGrpSpPr>
        <p:cNvPr id="1" name=""/>
        <p:cNvGrpSpPr/>
        <p:nvPr/>
      </p:nvGrpSpPr>
      <p:grpSpPr>
        <a:xfrm>
          <a:off x="0" y="0"/>
          <a:ext cx="0" cy="0"/>
          <a:chOff x="0" y="0"/>
          <a:chExt cx="0" cy="0"/>
        </a:xfrm>
      </p:grpSpPr>
      <p:sp>
        <p:nvSpPr>
          <p:cNvPr id="27" name="Text Placeholder 5">
            <a:extLst>
              <a:ext uri="{FF2B5EF4-FFF2-40B4-BE49-F238E27FC236}">
                <a16:creationId xmlns:a16="http://schemas.microsoft.com/office/drawing/2014/main" id="{A99F561A-3D04-4AD1-B624-3E5304B57315}"/>
              </a:ext>
            </a:extLst>
          </p:cNvPr>
          <p:cNvSpPr>
            <a:spLocks noGrp="1"/>
          </p:cNvSpPr>
          <p:nvPr>
            <p:ph type="body" sz="quarter" idx="23" hasCustomPrompt="1"/>
          </p:nvPr>
        </p:nvSpPr>
        <p:spPr bwMode="gray">
          <a:xfrm>
            <a:off x="427567" y="1432984"/>
            <a:ext cx="3657600" cy="512064"/>
          </a:xfrm>
        </p:spPr>
        <p:txBody>
          <a:bodyPr lIns="0" tIns="0" rIns="0" bIns="0" anchor="ctr" anchorCtr="0"/>
          <a:lstStyle>
            <a:lvl1pPr marL="0" indent="0" algn="l">
              <a:buNone/>
              <a:defRPr sz="1867">
                <a:solidFill>
                  <a:schemeClr val="accent1"/>
                </a:solidFill>
                <a:latin typeface="+mj-lt"/>
              </a:defRPr>
            </a:lvl1pPr>
          </a:lstStyle>
          <a:p>
            <a:pPr lvl="0"/>
            <a:r>
              <a:rPr lang="en-US"/>
              <a:t>Title</a:t>
            </a:r>
          </a:p>
        </p:txBody>
      </p:sp>
      <p:sp>
        <p:nvSpPr>
          <p:cNvPr id="47" name="Text Placeholder 5">
            <a:extLst>
              <a:ext uri="{FF2B5EF4-FFF2-40B4-BE49-F238E27FC236}">
                <a16:creationId xmlns:a16="http://schemas.microsoft.com/office/drawing/2014/main" id="{B8813ED6-0387-4311-86DE-6EE0C77DE451}"/>
              </a:ext>
            </a:extLst>
          </p:cNvPr>
          <p:cNvSpPr>
            <a:spLocks noGrp="1"/>
          </p:cNvSpPr>
          <p:nvPr>
            <p:ph type="body" sz="quarter" idx="24" hasCustomPrompt="1"/>
          </p:nvPr>
        </p:nvSpPr>
        <p:spPr bwMode="gray">
          <a:xfrm>
            <a:off x="4254988" y="1432984"/>
            <a:ext cx="3657600" cy="512064"/>
          </a:xfrm>
        </p:spPr>
        <p:txBody>
          <a:bodyPr lIns="0" tIns="0" rIns="0" bIns="0" anchor="ctr" anchorCtr="0"/>
          <a:lstStyle>
            <a:lvl1pPr marL="0" indent="0" algn="l">
              <a:buNone/>
              <a:defRPr sz="1867">
                <a:solidFill>
                  <a:schemeClr val="accent1"/>
                </a:solidFill>
                <a:latin typeface="+mj-lt"/>
              </a:defRPr>
            </a:lvl1pPr>
          </a:lstStyle>
          <a:p>
            <a:pPr lvl="0"/>
            <a:r>
              <a:rPr lang="en-US"/>
              <a:t>Title</a:t>
            </a:r>
          </a:p>
        </p:txBody>
      </p:sp>
      <p:sp>
        <p:nvSpPr>
          <p:cNvPr id="48" name="Text Placeholder 5">
            <a:extLst>
              <a:ext uri="{FF2B5EF4-FFF2-40B4-BE49-F238E27FC236}">
                <a16:creationId xmlns:a16="http://schemas.microsoft.com/office/drawing/2014/main" id="{4B248BA4-415C-4ED3-98C5-1C2FF0B2717C}"/>
              </a:ext>
            </a:extLst>
          </p:cNvPr>
          <p:cNvSpPr>
            <a:spLocks noGrp="1"/>
          </p:cNvSpPr>
          <p:nvPr>
            <p:ph type="body" sz="quarter" idx="25" hasCustomPrompt="1"/>
          </p:nvPr>
        </p:nvSpPr>
        <p:spPr bwMode="gray">
          <a:xfrm>
            <a:off x="8082411" y="1432984"/>
            <a:ext cx="3657600" cy="512064"/>
          </a:xfrm>
        </p:spPr>
        <p:txBody>
          <a:bodyPr lIns="0" tIns="0" rIns="0" bIns="0" anchor="ctr" anchorCtr="0"/>
          <a:lstStyle>
            <a:lvl1pPr marL="0" indent="0" algn="l">
              <a:buNone/>
              <a:defRPr sz="1867">
                <a:solidFill>
                  <a:schemeClr val="accent1"/>
                </a:solidFill>
                <a:latin typeface="+mj-lt"/>
              </a:defRPr>
            </a:lvl1pPr>
          </a:lstStyle>
          <a:p>
            <a:pPr lvl="0"/>
            <a:r>
              <a:rPr lang="en-US"/>
              <a:t>Title</a:t>
            </a:r>
          </a:p>
        </p:txBody>
      </p: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gray">
          <a:xfrm>
            <a:off x="303548" y="164637"/>
            <a:ext cx="11436096" cy="975360"/>
          </a:xfrm>
        </p:spPr>
        <p:txBody>
          <a:bodyPr/>
          <a:lstStyle/>
          <a:p>
            <a:r>
              <a:rPr lang="en-US"/>
              <a:t>Title in </a:t>
            </a:r>
            <a:r>
              <a:rPr lang="en-US" err="1"/>
              <a:t>Raleway</a:t>
            </a:r>
            <a:r>
              <a:rPr lang="en-US"/>
              <a:t> </a:t>
            </a:r>
            <a:r>
              <a:rPr lang="en-US" err="1"/>
              <a:t>SemiBold</a:t>
            </a:r>
            <a:r>
              <a:rPr lang="en-US"/>
              <a:t> 20pt</a:t>
            </a:r>
          </a:p>
        </p:txBody>
      </p:sp>
      <p:sp>
        <p:nvSpPr>
          <p:cNvPr id="19" name="Text Placeholder 4">
            <a:extLst>
              <a:ext uri="{FF2B5EF4-FFF2-40B4-BE49-F238E27FC236}">
                <a16:creationId xmlns:a16="http://schemas.microsoft.com/office/drawing/2014/main" id="{EA80C96E-3929-4152-AB01-4A8F2872A058}"/>
              </a:ext>
            </a:extLst>
          </p:cNvPr>
          <p:cNvSpPr>
            <a:spLocks noGrp="1"/>
          </p:cNvSpPr>
          <p:nvPr>
            <p:ph type="body" sz="quarter" idx="22" hasCustomPrompt="1"/>
          </p:nvPr>
        </p:nvSpPr>
        <p:spPr bwMode="gray">
          <a:xfrm>
            <a:off x="303547" y="556610"/>
            <a:ext cx="11436096" cy="580529"/>
          </a:xfrm>
        </p:spPr>
        <p:txBody>
          <a:bodyPr/>
          <a:lstStyle>
            <a:lvl1pPr marL="0" indent="0">
              <a:buNone/>
              <a:defRPr sz="2133">
                <a:solidFill>
                  <a:srgbClr val="0596FF"/>
                </a:solidFill>
                <a:latin typeface="+mj-lt"/>
              </a:defRPr>
            </a:lvl1pPr>
          </a:lstStyle>
          <a:p>
            <a:pPr lvl="0"/>
            <a:r>
              <a:rPr lang="en-US"/>
              <a:t>Subtitle in </a:t>
            </a:r>
            <a:r>
              <a:rPr lang="en-US" err="1"/>
              <a:t>Raleway</a:t>
            </a:r>
            <a:r>
              <a:rPr lang="en-US"/>
              <a:t> </a:t>
            </a:r>
            <a:r>
              <a:rPr lang="en-US" err="1"/>
              <a:t>SemiBold</a:t>
            </a:r>
            <a:r>
              <a:rPr lang="en-US"/>
              <a:t> 16pt</a:t>
            </a:r>
          </a:p>
        </p:txBody>
      </p:sp>
      <p:sp>
        <p:nvSpPr>
          <p:cNvPr id="51" name="Text Placeholder 5">
            <a:extLst>
              <a:ext uri="{FF2B5EF4-FFF2-40B4-BE49-F238E27FC236}">
                <a16:creationId xmlns:a16="http://schemas.microsoft.com/office/drawing/2014/main" id="{1870F207-DAE0-4F9E-BC24-FBAF964B37A7}"/>
              </a:ext>
            </a:extLst>
          </p:cNvPr>
          <p:cNvSpPr>
            <a:spLocks noGrp="1"/>
          </p:cNvSpPr>
          <p:nvPr>
            <p:ph type="body" sz="quarter" idx="13" hasCustomPrompt="1"/>
          </p:nvPr>
        </p:nvSpPr>
        <p:spPr bwMode="gray">
          <a:xfrm>
            <a:off x="427567" y="2133597"/>
            <a:ext cx="3657600" cy="3962400"/>
          </a:xfrm>
        </p:spPr>
        <p:txBody>
          <a:bodyPr lIns="0" tIns="0" rIns="0" bIns="0" anchor="t" anchorCtr="0"/>
          <a:lstStyle>
            <a:lvl1pPr marL="243834" indent="-243834" algn="l">
              <a:buFont typeface="Arial" panose="020B0604020202020204" pitchFamily="34" charset="0"/>
              <a:buChar char="•"/>
              <a:defRPr sz="1600">
                <a:latin typeface="+mn-lt"/>
              </a:defRPr>
            </a:lvl1pPr>
          </a:lstStyle>
          <a:p>
            <a:pPr lvl="0"/>
            <a:r>
              <a:rPr lang="en-US"/>
              <a:t>Text</a:t>
            </a:r>
          </a:p>
        </p:txBody>
      </p:sp>
      <p:sp>
        <p:nvSpPr>
          <p:cNvPr id="52" name="Text Placeholder 5">
            <a:extLst>
              <a:ext uri="{FF2B5EF4-FFF2-40B4-BE49-F238E27FC236}">
                <a16:creationId xmlns:a16="http://schemas.microsoft.com/office/drawing/2014/main" id="{DB4A13E2-127A-4334-AD45-2634FFD83827}"/>
              </a:ext>
            </a:extLst>
          </p:cNvPr>
          <p:cNvSpPr>
            <a:spLocks noGrp="1"/>
          </p:cNvSpPr>
          <p:nvPr>
            <p:ph type="body" sz="quarter" idx="26" hasCustomPrompt="1"/>
          </p:nvPr>
        </p:nvSpPr>
        <p:spPr bwMode="gray">
          <a:xfrm>
            <a:off x="4254988" y="2133597"/>
            <a:ext cx="3657600" cy="3962400"/>
          </a:xfrm>
        </p:spPr>
        <p:txBody>
          <a:bodyPr lIns="0" tIns="0" rIns="0" bIns="0" anchor="t" anchorCtr="0"/>
          <a:lstStyle>
            <a:lvl1pPr marL="243834" indent="-243834" algn="l">
              <a:buFont typeface="Arial" panose="020B0604020202020204" pitchFamily="34" charset="0"/>
              <a:buChar char="•"/>
              <a:defRPr sz="1600">
                <a:latin typeface="+mn-lt"/>
              </a:defRPr>
            </a:lvl1pPr>
          </a:lstStyle>
          <a:p>
            <a:pPr lvl="0"/>
            <a:r>
              <a:rPr lang="en-US"/>
              <a:t>Text</a:t>
            </a:r>
          </a:p>
        </p:txBody>
      </p:sp>
      <p:sp>
        <p:nvSpPr>
          <p:cNvPr id="53" name="Text Placeholder 5">
            <a:extLst>
              <a:ext uri="{FF2B5EF4-FFF2-40B4-BE49-F238E27FC236}">
                <a16:creationId xmlns:a16="http://schemas.microsoft.com/office/drawing/2014/main" id="{51A44452-CBAC-4F3B-A256-C86AB53549C3}"/>
              </a:ext>
            </a:extLst>
          </p:cNvPr>
          <p:cNvSpPr>
            <a:spLocks noGrp="1"/>
          </p:cNvSpPr>
          <p:nvPr>
            <p:ph type="body" sz="quarter" idx="28" hasCustomPrompt="1"/>
          </p:nvPr>
        </p:nvSpPr>
        <p:spPr bwMode="gray">
          <a:xfrm>
            <a:off x="8082411" y="2133597"/>
            <a:ext cx="3657600" cy="3962400"/>
          </a:xfrm>
        </p:spPr>
        <p:txBody>
          <a:bodyPr lIns="0" tIns="0" rIns="0" bIns="0" anchor="t" anchorCtr="0"/>
          <a:lstStyle>
            <a:lvl1pPr marL="243834" indent="-243834" algn="l">
              <a:buFont typeface="Arial" panose="020B0604020202020204" pitchFamily="34" charset="0"/>
              <a:buChar char="•"/>
              <a:defRPr sz="1600">
                <a:latin typeface="+mn-lt"/>
              </a:defRPr>
            </a:lvl1pPr>
          </a:lstStyle>
          <a:p>
            <a:pPr lvl="0"/>
            <a:r>
              <a:rPr lang="en-US"/>
              <a:t>Text</a:t>
            </a:r>
          </a:p>
        </p:txBody>
      </p:sp>
      <p:cxnSp>
        <p:nvCxnSpPr>
          <p:cNvPr id="22" name="Straight Connector 21">
            <a:extLst>
              <a:ext uri="{FF2B5EF4-FFF2-40B4-BE49-F238E27FC236}">
                <a16:creationId xmlns:a16="http://schemas.microsoft.com/office/drawing/2014/main" id="{C965112B-F066-4167-AA5D-CEB0B5B9A4A3}"/>
              </a:ext>
            </a:extLst>
          </p:cNvPr>
          <p:cNvCxnSpPr/>
          <p:nvPr/>
        </p:nvCxnSpPr>
        <p:spPr bwMode="gray">
          <a:xfrm>
            <a:off x="427567" y="2039323"/>
            <a:ext cx="3657599" cy="0"/>
          </a:xfrm>
          <a:prstGeom prst="line">
            <a:avLst/>
          </a:prstGeom>
          <a:ln>
            <a:gradFill flip="none" rotWithShape="1">
              <a:gsLst>
                <a:gs pos="50000">
                  <a:schemeClr val="accent1"/>
                </a:gs>
                <a:gs pos="100000">
                  <a:schemeClr val="accent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7D21243-3478-49BC-8C0E-62AF89B2F788}"/>
              </a:ext>
            </a:extLst>
          </p:cNvPr>
          <p:cNvCxnSpPr/>
          <p:nvPr/>
        </p:nvCxnSpPr>
        <p:spPr bwMode="gray">
          <a:xfrm>
            <a:off x="4254989" y="2039323"/>
            <a:ext cx="3657599" cy="0"/>
          </a:xfrm>
          <a:prstGeom prst="line">
            <a:avLst/>
          </a:prstGeom>
          <a:ln>
            <a:gradFill flip="none" rotWithShape="1">
              <a:gsLst>
                <a:gs pos="50000">
                  <a:schemeClr val="accent1"/>
                </a:gs>
                <a:gs pos="100000">
                  <a:schemeClr val="accent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3C89826-6E78-4C61-BAD8-BA75866F53A0}"/>
              </a:ext>
            </a:extLst>
          </p:cNvPr>
          <p:cNvCxnSpPr/>
          <p:nvPr/>
        </p:nvCxnSpPr>
        <p:spPr bwMode="gray">
          <a:xfrm>
            <a:off x="8082411" y="2039323"/>
            <a:ext cx="3657599" cy="0"/>
          </a:xfrm>
          <a:prstGeom prst="line">
            <a:avLst/>
          </a:prstGeom>
          <a:ln>
            <a:gradFill flip="none" rotWithShape="1">
              <a:gsLst>
                <a:gs pos="50000">
                  <a:schemeClr val="accent1"/>
                </a:gs>
                <a:gs pos="100000">
                  <a:schemeClr val="accent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5399790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Key highlight">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7A4FA160-A88D-4C57-9737-BA9733A36AAD}"/>
              </a:ext>
            </a:extLst>
          </p:cNvPr>
          <p:cNvSpPr/>
          <p:nvPr/>
        </p:nvSpPr>
        <p:spPr bwMode="gray">
          <a:xfrm>
            <a:off x="420077" y="1432984"/>
            <a:ext cx="2865120" cy="4663016"/>
          </a:xfrm>
          <a:prstGeom prst="rect">
            <a:avLst/>
          </a:prstGeom>
          <a:gradFill flip="none" rotWithShape="1">
            <a:gsLst>
              <a:gs pos="0">
                <a:schemeClr val="accent1"/>
              </a:gs>
              <a:gs pos="100000">
                <a:schemeClr val="accent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tIns="121920" rtlCol="0" anchor="t"/>
          <a:lstStyle/>
          <a:p>
            <a:endParaRPr lang="en-IN" sz="2400">
              <a:solidFill>
                <a:schemeClr val="tx1"/>
              </a:solidFill>
              <a:latin typeface="+mj-lt"/>
            </a:endParaRPr>
          </a:p>
        </p:txBody>
      </p: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gray">
          <a:xfrm>
            <a:off x="303548" y="164637"/>
            <a:ext cx="11436096" cy="975360"/>
          </a:xfrm>
        </p:spPr>
        <p:txBody>
          <a:bodyPr/>
          <a:lstStyle/>
          <a:p>
            <a:r>
              <a:rPr lang="en-US"/>
              <a:t>Title in </a:t>
            </a:r>
            <a:r>
              <a:rPr lang="en-US" err="1"/>
              <a:t>Raleway</a:t>
            </a:r>
            <a:r>
              <a:rPr lang="en-US"/>
              <a:t> </a:t>
            </a:r>
            <a:r>
              <a:rPr lang="en-US" err="1"/>
              <a:t>SemiBold</a:t>
            </a:r>
            <a:r>
              <a:rPr lang="en-US"/>
              <a:t> 20pt</a:t>
            </a:r>
          </a:p>
        </p:txBody>
      </p:sp>
      <p:sp>
        <p:nvSpPr>
          <p:cNvPr id="19" name="Text Placeholder 4">
            <a:extLst>
              <a:ext uri="{FF2B5EF4-FFF2-40B4-BE49-F238E27FC236}">
                <a16:creationId xmlns:a16="http://schemas.microsoft.com/office/drawing/2014/main" id="{EA80C96E-3929-4152-AB01-4A8F2872A058}"/>
              </a:ext>
            </a:extLst>
          </p:cNvPr>
          <p:cNvSpPr>
            <a:spLocks noGrp="1"/>
          </p:cNvSpPr>
          <p:nvPr>
            <p:ph type="body" sz="quarter" idx="22" hasCustomPrompt="1"/>
          </p:nvPr>
        </p:nvSpPr>
        <p:spPr bwMode="gray">
          <a:xfrm>
            <a:off x="303547" y="556610"/>
            <a:ext cx="11436096" cy="580529"/>
          </a:xfrm>
        </p:spPr>
        <p:txBody>
          <a:bodyPr/>
          <a:lstStyle>
            <a:lvl1pPr marL="0" indent="0">
              <a:buNone/>
              <a:defRPr sz="2133">
                <a:solidFill>
                  <a:srgbClr val="0596FF"/>
                </a:solidFill>
                <a:latin typeface="+mj-lt"/>
              </a:defRPr>
            </a:lvl1pPr>
          </a:lstStyle>
          <a:p>
            <a:pPr lvl="0"/>
            <a:r>
              <a:rPr lang="en-US"/>
              <a:t>Subtitle in </a:t>
            </a:r>
            <a:r>
              <a:rPr lang="en-US" err="1"/>
              <a:t>Raleway</a:t>
            </a:r>
            <a:r>
              <a:rPr lang="en-US"/>
              <a:t> </a:t>
            </a:r>
            <a:r>
              <a:rPr lang="en-US" err="1"/>
              <a:t>SemiBold</a:t>
            </a:r>
            <a:r>
              <a:rPr lang="en-US"/>
              <a:t> 16pt</a:t>
            </a:r>
          </a:p>
        </p:txBody>
      </p:sp>
      <p:sp>
        <p:nvSpPr>
          <p:cNvPr id="51" name="Text Placeholder 5">
            <a:extLst>
              <a:ext uri="{FF2B5EF4-FFF2-40B4-BE49-F238E27FC236}">
                <a16:creationId xmlns:a16="http://schemas.microsoft.com/office/drawing/2014/main" id="{1870F207-DAE0-4F9E-BC24-FBAF964B37A7}"/>
              </a:ext>
            </a:extLst>
          </p:cNvPr>
          <p:cNvSpPr>
            <a:spLocks noGrp="1"/>
          </p:cNvSpPr>
          <p:nvPr>
            <p:ph type="body" sz="quarter" idx="13" hasCustomPrompt="1"/>
          </p:nvPr>
        </p:nvSpPr>
        <p:spPr bwMode="gray">
          <a:xfrm>
            <a:off x="420077" y="1432984"/>
            <a:ext cx="2862384" cy="4657344"/>
          </a:xfrm>
        </p:spPr>
        <p:txBody>
          <a:bodyPr lIns="91440" tIns="45720" rIns="91440" bIns="45720" anchor="t"/>
          <a:lstStyle>
            <a:lvl1pPr marL="0" indent="0" algn="l">
              <a:buFont typeface="Arial" panose="020B0604020202020204" pitchFamily="34" charset="0"/>
              <a:buNone/>
              <a:defRPr sz="2400">
                <a:latin typeface="+mj-lt"/>
              </a:defRPr>
            </a:lvl1pPr>
          </a:lstStyle>
          <a:p>
            <a:pPr lvl="0"/>
            <a:r>
              <a:rPr lang="en-US"/>
              <a:t>Title</a:t>
            </a:r>
          </a:p>
        </p:txBody>
      </p:sp>
      <p:sp>
        <p:nvSpPr>
          <p:cNvPr id="52" name="Text Placeholder 5">
            <a:extLst>
              <a:ext uri="{FF2B5EF4-FFF2-40B4-BE49-F238E27FC236}">
                <a16:creationId xmlns:a16="http://schemas.microsoft.com/office/drawing/2014/main" id="{DB4A13E2-127A-4334-AD45-2634FFD83827}"/>
              </a:ext>
            </a:extLst>
          </p:cNvPr>
          <p:cNvSpPr>
            <a:spLocks noGrp="1"/>
          </p:cNvSpPr>
          <p:nvPr>
            <p:ph type="body" sz="quarter" idx="26" hasCustomPrompt="1"/>
          </p:nvPr>
        </p:nvSpPr>
        <p:spPr bwMode="gray">
          <a:xfrm>
            <a:off x="3588327" y="1432984"/>
            <a:ext cx="8151684" cy="4657344"/>
          </a:xfrm>
        </p:spPr>
        <p:txBody>
          <a:bodyPr lIns="91440" tIns="45720" rIns="91440" bIns="45720" anchor="t"/>
          <a:lstStyle>
            <a:lvl1pPr marL="243834" indent="-243834" algn="l">
              <a:buFont typeface="Arial" panose="020B0604020202020204" pitchFamily="34" charset="0"/>
              <a:buChar char="•"/>
              <a:defRPr sz="1867">
                <a:latin typeface="+mn-lt"/>
              </a:defRPr>
            </a:lvl1pPr>
          </a:lstStyle>
          <a:p>
            <a:pPr lvl="0"/>
            <a:r>
              <a:rPr lang="en-US"/>
              <a:t>Text</a:t>
            </a:r>
          </a:p>
        </p:txBody>
      </p:sp>
    </p:spTree>
    <p:extLst>
      <p:ext uri="{BB962C8B-B14F-4D97-AF65-F5344CB8AC3E}">
        <p14:creationId xmlns:p14="http://schemas.microsoft.com/office/powerpoint/2010/main" val="389077377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ompany profile">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86FE8433-B5FB-4B9E-8DE1-B8B78B4C6F9E}"/>
              </a:ext>
            </a:extLst>
          </p:cNvPr>
          <p:cNvSpPr>
            <a:spLocks noChangeAspect="1"/>
          </p:cNvSpPr>
          <p:nvPr/>
        </p:nvSpPr>
        <p:spPr bwMode="gray">
          <a:xfrm>
            <a:off x="5327200" y="0"/>
            <a:ext cx="6864800" cy="6115352"/>
          </a:xfrm>
          <a:custGeom>
            <a:avLst/>
            <a:gdLst>
              <a:gd name="connsiteX0" fmla="*/ 226716 w 5148600"/>
              <a:gd name="connsiteY0" fmla="*/ 0 h 4586514"/>
              <a:gd name="connsiteX1" fmla="*/ 5148600 w 5148600"/>
              <a:gd name="connsiteY1" fmla="*/ 0 h 4586514"/>
              <a:gd name="connsiteX2" fmla="*/ 5148600 w 5148600"/>
              <a:gd name="connsiteY2" fmla="*/ 4081005 h 4586514"/>
              <a:gd name="connsiteX3" fmla="*/ 4987528 w 5148600"/>
              <a:gd name="connsiteY3" fmla="*/ 4178859 h 4586514"/>
              <a:gd name="connsiteX4" fmla="*/ 3377575 w 5148600"/>
              <a:gd name="connsiteY4" fmla="*/ 4586514 h 4586514"/>
              <a:gd name="connsiteX5" fmla="*/ 0 w 5148600"/>
              <a:gd name="connsiteY5" fmla="*/ 1208939 h 4586514"/>
              <a:gd name="connsiteX6" fmla="*/ 151849 w 5148600"/>
              <a:gd name="connsiteY6" fmla="*/ 204552 h 458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48600" h="4586514">
                <a:moveTo>
                  <a:pt x="226716" y="0"/>
                </a:moveTo>
                <a:lnTo>
                  <a:pt x="5148600" y="0"/>
                </a:lnTo>
                <a:lnTo>
                  <a:pt x="5148600" y="4081005"/>
                </a:lnTo>
                <a:lnTo>
                  <a:pt x="4987528" y="4178859"/>
                </a:lnTo>
                <a:cubicBezTo>
                  <a:pt x="4508948" y="4438839"/>
                  <a:pt x="3960508" y="4586514"/>
                  <a:pt x="3377575" y="4586514"/>
                </a:cubicBezTo>
                <a:cubicBezTo>
                  <a:pt x="1512192" y="4586514"/>
                  <a:pt x="0" y="3074322"/>
                  <a:pt x="0" y="1208939"/>
                </a:cubicBezTo>
                <a:cubicBezTo>
                  <a:pt x="0" y="859180"/>
                  <a:pt x="53163" y="521837"/>
                  <a:pt x="151849" y="204552"/>
                </a:cubicBezTo>
                <a:close/>
              </a:path>
            </a:pathLst>
          </a:custGeom>
          <a:gradFill flip="none" rotWithShape="1">
            <a:gsLst>
              <a:gs pos="49000">
                <a:schemeClr val="accent1">
                  <a:alpha val="30000"/>
                </a:schemeClr>
              </a:gs>
              <a:gs pos="10000">
                <a:schemeClr val="accent1"/>
              </a:gs>
              <a:gs pos="79000">
                <a:schemeClr val="accent1">
                  <a:alpha val="0"/>
                </a:schemeClr>
              </a:gs>
            </a:gsLst>
            <a:lin ang="180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200">
              <a:solidFill>
                <a:schemeClr val="tx1"/>
              </a:solidFill>
              <a:latin typeface="+mj-lt"/>
            </a:endParaRPr>
          </a:p>
        </p:txBody>
      </p: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gray">
          <a:xfrm>
            <a:off x="303548" y="164637"/>
            <a:ext cx="11436096" cy="975360"/>
          </a:xfrm>
        </p:spPr>
        <p:txBody>
          <a:bodyPr/>
          <a:lstStyle/>
          <a:p>
            <a:r>
              <a:rPr lang="en-US"/>
              <a:t>Title in </a:t>
            </a:r>
            <a:r>
              <a:rPr lang="en-US" err="1"/>
              <a:t>Raleway</a:t>
            </a:r>
            <a:r>
              <a:rPr lang="en-US"/>
              <a:t> </a:t>
            </a:r>
            <a:r>
              <a:rPr lang="en-US" err="1"/>
              <a:t>SemiBold</a:t>
            </a:r>
            <a:r>
              <a:rPr lang="en-US"/>
              <a:t> 20pt</a:t>
            </a:r>
          </a:p>
        </p:txBody>
      </p:sp>
      <p:sp>
        <p:nvSpPr>
          <p:cNvPr id="19" name="Text Placeholder 4">
            <a:extLst>
              <a:ext uri="{FF2B5EF4-FFF2-40B4-BE49-F238E27FC236}">
                <a16:creationId xmlns:a16="http://schemas.microsoft.com/office/drawing/2014/main" id="{EA80C96E-3929-4152-AB01-4A8F2872A058}"/>
              </a:ext>
            </a:extLst>
          </p:cNvPr>
          <p:cNvSpPr>
            <a:spLocks noGrp="1"/>
          </p:cNvSpPr>
          <p:nvPr>
            <p:ph type="body" sz="quarter" idx="22" hasCustomPrompt="1"/>
          </p:nvPr>
        </p:nvSpPr>
        <p:spPr bwMode="gray">
          <a:xfrm>
            <a:off x="303547" y="556610"/>
            <a:ext cx="11436096" cy="580529"/>
          </a:xfrm>
        </p:spPr>
        <p:txBody>
          <a:bodyPr/>
          <a:lstStyle>
            <a:lvl1pPr marL="0" indent="0">
              <a:buNone/>
              <a:defRPr sz="2133">
                <a:solidFill>
                  <a:srgbClr val="0596FF"/>
                </a:solidFill>
                <a:latin typeface="+mj-lt"/>
              </a:defRPr>
            </a:lvl1pPr>
          </a:lstStyle>
          <a:p>
            <a:pPr lvl="0"/>
            <a:r>
              <a:rPr lang="en-US"/>
              <a:t>Subtitle in </a:t>
            </a:r>
            <a:r>
              <a:rPr lang="en-US" err="1"/>
              <a:t>Raleway</a:t>
            </a:r>
            <a:r>
              <a:rPr lang="en-US"/>
              <a:t> </a:t>
            </a:r>
            <a:r>
              <a:rPr lang="en-US" err="1"/>
              <a:t>SemiBold</a:t>
            </a:r>
            <a:r>
              <a:rPr lang="en-US"/>
              <a:t> 16pt</a:t>
            </a:r>
          </a:p>
        </p:txBody>
      </p:sp>
      <p:sp>
        <p:nvSpPr>
          <p:cNvPr id="51" name="Text Placeholder 5">
            <a:extLst>
              <a:ext uri="{FF2B5EF4-FFF2-40B4-BE49-F238E27FC236}">
                <a16:creationId xmlns:a16="http://schemas.microsoft.com/office/drawing/2014/main" id="{1870F207-DAE0-4F9E-BC24-FBAF964B37A7}"/>
              </a:ext>
            </a:extLst>
          </p:cNvPr>
          <p:cNvSpPr>
            <a:spLocks noGrp="1"/>
          </p:cNvSpPr>
          <p:nvPr>
            <p:ph type="body" sz="quarter" idx="13" hasCustomPrompt="1"/>
          </p:nvPr>
        </p:nvSpPr>
        <p:spPr bwMode="gray">
          <a:xfrm>
            <a:off x="427567" y="1432984"/>
            <a:ext cx="5852160" cy="4657344"/>
          </a:xfrm>
        </p:spPr>
        <p:txBody>
          <a:bodyPr lIns="0" tIns="0" rIns="0" bIns="0" anchor="t"/>
          <a:lstStyle>
            <a:lvl1pPr marL="0" indent="0" algn="l">
              <a:buFont typeface="Arial" panose="020B0604020202020204" pitchFamily="34" charset="0"/>
              <a:buNone/>
              <a:defRPr sz="2400">
                <a:latin typeface="+mn-lt"/>
              </a:defRPr>
            </a:lvl1pPr>
          </a:lstStyle>
          <a:p>
            <a:pPr lvl="0"/>
            <a:r>
              <a:rPr lang="en-US"/>
              <a:t>Text</a:t>
            </a:r>
          </a:p>
        </p:txBody>
      </p:sp>
      <p:sp>
        <p:nvSpPr>
          <p:cNvPr id="52" name="Text Placeholder 5">
            <a:extLst>
              <a:ext uri="{FF2B5EF4-FFF2-40B4-BE49-F238E27FC236}">
                <a16:creationId xmlns:a16="http://schemas.microsoft.com/office/drawing/2014/main" id="{DB4A13E2-127A-4334-AD45-2634FFD83827}"/>
              </a:ext>
            </a:extLst>
          </p:cNvPr>
          <p:cNvSpPr>
            <a:spLocks noGrp="1"/>
          </p:cNvSpPr>
          <p:nvPr>
            <p:ph type="body" sz="quarter" idx="26" hasCustomPrompt="1"/>
          </p:nvPr>
        </p:nvSpPr>
        <p:spPr bwMode="gray">
          <a:xfrm>
            <a:off x="6471141" y="1432981"/>
            <a:ext cx="5268871" cy="4657344"/>
          </a:xfrm>
        </p:spPr>
        <p:txBody>
          <a:bodyPr lIns="0" tIns="0" rIns="0" bIns="0" anchor="t"/>
          <a:lstStyle>
            <a:lvl1pPr marL="0" indent="0" algn="r">
              <a:buFont typeface="Arial" panose="020B0604020202020204" pitchFamily="34" charset="0"/>
              <a:buNone/>
              <a:defRPr sz="2400">
                <a:latin typeface="+mn-lt"/>
              </a:defRPr>
            </a:lvl1pPr>
          </a:lstStyle>
          <a:p>
            <a:pPr lvl="0"/>
            <a:r>
              <a:rPr lang="en-US"/>
              <a:t>Key highlight points</a:t>
            </a:r>
          </a:p>
        </p:txBody>
      </p:sp>
    </p:spTree>
    <p:extLst>
      <p:ext uri="{BB962C8B-B14F-4D97-AF65-F5344CB8AC3E}">
        <p14:creationId xmlns:p14="http://schemas.microsoft.com/office/powerpoint/2010/main" val="175648367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Simple 4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gray">
          <a:xfrm>
            <a:off x="303548" y="164637"/>
            <a:ext cx="11436096" cy="975360"/>
          </a:xfrm>
        </p:spPr>
        <p:txBody>
          <a:bodyPr/>
          <a:lstStyle/>
          <a:p>
            <a:r>
              <a:rPr lang="en-US"/>
              <a:t>Title in </a:t>
            </a:r>
            <a:r>
              <a:rPr lang="en-US" err="1"/>
              <a:t>Raleway</a:t>
            </a:r>
            <a:r>
              <a:rPr lang="en-US"/>
              <a:t> </a:t>
            </a:r>
            <a:r>
              <a:rPr lang="en-US" err="1"/>
              <a:t>SemiBold</a:t>
            </a:r>
            <a:r>
              <a:rPr lang="en-US"/>
              <a:t> 20pt</a:t>
            </a:r>
          </a:p>
        </p:txBody>
      </p:sp>
      <p:sp>
        <p:nvSpPr>
          <p:cNvPr id="19" name="Text Placeholder 4">
            <a:extLst>
              <a:ext uri="{FF2B5EF4-FFF2-40B4-BE49-F238E27FC236}">
                <a16:creationId xmlns:a16="http://schemas.microsoft.com/office/drawing/2014/main" id="{EA80C96E-3929-4152-AB01-4A8F2872A058}"/>
              </a:ext>
            </a:extLst>
          </p:cNvPr>
          <p:cNvSpPr>
            <a:spLocks noGrp="1"/>
          </p:cNvSpPr>
          <p:nvPr>
            <p:ph type="body" sz="quarter" idx="22" hasCustomPrompt="1"/>
          </p:nvPr>
        </p:nvSpPr>
        <p:spPr bwMode="gray">
          <a:xfrm>
            <a:off x="303547" y="556610"/>
            <a:ext cx="11436096" cy="580529"/>
          </a:xfrm>
        </p:spPr>
        <p:txBody>
          <a:bodyPr/>
          <a:lstStyle>
            <a:lvl1pPr marL="0" indent="0">
              <a:buNone/>
              <a:defRPr sz="2133">
                <a:solidFill>
                  <a:srgbClr val="0596FF"/>
                </a:solidFill>
                <a:latin typeface="+mj-lt"/>
              </a:defRPr>
            </a:lvl1pPr>
          </a:lstStyle>
          <a:p>
            <a:pPr lvl="0"/>
            <a:r>
              <a:rPr lang="en-US"/>
              <a:t>Subtitle in </a:t>
            </a:r>
            <a:r>
              <a:rPr lang="en-US" err="1"/>
              <a:t>Raleway</a:t>
            </a:r>
            <a:r>
              <a:rPr lang="en-US"/>
              <a:t> </a:t>
            </a:r>
            <a:r>
              <a:rPr lang="en-US" err="1"/>
              <a:t>SemiBold</a:t>
            </a:r>
            <a:r>
              <a:rPr lang="en-US"/>
              <a:t> 16pt</a:t>
            </a:r>
          </a:p>
        </p:txBody>
      </p:sp>
      <p:sp>
        <p:nvSpPr>
          <p:cNvPr id="51" name="Text Placeholder 5">
            <a:extLst>
              <a:ext uri="{FF2B5EF4-FFF2-40B4-BE49-F238E27FC236}">
                <a16:creationId xmlns:a16="http://schemas.microsoft.com/office/drawing/2014/main" id="{1870F207-DAE0-4F9E-BC24-FBAF964B37A7}"/>
              </a:ext>
            </a:extLst>
          </p:cNvPr>
          <p:cNvSpPr>
            <a:spLocks noGrp="1"/>
          </p:cNvSpPr>
          <p:nvPr>
            <p:ph type="body" sz="quarter" idx="13" hasCustomPrompt="1"/>
          </p:nvPr>
        </p:nvSpPr>
        <p:spPr bwMode="gray">
          <a:xfrm>
            <a:off x="427567" y="1432984"/>
            <a:ext cx="2633472" cy="4657344"/>
          </a:xfrm>
        </p:spPr>
        <p:txBody>
          <a:bodyPr lIns="0" tIns="0" rIns="0" bIns="0" anchor="t"/>
          <a:lstStyle>
            <a:lvl1pPr marL="243834" indent="-243834" algn="l">
              <a:buFont typeface="Arial" panose="020B0604020202020204" pitchFamily="34" charset="0"/>
              <a:buChar char="•"/>
              <a:defRPr sz="1467">
                <a:latin typeface="+mn-lt"/>
              </a:defRPr>
            </a:lvl1pPr>
          </a:lstStyle>
          <a:p>
            <a:pPr lvl="0"/>
            <a:r>
              <a:rPr lang="en-US"/>
              <a:t>Text</a:t>
            </a:r>
          </a:p>
        </p:txBody>
      </p:sp>
      <p:sp>
        <p:nvSpPr>
          <p:cNvPr id="52" name="Text Placeholder 5">
            <a:extLst>
              <a:ext uri="{FF2B5EF4-FFF2-40B4-BE49-F238E27FC236}">
                <a16:creationId xmlns:a16="http://schemas.microsoft.com/office/drawing/2014/main" id="{DB4A13E2-127A-4334-AD45-2634FFD83827}"/>
              </a:ext>
            </a:extLst>
          </p:cNvPr>
          <p:cNvSpPr>
            <a:spLocks noGrp="1"/>
          </p:cNvSpPr>
          <p:nvPr>
            <p:ph type="body" sz="quarter" idx="26" hasCustomPrompt="1"/>
          </p:nvPr>
        </p:nvSpPr>
        <p:spPr bwMode="gray">
          <a:xfrm>
            <a:off x="3320556" y="1432984"/>
            <a:ext cx="2633472" cy="4657344"/>
          </a:xfrm>
        </p:spPr>
        <p:txBody>
          <a:bodyPr lIns="0" tIns="0" rIns="0" bIns="0" anchor="t"/>
          <a:lstStyle>
            <a:lvl1pPr marL="243834" indent="-243834" algn="l">
              <a:buFont typeface="Arial" panose="020B0604020202020204" pitchFamily="34" charset="0"/>
              <a:buChar char="•"/>
              <a:defRPr sz="1467">
                <a:latin typeface="+mn-lt"/>
              </a:defRPr>
            </a:lvl1pPr>
          </a:lstStyle>
          <a:p>
            <a:pPr lvl="0"/>
            <a:r>
              <a:rPr lang="en-US"/>
              <a:t>Text</a:t>
            </a:r>
          </a:p>
        </p:txBody>
      </p:sp>
      <p:sp>
        <p:nvSpPr>
          <p:cNvPr id="53" name="Text Placeholder 5">
            <a:extLst>
              <a:ext uri="{FF2B5EF4-FFF2-40B4-BE49-F238E27FC236}">
                <a16:creationId xmlns:a16="http://schemas.microsoft.com/office/drawing/2014/main" id="{51A44452-CBAC-4F3B-A256-C86AB53549C3}"/>
              </a:ext>
            </a:extLst>
          </p:cNvPr>
          <p:cNvSpPr>
            <a:spLocks noGrp="1"/>
          </p:cNvSpPr>
          <p:nvPr>
            <p:ph type="body" sz="quarter" idx="28" hasCustomPrompt="1"/>
          </p:nvPr>
        </p:nvSpPr>
        <p:spPr bwMode="gray">
          <a:xfrm>
            <a:off x="9106539" y="1432984"/>
            <a:ext cx="2633472" cy="4657344"/>
          </a:xfrm>
        </p:spPr>
        <p:txBody>
          <a:bodyPr lIns="0" tIns="0" rIns="0" bIns="0" anchor="t"/>
          <a:lstStyle>
            <a:lvl1pPr marL="243834" indent="-243834" algn="l">
              <a:buFont typeface="Arial" panose="020B0604020202020204" pitchFamily="34" charset="0"/>
              <a:buChar char="•"/>
              <a:defRPr sz="1467">
                <a:latin typeface="+mn-lt"/>
              </a:defRPr>
            </a:lvl1pPr>
          </a:lstStyle>
          <a:p>
            <a:pPr lvl="0"/>
            <a:r>
              <a:rPr lang="en-US"/>
              <a:t>Text</a:t>
            </a:r>
          </a:p>
        </p:txBody>
      </p:sp>
      <p:cxnSp>
        <p:nvCxnSpPr>
          <p:cNvPr id="22" name="Straight Connector 21">
            <a:extLst>
              <a:ext uri="{FF2B5EF4-FFF2-40B4-BE49-F238E27FC236}">
                <a16:creationId xmlns:a16="http://schemas.microsoft.com/office/drawing/2014/main" id="{75E64FA6-F473-4A30-B276-B4630E307355}"/>
              </a:ext>
            </a:extLst>
          </p:cNvPr>
          <p:cNvCxnSpPr/>
          <p:nvPr/>
        </p:nvCxnSpPr>
        <p:spPr bwMode="gray">
          <a:xfrm>
            <a:off x="3190797" y="1435101"/>
            <a:ext cx="0" cy="4660900"/>
          </a:xfrm>
          <a:prstGeom prst="line">
            <a:avLst/>
          </a:prstGeom>
          <a:ln>
            <a:gradFill flip="none" rotWithShape="1">
              <a:gsLst>
                <a:gs pos="0">
                  <a:schemeClr val="accent1">
                    <a:alpha val="0"/>
                  </a:schemeClr>
                </a:gs>
                <a:gs pos="50000">
                  <a:schemeClr val="accent1"/>
                </a:gs>
                <a:gs pos="100000">
                  <a:schemeClr val="accent1">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10BBC1D-6A56-4B4D-9FCC-B5FD2DA8FE0A}"/>
              </a:ext>
            </a:extLst>
          </p:cNvPr>
          <p:cNvCxnSpPr/>
          <p:nvPr/>
        </p:nvCxnSpPr>
        <p:spPr bwMode="gray">
          <a:xfrm>
            <a:off x="6083787" y="1435101"/>
            <a:ext cx="0" cy="4660900"/>
          </a:xfrm>
          <a:prstGeom prst="line">
            <a:avLst/>
          </a:prstGeom>
          <a:ln>
            <a:gradFill flip="none" rotWithShape="1">
              <a:gsLst>
                <a:gs pos="0">
                  <a:schemeClr val="accent1">
                    <a:alpha val="0"/>
                  </a:schemeClr>
                </a:gs>
                <a:gs pos="50000">
                  <a:schemeClr val="accent1"/>
                </a:gs>
                <a:gs pos="100000">
                  <a:schemeClr val="accent1">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04C3338C-CABF-4D14-8545-BBD18F911B01}"/>
              </a:ext>
            </a:extLst>
          </p:cNvPr>
          <p:cNvCxnSpPr/>
          <p:nvPr/>
        </p:nvCxnSpPr>
        <p:spPr bwMode="gray">
          <a:xfrm>
            <a:off x="8976777" y="1435101"/>
            <a:ext cx="0" cy="4660900"/>
          </a:xfrm>
          <a:prstGeom prst="line">
            <a:avLst/>
          </a:prstGeom>
          <a:ln>
            <a:gradFill flip="none" rotWithShape="1">
              <a:gsLst>
                <a:gs pos="0">
                  <a:schemeClr val="accent1">
                    <a:alpha val="0"/>
                  </a:schemeClr>
                </a:gs>
                <a:gs pos="50000">
                  <a:schemeClr val="accent1"/>
                </a:gs>
                <a:gs pos="100000">
                  <a:schemeClr val="accent1">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sp>
        <p:nvSpPr>
          <p:cNvPr id="28" name="Text Placeholder 5">
            <a:extLst>
              <a:ext uri="{FF2B5EF4-FFF2-40B4-BE49-F238E27FC236}">
                <a16:creationId xmlns:a16="http://schemas.microsoft.com/office/drawing/2014/main" id="{5656678E-EDE5-4D8F-A429-5F02485F11C7}"/>
              </a:ext>
            </a:extLst>
          </p:cNvPr>
          <p:cNvSpPr>
            <a:spLocks noGrp="1"/>
          </p:cNvSpPr>
          <p:nvPr>
            <p:ph type="body" sz="quarter" idx="30" hasCustomPrompt="1"/>
          </p:nvPr>
        </p:nvSpPr>
        <p:spPr bwMode="gray">
          <a:xfrm>
            <a:off x="6213545" y="1432984"/>
            <a:ext cx="2633472" cy="4657344"/>
          </a:xfrm>
        </p:spPr>
        <p:txBody>
          <a:bodyPr lIns="0" tIns="0" rIns="0" bIns="0" anchor="t"/>
          <a:lstStyle>
            <a:lvl1pPr marL="243834" indent="-243834" algn="l">
              <a:buFont typeface="Arial" panose="020B0604020202020204" pitchFamily="34" charset="0"/>
              <a:buChar char="•"/>
              <a:defRPr sz="1467">
                <a:latin typeface="+mn-lt"/>
              </a:defRPr>
            </a:lvl1pPr>
          </a:lstStyle>
          <a:p>
            <a:pPr lvl="0"/>
            <a:r>
              <a:rPr lang="en-US"/>
              <a:t>Text</a:t>
            </a:r>
          </a:p>
        </p:txBody>
      </p:sp>
    </p:spTree>
    <p:extLst>
      <p:ext uri="{BB962C8B-B14F-4D97-AF65-F5344CB8AC3E}">
        <p14:creationId xmlns:p14="http://schemas.microsoft.com/office/powerpoint/2010/main" val="301848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Number slide #3">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a:t>Click to add chapter title </a:t>
            </a: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968" y="2045253"/>
            <a:ext cx="12240683" cy="2735623"/>
          </a:xfrm>
          <a:prstGeom prst="rect">
            <a:avLst/>
          </a:prstGeom>
        </p:spPr>
      </p:pic>
    </p:spTree>
    <p:extLst>
      <p:ext uri="{BB962C8B-B14F-4D97-AF65-F5344CB8AC3E}">
        <p14:creationId xmlns:p14="http://schemas.microsoft.com/office/powerpoint/2010/main" val="185502626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hree pointers">
    <p:spTree>
      <p:nvGrpSpPr>
        <p:cNvPr id="1" name=""/>
        <p:cNvGrpSpPr/>
        <p:nvPr/>
      </p:nvGrpSpPr>
      <p:grpSpPr>
        <a:xfrm>
          <a:off x="0" y="0"/>
          <a:ext cx="0" cy="0"/>
          <a:chOff x="0" y="0"/>
          <a:chExt cx="0" cy="0"/>
        </a:xfrm>
      </p:grpSpPr>
      <p:sp>
        <p:nvSpPr>
          <p:cNvPr id="22" name="Oval 21">
            <a:extLst>
              <a:ext uri="{FF2B5EF4-FFF2-40B4-BE49-F238E27FC236}">
                <a16:creationId xmlns:a16="http://schemas.microsoft.com/office/drawing/2014/main" id="{EEF578A6-0CF5-4E17-910B-7C67E58AB278}"/>
              </a:ext>
            </a:extLst>
          </p:cNvPr>
          <p:cNvSpPr/>
          <p:nvPr/>
        </p:nvSpPr>
        <p:spPr bwMode="gray">
          <a:xfrm>
            <a:off x="443637" y="1493944"/>
            <a:ext cx="1219200" cy="1219200"/>
          </a:xfrm>
          <a:prstGeom prst="ellipse">
            <a:avLst/>
          </a:prstGeom>
          <a:gradFill flip="none" rotWithShape="1">
            <a:gsLst>
              <a:gs pos="25000">
                <a:schemeClr val="accent1">
                  <a:alpha val="0"/>
                </a:schemeClr>
              </a:gs>
              <a:gs pos="100000">
                <a:schemeClr val="accent1"/>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733">
              <a:solidFill>
                <a:schemeClr val="tx1"/>
              </a:solidFill>
              <a:latin typeface="+mj-lt"/>
            </a:endParaRPr>
          </a:p>
        </p:txBody>
      </p:sp>
      <p:sp>
        <p:nvSpPr>
          <p:cNvPr id="23" name="Oval 22">
            <a:extLst>
              <a:ext uri="{FF2B5EF4-FFF2-40B4-BE49-F238E27FC236}">
                <a16:creationId xmlns:a16="http://schemas.microsoft.com/office/drawing/2014/main" id="{B4A69D49-88CA-4168-827B-076392BB2441}"/>
              </a:ext>
            </a:extLst>
          </p:cNvPr>
          <p:cNvSpPr/>
          <p:nvPr/>
        </p:nvSpPr>
        <p:spPr bwMode="gray">
          <a:xfrm>
            <a:off x="443637" y="3151372"/>
            <a:ext cx="1219200" cy="1219200"/>
          </a:xfrm>
          <a:prstGeom prst="ellipse">
            <a:avLst/>
          </a:prstGeom>
          <a:gradFill flip="none" rotWithShape="1">
            <a:gsLst>
              <a:gs pos="25000">
                <a:schemeClr val="accent2">
                  <a:alpha val="0"/>
                </a:schemeClr>
              </a:gs>
              <a:gs pos="100000">
                <a:schemeClr val="accent2"/>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733">
              <a:solidFill>
                <a:schemeClr val="tx1"/>
              </a:solidFill>
              <a:latin typeface="+mj-lt"/>
            </a:endParaRPr>
          </a:p>
        </p:txBody>
      </p:sp>
      <p:sp>
        <p:nvSpPr>
          <p:cNvPr id="25" name="Oval 24">
            <a:extLst>
              <a:ext uri="{FF2B5EF4-FFF2-40B4-BE49-F238E27FC236}">
                <a16:creationId xmlns:a16="http://schemas.microsoft.com/office/drawing/2014/main" id="{6008EED8-CF13-4BA3-9ABC-B01B8D81F6D5}"/>
              </a:ext>
            </a:extLst>
          </p:cNvPr>
          <p:cNvSpPr/>
          <p:nvPr/>
        </p:nvSpPr>
        <p:spPr bwMode="gray">
          <a:xfrm>
            <a:off x="443637" y="4808800"/>
            <a:ext cx="1219200" cy="1219200"/>
          </a:xfrm>
          <a:prstGeom prst="ellipse">
            <a:avLst/>
          </a:prstGeom>
          <a:gradFill flip="none" rotWithShape="1">
            <a:gsLst>
              <a:gs pos="25000">
                <a:schemeClr val="accent3">
                  <a:alpha val="0"/>
                </a:schemeClr>
              </a:gs>
              <a:gs pos="100000">
                <a:schemeClr val="accent3"/>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733">
              <a:solidFill>
                <a:schemeClr val="tx1"/>
              </a:solidFill>
              <a:latin typeface="+mj-lt"/>
            </a:endParaRPr>
          </a:p>
        </p:txBody>
      </p: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gray">
          <a:xfrm>
            <a:off x="303548" y="164637"/>
            <a:ext cx="11436096" cy="975360"/>
          </a:xfrm>
        </p:spPr>
        <p:txBody>
          <a:bodyPr/>
          <a:lstStyle/>
          <a:p>
            <a:r>
              <a:rPr lang="en-US"/>
              <a:t>Title in </a:t>
            </a:r>
            <a:r>
              <a:rPr lang="en-US" err="1"/>
              <a:t>Raleway</a:t>
            </a:r>
            <a:r>
              <a:rPr lang="en-US"/>
              <a:t> </a:t>
            </a:r>
            <a:r>
              <a:rPr lang="en-US" err="1"/>
              <a:t>SemiBold</a:t>
            </a:r>
            <a:r>
              <a:rPr lang="en-US"/>
              <a:t> 20pt</a:t>
            </a:r>
          </a:p>
        </p:txBody>
      </p:sp>
      <p:sp>
        <p:nvSpPr>
          <p:cNvPr id="19" name="Text Placeholder 4">
            <a:extLst>
              <a:ext uri="{FF2B5EF4-FFF2-40B4-BE49-F238E27FC236}">
                <a16:creationId xmlns:a16="http://schemas.microsoft.com/office/drawing/2014/main" id="{EA80C96E-3929-4152-AB01-4A8F2872A058}"/>
              </a:ext>
            </a:extLst>
          </p:cNvPr>
          <p:cNvSpPr>
            <a:spLocks noGrp="1"/>
          </p:cNvSpPr>
          <p:nvPr>
            <p:ph type="body" sz="quarter" idx="22" hasCustomPrompt="1"/>
          </p:nvPr>
        </p:nvSpPr>
        <p:spPr bwMode="gray">
          <a:xfrm>
            <a:off x="303547" y="556610"/>
            <a:ext cx="11436096" cy="580529"/>
          </a:xfrm>
        </p:spPr>
        <p:txBody>
          <a:bodyPr/>
          <a:lstStyle>
            <a:lvl1pPr marL="0" indent="0">
              <a:buNone/>
              <a:defRPr sz="2133">
                <a:solidFill>
                  <a:srgbClr val="0596FF"/>
                </a:solidFill>
                <a:latin typeface="+mj-lt"/>
              </a:defRPr>
            </a:lvl1pPr>
          </a:lstStyle>
          <a:p>
            <a:pPr lvl="0"/>
            <a:r>
              <a:rPr lang="en-US"/>
              <a:t>Subtitle in </a:t>
            </a:r>
            <a:r>
              <a:rPr lang="en-US" err="1"/>
              <a:t>Raleway</a:t>
            </a:r>
            <a:r>
              <a:rPr lang="en-US"/>
              <a:t> </a:t>
            </a:r>
            <a:r>
              <a:rPr lang="en-US" err="1"/>
              <a:t>SemiBold</a:t>
            </a:r>
            <a:r>
              <a:rPr lang="en-US"/>
              <a:t> 16pt</a:t>
            </a:r>
          </a:p>
        </p:txBody>
      </p:sp>
      <p:sp>
        <p:nvSpPr>
          <p:cNvPr id="51" name="Text Placeholder 5">
            <a:extLst>
              <a:ext uri="{FF2B5EF4-FFF2-40B4-BE49-F238E27FC236}">
                <a16:creationId xmlns:a16="http://schemas.microsoft.com/office/drawing/2014/main" id="{1870F207-DAE0-4F9E-BC24-FBAF964B37A7}"/>
              </a:ext>
            </a:extLst>
          </p:cNvPr>
          <p:cNvSpPr>
            <a:spLocks noGrp="1"/>
          </p:cNvSpPr>
          <p:nvPr>
            <p:ph type="body" sz="quarter" idx="13" hasCustomPrompt="1"/>
          </p:nvPr>
        </p:nvSpPr>
        <p:spPr bwMode="gray">
          <a:xfrm>
            <a:off x="1869500" y="1432984"/>
            <a:ext cx="9875520" cy="1341120"/>
          </a:xfrm>
        </p:spPr>
        <p:txBody>
          <a:bodyPr lIns="0" tIns="0" rIns="0" bIns="0" anchor="ctr"/>
          <a:lstStyle>
            <a:lvl1pPr marL="243834" indent="-243834" algn="l">
              <a:buFont typeface="Arial" panose="020B0604020202020204" pitchFamily="34" charset="0"/>
              <a:buChar char="•"/>
              <a:defRPr sz="1600">
                <a:latin typeface="+mn-lt"/>
              </a:defRPr>
            </a:lvl1pPr>
          </a:lstStyle>
          <a:p>
            <a:pPr lvl="0"/>
            <a:r>
              <a:rPr lang="en-US"/>
              <a:t>Text</a:t>
            </a:r>
          </a:p>
        </p:txBody>
      </p:sp>
      <p:sp>
        <p:nvSpPr>
          <p:cNvPr id="52" name="Text Placeholder 5">
            <a:extLst>
              <a:ext uri="{FF2B5EF4-FFF2-40B4-BE49-F238E27FC236}">
                <a16:creationId xmlns:a16="http://schemas.microsoft.com/office/drawing/2014/main" id="{DB4A13E2-127A-4334-AD45-2634FFD83827}"/>
              </a:ext>
            </a:extLst>
          </p:cNvPr>
          <p:cNvSpPr>
            <a:spLocks noGrp="1"/>
          </p:cNvSpPr>
          <p:nvPr>
            <p:ph type="body" sz="quarter" idx="26" hasCustomPrompt="1"/>
          </p:nvPr>
        </p:nvSpPr>
        <p:spPr bwMode="gray">
          <a:xfrm>
            <a:off x="1869500" y="3090412"/>
            <a:ext cx="9875520" cy="1341120"/>
          </a:xfrm>
        </p:spPr>
        <p:txBody>
          <a:bodyPr lIns="0" tIns="0" rIns="0" bIns="0" anchor="ctr"/>
          <a:lstStyle>
            <a:lvl1pPr marL="243834" indent="-243834" algn="l">
              <a:buFont typeface="Arial" panose="020B0604020202020204" pitchFamily="34" charset="0"/>
              <a:buChar char="•"/>
              <a:defRPr sz="1600">
                <a:latin typeface="+mn-lt"/>
              </a:defRPr>
            </a:lvl1pPr>
          </a:lstStyle>
          <a:p>
            <a:pPr lvl="0"/>
            <a:r>
              <a:rPr lang="en-US"/>
              <a:t>Text</a:t>
            </a:r>
          </a:p>
        </p:txBody>
      </p:sp>
      <p:sp>
        <p:nvSpPr>
          <p:cNvPr id="53" name="Text Placeholder 5">
            <a:extLst>
              <a:ext uri="{FF2B5EF4-FFF2-40B4-BE49-F238E27FC236}">
                <a16:creationId xmlns:a16="http://schemas.microsoft.com/office/drawing/2014/main" id="{51A44452-CBAC-4F3B-A256-C86AB53549C3}"/>
              </a:ext>
            </a:extLst>
          </p:cNvPr>
          <p:cNvSpPr>
            <a:spLocks noGrp="1"/>
          </p:cNvSpPr>
          <p:nvPr>
            <p:ph type="body" sz="quarter" idx="28" hasCustomPrompt="1"/>
          </p:nvPr>
        </p:nvSpPr>
        <p:spPr bwMode="gray">
          <a:xfrm>
            <a:off x="1869500" y="4747840"/>
            <a:ext cx="9875520" cy="1341120"/>
          </a:xfrm>
        </p:spPr>
        <p:txBody>
          <a:bodyPr lIns="0" tIns="0" rIns="0" bIns="0" anchor="ctr"/>
          <a:lstStyle>
            <a:lvl1pPr marL="243834" indent="-243834" algn="l">
              <a:buFont typeface="Arial" panose="020B0604020202020204" pitchFamily="34" charset="0"/>
              <a:buChar char="•"/>
              <a:defRPr sz="1600">
                <a:latin typeface="+mn-lt"/>
              </a:defRPr>
            </a:lvl1pPr>
          </a:lstStyle>
          <a:p>
            <a:pPr lvl="0"/>
            <a:r>
              <a:rPr lang="en-US"/>
              <a:t>Text</a:t>
            </a:r>
          </a:p>
        </p:txBody>
      </p:sp>
      <p:sp>
        <p:nvSpPr>
          <p:cNvPr id="26" name="Text Placeholder 5">
            <a:extLst>
              <a:ext uri="{FF2B5EF4-FFF2-40B4-BE49-F238E27FC236}">
                <a16:creationId xmlns:a16="http://schemas.microsoft.com/office/drawing/2014/main" id="{F80B1E3F-4EBE-460F-9AB0-4C8CFFE5BEDE}"/>
              </a:ext>
            </a:extLst>
          </p:cNvPr>
          <p:cNvSpPr>
            <a:spLocks noGrp="1"/>
          </p:cNvSpPr>
          <p:nvPr>
            <p:ph type="body" sz="quarter" idx="35" hasCustomPrompt="1"/>
          </p:nvPr>
        </p:nvSpPr>
        <p:spPr bwMode="gray">
          <a:xfrm>
            <a:off x="939959" y="1816287"/>
            <a:ext cx="226557" cy="574516"/>
          </a:xfrm>
        </p:spPr>
        <p:txBody>
          <a:bodyPr wrap="none" lIns="0" tIns="0" rIns="0" bIns="0" anchor="ctr">
            <a:spAutoFit/>
          </a:bodyPr>
          <a:lstStyle>
            <a:lvl1pPr marL="0" indent="0" algn="ctr">
              <a:buNone/>
              <a:defRPr sz="3733">
                <a:solidFill>
                  <a:schemeClr val="tx1"/>
                </a:solidFill>
                <a:latin typeface="+mj-lt"/>
              </a:defRPr>
            </a:lvl1pPr>
          </a:lstStyle>
          <a:p>
            <a:pPr lvl="0"/>
            <a:r>
              <a:rPr lang="en-US"/>
              <a:t>1</a:t>
            </a:r>
          </a:p>
        </p:txBody>
      </p:sp>
      <p:sp>
        <p:nvSpPr>
          <p:cNvPr id="28" name="Text Placeholder 5">
            <a:extLst>
              <a:ext uri="{FF2B5EF4-FFF2-40B4-BE49-F238E27FC236}">
                <a16:creationId xmlns:a16="http://schemas.microsoft.com/office/drawing/2014/main" id="{4701CB5E-364C-4C21-BFA4-7310E2F21E11}"/>
              </a:ext>
            </a:extLst>
          </p:cNvPr>
          <p:cNvSpPr>
            <a:spLocks noGrp="1"/>
          </p:cNvSpPr>
          <p:nvPr>
            <p:ph type="body" sz="quarter" idx="36" hasCustomPrompt="1"/>
          </p:nvPr>
        </p:nvSpPr>
        <p:spPr bwMode="gray">
          <a:xfrm>
            <a:off x="921791" y="3473715"/>
            <a:ext cx="262893" cy="574516"/>
          </a:xfrm>
        </p:spPr>
        <p:txBody>
          <a:bodyPr wrap="none" lIns="0" tIns="0" rIns="0" bIns="0" anchor="ctr">
            <a:spAutoFit/>
          </a:bodyPr>
          <a:lstStyle>
            <a:lvl1pPr marL="0" indent="0" algn="ctr">
              <a:buNone/>
              <a:defRPr sz="3733">
                <a:solidFill>
                  <a:schemeClr val="tx1"/>
                </a:solidFill>
                <a:latin typeface="+mj-lt"/>
              </a:defRPr>
            </a:lvl1pPr>
          </a:lstStyle>
          <a:p>
            <a:pPr lvl="0"/>
            <a:r>
              <a:rPr lang="en-US"/>
              <a:t>2</a:t>
            </a:r>
          </a:p>
        </p:txBody>
      </p:sp>
      <p:sp>
        <p:nvSpPr>
          <p:cNvPr id="31" name="Text Placeholder 5">
            <a:extLst>
              <a:ext uri="{FF2B5EF4-FFF2-40B4-BE49-F238E27FC236}">
                <a16:creationId xmlns:a16="http://schemas.microsoft.com/office/drawing/2014/main" id="{5661BFBD-5CAA-4C36-A3D0-3A86A9BCFCD5}"/>
              </a:ext>
            </a:extLst>
          </p:cNvPr>
          <p:cNvSpPr>
            <a:spLocks noGrp="1"/>
          </p:cNvSpPr>
          <p:nvPr>
            <p:ph type="body" sz="quarter" idx="37" hasCustomPrompt="1"/>
          </p:nvPr>
        </p:nvSpPr>
        <p:spPr bwMode="gray">
          <a:xfrm>
            <a:off x="921791" y="5131143"/>
            <a:ext cx="262893" cy="574516"/>
          </a:xfrm>
        </p:spPr>
        <p:txBody>
          <a:bodyPr wrap="none" lIns="0" tIns="0" rIns="0" bIns="0" anchor="ctr">
            <a:spAutoFit/>
          </a:bodyPr>
          <a:lstStyle>
            <a:lvl1pPr marL="0" indent="0" algn="ctr">
              <a:buNone/>
              <a:defRPr sz="3733">
                <a:solidFill>
                  <a:schemeClr val="tx1"/>
                </a:solidFill>
                <a:latin typeface="+mj-lt"/>
              </a:defRPr>
            </a:lvl1pPr>
          </a:lstStyle>
          <a:p>
            <a:pPr lvl="0"/>
            <a:r>
              <a:rPr lang="en-US"/>
              <a:t>3</a:t>
            </a:r>
          </a:p>
        </p:txBody>
      </p:sp>
    </p:spTree>
    <p:extLst>
      <p:ext uri="{BB962C8B-B14F-4D97-AF65-F5344CB8AC3E}">
        <p14:creationId xmlns:p14="http://schemas.microsoft.com/office/powerpoint/2010/main" val="378359893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Four pointers">
    <p:spTree>
      <p:nvGrpSpPr>
        <p:cNvPr id="1" name=""/>
        <p:cNvGrpSpPr/>
        <p:nvPr/>
      </p:nvGrpSpPr>
      <p:grpSpPr>
        <a:xfrm>
          <a:off x="0" y="0"/>
          <a:ext cx="0" cy="0"/>
          <a:chOff x="0" y="0"/>
          <a:chExt cx="0" cy="0"/>
        </a:xfrm>
      </p:grpSpPr>
      <p:sp>
        <p:nvSpPr>
          <p:cNvPr id="22" name="Oval 21">
            <a:extLst>
              <a:ext uri="{FF2B5EF4-FFF2-40B4-BE49-F238E27FC236}">
                <a16:creationId xmlns:a16="http://schemas.microsoft.com/office/drawing/2014/main" id="{EECA5578-48F8-48F0-B63A-6207C42776B7}"/>
              </a:ext>
            </a:extLst>
          </p:cNvPr>
          <p:cNvSpPr/>
          <p:nvPr/>
        </p:nvSpPr>
        <p:spPr bwMode="gray">
          <a:xfrm>
            <a:off x="443637" y="3760765"/>
            <a:ext cx="1219200" cy="1219200"/>
          </a:xfrm>
          <a:prstGeom prst="ellipse">
            <a:avLst/>
          </a:prstGeom>
          <a:gradFill flip="none" rotWithShape="1">
            <a:gsLst>
              <a:gs pos="25000">
                <a:schemeClr val="accent2">
                  <a:alpha val="0"/>
                </a:schemeClr>
              </a:gs>
              <a:gs pos="100000">
                <a:schemeClr val="accent2"/>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733">
              <a:solidFill>
                <a:schemeClr val="tx1"/>
              </a:solidFill>
              <a:latin typeface="+mj-lt"/>
            </a:endParaRPr>
          </a:p>
        </p:txBody>
      </p:sp>
      <p:sp>
        <p:nvSpPr>
          <p:cNvPr id="23" name="Oval 22">
            <a:extLst>
              <a:ext uri="{FF2B5EF4-FFF2-40B4-BE49-F238E27FC236}">
                <a16:creationId xmlns:a16="http://schemas.microsoft.com/office/drawing/2014/main" id="{5A7ECD16-5800-4004-A2E1-80FD33B55E31}"/>
              </a:ext>
            </a:extLst>
          </p:cNvPr>
          <p:cNvSpPr/>
          <p:nvPr/>
        </p:nvSpPr>
        <p:spPr bwMode="gray">
          <a:xfrm>
            <a:off x="6208205" y="3760765"/>
            <a:ext cx="1219200" cy="1219200"/>
          </a:xfrm>
          <a:prstGeom prst="ellipse">
            <a:avLst/>
          </a:prstGeom>
          <a:gradFill flip="none" rotWithShape="1">
            <a:gsLst>
              <a:gs pos="25000">
                <a:schemeClr val="accent4">
                  <a:alpha val="0"/>
                </a:schemeClr>
              </a:gs>
              <a:gs pos="100000">
                <a:schemeClr val="accent4"/>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733">
              <a:solidFill>
                <a:schemeClr val="tx1"/>
              </a:solidFill>
              <a:latin typeface="+mj-lt"/>
            </a:endParaRPr>
          </a:p>
        </p:txBody>
      </p:sp>
      <p:sp>
        <p:nvSpPr>
          <p:cNvPr id="25" name="Oval 24">
            <a:extLst>
              <a:ext uri="{FF2B5EF4-FFF2-40B4-BE49-F238E27FC236}">
                <a16:creationId xmlns:a16="http://schemas.microsoft.com/office/drawing/2014/main" id="{E46CDADF-D8FC-4F51-804A-F053CD8807F3}"/>
              </a:ext>
            </a:extLst>
          </p:cNvPr>
          <p:cNvSpPr/>
          <p:nvPr/>
        </p:nvSpPr>
        <p:spPr bwMode="gray">
          <a:xfrm>
            <a:off x="6208205" y="1292312"/>
            <a:ext cx="1219200" cy="1219200"/>
          </a:xfrm>
          <a:prstGeom prst="ellipse">
            <a:avLst/>
          </a:prstGeom>
          <a:gradFill flip="none" rotWithShape="1">
            <a:gsLst>
              <a:gs pos="25000">
                <a:schemeClr val="accent3">
                  <a:alpha val="0"/>
                </a:schemeClr>
              </a:gs>
              <a:gs pos="100000">
                <a:schemeClr val="accent3"/>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733">
              <a:solidFill>
                <a:schemeClr val="tx1"/>
              </a:solidFill>
              <a:latin typeface="+mj-lt"/>
            </a:endParaRPr>
          </a:p>
        </p:txBody>
      </p:sp>
      <p:sp>
        <p:nvSpPr>
          <p:cNvPr id="26" name="Oval 25">
            <a:extLst>
              <a:ext uri="{FF2B5EF4-FFF2-40B4-BE49-F238E27FC236}">
                <a16:creationId xmlns:a16="http://schemas.microsoft.com/office/drawing/2014/main" id="{9077E065-72E5-4934-9A50-2319553E0BD6}"/>
              </a:ext>
            </a:extLst>
          </p:cNvPr>
          <p:cNvSpPr/>
          <p:nvPr/>
        </p:nvSpPr>
        <p:spPr bwMode="gray">
          <a:xfrm>
            <a:off x="443637" y="1292312"/>
            <a:ext cx="1219200" cy="1219200"/>
          </a:xfrm>
          <a:prstGeom prst="ellipse">
            <a:avLst/>
          </a:prstGeom>
          <a:gradFill flip="none" rotWithShape="1">
            <a:gsLst>
              <a:gs pos="25000">
                <a:schemeClr val="accent1">
                  <a:alpha val="0"/>
                </a:schemeClr>
              </a:gs>
              <a:gs pos="100000">
                <a:schemeClr val="accent1"/>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733">
              <a:solidFill>
                <a:schemeClr val="tx1"/>
              </a:solidFill>
              <a:latin typeface="+mj-lt"/>
            </a:endParaRPr>
          </a:p>
        </p:txBody>
      </p: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gray">
          <a:xfrm>
            <a:off x="303548" y="164637"/>
            <a:ext cx="11436096" cy="975360"/>
          </a:xfrm>
        </p:spPr>
        <p:txBody>
          <a:bodyPr/>
          <a:lstStyle/>
          <a:p>
            <a:r>
              <a:rPr lang="en-US"/>
              <a:t>Title in </a:t>
            </a:r>
            <a:r>
              <a:rPr lang="en-US" err="1"/>
              <a:t>Raleway</a:t>
            </a:r>
            <a:r>
              <a:rPr lang="en-US"/>
              <a:t> </a:t>
            </a:r>
            <a:r>
              <a:rPr lang="en-US" err="1"/>
              <a:t>SemiBold</a:t>
            </a:r>
            <a:r>
              <a:rPr lang="en-US"/>
              <a:t> 20pt</a:t>
            </a:r>
          </a:p>
        </p:txBody>
      </p:sp>
      <p:sp>
        <p:nvSpPr>
          <p:cNvPr id="19" name="Text Placeholder 4">
            <a:extLst>
              <a:ext uri="{FF2B5EF4-FFF2-40B4-BE49-F238E27FC236}">
                <a16:creationId xmlns:a16="http://schemas.microsoft.com/office/drawing/2014/main" id="{EA80C96E-3929-4152-AB01-4A8F2872A058}"/>
              </a:ext>
            </a:extLst>
          </p:cNvPr>
          <p:cNvSpPr>
            <a:spLocks noGrp="1"/>
          </p:cNvSpPr>
          <p:nvPr>
            <p:ph type="body" sz="quarter" idx="22" hasCustomPrompt="1"/>
          </p:nvPr>
        </p:nvSpPr>
        <p:spPr bwMode="gray">
          <a:xfrm>
            <a:off x="303547" y="556610"/>
            <a:ext cx="11436096" cy="580529"/>
          </a:xfrm>
        </p:spPr>
        <p:txBody>
          <a:bodyPr/>
          <a:lstStyle>
            <a:lvl1pPr marL="0" indent="0">
              <a:buNone/>
              <a:defRPr sz="2133">
                <a:solidFill>
                  <a:srgbClr val="0596FF"/>
                </a:solidFill>
                <a:latin typeface="+mj-lt"/>
              </a:defRPr>
            </a:lvl1pPr>
          </a:lstStyle>
          <a:p>
            <a:pPr lvl="0"/>
            <a:r>
              <a:rPr lang="en-US"/>
              <a:t>Subtitle in </a:t>
            </a:r>
            <a:r>
              <a:rPr lang="en-US" err="1"/>
              <a:t>Raleway</a:t>
            </a:r>
            <a:r>
              <a:rPr lang="en-US"/>
              <a:t> </a:t>
            </a:r>
            <a:r>
              <a:rPr lang="en-US" err="1"/>
              <a:t>SemiBold</a:t>
            </a:r>
            <a:r>
              <a:rPr lang="en-US"/>
              <a:t> 16pt</a:t>
            </a:r>
          </a:p>
        </p:txBody>
      </p:sp>
      <p:sp>
        <p:nvSpPr>
          <p:cNvPr id="51" name="Text Placeholder 5">
            <a:extLst>
              <a:ext uri="{FF2B5EF4-FFF2-40B4-BE49-F238E27FC236}">
                <a16:creationId xmlns:a16="http://schemas.microsoft.com/office/drawing/2014/main" id="{1870F207-DAE0-4F9E-BC24-FBAF964B37A7}"/>
              </a:ext>
            </a:extLst>
          </p:cNvPr>
          <p:cNvSpPr>
            <a:spLocks noGrp="1"/>
          </p:cNvSpPr>
          <p:nvPr>
            <p:ph type="body" sz="quarter" idx="13" hasCustomPrompt="1"/>
          </p:nvPr>
        </p:nvSpPr>
        <p:spPr bwMode="gray">
          <a:xfrm>
            <a:off x="1799164" y="1550211"/>
            <a:ext cx="4145280" cy="2072640"/>
          </a:xfrm>
        </p:spPr>
        <p:txBody>
          <a:bodyPr lIns="0" tIns="0" rIns="0" bIns="0" anchor="t"/>
          <a:lstStyle>
            <a:lvl1pPr marL="243834" indent="-243834" algn="l">
              <a:buFont typeface="Arial" panose="020B0604020202020204" pitchFamily="34" charset="0"/>
              <a:buChar char="•"/>
              <a:defRPr sz="1600">
                <a:latin typeface="+mn-lt"/>
              </a:defRPr>
            </a:lvl1pPr>
          </a:lstStyle>
          <a:p>
            <a:pPr lvl="0"/>
            <a:r>
              <a:rPr lang="en-US"/>
              <a:t>Text</a:t>
            </a:r>
          </a:p>
        </p:txBody>
      </p:sp>
      <p:sp>
        <p:nvSpPr>
          <p:cNvPr id="52" name="Text Placeholder 5">
            <a:extLst>
              <a:ext uri="{FF2B5EF4-FFF2-40B4-BE49-F238E27FC236}">
                <a16:creationId xmlns:a16="http://schemas.microsoft.com/office/drawing/2014/main" id="{DB4A13E2-127A-4334-AD45-2634FFD83827}"/>
              </a:ext>
            </a:extLst>
          </p:cNvPr>
          <p:cNvSpPr>
            <a:spLocks noGrp="1"/>
          </p:cNvSpPr>
          <p:nvPr>
            <p:ph type="body" sz="quarter" idx="26" hasCustomPrompt="1"/>
          </p:nvPr>
        </p:nvSpPr>
        <p:spPr bwMode="gray">
          <a:xfrm>
            <a:off x="7590039" y="1550211"/>
            <a:ext cx="4145280" cy="2072640"/>
          </a:xfrm>
        </p:spPr>
        <p:txBody>
          <a:bodyPr lIns="0" tIns="0" rIns="0" bIns="0" anchor="t"/>
          <a:lstStyle>
            <a:lvl1pPr marL="243834" indent="-243834" algn="l">
              <a:buFont typeface="Arial" panose="020B0604020202020204" pitchFamily="34" charset="0"/>
              <a:buChar char="•"/>
              <a:defRPr sz="1600">
                <a:latin typeface="+mn-lt"/>
              </a:defRPr>
            </a:lvl1pPr>
          </a:lstStyle>
          <a:p>
            <a:pPr lvl="0"/>
            <a:r>
              <a:rPr lang="en-US"/>
              <a:t>Text</a:t>
            </a:r>
          </a:p>
        </p:txBody>
      </p:sp>
      <p:sp>
        <p:nvSpPr>
          <p:cNvPr id="63" name="Text Placeholder 5">
            <a:extLst>
              <a:ext uri="{FF2B5EF4-FFF2-40B4-BE49-F238E27FC236}">
                <a16:creationId xmlns:a16="http://schemas.microsoft.com/office/drawing/2014/main" id="{25151AA9-F1AE-42EA-81BD-CE6A771801E4}"/>
              </a:ext>
            </a:extLst>
          </p:cNvPr>
          <p:cNvSpPr>
            <a:spLocks noGrp="1"/>
          </p:cNvSpPr>
          <p:nvPr>
            <p:ph type="body" sz="quarter" idx="32" hasCustomPrompt="1"/>
          </p:nvPr>
        </p:nvSpPr>
        <p:spPr bwMode="gray">
          <a:xfrm>
            <a:off x="1799164" y="4018667"/>
            <a:ext cx="4145280" cy="2072640"/>
          </a:xfrm>
        </p:spPr>
        <p:txBody>
          <a:bodyPr lIns="0" tIns="0" rIns="0" bIns="0" anchor="t"/>
          <a:lstStyle>
            <a:lvl1pPr marL="243834" indent="-243834" algn="l">
              <a:buFont typeface="Arial" panose="020B0604020202020204" pitchFamily="34" charset="0"/>
              <a:buChar char="•"/>
              <a:defRPr sz="1600">
                <a:latin typeface="+mn-lt"/>
              </a:defRPr>
            </a:lvl1pPr>
          </a:lstStyle>
          <a:p>
            <a:pPr lvl="0"/>
            <a:r>
              <a:rPr lang="en-US"/>
              <a:t>Text</a:t>
            </a:r>
          </a:p>
        </p:txBody>
      </p:sp>
      <p:sp>
        <p:nvSpPr>
          <p:cNvPr id="64" name="Text Placeholder 5">
            <a:extLst>
              <a:ext uri="{FF2B5EF4-FFF2-40B4-BE49-F238E27FC236}">
                <a16:creationId xmlns:a16="http://schemas.microsoft.com/office/drawing/2014/main" id="{84591BF7-D684-400E-ADB3-8BA8566583A4}"/>
              </a:ext>
            </a:extLst>
          </p:cNvPr>
          <p:cNvSpPr>
            <a:spLocks noGrp="1"/>
          </p:cNvSpPr>
          <p:nvPr>
            <p:ph type="body" sz="quarter" idx="33" hasCustomPrompt="1"/>
          </p:nvPr>
        </p:nvSpPr>
        <p:spPr bwMode="gray">
          <a:xfrm>
            <a:off x="7590039" y="4018667"/>
            <a:ext cx="4145280" cy="2072640"/>
          </a:xfrm>
        </p:spPr>
        <p:txBody>
          <a:bodyPr lIns="0" tIns="0" rIns="0" bIns="0" anchor="t"/>
          <a:lstStyle>
            <a:lvl1pPr marL="243834" indent="-243834" algn="l">
              <a:buFont typeface="Arial" panose="020B0604020202020204" pitchFamily="34" charset="0"/>
              <a:buChar char="•"/>
              <a:defRPr sz="1600">
                <a:latin typeface="+mn-lt"/>
              </a:defRPr>
            </a:lvl1pPr>
          </a:lstStyle>
          <a:p>
            <a:pPr lvl="0"/>
            <a:r>
              <a:rPr lang="en-US"/>
              <a:t>Text</a:t>
            </a:r>
          </a:p>
        </p:txBody>
      </p:sp>
      <p:sp>
        <p:nvSpPr>
          <p:cNvPr id="28" name="Text Placeholder 5">
            <a:extLst>
              <a:ext uri="{FF2B5EF4-FFF2-40B4-BE49-F238E27FC236}">
                <a16:creationId xmlns:a16="http://schemas.microsoft.com/office/drawing/2014/main" id="{7D219C71-7DFD-48A6-947F-3615F84EA79D}"/>
              </a:ext>
            </a:extLst>
          </p:cNvPr>
          <p:cNvSpPr>
            <a:spLocks noGrp="1"/>
          </p:cNvSpPr>
          <p:nvPr>
            <p:ph type="body" sz="quarter" idx="35" hasCustomPrompt="1"/>
          </p:nvPr>
        </p:nvSpPr>
        <p:spPr bwMode="gray">
          <a:xfrm>
            <a:off x="939959" y="1614655"/>
            <a:ext cx="226557" cy="574516"/>
          </a:xfrm>
        </p:spPr>
        <p:txBody>
          <a:bodyPr wrap="none" lIns="0" tIns="0" rIns="0" bIns="0" anchor="ctr">
            <a:spAutoFit/>
          </a:bodyPr>
          <a:lstStyle>
            <a:lvl1pPr marL="0" indent="0" algn="ctr">
              <a:buNone/>
              <a:defRPr sz="3733">
                <a:solidFill>
                  <a:schemeClr val="tx1"/>
                </a:solidFill>
                <a:latin typeface="+mj-lt"/>
              </a:defRPr>
            </a:lvl1pPr>
          </a:lstStyle>
          <a:p>
            <a:pPr lvl="0"/>
            <a:r>
              <a:rPr lang="en-US"/>
              <a:t>1</a:t>
            </a:r>
          </a:p>
        </p:txBody>
      </p:sp>
      <p:sp>
        <p:nvSpPr>
          <p:cNvPr id="31" name="Text Placeholder 5">
            <a:extLst>
              <a:ext uri="{FF2B5EF4-FFF2-40B4-BE49-F238E27FC236}">
                <a16:creationId xmlns:a16="http://schemas.microsoft.com/office/drawing/2014/main" id="{AFEC8A96-BE1D-46F4-B8D3-623534550827}"/>
              </a:ext>
            </a:extLst>
          </p:cNvPr>
          <p:cNvSpPr>
            <a:spLocks noGrp="1"/>
          </p:cNvSpPr>
          <p:nvPr>
            <p:ph type="body" sz="quarter" idx="36" hasCustomPrompt="1"/>
          </p:nvPr>
        </p:nvSpPr>
        <p:spPr bwMode="gray">
          <a:xfrm>
            <a:off x="921791" y="4083109"/>
            <a:ext cx="262893" cy="574516"/>
          </a:xfrm>
        </p:spPr>
        <p:txBody>
          <a:bodyPr wrap="none" lIns="0" tIns="0" rIns="0" bIns="0" anchor="ctr">
            <a:spAutoFit/>
          </a:bodyPr>
          <a:lstStyle>
            <a:lvl1pPr marL="0" indent="0" algn="ctr">
              <a:buNone/>
              <a:defRPr sz="3733">
                <a:solidFill>
                  <a:schemeClr val="tx1"/>
                </a:solidFill>
                <a:latin typeface="+mj-lt"/>
              </a:defRPr>
            </a:lvl1pPr>
          </a:lstStyle>
          <a:p>
            <a:pPr lvl="0"/>
            <a:r>
              <a:rPr lang="en-US"/>
              <a:t>2</a:t>
            </a:r>
          </a:p>
        </p:txBody>
      </p:sp>
      <p:sp>
        <p:nvSpPr>
          <p:cNvPr id="32" name="Text Placeholder 5">
            <a:extLst>
              <a:ext uri="{FF2B5EF4-FFF2-40B4-BE49-F238E27FC236}">
                <a16:creationId xmlns:a16="http://schemas.microsoft.com/office/drawing/2014/main" id="{AD18C644-4CF1-429A-9B90-F7ED19A34A93}"/>
              </a:ext>
            </a:extLst>
          </p:cNvPr>
          <p:cNvSpPr>
            <a:spLocks noGrp="1"/>
          </p:cNvSpPr>
          <p:nvPr>
            <p:ph type="body" sz="quarter" idx="37" hasCustomPrompt="1"/>
          </p:nvPr>
        </p:nvSpPr>
        <p:spPr bwMode="gray">
          <a:xfrm>
            <a:off x="6686359" y="1614655"/>
            <a:ext cx="262893" cy="574516"/>
          </a:xfrm>
        </p:spPr>
        <p:txBody>
          <a:bodyPr wrap="none" lIns="0" tIns="0" rIns="0" bIns="0" anchor="ctr">
            <a:spAutoFit/>
          </a:bodyPr>
          <a:lstStyle>
            <a:lvl1pPr marL="0" indent="0" algn="ctr">
              <a:buNone/>
              <a:defRPr sz="3733">
                <a:solidFill>
                  <a:schemeClr val="tx1"/>
                </a:solidFill>
                <a:latin typeface="+mj-lt"/>
              </a:defRPr>
            </a:lvl1pPr>
          </a:lstStyle>
          <a:p>
            <a:pPr lvl="0"/>
            <a:r>
              <a:rPr lang="en-US"/>
              <a:t>3</a:t>
            </a:r>
          </a:p>
        </p:txBody>
      </p:sp>
      <p:sp>
        <p:nvSpPr>
          <p:cNvPr id="33" name="Text Placeholder 5">
            <a:extLst>
              <a:ext uri="{FF2B5EF4-FFF2-40B4-BE49-F238E27FC236}">
                <a16:creationId xmlns:a16="http://schemas.microsoft.com/office/drawing/2014/main" id="{77BF248C-7C12-48A0-9663-31D29549B2F1}"/>
              </a:ext>
            </a:extLst>
          </p:cNvPr>
          <p:cNvSpPr>
            <a:spLocks noGrp="1"/>
          </p:cNvSpPr>
          <p:nvPr>
            <p:ph type="body" sz="quarter" idx="38" hasCustomPrompt="1"/>
          </p:nvPr>
        </p:nvSpPr>
        <p:spPr bwMode="gray">
          <a:xfrm>
            <a:off x="6683154" y="4083109"/>
            <a:ext cx="269305" cy="574516"/>
          </a:xfrm>
        </p:spPr>
        <p:txBody>
          <a:bodyPr wrap="none" lIns="0" tIns="0" rIns="0" bIns="0" anchor="ctr">
            <a:spAutoFit/>
          </a:bodyPr>
          <a:lstStyle>
            <a:lvl1pPr marL="0" indent="0" algn="ctr">
              <a:buNone/>
              <a:defRPr sz="3733">
                <a:solidFill>
                  <a:schemeClr val="tx1"/>
                </a:solidFill>
                <a:latin typeface="+mj-lt"/>
              </a:defRPr>
            </a:lvl1pPr>
          </a:lstStyle>
          <a:p>
            <a:pPr lvl="0"/>
            <a:r>
              <a:rPr lang="en-US"/>
              <a:t>4</a:t>
            </a:r>
          </a:p>
        </p:txBody>
      </p:sp>
    </p:spTree>
    <p:extLst>
      <p:ext uri="{BB962C8B-B14F-4D97-AF65-F5344CB8AC3E}">
        <p14:creationId xmlns:p14="http://schemas.microsoft.com/office/powerpoint/2010/main" val="324234940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Four pointers 2">
    <p:spTree>
      <p:nvGrpSpPr>
        <p:cNvPr id="1" name=""/>
        <p:cNvGrpSpPr/>
        <p:nvPr/>
      </p:nvGrpSpPr>
      <p:grpSpPr>
        <a:xfrm>
          <a:off x="0" y="0"/>
          <a:ext cx="0" cy="0"/>
          <a:chOff x="0" y="0"/>
          <a:chExt cx="0" cy="0"/>
        </a:xfrm>
      </p:grpSpPr>
      <p:sp>
        <p:nvSpPr>
          <p:cNvPr id="38" name="Oval 37">
            <a:extLst>
              <a:ext uri="{FF2B5EF4-FFF2-40B4-BE49-F238E27FC236}">
                <a16:creationId xmlns:a16="http://schemas.microsoft.com/office/drawing/2014/main" id="{8B69CA36-CE59-4393-97E4-CD163469E8A7}"/>
              </a:ext>
            </a:extLst>
          </p:cNvPr>
          <p:cNvSpPr/>
          <p:nvPr/>
        </p:nvSpPr>
        <p:spPr bwMode="gray">
          <a:xfrm>
            <a:off x="443638" y="2646503"/>
            <a:ext cx="1038799" cy="1038799"/>
          </a:xfrm>
          <a:prstGeom prst="ellipse">
            <a:avLst/>
          </a:prstGeom>
          <a:gradFill flip="none" rotWithShape="1">
            <a:gsLst>
              <a:gs pos="39800">
                <a:schemeClr val="bg1">
                  <a:alpha val="12000"/>
                </a:schemeClr>
              </a:gs>
              <a:gs pos="0">
                <a:schemeClr val="bg1"/>
              </a:gs>
              <a:gs pos="77000">
                <a:schemeClr val="accent2"/>
              </a:gs>
            </a:gsLst>
            <a:path path="circle">
              <a:fillToRect l="50000" t="50000" r="50000" b="50000"/>
            </a:path>
            <a:tileRect/>
          </a:gra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bIns="182880" rtlCol="0" anchor="ctr"/>
          <a:lstStyle/>
          <a:p>
            <a:pPr algn="ctr"/>
            <a:endParaRPr lang="en-US" sz="3733">
              <a:solidFill>
                <a:schemeClr val="tx1"/>
              </a:solidFill>
              <a:latin typeface="+mj-lt"/>
            </a:endParaRPr>
          </a:p>
        </p:txBody>
      </p:sp>
      <p:sp>
        <p:nvSpPr>
          <p:cNvPr id="39" name="Oval 38">
            <a:extLst>
              <a:ext uri="{FF2B5EF4-FFF2-40B4-BE49-F238E27FC236}">
                <a16:creationId xmlns:a16="http://schemas.microsoft.com/office/drawing/2014/main" id="{99A51914-D29A-48D3-A5EB-AB68A7A3F9D9}"/>
              </a:ext>
            </a:extLst>
          </p:cNvPr>
          <p:cNvSpPr/>
          <p:nvPr/>
        </p:nvSpPr>
        <p:spPr bwMode="gray">
          <a:xfrm>
            <a:off x="443638" y="5057202"/>
            <a:ext cx="1038799" cy="1038799"/>
          </a:xfrm>
          <a:prstGeom prst="ellipse">
            <a:avLst/>
          </a:prstGeom>
          <a:gradFill flip="none" rotWithShape="1">
            <a:gsLst>
              <a:gs pos="39800">
                <a:schemeClr val="bg1">
                  <a:alpha val="12000"/>
                </a:schemeClr>
              </a:gs>
              <a:gs pos="0">
                <a:schemeClr val="bg1"/>
              </a:gs>
              <a:gs pos="77000">
                <a:schemeClr val="accent4"/>
              </a:gs>
            </a:gsLst>
            <a:path path="circle">
              <a:fillToRect l="50000" t="50000" r="50000" b="50000"/>
            </a:path>
            <a:tileRect/>
          </a:gra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bIns="182880" rtlCol="0" anchor="ctr"/>
          <a:lstStyle/>
          <a:p>
            <a:pPr algn="ctr"/>
            <a:endParaRPr lang="en-US" sz="3733">
              <a:solidFill>
                <a:schemeClr val="tx1"/>
              </a:solidFill>
              <a:latin typeface="+mj-lt"/>
            </a:endParaRPr>
          </a:p>
        </p:txBody>
      </p:sp>
      <p:sp>
        <p:nvSpPr>
          <p:cNvPr id="40" name="Oval 39">
            <a:extLst>
              <a:ext uri="{FF2B5EF4-FFF2-40B4-BE49-F238E27FC236}">
                <a16:creationId xmlns:a16="http://schemas.microsoft.com/office/drawing/2014/main" id="{34D19F3C-CD6E-4A54-9827-D89932A9E806}"/>
              </a:ext>
            </a:extLst>
          </p:cNvPr>
          <p:cNvSpPr/>
          <p:nvPr/>
        </p:nvSpPr>
        <p:spPr bwMode="gray">
          <a:xfrm>
            <a:off x="443638" y="3851853"/>
            <a:ext cx="1038799" cy="1038799"/>
          </a:xfrm>
          <a:prstGeom prst="ellipse">
            <a:avLst/>
          </a:prstGeom>
          <a:gradFill flip="none" rotWithShape="1">
            <a:gsLst>
              <a:gs pos="39800">
                <a:schemeClr val="bg1">
                  <a:alpha val="12000"/>
                </a:schemeClr>
              </a:gs>
              <a:gs pos="0">
                <a:schemeClr val="bg1"/>
              </a:gs>
              <a:gs pos="77000">
                <a:schemeClr val="accent3"/>
              </a:gs>
            </a:gsLst>
            <a:path path="circle">
              <a:fillToRect l="50000" t="50000" r="50000" b="50000"/>
            </a:path>
            <a:tileRect/>
          </a:gra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bIns="182880" rtlCol="0" anchor="ctr"/>
          <a:lstStyle/>
          <a:p>
            <a:pPr algn="ctr"/>
            <a:endParaRPr lang="en-US" sz="3733">
              <a:solidFill>
                <a:schemeClr val="tx1"/>
              </a:solidFill>
              <a:latin typeface="+mj-lt"/>
            </a:endParaRPr>
          </a:p>
        </p:txBody>
      </p: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gray">
          <a:xfrm>
            <a:off x="303548" y="164637"/>
            <a:ext cx="11436096" cy="975360"/>
          </a:xfrm>
        </p:spPr>
        <p:txBody>
          <a:bodyPr/>
          <a:lstStyle/>
          <a:p>
            <a:r>
              <a:rPr lang="en-US"/>
              <a:t>Title in </a:t>
            </a:r>
            <a:r>
              <a:rPr lang="en-US" err="1"/>
              <a:t>Raleway</a:t>
            </a:r>
            <a:r>
              <a:rPr lang="en-US"/>
              <a:t> </a:t>
            </a:r>
            <a:r>
              <a:rPr lang="en-US" err="1"/>
              <a:t>SemiBold</a:t>
            </a:r>
            <a:r>
              <a:rPr lang="en-US"/>
              <a:t> 20pt</a:t>
            </a:r>
          </a:p>
        </p:txBody>
      </p:sp>
      <p:sp>
        <p:nvSpPr>
          <p:cNvPr id="19" name="Text Placeholder 4">
            <a:extLst>
              <a:ext uri="{FF2B5EF4-FFF2-40B4-BE49-F238E27FC236}">
                <a16:creationId xmlns:a16="http://schemas.microsoft.com/office/drawing/2014/main" id="{EA80C96E-3929-4152-AB01-4A8F2872A058}"/>
              </a:ext>
            </a:extLst>
          </p:cNvPr>
          <p:cNvSpPr>
            <a:spLocks noGrp="1"/>
          </p:cNvSpPr>
          <p:nvPr>
            <p:ph type="body" sz="quarter" idx="22" hasCustomPrompt="1"/>
          </p:nvPr>
        </p:nvSpPr>
        <p:spPr bwMode="gray">
          <a:xfrm>
            <a:off x="303547" y="556610"/>
            <a:ext cx="11436096" cy="580529"/>
          </a:xfrm>
        </p:spPr>
        <p:txBody>
          <a:bodyPr/>
          <a:lstStyle>
            <a:lvl1pPr marL="0" indent="0">
              <a:buNone/>
              <a:defRPr sz="2133">
                <a:solidFill>
                  <a:srgbClr val="0596FF"/>
                </a:solidFill>
                <a:latin typeface="+mj-lt"/>
              </a:defRPr>
            </a:lvl1pPr>
          </a:lstStyle>
          <a:p>
            <a:pPr lvl="0"/>
            <a:r>
              <a:rPr lang="en-US"/>
              <a:t>Subtitle in </a:t>
            </a:r>
            <a:r>
              <a:rPr lang="en-US" err="1"/>
              <a:t>Raleway</a:t>
            </a:r>
            <a:r>
              <a:rPr lang="en-US"/>
              <a:t> </a:t>
            </a:r>
            <a:r>
              <a:rPr lang="en-US" err="1"/>
              <a:t>SemiBold</a:t>
            </a:r>
            <a:r>
              <a:rPr lang="en-US"/>
              <a:t> 16pt</a:t>
            </a:r>
          </a:p>
        </p:txBody>
      </p:sp>
      <p:sp>
        <p:nvSpPr>
          <p:cNvPr id="22" name="Oval 21">
            <a:extLst>
              <a:ext uri="{FF2B5EF4-FFF2-40B4-BE49-F238E27FC236}">
                <a16:creationId xmlns:a16="http://schemas.microsoft.com/office/drawing/2014/main" id="{77C88163-9478-4FC6-9CAA-991EE3808E7B}"/>
              </a:ext>
            </a:extLst>
          </p:cNvPr>
          <p:cNvSpPr/>
          <p:nvPr/>
        </p:nvSpPr>
        <p:spPr bwMode="gray">
          <a:xfrm>
            <a:off x="443638" y="1437070"/>
            <a:ext cx="1038799" cy="1038799"/>
          </a:xfrm>
          <a:prstGeom prst="ellipse">
            <a:avLst/>
          </a:prstGeom>
          <a:gradFill flip="none" rotWithShape="1">
            <a:gsLst>
              <a:gs pos="40000">
                <a:schemeClr val="bg1">
                  <a:alpha val="12000"/>
                </a:schemeClr>
              </a:gs>
              <a:gs pos="0">
                <a:schemeClr val="bg1"/>
              </a:gs>
              <a:gs pos="77000">
                <a:schemeClr val="accent1"/>
              </a:gs>
            </a:gsLst>
            <a:path path="circle">
              <a:fillToRect l="50000" t="50000" r="50000" b="50000"/>
            </a:path>
            <a:tileRect/>
          </a:gra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bIns="182880" rtlCol="0" anchor="ctr"/>
          <a:lstStyle/>
          <a:p>
            <a:pPr algn="ctr"/>
            <a:endParaRPr lang="en-US" sz="3733">
              <a:solidFill>
                <a:schemeClr val="tx1"/>
              </a:solidFill>
              <a:latin typeface="+mj-lt"/>
            </a:endParaRPr>
          </a:p>
        </p:txBody>
      </p:sp>
      <p:sp>
        <p:nvSpPr>
          <p:cNvPr id="28" name="Text Placeholder 5">
            <a:extLst>
              <a:ext uri="{FF2B5EF4-FFF2-40B4-BE49-F238E27FC236}">
                <a16:creationId xmlns:a16="http://schemas.microsoft.com/office/drawing/2014/main" id="{15D7A6A0-17BF-4668-B1DB-1152BB7616D4}"/>
              </a:ext>
            </a:extLst>
          </p:cNvPr>
          <p:cNvSpPr>
            <a:spLocks noGrp="1"/>
          </p:cNvSpPr>
          <p:nvPr>
            <p:ph type="body" sz="quarter" idx="35" hasCustomPrompt="1"/>
          </p:nvPr>
        </p:nvSpPr>
        <p:spPr bwMode="gray">
          <a:xfrm>
            <a:off x="849758" y="1669211"/>
            <a:ext cx="226557" cy="574516"/>
          </a:xfrm>
        </p:spPr>
        <p:txBody>
          <a:bodyPr wrap="none" lIns="0" tIns="0" rIns="0" bIns="0" anchor="ctr">
            <a:spAutoFit/>
          </a:bodyPr>
          <a:lstStyle>
            <a:lvl1pPr marL="0" indent="0" algn="ctr">
              <a:buNone/>
              <a:defRPr sz="3733">
                <a:solidFill>
                  <a:schemeClr val="tx1"/>
                </a:solidFill>
                <a:latin typeface="+mj-lt"/>
              </a:defRPr>
            </a:lvl1pPr>
          </a:lstStyle>
          <a:p>
            <a:pPr lvl="0"/>
            <a:r>
              <a:rPr lang="en-US"/>
              <a:t>1</a:t>
            </a:r>
          </a:p>
        </p:txBody>
      </p:sp>
      <p:sp>
        <p:nvSpPr>
          <p:cNvPr id="31" name="Text Placeholder 5">
            <a:extLst>
              <a:ext uri="{FF2B5EF4-FFF2-40B4-BE49-F238E27FC236}">
                <a16:creationId xmlns:a16="http://schemas.microsoft.com/office/drawing/2014/main" id="{DEC47592-CDD0-4868-BD9F-72EDB7CC8322}"/>
              </a:ext>
            </a:extLst>
          </p:cNvPr>
          <p:cNvSpPr>
            <a:spLocks noGrp="1"/>
          </p:cNvSpPr>
          <p:nvPr>
            <p:ph type="body" sz="quarter" idx="36" hasCustomPrompt="1"/>
          </p:nvPr>
        </p:nvSpPr>
        <p:spPr bwMode="gray">
          <a:xfrm>
            <a:off x="831590" y="2878645"/>
            <a:ext cx="262893" cy="574516"/>
          </a:xfrm>
        </p:spPr>
        <p:txBody>
          <a:bodyPr wrap="none" lIns="0" tIns="0" rIns="0" bIns="0" anchor="ctr">
            <a:spAutoFit/>
          </a:bodyPr>
          <a:lstStyle>
            <a:lvl1pPr marL="0" indent="0" algn="ctr">
              <a:buNone/>
              <a:defRPr sz="3733">
                <a:solidFill>
                  <a:schemeClr val="tx1"/>
                </a:solidFill>
                <a:latin typeface="+mj-lt"/>
              </a:defRPr>
            </a:lvl1pPr>
          </a:lstStyle>
          <a:p>
            <a:pPr lvl="0"/>
            <a:r>
              <a:rPr lang="en-US"/>
              <a:t>2</a:t>
            </a:r>
          </a:p>
        </p:txBody>
      </p:sp>
      <p:sp>
        <p:nvSpPr>
          <p:cNvPr id="32" name="Text Placeholder 5">
            <a:extLst>
              <a:ext uri="{FF2B5EF4-FFF2-40B4-BE49-F238E27FC236}">
                <a16:creationId xmlns:a16="http://schemas.microsoft.com/office/drawing/2014/main" id="{5C7B62DC-86F4-4502-9466-F3A722AEC63E}"/>
              </a:ext>
            </a:extLst>
          </p:cNvPr>
          <p:cNvSpPr>
            <a:spLocks noGrp="1"/>
          </p:cNvSpPr>
          <p:nvPr>
            <p:ph type="body" sz="quarter" idx="37" hasCustomPrompt="1"/>
          </p:nvPr>
        </p:nvSpPr>
        <p:spPr bwMode="gray">
          <a:xfrm>
            <a:off x="831590" y="4083994"/>
            <a:ext cx="262893" cy="574516"/>
          </a:xfrm>
        </p:spPr>
        <p:txBody>
          <a:bodyPr wrap="none" lIns="0" tIns="0" rIns="0" bIns="0" anchor="ctr">
            <a:spAutoFit/>
          </a:bodyPr>
          <a:lstStyle>
            <a:lvl1pPr marL="0" indent="0" algn="ctr">
              <a:buNone/>
              <a:defRPr sz="3733">
                <a:solidFill>
                  <a:schemeClr val="tx1"/>
                </a:solidFill>
                <a:latin typeface="+mj-lt"/>
              </a:defRPr>
            </a:lvl1pPr>
          </a:lstStyle>
          <a:p>
            <a:pPr lvl="0"/>
            <a:r>
              <a:rPr lang="en-US"/>
              <a:t>3</a:t>
            </a:r>
          </a:p>
        </p:txBody>
      </p:sp>
      <p:sp>
        <p:nvSpPr>
          <p:cNvPr id="33" name="Text Placeholder 5">
            <a:extLst>
              <a:ext uri="{FF2B5EF4-FFF2-40B4-BE49-F238E27FC236}">
                <a16:creationId xmlns:a16="http://schemas.microsoft.com/office/drawing/2014/main" id="{D27B0307-EDD1-461D-87F5-849AAABA7B18}"/>
              </a:ext>
            </a:extLst>
          </p:cNvPr>
          <p:cNvSpPr>
            <a:spLocks noGrp="1"/>
          </p:cNvSpPr>
          <p:nvPr>
            <p:ph type="body" sz="quarter" idx="38" hasCustomPrompt="1"/>
          </p:nvPr>
        </p:nvSpPr>
        <p:spPr bwMode="gray">
          <a:xfrm>
            <a:off x="828385" y="5289343"/>
            <a:ext cx="269305" cy="574516"/>
          </a:xfrm>
        </p:spPr>
        <p:txBody>
          <a:bodyPr wrap="none" lIns="0" tIns="0" rIns="0" bIns="0" anchor="ctr">
            <a:spAutoFit/>
          </a:bodyPr>
          <a:lstStyle>
            <a:lvl1pPr marL="0" indent="0" algn="ctr">
              <a:buNone/>
              <a:defRPr sz="3733">
                <a:solidFill>
                  <a:schemeClr val="tx1"/>
                </a:solidFill>
                <a:latin typeface="+mj-lt"/>
              </a:defRPr>
            </a:lvl1pPr>
          </a:lstStyle>
          <a:p>
            <a:pPr lvl="0"/>
            <a:r>
              <a:rPr lang="en-US"/>
              <a:t>4</a:t>
            </a:r>
          </a:p>
        </p:txBody>
      </p:sp>
      <p:sp>
        <p:nvSpPr>
          <p:cNvPr id="34" name="Text Placeholder 5">
            <a:extLst>
              <a:ext uri="{FF2B5EF4-FFF2-40B4-BE49-F238E27FC236}">
                <a16:creationId xmlns:a16="http://schemas.microsoft.com/office/drawing/2014/main" id="{1F762FAA-9C21-4066-9192-FC1DE4FEAB09}"/>
              </a:ext>
            </a:extLst>
          </p:cNvPr>
          <p:cNvSpPr>
            <a:spLocks noGrp="1"/>
          </p:cNvSpPr>
          <p:nvPr>
            <p:ph type="body" sz="quarter" idx="13" hasCustomPrompt="1"/>
          </p:nvPr>
        </p:nvSpPr>
        <p:spPr bwMode="gray">
          <a:xfrm>
            <a:off x="1688123" y="1438308"/>
            <a:ext cx="10058400" cy="1036320"/>
          </a:xfrm>
        </p:spPr>
        <p:txBody>
          <a:bodyPr lIns="0" tIns="0" rIns="0" bIns="0" anchor="ctr"/>
          <a:lstStyle>
            <a:lvl1pPr marL="0" indent="0" algn="l">
              <a:buFont typeface="Arial" panose="020B0604020202020204" pitchFamily="34" charset="0"/>
              <a:buNone/>
              <a:defRPr sz="1600">
                <a:latin typeface="+mn-lt"/>
              </a:defRPr>
            </a:lvl1pPr>
          </a:lstStyle>
          <a:p>
            <a:pPr lvl="0"/>
            <a:r>
              <a:rPr lang="en-US"/>
              <a:t>Text</a:t>
            </a:r>
          </a:p>
        </p:txBody>
      </p:sp>
      <p:sp>
        <p:nvSpPr>
          <p:cNvPr id="35" name="Text Placeholder 5">
            <a:extLst>
              <a:ext uri="{FF2B5EF4-FFF2-40B4-BE49-F238E27FC236}">
                <a16:creationId xmlns:a16="http://schemas.microsoft.com/office/drawing/2014/main" id="{42EFFB73-47C6-4A28-BD0B-C885575AE15C}"/>
              </a:ext>
            </a:extLst>
          </p:cNvPr>
          <p:cNvSpPr>
            <a:spLocks noGrp="1"/>
          </p:cNvSpPr>
          <p:nvPr>
            <p:ph type="body" sz="quarter" idx="39" hasCustomPrompt="1"/>
          </p:nvPr>
        </p:nvSpPr>
        <p:spPr bwMode="gray">
          <a:xfrm>
            <a:off x="1688123" y="2645432"/>
            <a:ext cx="10058400" cy="1036320"/>
          </a:xfrm>
        </p:spPr>
        <p:txBody>
          <a:bodyPr lIns="0" tIns="0" rIns="0" bIns="0" anchor="ctr"/>
          <a:lstStyle>
            <a:lvl1pPr marL="0" indent="0" algn="l">
              <a:buFont typeface="Arial" panose="020B0604020202020204" pitchFamily="34" charset="0"/>
              <a:buNone/>
              <a:defRPr sz="1600">
                <a:latin typeface="+mn-lt"/>
              </a:defRPr>
            </a:lvl1pPr>
          </a:lstStyle>
          <a:p>
            <a:pPr lvl="0"/>
            <a:r>
              <a:rPr lang="en-US"/>
              <a:t>Text</a:t>
            </a:r>
          </a:p>
        </p:txBody>
      </p:sp>
      <p:sp>
        <p:nvSpPr>
          <p:cNvPr id="36" name="Text Placeholder 5">
            <a:extLst>
              <a:ext uri="{FF2B5EF4-FFF2-40B4-BE49-F238E27FC236}">
                <a16:creationId xmlns:a16="http://schemas.microsoft.com/office/drawing/2014/main" id="{B03CF380-C024-4E2C-8056-0E78DD8C9318}"/>
              </a:ext>
            </a:extLst>
          </p:cNvPr>
          <p:cNvSpPr>
            <a:spLocks noGrp="1"/>
          </p:cNvSpPr>
          <p:nvPr>
            <p:ph type="body" sz="quarter" idx="40" hasCustomPrompt="1"/>
          </p:nvPr>
        </p:nvSpPr>
        <p:spPr bwMode="gray">
          <a:xfrm>
            <a:off x="1688123" y="3852556"/>
            <a:ext cx="10058400" cy="1036320"/>
          </a:xfrm>
        </p:spPr>
        <p:txBody>
          <a:bodyPr lIns="0" tIns="0" rIns="0" bIns="0" anchor="ctr"/>
          <a:lstStyle>
            <a:lvl1pPr marL="0" indent="0" algn="l">
              <a:buFont typeface="Arial" panose="020B0604020202020204" pitchFamily="34" charset="0"/>
              <a:buNone/>
              <a:defRPr sz="1600">
                <a:latin typeface="+mn-lt"/>
              </a:defRPr>
            </a:lvl1pPr>
          </a:lstStyle>
          <a:p>
            <a:pPr lvl="0"/>
            <a:r>
              <a:rPr lang="en-US"/>
              <a:t>Text</a:t>
            </a:r>
          </a:p>
        </p:txBody>
      </p:sp>
      <p:sp>
        <p:nvSpPr>
          <p:cNvPr id="37" name="Text Placeholder 5">
            <a:extLst>
              <a:ext uri="{FF2B5EF4-FFF2-40B4-BE49-F238E27FC236}">
                <a16:creationId xmlns:a16="http://schemas.microsoft.com/office/drawing/2014/main" id="{53462861-EF4E-4EFC-8601-5C62CE30AB66}"/>
              </a:ext>
            </a:extLst>
          </p:cNvPr>
          <p:cNvSpPr>
            <a:spLocks noGrp="1"/>
          </p:cNvSpPr>
          <p:nvPr>
            <p:ph type="body" sz="quarter" idx="41" hasCustomPrompt="1"/>
          </p:nvPr>
        </p:nvSpPr>
        <p:spPr bwMode="gray">
          <a:xfrm>
            <a:off x="1688123" y="5058440"/>
            <a:ext cx="10058400" cy="1036320"/>
          </a:xfrm>
        </p:spPr>
        <p:txBody>
          <a:bodyPr lIns="0" tIns="0" rIns="0" bIns="0" anchor="ctr"/>
          <a:lstStyle>
            <a:lvl1pPr marL="0" indent="0" algn="l">
              <a:buFont typeface="Arial" panose="020B0604020202020204" pitchFamily="34" charset="0"/>
              <a:buNone/>
              <a:defRPr sz="1600">
                <a:latin typeface="+mn-lt"/>
              </a:defRPr>
            </a:lvl1pPr>
          </a:lstStyle>
          <a:p>
            <a:pPr lvl="0"/>
            <a:r>
              <a:rPr lang="en-US"/>
              <a:t>Text</a:t>
            </a:r>
          </a:p>
        </p:txBody>
      </p:sp>
    </p:spTree>
    <p:extLst>
      <p:ext uri="{BB962C8B-B14F-4D97-AF65-F5344CB8AC3E}">
        <p14:creationId xmlns:p14="http://schemas.microsoft.com/office/powerpoint/2010/main" val="317569071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wo titles">
    <p:spTree>
      <p:nvGrpSpPr>
        <p:cNvPr id="1" name=""/>
        <p:cNvGrpSpPr/>
        <p:nvPr/>
      </p:nvGrpSpPr>
      <p:grpSpPr>
        <a:xfrm>
          <a:off x="0" y="0"/>
          <a:ext cx="0" cy="0"/>
          <a:chOff x="0" y="0"/>
          <a:chExt cx="0" cy="0"/>
        </a:xfrm>
      </p:grpSpPr>
      <p:sp>
        <p:nvSpPr>
          <p:cNvPr id="31" name="TextBox 30">
            <a:extLst>
              <a:ext uri="{FF2B5EF4-FFF2-40B4-BE49-F238E27FC236}">
                <a16:creationId xmlns:a16="http://schemas.microsoft.com/office/drawing/2014/main" id="{863FB3A0-AAAC-4191-B457-22FBE9D6EC4E}"/>
              </a:ext>
            </a:extLst>
          </p:cNvPr>
          <p:cNvSpPr txBox="1"/>
          <p:nvPr/>
        </p:nvSpPr>
        <p:spPr bwMode="gray">
          <a:xfrm>
            <a:off x="431801" y="1440624"/>
            <a:ext cx="5547360" cy="731520"/>
          </a:xfrm>
          <a:prstGeom prst="rect">
            <a:avLst/>
          </a:prstGeom>
          <a:gradFill flip="none" rotWithShape="1">
            <a:gsLst>
              <a:gs pos="0">
                <a:schemeClr val="accent1">
                  <a:alpha val="0"/>
                </a:schemeClr>
              </a:gs>
              <a:gs pos="100000">
                <a:schemeClr val="accent1"/>
              </a:gs>
            </a:gsLst>
            <a:lin ang="16200000" scaled="1"/>
            <a:tileRect/>
          </a:gradFill>
        </p:spPr>
        <p:txBody>
          <a:bodyPr wrap="none" lIns="0" tIns="121920" rIns="0" bIns="0" rtlCol="0" anchor="t" anchorCtr="0">
            <a:noAutofit/>
          </a:bodyPr>
          <a:lstStyle/>
          <a:p>
            <a:pPr algn="ctr"/>
            <a:endParaRPr lang="en-US" sz="2133">
              <a:latin typeface="+mj-lt"/>
            </a:endParaRPr>
          </a:p>
        </p:txBody>
      </p:sp>
      <p:sp>
        <p:nvSpPr>
          <p:cNvPr id="28" name="TextBox 27">
            <a:extLst>
              <a:ext uri="{FF2B5EF4-FFF2-40B4-BE49-F238E27FC236}">
                <a16:creationId xmlns:a16="http://schemas.microsoft.com/office/drawing/2014/main" id="{88644FCC-2D7D-4A92-A351-05D1EECE4B58}"/>
              </a:ext>
            </a:extLst>
          </p:cNvPr>
          <p:cNvSpPr txBox="1"/>
          <p:nvPr/>
        </p:nvSpPr>
        <p:spPr bwMode="gray">
          <a:xfrm>
            <a:off x="6192651" y="1440624"/>
            <a:ext cx="5547360" cy="731520"/>
          </a:xfrm>
          <a:prstGeom prst="rect">
            <a:avLst/>
          </a:prstGeom>
          <a:gradFill flip="none" rotWithShape="1">
            <a:gsLst>
              <a:gs pos="0">
                <a:schemeClr val="accent4">
                  <a:alpha val="0"/>
                </a:schemeClr>
              </a:gs>
              <a:gs pos="100000">
                <a:schemeClr val="accent4"/>
              </a:gs>
            </a:gsLst>
            <a:lin ang="16200000" scaled="1"/>
            <a:tileRect/>
          </a:gradFill>
        </p:spPr>
        <p:txBody>
          <a:bodyPr wrap="none" lIns="0" tIns="121920" rIns="0" bIns="0" rtlCol="0" anchor="t" anchorCtr="0">
            <a:noAutofit/>
          </a:bodyPr>
          <a:lstStyle/>
          <a:p>
            <a:pPr algn="ctr"/>
            <a:endParaRPr lang="en-US" sz="2133">
              <a:latin typeface="+mj-lt"/>
            </a:endParaRPr>
          </a:p>
        </p:txBody>
      </p:sp>
      <p:sp>
        <p:nvSpPr>
          <p:cNvPr id="26" name="Text Placeholder 5">
            <a:extLst>
              <a:ext uri="{FF2B5EF4-FFF2-40B4-BE49-F238E27FC236}">
                <a16:creationId xmlns:a16="http://schemas.microsoft.com/office/drawing/2014/main" id="{DED1562F-7727-42AD-B83F-B500F206D106}"/>
              </a:ext>
            </a:extLst>
          </p:cNvPr>
          <p:cNvSpPr>
            <a:spLocks noGrp="1"/>
          </p:cNvSpPr>
          <p:nvPr>
            <p:ph type="body" sz="quarter" idx="27" hasCustomPrompt="1"/>
          </p:nvPr>
        </p:nvSpPr>
        <p:spPr bwMode="gray">
          <a:xfrm>
            <a:off x="6192651" y="1440624"/>
            <a:ext cx="5547360" cy="731520"/>
          </a:xfrm>
        </p:spPr>
        <p:txBody>
          <a:bodyPr lIns="91440" tIns="45720" rIns="91440" bIns="45720" anchor="ctr"/>
          <a:lstStyle>
            <a:lvl1pPr marL="0" indent="0" algn="ctr">
              <a:buNone/>
              <a:defRPr sz="1867">
                <a:solidFill>
                  <a:schemeClr val="tx1"/>
                </a:solidFill>
                <a:latin typeface="+mj-lt"/>
              </a:defRPr>
            </a:lvl1pPr>
          </a:lstStyle>
          <a:p>
            <a:pPr lvl="0"/>
            <a:r>
              <a:rPr lang="en-US"/>
              <a:t>Title</a:t>
            </a:r>
          </a:p>
        </p:txBody>
      </p:sp>
      <p:sp>
        <p:nvSpPr>
          <p:cNvPr id="25" name="Text Placeholder 5">
            <a:extLst>
              <a:ext uri="{FF2B5EF4-FFF2-40B4-BE49-F238E27FC236}">
                <a16:creationId xmlns:a16="http://schemas.microsoft.com/office/drawing/2014/main" id="{1AD75614-E53F-4AA5-8BD7-EF0EB52F42D3}"/>
              </a:ext>
            </a:extLst>
          </p:cNvPr>
          <p:cNvSpPr>
            <a:spLocks noGrp="1"/>
          </p:cNvSpPr>
          <p:nvPr>
            <p:ph type="body" sz="quarter" idx="23" hasCustomPrompt="1"/>
          </p:nvPr>
        </p:nvSpPr>
        <p:spPr bwMode="gray">
          <a:xfrm>
            <a:off x="431801" y="1440624"/>
            <a:ext cx="5547360" cy="731520"/>
          </a:xfrm>
        </p:spPr>
        <p:txBody>
          <a:bodyPr lIns="91440" tIns="45720" rIns="91440" bIns="45720" anchor="ctr"/>
          <a:lstStyle>
            <a:lvl1pPr marL="0" indent="0" algn="ctr">
              <a:buNone/>
              <a:defRPr sz="1867">
                <a:solidFill>
                  <a:schemeClr val="tx1"/>
                </a:solidFill>
                <a:latin typeface="+mj-lt"/>
              </a:defRPr>
            </a:lvl1pPr>
          </a:lstStyle>
          <a:p>
            <a:pPr lvl="0"/>
            <a:r>
              <a:rPr lang="en-US"/>
              <a:t>Title</a:t>
            </a:r>
          </a:p>
        </p:txBody>
      </p: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gray">
          <a:xfrm>
            <a:off x="303548" y="164637"/>
            <a:ext cx="11436096" cy="975360"/>
          </a:xfrm>
        </p:spPr>
        <p:txBody>
          <a:bodyPr/>
          <a:lstStyle/>
          <a:p>
            <a:r>
              <a:rPr lang="en-US"/>
              <a:t>Title in </a:t>
            </a:r>
            <a:r>
              <a:rPr lang="en-US" err="1"/>
              <a:t>Raleway</a:t>
            </a:r>
            <a:r>
              <a:rPr lang="en-US"/>
              <a:t> </a:t>
            </a:r>
            <a:r>
              <a:rPr lang="en-US" err="1"/>
              <a:t>SemiBold</a:t>
            </a:r>
            <a:r>
              <a:rPr lang="en-US"/>
              <a:t> 20pt</a:t>
            </a:r>
          </a:p>
        </p:txBody>
      </p:sp>
      <p:sp>
        <p:nvSpPr>
          <p:cNvPr id="19" name="Text Placeholder 4">
            <a:extLst>
              <a:ext uri="{FF2B5EF4-FFF2-40B4-BE49-F238E27FC236}">
                <a16:creationId xmlns:a16="http://schemas.microsoft.com/office/drawing/2014/main" id="{EA80C96E-3929-4152-AB01-4A8F2872A058}"/>
              </a:ext>
            </a:extLst>
          </p:cNvPr>
          <p:cNvSpPr>
            <a:spLocks noGrp="1"/>
          </p:cNvSpPr>
          <p:nvPr>
            <p:ph type="body" sz="quarter" idx="22" hasCustomPrompt="1"/>
          </p:nvPr>
        </p:nvSpPr>
        <p:spPr bwMode="gray">
          <a:xfrm>
            <a:off x="303547" y="556610"/>
            <a:ext cx="11436096" cy="580529"/>
          </a:xfrm>
        </p:spPr>
        <p:txBody>
          <a:bodyPr/>
          <a:lstStyle>
            <a:lvl1pPr marL="0" indent="0">
              <a:buNone/>
              <a:defRPr sz="2133">
                <a:solidFill>
                  <a:srgbClr val="0596FF"/>
                </a:solidFill>
                <a:latin typeface="+mj-lt"/>
              </a:defRPr>
            </a:lvl1pPr>
          </a:lstStyle>
          <a:p>
            <a:pPr lvl="0"/>
            <a:r>
              <a:rPr lang="en-US"/>
              <a:t>Subtitle in </a:t>
            </a:r>
            <a:r>
              <a:rPr lang="en-US" err="1"/>
              <a:t>Raleway</a:t>
            </a:r>
            <a:r>
              <a:rPr lang="en-US"/>
              <a:t> </a:t>
            </a:r>
            <a:r>
              <a:rPr lang="en-US" err="1"/>
              <a:t>SemiBold</a:t>
            </a:r>
            <a:r>
              <a:rPr lang="en-US"/>
              <a:t> 16pt</a:t>
            </a:r>
          </a:p>
        </p:txBody>
      </p:sp>
      <p:sp>
        <p:nvSpPr>
          <p:cNvPr id="51" name="Text Placeholder 5">
            <a:extLst>
              <a:ext uri="{FF2B5EF4-FFF2-40B4-BE49-F238E27FC236}">
                <a16:creationId xmlns:a16="http://schemas.microsoft.com/office/drawing/2014/main" id="{1870F207-DAE0-4F9E-BC24-FBAF964B37A7}"/>
              </a:ext>
            </a:extLst>
          </p:cNvPr>
          <p:cNvSpPr>
            <a:spLocks noGrp="1"/>
          </p:cNvSpPr>
          <p:nvPr>
            <p:ph type="body" sz="quarter" idx="13" hasCustomPrompt="1"/>
          </p:nvPr>
        </p:nvSpPr>
        <p:spPr bwMode="gray">
          <a:xfrm>
            <a:off x="427567" y="2286001"/>
            <a:ext cx="5547360" cy="3803904"/>
          </a:xfrm>
        </p:spPr>
        <p:txBody>
          <a:bodyPr lIns="0" tIns="0" rIns="0" bIns="0" anchor="t"/>
          <a:lstStyle>
            <a:lvl1pPr marL="243834" indent="-243834" algn="l">
              <a:buFont typeface="Arial" panose="020B0604020202020204" pitchFamily="34" charset="0"/>
              <a:buChar char="•"/>
              <a:defRPr sz="1600">
                <a:latin typeface="+mn-lt"/>
              </a:defRPr>
            </a:lvl1pPr>
          </a:lstStyle>
          <a:p>
            <a:pPr lvl="0"/>
            <a:r>
              <a:rPr lang="en-US"/>
              <a:t>Text</a:t>
            </a:r>
          </a:p>
        </p:txBody>
      </p:sp>
      <p:sp>
        <p:nvSpPr>
          <p:cNvPr id="52" name="Text Placeholder 5">
            <a:extLst>
              <a:ext uri="{FF2B5EF4-FFF2-40B4-BE49-F238E27FC236}">
                <a16:creationId xmlns:a16="http://schemas.microsoft.com/office/drawing/2014/main" id="{DB4A13E2-127A-4334-AD45-2634FFD83827}"/>
              </a:ext>
            </a:extLst>
          </p:cNvPr>
          <p:cNvSpPr>
            <a:spLocks noGrp="1"/>
          </p:cNvSpPr>
          <p:nvPr>
            <p:ph type="body" sz="quarter" idx="26" hasCustomPrompt="1"/>
          </p:nvPr>
        </p:nvSpPr>
        <p:spPr bwMode="gray">
          <a:xfrm>
            <a:off x="6192651" y="2286001"/>
            <a:ext cx="5547360" cy="3803904"/>
          </a:xfrm>
        </p:spPr>
        <p:txBody>
          <a:bodyPr lIns="0" tIns="0" rIns="0" bIns="0" anchor="t"/>
          <a:lstStyle>
            <a:lvl1pPr marL="243834" indent="-243834" algn="l">
              <a:buFont typeface="Arial" panose="020B0604020202020204" pitchFamily="34" charset="0"/>
              <a:buChar char="•"/>
              <a:defRPr sz="1600">
                <a:latin typeface="+mn-lt"/>
              </a:defRPr>
            </a:lvl1pPr>
          </a:lstStyle>
          <a:p>
            <a:pPr lvl="0"/>
            <a:r>
              <a:rPr lang="en-US"/>
              <a:t>Text</a:t>
            </a:r>
          </a:p>
        </p:txBody>
      </p:sp>
    </p:spTree>
    <p:extLst>
      <p:ext uri="{BB962C8B-B14F-4D97-AF65-F5344CB8AC3E}">
        <p14:creationId xmlns:p14="http://schemas.microsoft.com/office/powerpoint/2010/main" val="318824505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wo titles with ic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gray">
          <a:xfrm>
            <a:off x="303548" y="164637"/>
            <a:ext cx="11436096" cy="975360"/>
          </a:xfrm>
        </p:spPr>
        <p:txBody>
          <a:bodyPr/>
          <a:lstStyle/>
          <a:p>
            <a:r>
              <a:rPr lang="en-US"/>
              <a:t>Title in </a:t>
            </a:r>
            <a:r>
              <a:rPr lang="en-US" err="1"/>
              <a:t>Raleway</a:t>
            </a:r>
            <a:r>
              <a:rPr lang="en-US"/>
              <a:t> </a:t>
            </a:r>
            <a:r>
              <a:rPr lang="en-US" err="1"/>
              <a:t>SemiBold</a:t>
            </a:r>
            <a:r>
              <a:rPr lang="en-US"/>
              <a:t> 20pt</a:t>
            </a:r>
          </a:p>
        </p:txBody>
      </p:sp>
      <p:sp>
        <p:nvSpPr>
          <p:cNvPr id="19" name="Text Placeholder 4">
            <a:extLst>
              <a:ext uri="{FF2B5EF4-FFF2-40B4-BE49-F238E27FC236}">
                <a16:creationId xmlns:a16="http://schemas.microsoft.com/office/drawing/2014/main" id="{EA80C96E-3929-4152-AB01-4A8F2872A058}"/>
              </a:ext>
            </a:extLst>
          </p:cNvPr>
          <p:cNvSpPr>
            <a:spLocks noGrp="1"/>
          </p:cNvSpPr>
          <p:nvPr>
            <p:ph type="body" sz="quarter" idx="22" hasCustomPrompt="1"/>
          </p:nvPr>
        </p:nvSpPr>
        <p:spPr bwMode="gray">
          <a:xfrm>
            <a:off x="303547" y="556610"/>
            <a:ext cx="11436096" cy="580529"/>
          </a:xfrm>
        </p:spPr>
        <p:txBody>
          <a:bodyPr/>
          <a:lstStyle>
            <a:lvl1pPr marL="0" indent="0">
              <a:buNone/>
              <a:defRPr sz="2133">
                <a:solidFill>
                  <a:srgbClr val="0596FF"/>
                </a:solidFill>
                <a:latin typeface="+mj-lt"/>
              </a:defRPr>
            </a:lvl1pPr>
          </a:lstStyle>
          <a:p>
            <a:pPr lvl="0"/>
            <a:r>
              <a:rPr lang="en-US"/>
              <a:t>Subtitle in </a:t>
            </a:r>
            <a:r>
              <a:rPr lang="en-US" err="1"/>
              <a:t>Raleway</a:t>
            </a:r>
            <a:r>
              <a:rPr lang="en-US"/>
              <a:t> </a:t>
            </a:r>
            <a:r>
              <a:rPr lang="en-US" err="1"/>
              <a:t>SemiBold</a:t>
            </a:r>
            <a:r>
              <a:rPr lang="en-US"/>
              <a:t> 16pt</a:t>
            </a:r>
          </a:p>
        </p:txBody>
      </p:sp>
      <p:sp>
        <p:nvSpPr>
          <p:cNvPr id="22" name="Oval 21">
            <a:extLst>
              <a:ext uri="{FF2B5EF4-FFF2-40B4-BE49-F238E27FC236}">
                <a16:creationId xmlns:a16="http://schemas.microsoft.com/office/drawing/2014/main" id="{492926B3-0432-465B-B08E-8EBDD7F5CD8C}"/>
              </a:ext>
            </a:extLst>
          </p:cNvPr>
          <p:cNvSpPr/>
          <p:nvPr/>
        </p:nvSpPr>
        <p:spPr bwMode="gray">
          <a:xfrm>
            <a:off x="443637" y="1432511"/>
            <a:ext cx="1219200" cy="1219200"/>
          </a:xfrm>
          <a:prstGeom prst="ellipse">
            <a:avLst/>
          </a:prstGeom>
          <a:gradFill flip="none" rotWithShape="1">
            <a:gsLst>
              <a:gs pos="25000">
                <a:schemeClr val="accent1">
                  <a:alpha val="0"/>
                </a:schemeClr>
              </a:gs>
              <a:gs pos="100000">
                <a:schemeClr val="accent1"/>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23" name="Oval 22">
            <a:extLst>
              <a:ext uri="{FF2B5EF4-FFF2-40B4-BE49-F238E27FC236}">
                <a16:creationId xmlns:a16="http://schemas.microsoft.com/office/drawing/2014/main" id="{3C01C190-F20E-4DD7-928E-DBC8A845999E}"/>
              </a:ext>
            </a:extLst>
          </p:cNvPr>
          <p:cNvSpPr/>
          <p:nvPr/>
        </p:nvSpPr>
        <p:spPr bwMode="gray">
          <a:xfrm>
            <a:off x="6212439" y="1432984"/>
            <a:ext cx="1219200" cy="1219200"/>
          </a:xfrm>
          <a:prstGeom prst="ellipse">
            <a:avLst/>
          </a:prstGeom>
          <a:gradFill flip="none" rotWithShape="1">
            <a:gsLst>
              <a:gs pos="25000">
                <a:schemeClr val="accent2">
                  <a:alpha val="0"/>
                </a:schemeClr>
              </a:gs>
              <a:gs pos="100000">
                <a:schemeClr val="accent2"/>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latin typeface="+mn-lt"/>
            </a:endParaRPr>
          </a:p>
        </p:txBody>
      </p:sp>
      <p:sp>
        <p:nvSpPr>
          <p:cNvPr id="25" name="Text Placeholder 5">
            <a:extLst>
              <a:ext uri="{FF2B5EF4-FFF2-40B4-BE49-F238E27FC236}">
                <a16:creationId xmlns:a16="http://schemas.microsoft.com/office/drawing/2014/main" id="{A3E71761-1385-4F8B-99E0-968B9C3EC323}"/>
              </a:ext>
            </a:extLst>
          </p:cNvPr>
          <p:cNvSpPr>
            <a:spLocks noGrp="1"/>
          </p:cNvSpPr>
          <p:nvPr>
            <p:ph type="body" sz="quarter" idx="13" hasCustomPrompt="1"/>
          </p:nvPr>
        </p:nvSpPr>
        <p:spPr bwMode="gray">
          <a:xfrm>
            <a:off x="1869505" y="2203939"/>
            <a:ext cx="4096512" cy="3892061"/>
          </a:xfrm>
        </p:spPr>
        <p:txBody>
          <a:bodyPr lIns="0" tIns="0" rIns="0" bIns="0" anchor="t"/>
          <a:lstStyle>
            <a:lvl1pPr marL="0" indent="0" algn="l">
              <a:buFont typeface="Arial" panose="020B0604020202020204" pitchFamily="34" charset="0"/>
              <a:buNone/>
              <a:defRPr sz="1867">
                <a:latin typeface="+mn-lt"/>
              </a:defRPr>
            </a:lvl1pPr>
          </a:lstStyle>
          <a:p>
            <a:pPr lvl="0"/>
            <a:r>
              <a:rPr lang="en-US"/>
              <a:t>Text</a:t>
            </a:r>
          </a:p>
        </p:txBody>
      </p:sp>
      <p:sp>
        <p:nvSpPr>
          <p:cNvPr id="26" name="Text Placeholder 5">
            <a:extLst>
              <a:ext uri="{FF2B5EF4-FFF2-40B4-BE49-F238E27FC236}">
                <a16:creationId xmlns:a16="http://schemas.microsoft.com/office/drawing/2014/main" id="{B78D1D2F-1CF6-41FD-9735-9990D3D90235}"/>
              </a:ext>
            </a:extLst>
          </p:cNvPr>
          <p:cNvSpPr>
            <a:spLocks noGrp="1"/>
          </p:cNvSpPr>
          <p:nvPr>
            <p:ph type="body" sz="quarter" idx="49" hasCustomPrompt="1"/>
          </p:nvPr>
        </p:nvSpPr>
        <p:spPr bwMode="gray">
          <a:xfrm>
            <a:off x="1869505" y="1432984"/>
            <a:ext cx="4096512" cy="677169"/>
          </a:xfrm>
        </p:spPr>
        <p:txBody>
          <a:bodyPr lIns="0" tIns="0" rIns="0" bIns="0" anchor="ctr"/>
          <a:lstStyle>
            <a:lvl1pPr marL="0" indent="0" algn="l">
              <a:buFont typeface="Arial" panose="020B0604020202020204" pitchFamily="34" charset="0"/>
              <a:buNone/>
              <a:defRPr sz="2133">
                <a:solidFill>
                  <a:schemeClr val="accent1"/>
                </a:solidFill>
                <a:latin typeface="+mj-lt"/>
              </a:defRPr>
            </a:lvl1pPr>
          </a:lstStyle>
          <a:p>
            <a:pPr lvl="0"/>
            <a:r>
              <a:rPr lang="en-US"/>
              <a:t>Title</a:t>
            </a:r>
          </a:p>
        </p:txBody>
      </p:sp>
      <p:sp>
        <p:nvSpPr>
          <p:cNvPr id="28" name="Text Placeholder 5">
            <a:extLst>
              <a:ext uri="{FF2B5EF4-FFF2-40B4-BE49-F238E27FC236}">
                <a16:creationId xmlns:a16="http://schemas.microsoft.com/office/drawing/2014/main" id="{05C714B7-D051-4A10-9F71-625D90671EBC}"/>
              </a:ext>
            </a:extLst>
          </p:cNvPr>
          <p:cNvSpPr>
            <a:spLocks noGrp="1"/>
          </p:cNvSpPr>
          <p:nvPr>
            <p:ph type="body" sz="quarter" idx="50" hasCustomPrompt="1"/>
          </p:nvPr>
        </p:nvSpPr>
        <p:spPr bwMode="gray">
          <a:xfrm>
            <a:off x="7641621" y="2203939"/>
            <a:ext cx="4096512" cy="3892061"/>
          </a:xfrm>
        </p:spPr>
        <p:txBody>
          <a:bodyPr lIns="0" tIns="0" rIns="0" bIns="0" anchor="t"/>
          <a:lstStyle>
            <a:lvl1pPr marL="0" indent="0" algn="l">
              <a:buFont typeface="Arial" panose="020B0604020202020204" pitchFamily="34" charset="0"/>
              <a:buNone/>
              <a:defRPr sz="1867">
                <a:latin typeface="+mn-lt"/>
              </a:defRPr>
            </a:lvl1pPr>
          </a:lstStyle>
          <a:p>
            <a:pPr lvl="0"/>
            <a:r>
              <a:rPr lang="en-US"/>
              <a:t>Text</a:t>
            </a:r>
          </a:p>
        </p:txBody>
      </p:sp>
      <p:sp>
        <p:nvSpPr>
          <p:cNvPr id="31" name="Text Placeholder 5">
            <a:extLst>
              <a:ext uri="{FF2B5EF4-FFF2-40B4-BE49-F238E27FC236}">
                <a16:creationId xmlns:a16="http://schemas.microsoft.com/office/drawing/2014/main" id="{4E246567-4A4A-470F-B439-18388B24BB96}"/>
              </a:ext>
            </a:extLst>
          </p:cNvPr>
          <p:cNvSpPr>
            <a:spLocks noGrp="1"/>
          </p:cNvSpPr>
          <p:nvPr>
            <p:ph type="body" sz="quarter" idx="51" hasCustomPrompt="1"/>
          </p:nvPr>
        </p:nvSpPr>
        <p:spPr bwMode="gray">
          <a:xfrm>
            <a:off x="7641621" y="1432984"/>
            <a:ext cx="4096512" cy="677169"/>
          </a:xfrm>
        </p:spPr>
        <p:txBody>
          <a:bodyPr lIns="0" tIns="0" rIns="0" bIns="0" anchor="ctr"/>
          <a:lstStyle>
            <a:lvl1pPr marL="0" indent="0" algn="l">
              <a:buFont typeface="Arial" panose="020B0604020202020204" pitchFamily="34" charset="0"/>
              <a:buNone/>
              <a:defRPr sz="2133">
                <a:solidFill>
                  <a:schemeClr val="accent2"/>
                </a:solidFill>
                <a:latin typeface="+mj-lt"/>
              </a:defRPr>
            </a:lvl1pPr>
          </a:lstStyle>
          <a:p>
            <a:pPr lvl="0"/>
            <a:r>
              <a:rPr lang="en-US"/>
              <a:t>Title</a:t>
            </a:r>
          </a:p>
        </p:txBody>
      </p:sp>
      <p:sp>
        <p:nvSpPr>
          <p:cNvPr id="32" name="Text Placeholder 5">
            <a:extLst>
              <a:ext uri="{FF2B5EF4-FFF2-40B4-BE49-F238E27FC236}">
                <a16:creationId xmlns:a16="http://schemas.microsoft.com/office/drawing/2014/main" id="{1431687D-F746-4CC0-A749-0A90B9472E6D}"/>
              </a:ext>
            </a:extLst>
          </p:cNvPr>
          <p:cNvSpPr>
            <a:spLocks noGrp="1"/>
          </p:cNvSpPr>
          <p:nvPr>
            <p:ph type="body" sz="quarter" idx="35" hasCustomPrompt="1"/>
          </p:nvPr>
        </p:nvSpPr>
        <p:spPr bwMode="gray">
          <a:xfrm>
            <a:off x="853396" y="1919000"/>
            <a:ext cx="399683" cy="246221"/>
          </a:xfrm>
        </p:spPr>
        <p:txBody>
          <a:bodyPr wrap="none" lIns="0" tIns="0" rIns="0" bIns="0" anchor="ctr">
            <a:spAutoFit/>
          </a:bodyPr>
          <a:lstStyle>
            <a:lvl1pPr marL="0" indent="0" algn="ctr">
              <a:buNone/>
              <a:defRPr sz="1600">
                <a:solidFill>
                  <a:schemeClr val="tx1"/>
                </a:solidFill>
                <a:latin typeface="+mn-lt"/>
              </a:defRPr>
            </a:lvl1pPr>
          </a:lstStyle>
          <a:p>
            <a:pPr lvl="0"/>
            <a:r>
              <a:rPr lang="en-US"/>
              <a:t>Icon</a:t>
            </a:r>
          </a:p>
        </p:txBody>
      </p:sp>
      <p:sp>
        <p:nvSpPr>
          <p:cNvPr id="33" name="Text Placeholder 5">
            <a:extLst>
              <a:ext uri="{FF2B5EF4-FFF2-40B4-BE49-F238E27FC236}">
                <a16:creationId xmlns:a16="http://schemas.microsoft.com/office/drawing/2014/main" id="{20883FF7-9702-4473-8FF2-A940DC42E300}"/>
              </a:ext>
            </a:extLst>
          </p:cNvPr>
          <p:cNvSpPr>
            <a:spLocks noGrp="1"/>
          </p:cNvSpPr>
          <p:nvPr>
            <p:ph type="body" sz="quarter" idx="52" hasCustomPrompt="1"/>
          </p:nvPr>
        </p:nvSpPr>
        <p:spPr bwMode="gray">
          <a:xfrm>
            <a:off x="6622197" y="1919474"/>
            <a:ext cx="399683" cy="246221"/>
          </a:xfrm>
        </p:spPr>
        <p:txBody>
          <a:bodyPr wrap="none" lIns="0" tIns="0" rIns="0" bIns="0" anchor="ctr">
            <a:spAutoFit/>
          </a:bodyPr>
          <a:lstStyle>
            <a:lvl1pPr marL="0" indent="0" algn="ctr">
              <a:buNone/>
              <a:defRPr sz="1600">
                <a:solidFill>
                  <a:schemeClr val="tx1"/>
                </a:solidFill>
                <a:latin typeface="+mn-lt"/>
              </a:defRPr>
            </a:lvl1pPr>
          </a:lstStyle>
          <a:p>
            <a:pPr lvl="0"/>
            <a:r>
              <a:rPr lang="en-US"/>
              <a:t>Icon</a:t>
            </a:r>
          </a:p>
        </p:txBody>
      </p:sp>
    </p:spTree>
    <p:extLst>
      <p:ext uri="{BB962C8B-B14F-4D97-AF65-F5344CB8AC3E}">
        <p14:creationId xmlns:p14="http://schemas.microsoft.com/office/powerpoint/2010/main" val="136467601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2 x 3 Titles with ic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gray">
          <a:xfrm>
            <a:off x="303548" y="164637"/>
            <a:ext cx="11436096" cy="975360"/>
          </a:xfrm>
        </p:spPr>
        <p:txBody>
          <a:bodyPr/>
          <a:lstStyle/>
          <a:p>
            <a:r>
              <a:rPr lang="en-US"/>
              <a:t>Title in </a:t>
            </a:r>
            <a:r>
              <a:rPr lang="en-US" err="1"/>
              <a:t>Raleway</a:t>
            </a:r>
            <a:r>
              <a:rPr lang="en-US"/>
              <a:t> </a:t>
            </a:r>
            <a:r>
              <a:rPr lang="en-US" err="1"/>
              <a:t>SemiBold</a:t>
            </a:r>
            <a:r>
              <a:rPr lang="en-US"/>
              <a:t> 20pt</a:t>
            </a:r>
          </a:p>
        </p:txBody>
      </p:sp>
      <p:sp>
        <p:nvSpPr>
          <p:cNvPr id="19" name="Text Placeholder 4">
            <a:extLst>
              <a:ext uri="{FF2B5EF4-FFF2-40B4-BE49-F238E27FC236}">
                <a16:creationId xmlns:a16="http://schemas.microsoft.com/office/drawing/2014/main" id="{EA80C96E-3929-4152-AB01-4A8F2872A058}"/>
              </a:ext>
            </a:extLst>
          </p:cNvPr>
          <p:cNvSpPr>
            <a:spLocks noGrp="1"/>
          </p:cNvSpPr>
          <p:nvPr>
            <p:ph type="body" sz="quarter" idx="22" hasCustomPrompt="1"/>
          </p:nvPr>
        </p:nvSpPr>
        <p:spPr bwMode="gray">
          <a:xfrm>
            <a:off x="303547" y="556610"/>
            <a:ext cx="11436096" cy="580529"/>
          </a:xfrm>
        </p:spPr>
        <p:txBody>
          <a:bodyPr/>
          <a:lstStyle>
            <a:lvl1pPr marL="0" indent="0">
              <a:buNone/>
              <a:defRPr sz="2133">
                <a:solidFill>
                  <a:srgbClr val="0596FF"/>
                </a:solidFill>
                <a:latin typeface="+mj-lt"/>
              </a:defRPr>
            </a:lvl1pPr>
          </a:lstStyle>
          <a:p>
            <a:pPr lvl="0"/>
            <a:r>
              <a:rPr lang="en-US"/>
              <a:t>Subtitle in </a:t>
            </a:r>
            <a:r>
              <a:rPr lang="en-US" err="1"/>
              <a:t>Raleway</a:t>
            </a:r>
            <a:r>
              <a:rPr lang="en-US"/>
              <a:t> </a:t>
            </a:r>
            <a:r>
              <a:rPr lang="en-US" err="1"/>
              <a:t>SemiBold</a:t>
            </a:r>
            <a:r>
              <a:rPr lang="en-US"/>
              <a:t> 16pt</a:t>
            </a:r>
          </a:p>
        </p:txBody>
      </p:sp>
      <p:sp>
        <p:nvSpPr>
          <p:cNvPr id="22" name="Oval 21">
            <a:extLst>
              <a:ext uri="{FF2B5EF4-FFF2-40B4-BE49-F238E27FC236}">
                <a16:creationId xmlns:a16="http://schemas.microsoft.com/office/drawing/2014/main" id="{7CBA39B7-A27E-460A-A6B5-9655C6FFF37E}"/>
              </a:ext>
            </a:extLst>
          </p:cNvPr>
          <p:cNvSpPr/>
          <p:nvPr/>
        </p:nvSpPr>
        <p:spPr bwMode="gray">
          <a:xfrm>
            <a:off x="431800" y="1963556"/>
            <a:ext cx="1219200" cy="1219200"/>
          </a:xfrm>
          <a:prstGeom prst="ellipse">
            <a:avLst/>
          </a:prstGeom>
          <a:gradFill flip="none" rotWithShape="1">
            <a:gsLst>
              <a:gs pos="25000">
                <a:schemeClr val="accent1">
                  <a:alpha val="0"/>
                </a:schemeClr>
              </a:gs>
              <a:gs pos="100000">
                <a:schemeClr val="accent1"/>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solidFill>
                <a:schemeClr val="tx1"/>
              </a:solidFill>
            </a:endParaRPr>
          </a:p>
        </p:txBody>
      </p:sp>
      <p:sp>
        <p:nvSpPr>
          <p:cNvPr id="23" name="Oval 22">
            <a:extLst>
              <a:ext uri="{FF2B5EF4-FFF2-40B4-BE49-F238E27FC236}">
                <a16:creationId xmlns:a16="http://schemas.microsoft.com/office/drawing/2014/main" id="{5FC3F0C6-F095-4B53-B6C1-F06866F554AC}"/>
              </a:ext>
            </a:extLst>
          </p:cNvPr>
          <p:cNvSpPr/>
          <p:nvPr/>
        </p:nvSpPr>
        <p:spPr bwMode="gray">
          <a:xfrm>
            <a:off x="431800" y="3420179"/>
            <a:ext cx="1219200" cy="1219200"/>
          </a:xfrm>
          <a:prstGeom prst="ellipse">
            <a:avLst/>
          </a:prstGeom>
          <a:gradFill flip="none" rotWithShape="1">
            <a:gsLst>
              <a:gs pos="25000">
                <a:schemeClr val="accent2">
                  <a:alpha val="0"/>
                </a:schemeClr>
              </a:gs>
              <a:gs pos="100000">
                <a:schemeClr val="accent2"/>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solidFill>
                <a:schemeClr val="tx1"/>
              </a:solidFill>
            </a:endParaRPr>
          </a:p>
        </p:txBody>
      </p:sp>
      <p:sp>
        <p:nvSpPr>
          <p:cNvPr id="25" name="Oval 24">
            <a:extLst>
              <a:ext uri="{FF2B5EF4-FFF2-40B4-BE49-F238E27FC236}">
                <a16:creationId xmlns:a16="http://schemas.microsoft.com/office/drawing/2014/main" id="{5482D622-AAA7-4A97-BDC5-77F70D964AD9}"/>
              </a:ext>
            </a:extLst>
          </p:cNvPr>
          <p:cNvSpPr/>
          <p:nvPr/>
        </p:nvSpPr>
        <p:spPr bwMode="gray">
          <a:xfrm>
            <a:off x="431800" y="4876800"/>
            <a:ext cx="1219200" cy="1219200"/>
          </a:xfrm>
          <a:prstGeom prst="ellipse">
            <a:avLst/>
          </a:prstGeom>
          <a:gradFill flip="none" rotWithShape="1">
            <a:gsLst>
              <a:gs pos="25000">
                <a:schemeClr val="accent3">
                  <a:alpha val="0"/>
                </a:schemeClr>
              </a:gs>
              <a:gs pos="100000">
                <a:schemeClr val="accent3"/>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solidFill>
                <a:schemeClr val="tx1"/>
              </a:solidFill>
            </a:endParaRPr>
          </a:p>
        </p:txBody>
      </p:sp>
      <p:sp>
        <p:nvSpPr>
          <p:cNvPr id="26" name="Text Placeholder 5">
            <a:extLst>
              <a:ext uri="{FF2B5EF4-FFF2-40B4-BE49-F238E27FC236}">
                <a16:creationId xmlns:a16="http://schemas.microsoft.com/office/drawing/2014/main" id="{A928ED84-7A49-4862-BEAE-26655C61FF1A}"/>
              </a:ext>
            </a:extLst>
          </p:cNvPr>
          <p:cNvSpPr>
            <a:spLocks noGrp="1"/>
          </p:cNvSpPr>
          <p:nvPr>
            <p:ph type="body" sz="quarter" idx="35" hasCustomPrompt="1"/>
          </p:nvPr>
        </p:nvSpPr>
        <p:spPr bwMode="gray">
          <a:xfrm>
            <a:off x="841559" y="2450046"/>
            <a:ext cx="399683" cy="246221"/>
          </a:xfrm>
        </p:spPr>
        <p:txBody>
          <a:bodyPr wrap="none" lIns="0" tIns="0" rIns="0" bIns="0" anchor="ctr">
            <a:spAutoFit/>
          </a:bodyPr>
          <a:lstStyle>
            <a:lvl1pPr marL="0" indent="0" algn="ctr">
              <a:buNone/>
              <a:defRPr sz="1600">
                <a:solidFill>
                  <a:schemeClr val="tx1"/>
                </a:solidFill>
                <a:latin typeface="+mn-lt"/>
              </a:defRPr>
            </a:lvl1pPr>
          </a:lstStyle>
          <a:p>
            <a:pPr lvl="0"/>
            <a:r>
              <a:rPr lang="en-US"/>
              <a:t>Icon</a:t>
            </a:r>
          </a:p>
        </p:txBody>
      </p:sp>
      <p:sp>
        <p:nvSpPr>
          <p:cNvPr id="28" name="Text Placeholder 5">
            <a:extLst>
              <a:ext uri="{FF2B5EF4-FFF2-40B4-BE49-F238E27FC236}">
                <a16:creationId xmlns:a16="http://schemas.microsoft.com/office/drawing/2014/main" id="{AD86F44B-927D-45F9-B0F8-129711914423}"/>
              </a:ext>
            </a:extLst>
          </p:cNvPr>
          <p:cNvSpPr>
            <a:spLocks noGrp="1"/>
          </p:cNvSpPr>
          <p:nvPr>
            <p:ph type="body" sz="quarter" idx="36" hasCustomPrompt="1"/>
          </p:nvPr>
        </p:nvSpPr>
        <p:spPr bwMode="gray">
          <a:xfrm>
            <a:off x="841559" y="3906668"/>
            <a:ext cx="399683" cy="246221"/>
          </a:xfrm>
        </p:spPr>
        <p:txBody>
          <a:bodyPr wrap="none" lIns="0" tIns="0" rIns="0" bIns="0" anchor="ctr">
            <a:spAutoFit/>
          </a:bodyPr>
          <a:lstStyle>
            <a:lvl1pPr marL="0" indent="0" algn="ctr">
              <a:buNone/>
              <a:defRPr sz="1600">
                <a:solidFill>
                  <a:schemeClr val="tx1"/>
                </a:solidFill>
                <a:latin typeface="+mn-lt"/>
              </a:defRPr>
            </a:lvl1pPr>
          </a:lstStyle>
          <a:p>
            <a:pPr lvl="0"/>
            <a:r>
              <a:rPr lang="en-US"/>
              <a:t>Icon</a:t>
            </a:r>
          </a:p>
        </p:txBody>
      </p:sp>
      <p:sp>
        <p:nvSpPr>
          <p:cNvPr id="31" name="Text Placeholder 5">
            <a:extLst>
              <a:ext uri="{FF2B5EF4-FFF2-40B4-BE49-F238E27FC236}">
                <a16:creationId xmlns:a16="http://schemas.microsoft.com/office/drawing/2014/main" id="{3D4CCDE1-9A12-4E71-91A0-C086E94A12C6}"/>
              </a:ext>
            </a:extLst>
          </p:cNvPr>
          <p:cNvSpPr>
            <a:spLocks noGrp="1"/>
          </p:cNvSpPr>
          <p:nvPr>
            <p:ph type="body" sz="quarter" idx="37" hasCustomPrompt="1"/>
          </p:nvPr>
        </p:nvSpPr>
        <p:spPr bwMode="gray">
          <a:xfrm>
            <a:off x="841559" y="5363290"/>
            <a:ext cx="399683" cy="246221"/>
          </a:xfrm>
        </p:spPr>
        <p:txBody>
          <a:bodyPr wrap="none" lIns="0" tIns="0" rIns="0" bIns="0" anchor="ctr">
            <a:spAutoFit/>
          </a:bodyPr>
          <a:lstStyle>
            <a:lvl1pPr marL="0" indent="0" algn="ctr">
              <a:buNone/>
              <a:defRPr sz="1600">
                <a:solidFill>
                  <a:schemeClr val="tx1"/>
                </a:solidFill>
                <a:latin typeface="+mn-lt"/>
              </a:defRPr>
            </a:lvl1pPr>
          </a:lstStyle>
          <a:p>
            <a:pPr lvl="0"/>
            <a:r>
              <a:rPr lang="en-US"/>
              <a:t>Icon</a:t>
            </a:r>
          </a:p>
        </p:txBody>
      </p:sp>
      <p:sp>
        <p:nvSpPr>
          <p:cNvPr id="32" name="Text Placeholder 5">
            <a:extLst>
              <a:ext uri="{FF2B5EF4-FFF2-40B4-BE49-F238E27FC236}">
                <a16:creationId xmlns:a16="http://schemas.microsoft.com/office/drawing/2014/main" id="{5CFD6443-4873-4FD2-A44B-75D2F65DFEBB}"/>
              </a:ext>
            </a:extLst>
          </p:cNvPr>
          <p:cNvSpPr>
            <a:spLocks noGrp="1"/>
          </p:cNvSpPr>
          <p:nvPr>
            <p:ph type="body" sz="quarter" idx="23" hasCustomPrompt="1"/>
          </p:nvPr>
        </p:nvSpPr>
        <p:spPr bwMode="gray">
          <a:xfrm>
            <a:off x="1840523" y="1440624"/>
            <a:ext cx="4145280" cy="609600"/>
          </a:xfrm>
        </p:spPr>
        <p:txBody>
          <a:bodyPr lIns="0" tIns="0" rIns="0" bIns="0" anchor="t"/>
          <a:lstStyle>
            <a:lvl1pPr marL="0" indent="0" algn="l">
              <a:buNone/>
              <a:defRPr sz="2133">
                <a:solidFill>
                  <a:schemeClr val="accent1"/>
                </a:solidFill>
                <a:latin typeface="+mj-lt"/>
              </a:defRPr>
            </a:lvl1pPr>
          </a:lstStyle>
          <a:p>
            <a:pPr lvl="0"/>
            <a:r>
              <a:rPr lang="en-US"/>
              <a:t>Title</a:t>
            </a:r>
          </a:p>
        </p:txBody>
      </p:sp>
      <p:sp>
        <p:nvSpPr>
          <p:cNvPr id="33" name="Text Placeholder 5">
            <a:extLst>
              <a:ext uri="{FF2B5EF4-FFF2-40B4-BE49-F238E27FC236}">
                <a16:creationId xmlns:a16="http://schemas.microsoft.com/office/drawing/2014/main" id="{6465BC5F-0FDA-4FAF-B829-BE36F8384D4F}"/>
              </a:ext>
            </a:extLst>
          </p:cNvPr>
          <p:cNvSpPr>
            <a:spLocks noGrp="1"/>
          </p:cNvSpPr>
          <p:nvPr>
            <p:ph type="body" sz="quarter" idx="13" hasCustomPrompt="1"/>
          </p:nvPr>
        </p:nvSpPr>
        <p:spPr bwMode="gray">
          <a:xfrm>
            <a:off x="1836288" y="2157045"/>
            <a:ext cx="4145280" cy="1219200"/>
          </a:xfrm>
        </p:spPr>
        <p:txBody>
          <a:bodyPr lIns="0" tIns="0" rIns="0" bIns="0" anchor="t"/>
          <a:lstStyle>
            <a:lvl1pPr marL="243834" indent="-243834" algn="l">
              <a:buFont typeface="Arial" panose="020B0604020202020204" pitchFamily="34" charset="0"/>
              <a:buChar char="•"/>
              <a:defRPr sz="1600">
                <a:latin typeface="+mn-lt"/>
              </a:defRPr>
            </a:lvl1pPr>
          </a:lstStyle>
          <a:p>
            <a:pPr lvl="0"/>
            <a:r>
              <a:rPr lang="en-US"/>
              <a:t>Text</a:t>
            </a:r>
          </a:p>
        </p:txBody>
      </p:sp>
      <p:sp>
        <p:nvSpPr>
          <p:cNvPr id="34" name="Text Placeholder 5">
            <a:extLst>
              <a:ext uri="{FF2B5EF4-FFF2-40B4-BE49-F238E27FC236}">
                <a16:creationId xmlns:a16="http://schemas.microsoft.com/office/drawing/2014/main" id="{72B57244-34E1-4D4E-BC3F-DA97EE6A0C7A}"/>
              </a:ext>
            </a:extLst>
          </p:cNvPr>
          <p:cNvSpPr>
            <a:spLocks noGrp="1"/>
          </p:cNvSpPr>
          <p:nvPr>
            <p:ph type="body" sz="quarter" idx="38" hasCustomPrompt="1"/>
          </p:nvPr>
        </p:nvSpPr>
        <p:spPr bwMode="gray">
          <a:xfrm>
            <a:off x="1836288" y="3511063"/>
            <a:ext cx="4145280" cy="1219200"/>
          </a:xfrm>
        </p:spPr>
        <p:txBody>
          <a:bodyPr lIns="0" tIns="0" rIns="0" bIns="0" anchor="t"/>
          <a:lstStyle>
            <a:lvl1pPr marL="243834" indent="-243834" algn="l">
              <a:buFont typeface="Arial" panose="020B0604020202020204" pitchFamily="34" charset="0"/>
              <a:buChar char="•"/>
              <a:defRPr sz="1600">
                <a:latin typeface="+mn-lt"/>
              </a:defRPr>
            </a:lvl1pPr>
          </a:lstStyle>
          <a:p>
            <a:pPr lvl="0"/>
            <a:r>
              <a:rPr lang="en-US"/>
              <a:t>Text</a:t>
            </a:r>
          </a:p>
        </p:txBody>
      </p:sp>
      <p:sp>
        <p:nvSpPr>
          <p:cNvPr id="35" name="Text Placeholder 5">
            <a:extLst>
              <a:ext uri="{FF2B5EF4-FFF2-40B4-BE49-F238E27FC236}">
                <a16:creationId xmlns:a16="http://schemas.microsoft.com/office/drawing/2014/main" id="{4A9BD519-8AC3-4B0A-A46D-CA604EED86F0}"/>
              </a:ext>
            </a:extLst>
          </p:cNvPr>
          <p:cNvSpPr>
            <a:spLocks noGrp="1"/>
          </p:cNvSpPr>
          <p:nvPr>
            <p:ph type="body" sz="quarter" idx="39" hasCustomPrompt="1"/>
          </p:nvPr>
        </p:nvSpPr>
        <p:spPr bwMode="gray">
          <a:xfrm>
            <a:off x="1836288" y="4865080"/>
            <a:ext cx="4145280" cy="1219200"/>
          </a:xfrm>
        </p:spPr>
        <p:txBody>
          <a:bodyPr lIns="0" tIns="0" rIns="0" bIns="0" anchor="t"/>
          <a:lstStyle>
            <a:lvl1pPr marL="243834" indent="-243834" algn="l">
              <a:buFont typeface="Arial" panose="020B0604020202020204" pitchFamily="34" charset="0"/>
              <a:buChar char="•"/>
              <a:defRPr sz="1600">
                <a:latin typeface="+mn-lt"/>
              </a:defRPr>
            </a:lvl1pPr>
          </a:lstStyle>
          <a:p>
            <a:pPr lvl="0"/>
            <a:r>
              <a:rPr lang="en-US"/>
              <a:t>Text</a:t>
            </a:r>
          </a:p>
        </p:txBody>
      </p:sp>
      <p:sp>
        <p:nvSpPr>
          <p:cNvPr id="36" name="Oval 35">
            <a:extLst>
              <a:ext uri="{FF2B5EF4-FFF2-40B4-BE49-F238E27FC236}">
                <a16:creationId xmlns:a16="http://schemas.microsoft.com/office/drawing/2014/main" id="{653C653F-6252-473E-B62E-C6A5150C1DFA}"/>
              </a:ext>
            </a:extLst>
          </p:cNvPr>
          <p:cNvSpPr/>
          <p:nvPr/>
        </p:nvSpPr>
        <p:spPr bwMode="gray">
          <a:xfrm>
            <a:off x="6186008" y="1963556"/>
            <a:ext cx="1219200" cy="1219200"/>
          </a:xfrm>
          <a:prstGeom prst="ellipse">
            <a:avLst/>
          </a:prstGeom>
          <a:gradFill flip="none" rotWithShape="1">
            <a:gsLst>
              <a:gs pos="25000">
                <a:schemeClr val="accent1">
                  <a:alpha val="0"/>
                </a:schemeClr>
              </a:gs>
              <a:gs pos="100000">
                <a:schemeClr val="accent1"/>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solidFill>
                <a:schemeClr val="tx1"/>
              </a:solidFill>
            </a:endParaRPr>
          </a:p>
        </p:txBody>
      </p:sp>
      <p:sp>
        <p:nvSpPr>
          <p:cNvPr id="37" name="Oval 36">
            <a:extLst>
              <a:ext uri="{FF2B5EF4-FFF2-40B4-BE49-F238E27FC236}">
                <a16:creationId xmlns:a16="http://schemas.microsoft.com/office/drawing/2014/main" id="{CD69C3EE-16E1-49C9-8B87-2E9502AEBCC8}"/>
              </a:ext>
            </a:extLst>
          </p:cNvPr>
          <p:cNvSpPr/>
          <p:nvPr/>
        </p:nvSpPr>
        <p:spPr bwMode="gray">
          <a:xfrm>
            <a:off x="6186008" y="3420179"/>
            <a:ext cx="1219200" cy="1219200"/>
          </a:xfrm>
          <a:prstGeom prst="ellipse">
            <a:avLst/>
          </a:prstGeom>
          <a:gradFill flip="none" rotWithShape="1">
            <a:gsLst>
              <a:gs pos="25000">
                <a:schemeClr val="accent2">
                  <a:alpha val="0"/>
                </a:schemeClr>
              </a:gs>
              <a:gs pos="100000">
                <a:schemeClr val="accent2"/>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solidFill>
                <a:schemeClr val="tx1"/>
              </a:solidFill>
            </a:endParaRPr>
          </a:p>
        </p:txBody>
      </p:sp>
      <p:sp>
        <p:nvSpPr>
          <p:cNvPr id="38" name="Oval 37">
            <a:extLst>
              <a:ext uri="{FF2B5EF4-FFF2-40B4-BE49-F238E27FC236}">
                <a16:creationId xmlns:a16="http://schemas.microsoft.com/office/drawing/2014/main" id="{D7241A9D-9908-43FA-8421-ED87D89C5FB8}"/>
              </a:ext>
            </a:extLst>
          </p:cNvPr>
          <p:cNvSpPr/>
          <p:nvPr/>
        </p:nvSpPr>
        <p:spPr bwMode="gray">
          <a:xfrm>
            <a:off x="6186008" y="4876800"/>
            <a:ext cx="1219200" cy="1219200"/>
          </a:xfrm>
          <a:prstGeom prst="ellipse">
            <a:avLst/>
          </a:prstGeom>
          <a:gradFill flip="none" rotWithShape="1">
            <a:gsLst>
              <a:gs pos="25000">
                <a:schemeClr val="accent3">
                  <a:alpha val="0"/>
                </a:schemeClr>
              </a:gs>
              <a:gs pos="100000">
                <a:schemeClr val="accent3"/>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solidFill>
                <a:schemeClr val="tx1"/>
              </a:solidFill>
            </a:endParaRPr>
          </a:p>
        </p:txBody>
      </p:sp>
      <p:sp>
        <p:nvSpPr>
          <p:cNvPr id="39" name="Text Placeholder 5">
            <a:extLst>
              <a:ext uri="{FF2B5EF4-FFF2-40B4-BE49-F238E27FC236}">
                <a16:creationId xmlns:a16="http://schemas.microsoft.com/office/drawing/2014/main" id="{097B0B3E-3C6C-4A63-86FE-2CD17083A07D}"/>
              </a:ext>
            </a:extLst>
          </p:cNvPr>
          <p:cNvSpPr>
            <a:spLocks noGrp="1"/>
          </p:cNvSpPr>
          <p:nvPr>
            <p:ph type="body" sz="quarter" idx="40" hasCustomPrompt="1"/>
          </p:nvPr>
        </p:nvSpPr>
        <p:spPr bwMode="gray">
          <a:xfrm>
            <a:off x="6595767" y="2450046"/>
            <a:ext cx="399683" cy="246221"/>
          </a:xfrm>
        </p:spPr>
        <p:txBody>
          <a:bodyPr wrap="none" lIns="0" tIns="0" rIns="0" bIns="0" anchor="ctr">
            <a:spAutoFit/>
          </a:bodyPr>
          <a:lstStyle>
            <a:lvl1pPr marL="0" indent="0" algn="ctr">
              <a:buNone/>
              <a:defRPr sz="1600">
                <a:solidFill>
                  <a:schemeClr val="tx1"/>
                </a:solidFill>
                <a:latin typeface="+mn-lt"/>
              </a:defRPr>
            </a:lvl1pPr>
          </a:lstStyle>
          <a:p>
            <a:pPr lvl="0"/>
            <a:r>
              <a:rPr lang="en-US"/>
              <a:t>Icon</a:t>
            </a:r>
          </a:p>
        </p:txBody>
      </p:sp>
      <p:sp>
        <p:nvSpPr>
          <p:cNvPr id="40" name="Text Placeholder 5">
            <a:extLst>
              <a:ext uri="{FF2B5EF4-FFF2-40B4-BE49-F238E27FC236}">
                <a16:creationId xmlns:a16="http://schemas.microsoft.com/office/drawing/2014/main" id="{B401FB5F-38F7-49F3-9FC5-121C5D58D572}"/>
              </a:ext>
            </a:extLst>
          </p:cNvPr>
          <p:cNvSpPr>
            <a:spLocks noGrp="1"/>
          </p:cNvSpPr>
          <p:nvPr>
            <p:ph type="body" sz="quarter" idx="41" hasCustomPrompt="1"/>
          </p:nvPr>
        </p:nvSpPr>
        <p:spPr bwMode="gray">
          <a:xfrm>
            <a:off x="6595767" y="3906668"/>
            <a:ext cx="399683" cy="246221"/>
          </a:xfrm>
        </p:spPr>
        <p:txBody>
          <a:bodyPr wrap="none" lIns="0" tIns="0" rIns="0" bIns="0" anchor="ctr">
            <a:spAutoFit/>
          </a:bodyPr>
          <a:lstStyle>
            <a:lvl1pPr marL="0" indent="0" algn="ctr">
              <a:buNone/>
              <a:defRPr sz="1600">
                <a:solidFill>
                  <a:schemeClr val="tx1"/>
                </a:solidFill>
                <a:latin typeface="+mn-lt"/>
              </a:defRPr>
            </a:lvl1pPr>
          </a:lstStyle>
          <a:p>
            <a:pPr lvl="0"/>
            <a:r>
              <a:rPr lang="en-US"/>
              <a:t>Icon</a:t>
            </a:r>
          </a:p>
        </p:txBody>
      </p:sp>
      <p:sp>
        <p:nvSpPr>
          <p:cNvPr id="41" name="Text Placeholder 5">
            <a:extLst>
              <a:ext uri="{FF2B5EF4-FFF2-40B4-BE49-F238E27FC236}">
                <a16:creationId xmlns:a16="http://schemas.microsoft.com/office/drawing/2014/main" id="{2A463556-916F-4946-B18E-76F98E8B7407}"/>
              </a:ext>
            </a:extLst>
          </p:cNvPr>
          <p:cNvSpPr>
            <a:spLocks noGrp="1"/>
          </p:cNvSpPr>
          <p:nvPr>
            <p:ph type="body" sz="quarter" idx="42" hasCustomPrompt="1"/>
          </p:nvPr>
        </p:nvSpPr>
        <p:spPr bwMode="gray">
          <a:xfrm>
            <a:off x="6595767" y="5363290"/>
            <a:ext cx="399683" cy="246221"/>
          </a:xfrm>
        </p:spPr>
        <p:txBody>
          <a:bodyPr wrap="none" lIns="0" tIns="0" rIns="0" bIns="0" anchor="ctr">
            <a:spAutoFit/>
          </a:bodyPr>
          <a:lstStyle>
            <a:lvl1pPr marL="0" indent="0" algn="ctr">
              <a:buNone/>
              <a:defRPr sz="1600">
                <a:solidFill>
                  <a:schemeClr val="tx1"/>
                </a:solidFill>
                <a:latin typeface="+mn-lt"/>
              </a:defRPr>
            </a:lvl1pPr>
          </a:lstStyle>
          <a:p>
            <a:pPr lvl="0"/>
            <a:r>
              <a:rPr lang="en-US"/>
              <a:t>Icon</a:t>
            </a:r>
          </a:p>
        </p:txBody>
      </p:sp>
      <p:sp>
        <p:nvSpPr>
          <p:cNvPr id="42" name="Text Placeholder 5">
            <a:extLst>
              <a:ext uri="{FF2B5EF4-FFF2-40B4-BE49-F238E27FC236}">
                <a16:creationId xmlns:a16="http://schemas.microsoft.com/office/drawing/2014/main" id="{7550C26B-0501-4388-9887-63FDE0D22CF5}"/>
              </a:ext>
            </a:extLst>
          </p:cNvPr>
          <p:cNvSpPr>
            <a:spLocks noGrp="1"/>
          </p:cNvSpPr>
          <p:nvPr>
            <p:ph type="body" sz="quarter" idx="43" hasCustomPrompt="1"/>
          </p:nvPr>
        </p:nvSpPr>
        <p:spPr bwMode="gray">
          <a:xfrm>
            <a:off x="7594731" y="1440624"/>
            <a:ext cx="4145280" cy="609600"/>
          </a:xfrm>
        </p:spPr>
        <p:txBody>
          <a:bodyPr lIns="0" tIns="0" rIns="0" bIns="0" anchor="t"/>
          <a:lstStyle>
            <a:lvl1pPr marL="0" indent="0" algn="l">
              <a:buNone/>
              <a:defRPr sz="2133">
                <a:solidFill>
                  <a:schemeClr val="accent4"/>
                </a:solidFill>
                <a:latin typeface="+mj-lt"/>
              </a:defRPr>
            </a:lvl1pPr>
          </a:lstStyle>
          <a:p>
            <a:pPr lvl="0"/>
            <a:r>
              <a:rPr lang="en-US"/>
              <a:t>Title</a:t>
            </a:r>
          </a:p>
        </p:txBody>
      </p:sp>
      <p:sp>
        <p:nvSpPr>
          <p:cNvPr id="43" name="Text Placeholder 5">
            <a:extLst>
              <a:ext uri="{FF2B5EF4-FFF2-40B4-BE49-F238E27FC236}">
                <a16:creationId xmlns:a16="http://schemas.microsoft.com/office/drawing/2014/main" id="{0521E56C-E85D-4D25-AEEA-02E586184A73}"/>
              </a:ext>
            </a:extLst>
          </p:cNvPr>
          <p:cNvSpPr>
            <a:spLocks noGrp="1"/>
          </p:cNvSpPr>
          <p:nvPr>
            <p:ph type="body" sz="quarter" idx="44" hasCustomPrompt="1"/>
          </p:nvPr>
        </p:nvSpPr>
        <p:spPr bwMode="gray">
          <a:xfrm>
            <a:off x="7590496" y="2157045"/>
            <a:ext cx="4145280" cy="1219200"/>
          </a:xfrm>
        </p:spPr>
        <p:txBody>
          <a:bodyPr lIns="0" tIns="0" rIns="0" bIns="0" anchor="t"/>
          <a:lstStyle>
            <a:lvl1pPr marL="243834" indent="-243834" algn="l">
              <a:buFont typeface="Arial" panose="020B0604020202020204" pitchFamily="34" charset="0"/>
              <a:buChar char="•"/>
              <a:defRPr sz="1600">
                <a:latin typeface="+mn-lt"/>
              </a:defRPr>
            </a:lvl1pPr>
          </a:lstStyle>
          <a:p>
            <a:pPr lvl="0"/>
            <a:r>
              <a:rPr lang="en-US"/>
              <a:t>Text</a:t>
            </a:r>
          </a:p>
        </p:txBody>
      </p:sp>
      <p:sp>
        <p:nvSpPr>
          <p:cNvPr id="44" name="Text Placeholder 5">
            <a:extLst>
              <a:ext uri="{FF2B5EF4-FFF2-40B4-BE49-F238E27FC236}">
                <a16:creationId xmlns:a16="http://schemas.microsoft.com/office/drawing/2014/main" id="{C955E9A9-80A2-4F02-B594-AADA02FE063E}"/>
              </a:ext>
            </a:extLst>
          </p:cNvPr>
          <p:cNvSpPr>
            <a:spLocks noGrp="1"/>
          </p:cNvSpPr>
          <p:nvPr>
            <p:ph type="body" sz="quarter" idx="45" hasCustomPrompt="1"/>
          </p:nvPr>
        </p:nvSpPr>
        <p:spPr bwMode="gray">
          <a:xfrm>
            <a:off x="7590496" y="3511063"/>
            <a:ext cx="4145280" cy="1219200"/>
          </a:xfrm>
        </p:spPr>
        <p:txBody>
          <a:bodyPr lIns="0" tIns="0" rIns="0" bIns="0" anchor="t"/>
          <a:lstStyle>
            <a:lvl1pPr marL="243834" indent="-243834" algn="l">
              <a:buFont typeface="Arial" panose="020B0604020202020204" pitchFamily="34" charset="0"/>
              <a:buChar char="•"/>
              <a:defRPr sz="1600">
                <a:latin typeface="+mn-lt"/>
              </a:defRPr>
            </a:lvl1pPr>
          </a:lstStyle>
          <a:p>
            <a:pPr lvl="0"/>
            <a:r>
              <a:rPr lang="en-US"/>
              <a:t>Text</a:t>
            </a:r>
          </a:p>
        </p:txBody>
      </p:sp>
      <p:sp>
        <p:nvSpPr>
          <p:cNvPr id="45" name="Text Placeholder 5">
            <a:extLst>
              <a:ext uri="{FF2B5EF4-FFF2-40B4-BE49-F238E27FC236}">
                <a16:creationId xmlns:a16="http://schemas.microsoft.com/office/drawing/2014/main" id="{C1F76ED5-4BF3-46CC-A650-BC77DB17084A}"/>
              </a:ext>
            </a:extLst>
          </p:cNvPr>
          <p:cNvSpPr>
            <a:spLocks noGrp="1"/>
          </p:cNvSpPr>
          <p:nvPr>
            <p:ph type="body" sz="quarter" idx="46" hasCustomPrompt="1"/>
          </p:nvPr>
        </p:nvSpPr>
        <p:spPr bwMode="gray">
          <a:xfrm>
            <a:off x="7590496" y="4865080"/>
            <a:ext cx="4145280" cy="1219200"/>
          </a:xfrm>
        </p:spPr>
        <p:txBody>
          <a:bodyPr lIns="0" tIns="0" rIns="0" bIns="0" anchor="t"/>
          <a:lstStyle>
            <a:lvl1pPr marL="243834" indent="-243834" algn="l">
              <a:buFont typeface="Arial" panose="020B0604020202020204" pitchFamily="34" charset="0"/>
              <a:buChar char="•"/>
              <a:defRPr sz="1600">
                <a:latin typeface="+mn-lt"/>
              </a:defRPr>
            </a:lvl1pPr>
          </a:lstStyle>
          <a:p>
            <a:pPr lvl="0"/>
            <a:r>
              <a:rPr lang="en-US"/>
              <a:t>Text</a:t>
            </a:r>
          </a:p>
        </p:txBody>
      </p:sp>
    </p:spTree>
    <p:extLst>
      <p:ext uri="{BB962C8B-B14F-4D97-AF65-F5344CB8AC3E}">
        <p14:creationId xmlns:p14="http://schemas.microsoft.com/office/powerpoint/2010/main" val="24858955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Four titles with numbers">
    <p:spTree>
      <p:nvGrpSpPr>
        <p:cNvPr id="1" name=""/>
        <p:cNvGrpSpPr/>
        <p:nvPr/>
      </p:nvGrpSpPr>
      <p:grpSpPr>
        <a:xfrm>
          <a:off x="0" y="0"/>
          <a:ext cx="0" cy="0"/>
          <a:chOff x="0" y="0"/>
          <a:chExt cx="0" cy="0"/>
        </a:xfrm>
      </p:grpSpPr>
      <p:sp>
        <p:nvSpPr>
          <p:cNvPr id="28" name="Diamond 27">
            <a:extLst>
              <a:ext uri="{FF2B5EF4-FFF2-40B4-BE49-F238E27FC236}">
                <a16:creationId xmlns:a16="http://schemas.microsoft.com/office/drawing/2014/main" id="{D647EE49-82E3-4DA9-BA5D-DF952F6318D3}"/>
              </a:ext>
            </a:extLst>
          </p:cNvPr>
          <p:cNvSpPr/>
          <p:nvPr/>
        </p:nvSpPr>
        <p:spPr bwMode="gray">
          <a:xfrm>
            <a:off x="4956704" y="2648491"/>
            <a:ext cx="2249011" cy="2249011"/>
          </a:xfrm>
          <a:prstGeom prst="diamond">
            <a:avLst/>
          </a:prstGeom>
          <a:noFill/>
          <a:ln w="19050">
            <a:solidFill>
              <a:schemeClr val="accent6">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gray">
          <a:xfrm>
            <a:off x="303548" y="164637"/>
            <a:ext cx="11436096" cy="975360"/>
          </a:xfrm>
        </p:spPr>
        <p:txBody>
          <a:bodyPr/>
          <a:lstStyle/>
          <a:p>
            <a:r>
              <a:rPr lang="en-US"/>
              <a:t>Title in </a:t>
            </a:r>
            <a:r>
              <a:rPr lang="en-US" err="1"/>
              <a:t>Raleway</a:t>
            </a:r>
            <a:r>
              <a:rPr lang="en-US"/>
              <a:t> </a:t>
            </a:r>
            <a:r>
              <a:rPr lang="en-US" err="1"/>
              <a:t>SemiBold</a:t>
            </a:r>
            <a:r>
              <a:rPr lang="en-US"/>
              <a:t> 20pt</a:t>
            </a:r>
          </a:p>
        </p:txBody>
      </p:sp>
      <p:sp>
        <p:nvSpPr>
          <p:cNvPr id="19" name="Text Placeholder 4">
            <a:extLst>
              <a:ext uri="{FF2B5EF4-FFF2-40B4-BE49-F238E27FC236}">
                <a16:creationId xmlns:a16="http://schemas.microsoft.com/office/drawing/2014/main" id="{EA80C96E-3929-4152-AB01-4A8F2872A058}"/>
              </a:ext>
            </a:extLst>
          </p:cNvPr>
          <p:cNvSpPr>
            <a:spLocks noGrp="1"/>
          </p:cNvSpPr>
          <p:nvPr>
            <p:ph type="body" sz="quarter" idx="22" hasCustomPrompt="1"/>
          </p:nvPr>
        </p:nvSpPr>
        <p:spPr bwMode="gray">
          <a:xfrm>
            <a:off x="303547" y="556610"/>
            <a:ext cx="11436096" cy="580529"/>
          </a:xfrm>
        </p:spPr>
        <p:txBody>
          <a:bodyPr/>
          <a:lstStyle>
            <a:lvl1pPr marL="0" indent="0">
              <a:buNone/>
              <a:defRPr sz="2133">
                <a:solidFill>
                  <a:srgbClr val="0596FF"/>
                </a:solidFill>
                <a:latin typeface="+mj-lt"/>
              </a:defRPr>
            </a:lvl1pPr>
          </a:lstStyle>
          <a:p>
            <a:pPr lvl="0"/>
            <a:r>
              <a:rPr lang="en-US"/>
              <a:t>Subtitle in </a:t>
            </a:r>
            <a:r>
              <a:rPr lang="en-US" err="1"/>
              <a:t>Raleway</a:t>
            </a:r>
            <a:r>
              <a:rPr lang="en-US"/>
              <a:t> </a:t>
            </a:r>
            <a:r>
              <a:rPr lang="en-US" err="1"/>
              <a:t>SemiBold</a:t>
            </a:r>
            <a:r>
              <a:rPr lang="en-US"/>
              <a:t> 16pt</a:t>
            </a:r>
          </a:p>
        </p:txBody>
      </p:sp>
      <p:sp>
        <p:nvSpPr>
          <p:cNvPr id="22" name="Oval 21">
            <a:extLst>
              <a:ext uri="{FF2B5EF4-FFF2-40B4-BE49-F238E27FC236}">
                <a16:creationId xmlns:a16="http://schemas.microsoft.com/office/drawing/2014/main" id="{2F259ADB-D31C-4678-B56E-8C1A040D3936}"/>
              </a:ext>
            </a:extLst>
          </p:cNvPr>
          <p:cNvSpPr/>
          <p:nvPr/>
        </p:nvSpPr>
        <p:spPr bwMode="gray">
          <a:xfrm rot="5400000">
            <a:off x="6059796" y="3743636"/>
            <a:ext cx="1424960" cy="1424960"/>
          </a:xfrm>
          <a:prstGeom prst="ellipse">
            <a:avLst/>
          </a:prstGeom>
          <a:gradFill>
            <a:gsLst>
              <a:gs pos="0">
                <a:schemeClr val="accent2"/>
              </a:gs>
              <a:gs pos="58000">
                <a:schemeClr val="bg1"/>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3" name="Oval 22">
            <a:extLst>
              <a:ext uri="{FF2B5EF4-FFF2-40B4-BE49-F238E27FC236}">
                <a16:creationId xmlns:a16="http://schemas.microsoft.com/office/drawing/2014/main" id="{78ED4925-A51C-41FB-B448-144821E0E698}"/>
              </a:ext>
            </a:extLst>
          </p:cNvPr>
          <p:cNvSpPr/>
          <p:nvPr/>
        </p:nvSpPr>
        <p:spPr bwMode="gray">
          <a:xfrm>
            <a:off x="6053444" y="2375953"/>
            <a:ext cx="1424960" cy="1424960"/>
          </a:xfrm>
          <a:prstGeom prst="ellipse">
            <a:avLst/>
          </a:prstGeom>
          <a:gradFill>
            <a:gsLst>
              <a:gs pos="0">
                <a:schemeClr val="accent1"/>
              </a:gs>
              <a:gs pos="58000">
                <a:schemeClr val="bg1"/>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5" name="Oval 24">
            <a:extLst>
              <a:ext uri="{FF2B5EF4-FFF2-40B4-BE49-F238E27FC236}">
                <a16:creationId xmlns:a16="http://schemas.microsoft.com/office/drawing/2014/main" id="{BCE02FE3-DCC2-4DAB-BB88-F5E7B81E86EF}"/>
              </a:ext>
            </a:extLst>
          </p:cNvPr>
          <p:cNvSpPr/>
          <p:nvPr/>
        </p:nvSpPr>
        <p:spPr bwMode="gray">
          <a:xfrm rot="16200000" flipH="1">
            <a:off x="4691372" y="3737287"/>
            <a:ext cx="1424960" cy="1424960"/>
          </a:xfrm>
          <a:prstGeom prst="ellipse">
            <a:avLst/>
          </a:prstGeom>
          <a:gradFill>
            <a:gsLst>
              <a:gs pos="0">
                <a:schemeClr val="accent3"/>
              </a:gs>
              <a:gs pos="58000">
                <a:schemeClr val="bg1"/>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6" name="Oval 25">
            <a:extLst>
              <a:ext uri="{FF2B5EF4-FFF2-40B4-BE49-F238E27FC236}">
                <a16:creationId xmlns:a16="http://schemas.microsoft.com/office/drawing/2014/main" id="{0708E8DB-73F0-4E36-BB08-D76CD25BDE19}"/>
              </a:ext>
            </a:extLst>
          </p:cNvPr>
          <p:cNvSpPr/>
          <p:nvPr/>
        </p:nvSpPr>
        <p:spPr bwMode="gray">
          <a:xfrm flipH="1">
            <a:off x="4707248" y="2385477"/>
            <a:ext cx="1424960" cy="1424960"/>
          </a:xfrm>
          <a:prstGeom prst="ellipse">
            <a:avLst/>
          </a:prstGeom>
          <a:gradFill>
            <a:gsLst>
              <a:gs pos="0">
                <a:schemeClr val="accent4"/>
              </a:gs>
              <a:gs pos="58000">
                <a:schemeClr val="bg1"/>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1" name="Text Placeholder 5">
            <a:extLst>
              <a:ext uri="{FF2B5EF4-FFF2-40B4-BE49-F238E27FC236}">
                <a16:creationId xmlns:a16="http://schemas.microsoft.com/office/drawing/2014/main" id="{D686D3A1-D555-4836-BDB4-AA547069B54A}"/>
              </a:ext>
            </a:extLst>
          </p:cNvPr>
          <p:cNvSpPr>
            <a:spLocks noGrp="1"/>
          </p:cNvSpPr>
          <p:nvPr>
            <p:ph type="body" sz="quarter" idx="35" hasCustomPrompt="1"/>
          </p:nvPr>
        </p:nvSpPr>
        <p:spPr bwMode="gray">
          <a:xfrm>
            <a:off x="5111237" y="2605260"/>
            <a:ext cx="230832" cy="492443"/>
          </a:xfrm>
        </p:spPr>
        <p:txBody>
          <a:bodyPr wrap="none" lIns="0" tIns="0" rIns="0" bIns="0" anchor="ctr">
            <a:spAutoFit/>
          </a:bodyPr>
          <a:lstStyle>
            <a:lvl1pPr marL="0" indent="0" algn="ctr">
              <a:buNone/>
              <a:defRPr sz="3200">
                <a:solidFill>
                  <a:schemeClr val="tx1"/>
                </a:solidFill>
                <a:latin typeface="+mj-lt"/>
              </a:defRPr>
            </a:lvl1pPr>
          </a:lstStyle>
          <a:p>
            <a:pPr lvl="0"/>
            <a:r>
              <a:rPr lang="en-US"/>
              <a:t>4</a:t>
            </a:r>
          </a:p>
        </p:txBody>
      </p:sp>
      <p:sp>
        <p:nvSpPr>
          <p:cNvPr id="32" name="Text Placeholder 5">
            <a:extLst>
              <a:ext uri="{FF2B5EF4-FFF2-40B4-BE49-F238E27FC236}">
                <a16:creationId xmlns:a16="http://schemas.microsoft.com/office/drawing/2014/main" id="{DE9DF25D-2CC5-43CE-8BB0-FF8BA97B2636}"/>
              </a:ext>
            </a:extLst>
          </p:cNvPr>
          <p:cNvSpPr>
            <a:spLocks noGrp="1"/>
          </p:cNvSpPr>
          <p:nvPr>
            <p:ph type="body" sz="quarter" idx="36" hasCustomPrompt="1"/>
          </p:nvPr>
        </p:nvSpPr>
        <p:spPr bwMode="gray">
          <a:xfrm>
            <a:off x="5298333" y="3297822"/>
            <a:ext cx="1565752" cy="880013"/>
          </a:xfrm>
        </p:spPr>
        <p:txBody>
          <a:bodyPr wrap="none" lIns="0" tIns="0" rIns="0" bIns="0" anchor="ctr">
            <a:noAutofit/>
          </a:bodyPr>
          <a:lstStyle>
            <a:lvl1pPr marL="0" indent="0" algn="ctr">
              <a:buNone/>
              <a:defRPr sz="2400">
                <a:solidFill>
                  <a:schemeClr val="tx1"/>
                </a:solidFill>
                <a:latin typeface="+mj-lt"/>
              </a:defRPr>
            </a:lvl1pPr>
          </a:lstStyle>
          <a:p>
            <a:pPr lvl="0"/>
            <a:r>
              <a:rPr lang="en-US"/>
              <a:t>Text</a:t>
            </a:r>
          </a:p>
        </p:txBody>
      </p:sp>
      <p:sp>
        <p:nvSpPr>
          <p:cNvPr id="33" name="Text Placeholder 5">
            <a:extLst>
              <a:ext uri="{FF2B5EF4-FFF2-40B4-BE49-F238E27FC236}">
                <a16:creationId xmlns:a16="http://schemas.microsoft.com/office/drawing/2014/main" id="{B04C66A7-2AC5-4BB4-AA67-9FEE4F390519}"/>
              </a:ext>
            </a:extLst>
          </p:cNvPr>
          <p:cNvSpPr>
            <a:spLocks noGrp="1"/>
          </p:cNvSpPr>
          <p:nvPr>
            <p:ph type="body" sz="quarter" idx="37" hasCustomPrompt="1"/>
          </p:nvPr>
        </p:nvSpPr>
        <p:spPr bwMode="gray">
          <a:xfrm>
            <a:off x="5114445" y="4342405"/>
            <a:ext cx="224420" cy="492443"/>
          </a:xfrm>
        </p:spPr>
        <p:txBody>
          <a:bodyPr wrap="none" lIns="0" tIns="0" rIns="0" bIns="0" anchor="ctr">
            <a:spAutoFit/>
          </a:bodyPr>
          <a:lstStyle>
            <a:lvl1pPr marL="0" indent="0" algn="ctr">
              <a:buNone/>
              <a:defRPr sz="3200">
                <a:solidFill>
                  <a:schemeClr val="tx1"/>
                </a:solidFill>
                <a:latin typeface="+mj-lt"/>
              </a:defRPr>
            </a:lvl1pPr>
          </a:lstStyle>
          <a:p>
            <a:pPr lvl="0"/>
            <a:r>
              <a:rPr lang="en-US"/>
              <a:t>3</a:t>
            </a:r>
          </a:p>
        </p:txBody>
      </p:sp>
      <p:sp>
        <p:nvSpPr>
          <p:cNvPr id="34" name="Text Placeholder 5">
            <a:extLst>
              <a:ext uri="{FF2B5EF4-FFF2-40B4-BE49-F238E27FC236}">
                <a16:creationId xmlns:a16="http://schemas.microsoft.com/office/drawing/2014/main" id="{2ADA71F5-7129-400C-B0DF-AC357FF32F31}"/>
              </a:ext>
            </a:extLst>
          </p:cNvPr>
          <p:cNvSpPr>
            <a:spLocks noGrp="1"/>
          </p:cNvSpPr>
          <p:nvPr>
            <p:ph type="body" sz="quarter" idx="38" hasCustomPrompt="1"/>
          </p:nvPr>
        </p:nvSpPr>
        <p:spPr bwMode="gray">
          <a:xfrm>
            <a:off x="6917709" y="2605260"/>
            <a:ext cx="192360" cy="492443"/>
          </a:xfrm>
        </p:spPr>
        <p:txBody>
          <a:bodyPr wrap="none" lIns="0" tIns="0" rIns="0" bIns="0" anchor="ctr">
            <a:spAutoFit/>
          </a:bodyPr>
          <a:lstStyle>
            <a:lvl1pPr marL="0" indent="0" algn="ctr">
              <a:buNone/>
              <a:defRPr sz="3200">
                <a:solidFill>
                  <a:schemeClr val="tx1"/>
                </a:solidFill>
                <a:latin typeface="+mj-lt"/>
              </a:defRPr>
            </a:lvl1pPr>
          </a:lstStyle>
          <a:p>
            <a:pPr lvl="0"/>
            <a:r>
              <a:rPr lang="en-US"/>
              <a:t>1</a:t>
            </a:r>
          </a:p>
        </p:txBody>
      </p:sp>
      <p:sp>
        <p:nvSpPr>
          <p:cNvPr id="35" name="Text Placeholder 5">
            <a:extLst>
              <a:ext uri="{FF2B5EF4-FFF2-40B4-BE49-F238E27FC236}">
                <a16:creationId xmlns:a16="http://schemas.microsoft.com/office/drawing/2014/main" id="{9728EC26-22D9-446A-858E-1380646BEC8D}"/>
              </a:ext>
            </a:extLst>
          </p:cNvPr>
          <p:cNvSpPr>
            <a:spLocks noGrp="1"/>
          </p:cNvSpPr>
          <p:nvPr>
            <p:ph type="body" sz="quarter" idx="39" hasCustomPrompt="1"/>
          </p:nvPr>
        </p:nvSpPr>
        <p:spPr bwMode="gray">
          <a:xfrm>
            <a:off x="6901681" y="4342405"/>
            <a:ext cx="224420" cy="492443"/>
          </a:xfrm>
        </p:spPr>
        <p:txBody>
          <a:bodyPr wrap="none" lIns="0" tIns="0" rIns="0" bIns="0" anchor="ctr">
            <a:spAutoFit/>
          </a:bodyPr>
          <a:lstStyle>
            <a:lvl1pPr marL="0" indent="0" algn="ctr">
              <a:buNone/>
              <a:defRPr sz="3200">
                <a:solidFill>
                  <a:schemeClr val="tx1"/>
                </a:solidFill>
                <a:latin typeface="+mj-lt"/>
              </a:defRPr>
            </a:lvl1pPr>
          </a:lstStyle>
          <a:p>
            <a:pPr lvl="0"/>
            <a:r>
              <a:rPr lang="en-US"/>
              <a:t>2</a:t>
            </a:r>
          </a:p>
        </p:txBody>
      </p:sp>
      <p:sp>
        <p:nvSpPr>
          <p:cNvPr id="44" name="Text Placeholder 5">
            <a:extLst>
              <a:ext uri="{FF2B5EF4-FFF2-40B4-BE49-F238E27FC236}">
                <a16:creationId xmlns:a16="http://schemas.microsoft.com/office/drawing/2014/main" id="{B228C6B8-C454-4F13-B085-2826A647087E}"/>
              </a:ext>
            </a:extLst>
          </p:cNvPr>
          <p:cNvSpPr>
            <a:spLocks noGrp="1"/>
          </p:cNvSpPr>
          <p:nvPr>
            <p:ph type="body" sz="quarter" idx="13" hasCustomPrompt="1"/>
          </p:nvPr>
        </p:nvSpPr>
        <p:spPr bwMode="gray">
          <a:xfrm>
            <a:off x="427567" y="1922585"/>
            <a:ext cx="4023360" cy="1758463"/>
          </a:xfrm>
        </p:spPr>
        <p:txBody>
          <a:bodyPr lIns="0" tIns="0" rIns="0" bIns="0" anchor="t"/>
          <a:lstStyle>
            <a:lvl1pPr marL="0" indent="0" algn="l">
              <a:buFont typeface="Arial" panose="020B0604020202020204" pitchFamily="34" charset="0"/>
              <a:buNone/>
              <a:defRPr sz="1600">
                <a:latin typeface="+mn-lt"/>
              </a:defRPr>
            </a:lvl1pPr>
          </a:lstStyle>
          <a:p>
            <a:pPr lvl="0"/>
            <a:r>
              <a:rPr lang="en-US"/>
              <a:t>Text</a:t>
            </a:r>
          </a:p>
        </p:txBody>
      </p:sp>
      <p:sp>
        <p:nvSpPr>
          <p:cNvPr id="45" name="Text Placeholder 5">
            <a:extLst>
              <a:ext uri="{FF2B5EF4-FFF2-40B4-BE49-F238E27FC236}">
                <a16:creationId xmlns:a16="http://schemas.microsoft.com/office/drawing/2014/main" id="{59DE835B-E0E7-4904-B71F-7A45A531F3E4}"/>
              </a:ext>
            </a:extLst>
          </p:cNvPr>
          <p:cNvSpPr>
            <a:spLocks noGrp="1"/>
          </p:cNvSpPr>
          <p:nvPr>
            <p:ph type="body" sz="quarter" idx="49" hasCustomPrompt="1"/>
          </p:nvPr>
        </p:nvSpPr>
        <p:spPr bwMode="gray">
          <a:xfrm>
            <a:off x="427567" y="1432984"/>
            <a:ext cx="4023360" cy="466155"/>
          </a:xfrm>
        </p:spPr>
        <p:txBody>
          <a:bodyPr lIns="0" tIns="0" rIns="0" bIns="0" anchor="ctr"/>
          <a:lstStyle>
            <a:lvl1pPr marL="0" indent="0" algn="l">
              <a:buFont typeface="Arial" panose="020B0604020202020204" pitchFamily="34" charset="0"/>
              <a:buNone/>
              <a:defRPr sz="1867">
                <a:solidFill>
                  <a:schemeClr val="accent4"/>
                </a:solidFill>
                <a:latin typeface="+mj-lt"/>
              </a:defRPr>
            </a:lvl1pPr>
          </a:lstStyle>
          <a:p>
            <a:pPr lvl="0"/>
            <a:r>
              <a:rPr lang="en-US"/>
              <a:t>Title</a:t>
            </a:r>
          </a:p>
        </p:txBody>
      </p:sp>
      <p:sp>
        <p:nvSpPr>
          <p:cNvPr id="46" name="Text Placeholder 5">
            <a:extLst>
              <a:ext uri="{FF2B5EF4-FFF2-40B4-BE49-F238E27FC236}">
                <a16:creationId xmlns:a16="http://schemas.microsoft.com/office/drawing/2014/main" id="{FFE36F5A-6540-404B-BAC3-45490143A4BB}"/>
              </a:ext>
            </a:extLst>
          </p:cNvPr>
          <p:cNvSpPr>
            <a:spLocks noGrp="1"/>
          </p:cNvSpPr>
          <p:nvPr>
            <p:ph type="body" sz="quarter" idx="50" hasCustomPrompt="1"/>
          </p:nvPr>
        </p:nvSpPr>
        <p:spPr bwMode="gray">
          <a:xfrm>
            <a:off x="427567" y="4337538"/>
            <a:ext cx="4023360" cy="1758463"/>
          </a:xfrm>
        </p:spPr>
        <p:txBody>
          <a:bodyPr lIns="0" tIns="0" rIns="0" bIns="0" anchor="t"/>
          <a:lstStyle>
            <a:lvl1pPr marL="0" indent="0" algn="l">
              <a:buFont typeface="Arial" panose="020B0604020202020204" pitchFamily="34" charset="0"/>
              <a:buNone/>
              <a:defRPr sz="1600">
                <a:latin typeface="+mn-lt"/>
              </a:defRPr>
            </a:lvl1pPr>
          </a:lstStyle>
          <a:p>
            <a:pPr lvl="0"/>
            <a:r>
              <a:rPr lang="en-US"/>
              <a:t>Text</a:t>
            </a:r>
          </a:p>
        </p:txBody>
      </p:sp>
      <p:sp>
        <p:nvSpPr>
          <p:cNvPr id="49" name="Text Placeholder 5">
            <a:extLst>
              <a:ext uri="{FF2B5EF4-FFF2-40B4-BE49-F238E27FC236}">
                <a16:creationId xmlns:a16="http://schemas.microsoft.com/office/drawing/2014/main" id="{37E674A5-D356-4589-8349-70F08635D01D}"/>
              </a:ext>
            </a:extLst>
          </p:cNvPr>
          <p:cNvSpPr>
            <a:spLocks noGrp="1"/>
          </p:cNvSpPr>
          <p:nvPr>
            <p:ph type="body" sz="quarter" idx="51" hasCustomPrompt="1"/>
          </p:nvPr>
        </p:nvSpPr>
        <p:spPr bwMode="gray">
          <a:xfrm>
            <a:off x="427567" y="3847937"/>
            <a:ext cx="4023360" cy="466155"/>
          </a:xfrm>
        </p:spPr>
        <p:txBody>
          <a:bodyPr lIns="0" tIns="0" rIns="0" bIns="0" anchor="ctr"/>
          <a:lstStyle>
            <a:lvl1pPr marL="0" marR="0" indent="0" algn="l" defTabSz="1219170" rtl="0" eaLnBrk="1" fontAlgn="auto" latinLnBrk="0" hangingPunct="1">
              <a:lnSpc>
                <a:spcPct val="100000"/>
              </a:lnSpc>
              <a:spcBef>
                <a:spcPts val="0"/>
              </a:spcBef>
              <a:spcAft>
                <a:spcPts val="533"/>
              </a:spcAft>
              <a:buClr>
                <a:srgbClr val="FFFFFF"/>
              </a:buClr>
              <a:buSzPct val="100000"/>
              <a:buFont typeface="Arial" panose="020B0604020202020204" pitchFamily="34" charset="0"/>
              <a:buNone/>
              <a:tabLst/>
              <a:defRPr sz="1867">
                <a:solidFill>
                  <a:schemeClr val="accent3"/>
                </a:solidFill>
                <a:latin typeface="+mj-lt"/>
              </a:defRPr>
            </a:lvl1pPr>
          </a:lstStyle>
          <a:p>
            <a:pPr lvl="0"/>
            <a:r>
              <a:rPr lang="en-US"/>
              <a:t>Title</a:t>
            </a:r>
          </a:p>
        </p:txBody>
      </p:sp>
      <p:sp>
        <p:nvSpPr>
          <p:cNvPr id="50" name="Text Placeholder 5">
            <a:extLst>
              <a:ext uri="{FF2B5EF4-FFF2-40B4-BE49-F238E27FC236}">
                <a16:creationId xmlns:a16="http://schemas.microsoft.com/office/drawing/2014/main" id="{C34FA53B-F531-4886-B345-0ECF29DACF5A}"/>
              </a:ext>
            </a:extLst>
          </p:cNvPr>
          <p:cNvSpPr>
            <a:spLocks noGrp="1"/>
          </p:cNvSpPr>
          <p:nvPr>
            <p:ph type="body" sz="quarter" idx="52" hasCustomPrompt="1"/>
          </p:nvPr>
        </p:nvSpPr>
        <p:spPr bwMode="gray">
          <a:xfrm>
            <a:off x="7716651" y="1922585"/>
            <a:ext cx="4023360" cy="1758463"/>
          </a:xfrm>
        </p:spPr>
        <p:txBody>
          <a:bodyPr lIns="0" tIns="0" rIns="0" bIns="0" anchor="t"/>
          <a:lstStyle>
            <a:lvl1pPr marL="0" indent="0" algn="r">
              <a:buFont typeface="Arial" panose="020B0604020202020204" pitchFamily="34" charset="0"/>
              <a:buNone/>
              <a:defRPr sz="1600">
                <a:latin typeface="+mn-lt"/>
              </a:defRPr>
            </a:lvl1pPr>
          </a:lstStyle>
          <a:p>
            <a:pPr lvl="0"/>
            <a:r>
              <a:rPr lang="en-US"/>
              <a:t>Text</a:t>
            </a:r>
          </a:p>
        </p:txBody>
      </p:sp>
      <p:sp>
        <p:nvSpPr>
          <p:cNvPr id="54" name="Text Placeholder 5">
            <a:extLst>
              <a:ext uri="{FF2B5EF4-FFF2-40B4-BE49-F238E27FC236}">
                <a16:creationId xmlns:a16="http://schemas.microsoft.com/office/drawing/2014/main" id="{94B3C364-5411-4916-A935-D899A61821A4}"/>
              </a:ext>
            </a:extLst>
          </p:cNvPr>
          <p:cNvSpPr>
            <a:spLocks noGrp="1"/>
          </p:cNvSpPr>
          <p:nvPr>
            <p:ph type="body" sz="quarter" idx="53" hasCustomPrompt="1"/>
          </p:nvPr>
        </p:nvSpPr>
        <p:spPr bwMode="gray">
          <a:xfrm>
            <a:off x="7716651" y="1432984"/>
            <a:ext cx="4023360" cy="466155"/>
          </a:xfrm>
        </p:spPr>
        <p:txBody>
          <a:bodyPr lIns="0" tIns="0" rIns="0" bIns="0" anchor="ctr"/>
          <a:lstStyle>
            <a:lvl1pPr marL="0" indent="0" algn="r">
              <a:buFont typeface="Arial" panose="020B0604020202020204" pitchFamily="34" charset="0"/>
              <a:buNone/>
              <a:defRPr sz="1867">
                <a:solidFill>
                  <a:schemeClr val="accent1"/>
                </a:solidFill>
                <a:latin typeface="+mj-lt"/>
              </a:defRPr>
            </a:lvl1pPr>
          </a:lstStyle>
          <a:p>
            <a:pPr lvl="0"/>
            <a:r>
              <a:rPr lang="en-US"/>
              <a:t>Title</a:t>
            </a:r>
          </a:p>
        </p:txBody>
      </p:sp>
      <p:sp>
        <p:nvSpPr>
          <p:cNvPr id="55" name="Text Placeholder 5">
            <a:extLst>
              <a:ext uri="{FF2B5EF4-FFF2-40B4-BE49-F238E27FC236}">
                <a16:creationId xmlns:a16="http://schemas.microsoft.com/office/drawing/2014/main" id="{6704B853-92BC-4755-8429-4E8BF0F67255}"/>
              </a:ext>
            </a:extLst>
          </p:cNvPr>
          <p:cNvSpPr>
            <a:spLocks noGrp="1"/>
          </p:cNvSpPr>
          <p:nvPr>
            <p:ph type="body" sz="quarter" idx="54" hasCustomPrompt="1"/>
          </p:nvPr>
        </p:nvSpPr>
        <p:spPr bwMode="gray">
          <a:xfrm>
            <a:off x="7716651" y="4337538"/>
            <a:ext cx="4023360" cy="1758463"/>
          </a:xfrm>
        </p:spPr>
        <p:txBody>
          <a:bodyPr lIns="0" tIns="0" rIns="0" bIns="0" anchor="t"/>
          <a:lstStyle>
            <a:lvl1pPr marL="0" indent="0" algn="r">
              <a:buFont typeface="Arial" panose="020B0604020202020204" pitchFamily="34" charset="0"/>
              <a:buNone/>
              <a:defRPr sz="1600">
                <a:latin typeface="+mn-lt"/>
              </a:defRPr>
            </a:lvl1pPr>
          </a:lstStyle>
          <a:p>
            <a:pPr lvl="0"/>
            <a:r>
              <a:rPr lang="en-US"/>
              <a:t>Text</a:t>
            </a:r>
          </a:p>
        </p:txBody>
      </p:sp>
      <p:sp>
        <p:nvSpPr>
          <p:cNvPr id="56" name="Text Placeholder 5">
            <a:extLst>
              <a:ext uri="{FF2B5EF4-FFF2-40B4-BE49-F238E27FC236}">
                <a16:creationId xmlns:a16="http://schemas.microsoft.com/office/drawing/2014/main" id="{10F7BB3B-070D-44D0-8532-22A766ECACC4}"/>
              </a:ext>
            </a:extLst>
          </p:cNvPr>
          <p:cNvSpPr>
            <a:spLocks noGrp="1"/>
          </p:cNvSpPr>
          <p:nvPr>
            <p:ph type="body" sz="quarter" idx="55" hasCustomPrompt="1"/>
          </p:nvPr>
        </p:nvSpPr>
        <p:spPr bwMode="gray">
          <a:xfrm>
            <a:off x="7716651" y="3847937"/>
            <a:ext cx="4023360" cy="466155"/>
          </a:xfrm>
        </p:spPr>
        <p:txBody>
          <a:bodyPr lIns="0" tIns="0" rIns="0" bIns="0" anchor="ctr"/>
          <a:lstStyle>
            <a:lvl1pPr marL="0" indent="0" algn="r">
              <a:buFont typeface="Arial" panose="020B0604020202020204" pitchFamily="34" charset="0"/>
              <a:buNone/>
              <a:defRPr sz="1867">
                <a:solidFill>
                  <a:schemeClr val="accent2"/>
                </a:solidFill>
                <a:latin typeface="+mj-lt"/>
              </a:defRPr>
            </a:lvl1pPr>
          </a:lstStyle>
          <a:p>
            <a:pPr lvl="0"/>
            <a:r>
              <a:rPr lang="en-US"/>
              <a:t>Title</a:t>
            </a:r>
          </a:p>
        </p:txBody>
      </p:sp>
    </p:spTree>
    <p:extLst>
      <p:ext uri="{BB962C8B-B14F-4D97-AF65-F5344CB8AC3E}">
        <p14:creationId xmlns:p14="http://schemas.microsoft.com/office/powerpoint/2010/main" val="274106499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Eight titles">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360A106C-7E83-4E97-8AE0-90E2885456BF}"/>
              </a:ext>
            </a:extLst>
          </p:cNvPr>
          <p:cNvCxnSpPr>
            <a:cxnSpLocks/>
          </p:cNvCxnSpPr>
          <p:nvPr/>
        </p:nvCxnSpPr>
        <p:spPr bwMode="gray">
          <a:xfrm flipV="1">
            <a:off x="427567" y="3765550"/>
            <a:ext cx="11324167" cy="1"/>
          </a:xfrm>
          <a:prstGeom prst="line">
            <a:avLst/>
          </a:prstGeom>
          <a:ln>
            <a:gradFill flip="none" rotWithShape="1">
              <a:gsLst>
                <a:gs pos="0">
                  <a:schemeClr val="accent1">
                    <a:alpha val="0"/>
                  </a:schemeClr>
                </a:gs>
                <a:gs pos="50000">
                  <a:schemeClr val="accent1"/>
                </a:gs>
                <a:gs pos="100000">
                  <a:schemeClr val="accent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EB0A45B7-0313-483B-AE78-7E39674CD89A}"/>
              </a:ext>
            </a:extLst>
          </p:cNvPr>
          <p:cNvCxnSpPr/>
          <p:nvPr/>
        </p:nvCxnSpPr>
        <p:spPr bwMode="gray">
          <a:xfrm>
            <a:off x="3198925" y="1435101"/>
            <a:ext cx="0" cy="4660900"/>
          </a:xfrm>
          <a:prstGeom prst="line">
            <a:avLst/>
          </a:prstGeom>
          <a:ln>
            <a:gradFill flip="none" rotWithShape="1">
              <a:gsLst>
                <a:gs pos="0">
                  <a:schemeClr val="accent1">
                    <a:alpha val="0"/>
                  </a:schemeClr>
                </a:gs>
                <a:gs pos="50000">
                  <a:schemeClr val="accent1"/>
                </a:gs>
                <a:gs pos="100000">
                  <a:schemeClr val="accent1">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7F9E84B-B0C7-4FEB-B8C8-B5137DF9BA2F}"/>
              </a:ext>
            </a:extLst>
          </p:cNvPr>
          <p:cNvCxnSpPr/>
          <p:nvPr/>
        </p:nvCxnSpPr>
        <p:spPr bwMode="gray">
          <a:xfrm>
            <a:off x="6083787" y="1435101"/>
            <a:ext cx="0" cy="4660900"/>
          </a:xfrm>
          <a:prstGeom prst="line">
            <a:avLst/>
          </a:prstGeom>
          <a:ln>
            <a:gradFill flip="none" rotWithShape="1">
              <a:gsLst>
                <a:gs pos="0">
                  <a:schemeClr val="accent1">
                    <a:alpha val="0"/>
                  </a:schemeClr>
                </a:gs>
                <a:gs pos="50000">
                  <a:schemeClr val="accent1"/>
                </a:gs>
                <a:gs pos="100000">
                  <a:schemeClr val="accent1">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6746778-1213-402F-A56D-B7A31D93C456}"/>
              </a:ext>
            </a:extLst>
          </p:cNvPr>
          <p:cNvCxnSpPr/>
          <p:nvPr/>
        </p:nvCxnSpPr>
        <p:spPr bwMode="gray">
          <a:xfrm>
            <a:off x="8968649" y="1435101"/>
            <a:ext cx="0" cy="4660900"/>
          </a:xfrm>
          <a:prstGeom prst="line">
            <a:avLst/>
          </a:prstGeom>
          <a:ln>
            <a:gradFill flip="none" rotWithShape="1">
              <a:gsLst>
                <a:gs pos="0">
                  <a:schemeClr val="accent1">
                    <a:alpha val="0"/>
                  </a:schemeClr>
                </a:gs>
                <a:gs pos="50000">
                  <a:schemeClr val="accent1"/>
                </a:gs>
                <a:gs pos="100000">
                  <a:schemeClr val="accent1">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E0C09B28-0925-453E-8BD4-72CDB513A74E}"/>
              </a:ext>
            </a:extLst>
          </p:cNvPr>
          <p:cNvSpPr>
            <a:spLocks noGrp="1"/>
          </p:cNvSpPr>
          <p:nvPr>
            <p:ph type="title" hasCustomPrompt="1"/>
          </p:nvPr>
        </p:nvSpPr>
        <p:spPr bwMode="gray">
          <a:xfrm>
            <a:off x="303548" y="164637"/>
            <a:ext cx="11436096" cy="975360"/>
          </a:xfrm>
        </p:spPr>
        <p:txBody>
          <a:bodyPr/>
          <a:lstStyle/>
          <a:p>
            <a:r>
              <a:rPr lang="en-US"/>
              <a:t>Title in </a:t>
            </a:r>
            <a:r>
              <a:rPr lang="en-US" err="1"/>
              <a:t>Raleway</a:t>
            </a:r>
            <a:r>
              <a:rPr lang="en-US"/>
              <a:t> </a:t>
            </a:r>
            <a:r>
              <a:rPr lang="en-US" err="1"/>
              <a:t>SemiBold</a:t>
            </a:r>
            <a:r>
              <a:rPr lang="en-US"/>
              <a:t> 20pt</a:t>
            </a:r>
          </a:p>
        </p:txBody>
      </p:sp>
      <p:sp>
        <p:nvSpPr>
          <p:cNvPr id="19" name="Text Placeholder 4">
            <a:extLst>
              <a:ext uri="{FF2B5EF4-FFF2-40B4-BE49-F238E27FC236}">
                <a16:creationId xmlns:a16="http://schemas.microsoft.com/office/drawing/2014/main" id="{EA80C96E-3929-4152-AB01-4A8F2872A058}"/>
              </a:ext>
            </a:extLst>
          </p:cNvPr>
          <p:cNvSpPr>
            <a:spLocks noGrp="1"/>
          </p:cNvSpPr>
          <p:nvPr>
            <p:ph type="body" sz="quarter" idx="22" hasCustomPrompt="1"/>
          </p:nvPr>
        </p:nvSpPr>
        <p:spPr bwMode="gray">
          <a:xfrm>
            <a:off x="303547" y="556610"/>
            <a:ext cx="11436096" cy="580529"/>
          </a:xfrm>
        </p:spPr>
        <p:txBody>
          <a:bodyPr/>
          <a:lstStyle>
            <a:lvl1pPr marL="0" indent="0">
              <a:buNone/>
              <a:defRPr sz="2133">
                <a:solidFill>
                  <a:srgbClr val="0596FF"/>
                </a:solidFill>
                <a:latin typeface="+mj-lt"/>
              </a:defRPr>
            </a:lvl1pPr>
          </a:lstStyle>
          <a:p>
            <a:pPr lvl="0"/>
            <a:r>
              <a:rPr lang="en-US"/>
              <a:t>Subtitle in </a:t>
            </a:r>
            <a:r>
              <a:rPr lang="en-US" err="1"/>
              <a:t>Raleway</a:t>
            </a:r>
            <a:r>
              <a:rPr lang="en-US"/>
              <a:t> </a:t>
            </a:r>
            <a:r>
              <a:rPr lang="en-US" err="1"/>
              <a:t>SemiBold</a:t>
            </a:r>
            <a:r>
              <a:rPr lang="en-US"/>
              <a:t> 16pt</a:t>
            </a:r>
          </a:p>
        </p:txBody>
      </p:sp>
      <p:sp>
        <p:nvSpPr>
          <p:cNvPr id="51" name="Text Placeholder 5">
            <a:extLst>
              <a:ext uri="{FF2B5EF4-FFF2-40B4-BE49-F238E27FC236}">
                <a16:creationId xmlns:a16="http://schemas.microsoft.com/office/drawing/2014/main" id="{1870F207-DAE0-4F9E-BC24-FBAF964B37A7}"/>
              </a:ext>
            </a:extLst>
          </p:cNvPr>
          <p:cNvSpPr>
            <a:spLocks noGrp="1"/>
          </p:cNvSpPr>
          <p:nvPr>
            <p:ph type="body" sz="quarter" idx="13" hasCustomPrompt="1"/>
          </p:nvPr>
        </p:nvSpPr>
        <p:spPr bwMode="gray">
          <a:xfrm>
            <a:off x="427567" y="1432984"/>
            <a:ext cx="2657856" cy="2194560"/>
          </a:xfrm>
        </p:spPr>
        <p:txBody>
          <a:bodyPr lIns="0" tIns="0" rIns="0" bIns="0" anchor="t"/>
          <a:lstStyle>
            <a:lvl1pPr marL="0" indent="0" algn="l">
              <a:buFont typeface="Arial" panose="020B0604020202020204" pitchFamily="34" charset="0"/>
              <a:buNone/>
              <a:defRPr sz="1467">
                <a:latin typeface="+mn-lt"/>
              </a:defRPr>
            </a:lvl1pPr>
          </a:lstStyle>
          <a:p>
            <a:pPr lvl="0"/>
            <a:r>
              <a:rPr lang="en-US"/>
              <a:t>Text</a:t>
            </a:r>
          </a:p>
        </p:txBody>
      </p:sp>
      <p:sp>
        <p:nvSpPr>
          <p:cNvPr id="52" name="Text Placeholder 5">
            <a:extLst>
              <a:ext uri="{FF2B5EF4-FFF2-40B4-BE49-F238E27FC236}">
                <a16:creationId xmlns:a16="http://schemas.microsoft.com/office/drawing/2014/main" id="{DB4A13E2-127A-4334-AD45-2634FFD83827}"/>
              </a:ext>
            </a:extLst>
          </p:cNvPr>
          <p:cNvSpPr>
            <a:spLocks noGrp="1"/>
          </p:cNvSpPr>
          <p:nvPr>
            <p:ph type="body" sz="quarter" idx="26" hasCustomPrompt="1"/>
          </p:nvPr>
        </p:nvSpPr>
        <p:spPr bwMode="gray">
          <a:xfrm>
            <a:off x="3312428" y="1432984"/>
            <a:ext cx="2657856" cy="2194560"/>
          </a:xfrm>
        </p:spPr>
        <p:txBody>
          <a:bodyPr lIns="0" tIns="0" rIns="0" bIns="0" anchor="t"/>
          <a:lstStyle>
            <a:lvl1pPr marL="0" indent="0" algn="l">
              <a:buFont typeface="Arial" panose="020B0604020202020204" pitchFamily="34" charset="0"/>
              <a:buNone/>
              <a:defRPr sz="1467">
                <a:latin typeface="+mn-lt"/>
              </a:defRPr>
            </a:lvl1pPr>
          </a:lstStyle>
          <a:p>
            <a:pPr lvl="0"/>
            <a:r>
              <a:rPr lang="en-US"/>
              <a:t>Text</a:t>
            </a:r>
          </a:p>
        </p:txBody>
      </p:sp>
      <p:sp>
        <p:nvSpPr>
          <p:cNvPr id="53" name="Text Placeholder 5">
            <a:extLst>
              <a:ext uri="{FF2B5EF4-FFF2-40B4-BE49-F238E27FC236}">
                <a16:creationId xmlns:a16="http://schemas.microsoft.com/office/drawing/2014/main" id="{51A44452-CBAC-4F3B-A256-C86AB53549C3}"/>
              </a:ext>
            </a:extLst>
          </p:cNvPr>
          <p:cNvSpPr>
            <a:spLocks noGrp="1"/>
          </p:cNvSpPr>
          <p:nvPr>
            <p:ph type="body" sz="quarter" idx="28" hasCustomPrompt="1"/>
          </p:nvPr>
        </p:nvSpPr>
        <p:spPr bwMode="gray">
          <a:xfrm>
            <a:off x="6197289" y="1432984"/>
            <a:ext cx="2657856" cy="2194560"/>
          </a:xfrm>
        </p:spPr>
        <p:txBody>
          <a:bodyPr lIns="0" tIns="0" rIns="0" bIns="0" anchor="t"/>
          <a:lstStyle>
            <a:lvl1pPr marL="0" indent="0" algn="l">
              <a:buFont typeface="Arial" panose="020B0604020202020204" pitchFamily="34" charset="0"/>
              <a:buNone/>
              <a:defRPr sz="1467">
                <a:latin typeface="+mn-lt"/>
              </a:defRPr>
            </a:lvl1pPr>
          </a:lstStyle>
          <a:p>
            <a:pPr lvl="0"/>
            <a:r>
              <a:rPr lang="en-US"/>
              <a:t>Text</a:t>
            </a:r>
          </a:p>
        </p:txBody>
      </p:sp>
      <p:sp>
        <p:nvSpPr>
          <p:cNvPr id="63" name="Text Placeholder 5">
            <a:extLst>
              <a:ext uri="{FF2B5EF4-FFF2-40B4-BE49-F238E27FC236}">
                <a16:creationId xmlns:a16="http://schemas.microsoft.com/office/drawing/2014/main" id="{25151AA9-F1AE-42EA-81BD-CE6A771801E4}"/>
              </a:ext>
            </a:extLst>
          </p:cNvPr>
          <p:cNvSpPr>
            <a:spLocks noGrp="1"/>
          </p:cNvSpPr>
          <p:nvPr>
            <p:ph type="body" sz="quarter" idx="32" hasCustomPrompt="1"/>
          </p:nvPr>
        </p:nvSpPr>
        <p:spPr bwMode="gray">
          <a:xfrm>
            <a:off x="427567" y="3901440"/>
            <a:ext cx="2657856" cy="2194560"/>
          </a:xfrm>
        </p:spPr>
        <p:txBody>
          <a:bodyPr lIns="0" tIns="0" rIns="0" bIns="0" anchor="t"/>
          <a:lstStyle>
            <a:lvl1pPr marL="0" indent="0" algn="l">
              <a:buFont typeface="Arial" panose="020B0604020202020204" pitchFamily="34" charset="0"/>
              <a:buNone/>
              <a:defRPr sz="1467">
                <a:latin typeface="+mn-lt"/>
              </a:defRPr>
            </a:lvl1pPr>
          </a:lstStyle>
          <a:p>
            <a:pPr lvl="0"/>
            <a:r>
              <a:rPr lang="en-US"/>
              <a:t>Text</a:t>
            </a:r>
          </a:p>
        </p:txBody>
      </p:sp>
      <p:sp>
        <p:nvSpPr>
          <p:cNvPr id="64" name="Text Placeholder 5">
            <a:extLst>
              <a:ext uri="{FF2B5EF4-FFF2-40B4-BE49-F238E27FC236}">
                <a16:creationId xmlns:a16="http://schemas.microsoft.com/office/drawing/2014/main" id="{84591BF7-D684-400E-ADB3-8BA8566583A4}"/>
              </a:ext>
            </a:extLst>
          </p:cNvPr>
          <p:cNvSpPr>
            <a:spLocks noGrp="1"/>
          </p:cNvSpPr>
          <p:nvPr>
            <p:ph type="body" sz="quarter" idx="33" hasCustomPrompt="1"/>
          </p:nvPr>
        </p:nvSpPr>
        <p:spPr bwMode="gray">
          <a:xfrm>
            <a:off x="3312429" y="3901440"/>
            <a:ext cx="2657856" cy="2194560"/>
          </a:xfrm>
        </p:spPr>
        <p:txBody>
          <a:bodyPr lIns="0" tIns="0" rIns="0" bIns="0" anchor="t"/>
          <a:lstStyle>
            <a:lvl1pPr marL="0" indent="0" algn="l">
              <a:buFont typeface="Arial" panose="020B0604020202020204" pitchFamily="34" charset="0"/>
              <a:buNone/>
              <a:defRPr sz="1467">
                <a:latin typeface="+mn-lt"/>
              </a:defRPr>
            </a:lvl1pPr>
          </a:lstStyle>
          <a:p>
            <a:pPr lvl="0"/>
            <a:r>
              <a:rPr lang="en-US"/>
              <a:t>Text</a:t>
            </a:r>
          </a:p>
        </p:txBody>
      </p:sp>
      <p:sp>
        <p:nvSpPr>
          <p:cNvPr id="65" name="Text Placeholder 5">
            <a:extLst>
              <a:ext uri="{FF2B5EF4-FFF2-40B4-BE49-F238E27FC236}">
                <a16:creationId xmlns:a16="http://schemas.microsoft.com/office/drawing/2014/main" id="{0621D659-92B1-4C6E-BA9E-340B7DE5A15D}"/>
              </a:ext>
            </a:extLst>
          </p:cNvPr>
          <p:cNvSpPr>
            <a:spLocks noGrp="1"/>
          </p:cNvSpPr>
          <p:nvPr>
            <p:ph type="body" sz="quarter" idx="34" hasCustomPrompt="1"/>
          </p:nvPr>
        </p:nvSpPr>
        <p:spPr bwMode="gray">
          <a:xfrm>
            <a:off x="6197292" y="3901440"/>
            <a:ext cx="2657856" cy="2194560"/>
          </a:xfrm>
        </p:spPr>
        <p:txBody>
          <a:bodyPr lIns="0" tIns="0" rIns="0" bIns="0" anchor="t"/>
          <a:lstStyle>
            <a:lvl1pPr marL="0" indent="0" algn="l">
              <a:buFont typeface="Arial" panose="020B0604020202020204" pitchFamily="34" charset="0"/>
              <a:buNone/>
              <a:defRPr sz="1467">
                <a:latin typeface="+mn-lt"/>
              </a:defRPr>
            </a:lvl1pPr>
          </a:lstStyle>
          <a:p>
            <a:pPr lvl="0"/>
            <a:r>
              <a:rPr lang="en-US"/>
              <a:t>Text</a:t>
            </a:r>
          </a:p>
        </p:txBody>
      </p:sp>
      <p:sp>
        <p:nvSpPr>
          <p:cNvPr id="28" name="Text Placeholder 5">
            <a:extLst>
              <a:ext uri="{FF2B5EF4-FFF2-40B4-BE49-F238E27FC236}">
                <a16:creationId xmlns:a16="http://schemas.microsoft.com/office/drawing/2014/main" id="{04D45D0F-ACD9-4F42-B26B-D669974F0A30}"/>
              </a:ext>
            </a:extLst>
          </p:cNvPr>
          <p:cNvSpPr>
            <a:spLocks noGrp="1"/>
          </p:cNvSpPr>
          <p:nvPr>
            <p:ph type="body" sz="quarter" idx="35" hasCustomPrompt="1"/>
          </p:nvPr>
        </p:nvSpPr>
        <p:spPr bwMode="gray">
          <a:xfrm>
            <a:off x="9082155" y="1432984"/>
            <a:ext cx="2657856" cy="2194560"/>
          </a:xfrm>
        </p:spPr>
        <p:txBody>
          <a:bodyPr lIns="0" tIns="0" rIns="0" bIns="0" anchor="t"/>
          <a:lstStyle>
            <a:lvl1pPr marL="0" indent="0" algn="l">
              <a:buFont typeface="Arial" panose="020B0604020202020204" pitchFamily="34" charset="0"/>
              <a:buNone/>
              <a:defRPr sz="1467">
                <a:latin typeface="+mn-lt"/>
              </a:defRPr>
            </a:lvl1pPr>
          </a:lstStyle>
          <a:p>
            <a:pPr lvl="0"/>
            <a:r>
              <a:rPr lang="en-US"/>
              <a:t>Text</a:t>
            </a:r>
          </a:p>
        </p:txBody>
      </p:sp>
      <p:sp>
        <p:nvSpPr>
          <p:cNvPr id="31" name="Text Placeholder 5">
            <a:extLst>
              <a:ext uri="{FF2B5EF4-FFF2-40B4-BE49-F238E27FC236}">
                <a16:creationId xmlns:a16="http://schemas.microsoft.com/office/drawing/2014/main" id="{EC0D2291-4990-48EB-AB3C-41113664CF1A}"/>
              </a:ext>
            </a:extLst>
          </p:cNvPr>
          <p:cNvSpPr>
            <a:spLocks noGrp="1"/>
          </p:cNvSpPr>
          <p:nvPr>
            <p:ph type="body" sz="quarter" idx="36" hasCustomPrompt="1"/>
          </p:nvPr>
        </p:nvSpPr>
        <p:spPr bwMode="gray">
          <a:xfrm>
            <a:off x="9082155" y="3901440"/>
            <a:ext cx="2657856" cy="2194560"/>
          </a:xfrm>
        </p:spPr>
        <p:txBody>
          <a:bodyPr lIns="0" tIns="0" rIns="0" bIns="0" anchor="t"/>
          <a:lstStyle>
            <a:lvl1pPr marL="0" indent="0" algn="l">
              <a:buFont typeface="Arial" panose="020B0604020202020204" pitchFamily="34" charset="0"/>
              <a:buNone/>
              <a:defRPr sz="1467">
                <a:latin typeface="+mn-lt"/>
              </a:defRPr>
            </a:lvl1pPr>
          </a:lstStyle>
          <a:p>
            <a:pPr lvl="0"/>
            <a:r>
              <a:rPr lang="en-US"/>
              <a:t>Text</a:t>
            </a:r>
          </a:p>
        </p:txBody>
      </p:sp>
    </p:spTree>
    <p:extLst>
      <p:ext uri="{BB962C8B-B14F-4D97-AF65-F5344CB8AC3E}">
        <p14:creationId xmlns:p14="http://schemas.microsoft.com/office/powerpoint/2010/main" val="50257382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Divider 1">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4CB743F7-1E51-4231-BDBC-00E9E84244C3}"/>
              </a:ext>
            </a:extLst>
          </p:cNvPr>
          <p:cNvSpPr>
            <a:spLocks noGrp="1"/>
          </p:cNvSpPr>
          <p:nvPr>
            <p:ph type="body" sz="quarter" idx="10" hasCustomPrompt="1"/>
          </p:nvPr>
        </p:nvSpPr>
        <p:spPr bwMode="gray">
          <a:xfrm>
            <a:off x="1320799" y="2537691"/>
            <a:ext cx="4961468" cy="1434541"/>
          </a:xfrm>
        </p:spPr>
        <p:txBody>
          <a:bodyPr lIns="0" tIns="0" rIns="0" bIns="0"/>
          <a:lstStyle>
            <a:lvl1pPr marL="0" indent="0">
              <a:buNone/>
              <a:defRPr sz="3733"/>
            </a:lvl1pPr>
          </a:lstStyle>
          <a:p>
            <a:pPr lvl="0"/>
            <a:r>
              <a:rPr lang="en-US"/>
              <a:t>Chapter Title</a:t>
            </a:r>
          </a:p>
        </p:txBody>
      </p:sp>
      <p:sp>
        <p:nvSpPr>
          <p:cNvPr id="6" name="Text Placeholder 6">
            <a:extLst>
              <a:ext uri="{FF2B5EF4-FFF2-40B4-BE49-F238E27FC236}">
                <a16:creationId xmlns:a16="http://schemas.microsoft.com/office/drawing/2014/main" id="{16BFB1D5-0A8B-432B-BC50-7C8FF108FF2F}"/>
              </a:ext>
            </a:extLst>
          </p:cNvPr>
          <p:cNvSpPr>
            <a:spLocks noGrp="1"/>
          </p:cNvSpPr>
          <p:nvPr>
            <p:ph type="body" sz="quarter" idx="16" hasCustomPrompt="1"/>
          </p:nvPr>
        </p:nvSpPr>
        <p:spPr bwMode="gray">
          <a:xfrm>
            <a:off x="435577" y="2537691"/>
            <a:ext cx="624103" cy="574516"/>
          </a:xfrm>
        </p:spPr>
        <p:txBody>
          <a:bodyPr wrap="none" lIns="0" tIns="0" rIns="0" bIns="0">
            <a:spAutoFit/>
          </a:bodyPr>
          <a:lstStyle>
            <a:lvl1pPr marL="0" indent="0">
              <a:buNone/>
              <a:defRPr sz="3733">
                <a:solidFill>
                  <a:schemeClr val="accent1"/>
                </a:solidFill>
                <a:latin typeface="+mj-lt"/>
              </a:defRPr>
            </a:lvl1pPr>
          </a:lstStyle>
          <a:p>
            <a:pPr lvl="0"/>
            <a:r>
              <a:rPr lang="en-US"/>
              <a:t>01.</a:t>
            </a:r>
          </a:p>
        </p:txBody>
      </p:sp>
      <p:grpSp>
        <p:nvGrpSpPr>
          <p:cNvPr id="11" name="Group 10">
            <a:extLst>
              <a:ext uri="{FF2B5EF4-FFF2-40B4-BE49-F238E27FC236}">
                <a16:creationId xmlns:a16="http://schemas.microsoft.com/office/drawing/2014/main" id="{C845FAF1-F041-48CD-A27E-2318C80FEE14}"/>
              </a:ext>
            </a:extLst>
          </p:cNvPr>
          <p:cNvGrpSpPr/>
          <p:nvPr/>
        </p:nvGrpSpPr>
        <p:grpSpPr bwMode="gray">
          <a:xfrm>
            <a:off x="6197601" y="933278"/>
            <a:ext cx="5343188" cy="4590285"/>
            <a:chOff x="6531873" y="1076325"/>
            <a:chExt cx="2283515" cy="1961747"/>
          </a:xfrm>
        </p:grpSpPr>
        <p:sp>
          <p:nvSpPr>
            <p:cNvPr id="12" name="Oval 11">
              <a:extLst>
                <a:ext uri="{FF2B5EF4-FFF2-40B4-BE49-F238E27FC236}">
                  <a16:creationId xmlns:a16="http://schemas.microsoft.com/office/drawing/2014/main" id="{6DFB59F3-B6F9-4201-8EBA-C5BFF3AC8E64}"/>
                </a:ext>
              </a:extLst>
            </p:cNvPr>
            <p:cNvSpPr/>
            <p:nvPr/>
          </p:nvSpPr>
          <p:spPr bwMode="gray">
            <a:xfrm>
              <a:off x="7320724" y="1076325"/>
              <a:ext cx="1494664" cy="1494664"/>
            </a:xfrm>
            <a:prstGeom prst="ellipse">
              <a:avLst/>
            </a:prstGeom>
            <a:gradFill flip="none" rotWithShape="1">
              <a:gsLst>
                <a:gs pos="0">
                  <a:schemeClr val="accent4"/>
                </a:gs>
                <a:gs pos="100000">
                  <a:schemeClr val="accent4">
                    <a:alpha val="7000"/>
                  </a:schemeClr>
                </a:gs>
              </a:gsLst>
              <a:lin ang="108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Oval 12">
              <a:extLst>
                <a:ext uri="{FF2B5EF4-FFF2-40B4-BE49-F238E27FC236}">
                  <a16:creationId xmlns:a16="http://schemas.microsoft.com/office/drawing/2014/main" id="{A1B0092C-A810-4877-ACCC-9DACCDF6D711}"/>
                </a:ext>
              </a:extLst>
            </p:cNvPr>
            <p:cNvSpPr/>
            <p:nvPr/>
          </p:nvSpPr>
          <p:spPr bwMode="gray">
            <a:xfrm>
              <a:off x="6531873" y="1543408"/>
              <a:ext cx="1494664" cy="1494664"/>
            </a:xfrm>
            <a:prstGeom prst="ellipse">
              <a:avLst/>
            </a:prstGeom>
            <a:gradFill flip="none" rotWithShape="1">
              <a:gsLst>
                <a:gs pos="0">
                  <a:schemeClr val="accent1"/>
                </a:gs>
                <a:gs pos="100000">
                  <a:schemeClr val="accent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pic>
        <p:nvPicPr>
          <p:cNvPr id="9" name="Picture 8">
            <a:extLst>
              <a:ext uri="{FF2B5EF4-FFF2-40B4-BE49-F238E27FC236}">
                <a16:creationId xmlns:a16="http://schemas.microsoft.com/office/drawing/2014/main" id="{BBC279C8-0AC1-4152-A13A-BB32EFA76FC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10893426" y="6260859"/>
            <a:ext cx="863605" cy="282972"/>
          </a:xfrm>
          <a:prstGeom prst="rect">
            <a:avLst/>
          </a:prstGeom>
        </p:spPr>
      </p:pic>
    </p:spTree>
    <p:extLst>
      <p:ext uri="{BB962C8B-B14F-4D97-AF65-F5344CB8AC3E}">
        <p14:creationId xmlns:p14="http://schemas.microsoft.com/office/powerpoint/2010/main" val="181433035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Divider 2">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54A2CECD-DF9C-46E7-8FF7-E521FE00101A}"/>
              </a:ext>
            </a:extLst>
          </p:cNvPr>
          <p:cNvGrpSpPr/>
          <p:nvPr/>
        </p:nvGrpSpPr>
        <p:grpSpPr bwMode="gray">
          <a:xfrm>
            <a:off x="6400801" y="889000"/>
            <a:ext cx="4768855" cy="4820443"/>
            <a:chOff x="-2814641" y="-2652717"/>
            <a:chExt cx="3962974" cy="4005844"/>
          </a:xfrm>
        </p:grpSpPr>
        <p:sp>
          <p:nvSpPr>
            <p:cNvPr id="27" name="Oval 26">
              <a:extLst>
                <a:ext uri="{FF2B5EF4-FFF2-40B4-BE49-F238E27FC236}">
                  <a16:creationId xmlns:a16="http://schemas.microsoft.com/office/drawing/2014/main" id="{122EBD42-E9BF-4D4B-A66A-6892393E54BC}"/>
                </a:ext>
              </a:extLst>
            </p:cNvPr>
            <p:cNvSpPr>
              <a:spLocks noChangeAspect="1"/>
            </p:cNvSpPr>
            <p:nvPr userDrawn="1"/>
          </p:nvSpPr>
          <p:spPr bwMode="gray">
            <a:xfrm>
              <a:off x="-2814641" y="-2097727"/>
              <a:ext cx="2386583" cy="2386584"/>
            </a:xfrm>
            <a:prstGeom prst="ellipse">
              <a:avLst/>
            </a:prstGeom>
            <a:gradFill flip="none" rotWithShape="1">
              <a:gsLst>
                <a:gs pos="57000">
                  <a:srgbClr val="A375FF">
                    <a:alpha val="11000"/>
                  </a:srgbClr>
                </a:gs>
                <a:gs pos="10000">
                  <a:schemeClr val="accent2"/>
                </a:gs>
                <a:gs pos="100000">
                  <a:schemeClr val="accent2">
                    <a:alpha val="0"/>
                  </a:schemeClr>
                </a:gs>
              </a:gsLst>
              <a:lin ang="48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8" name="Oval 27">
              <a:extLst>
                <a:ext uri="{FF2B5EF4-FFF2-40B4-BE49-F238E27FC236}">
                  <a16:creationId xmlns:a16="http://schemas.microsoft.com/office/drawing/2014/main" id="{91EC3E41-A8A2-4AC0-A47A-58D117B31C1E}"/>
                </a:ext>
              </a:extLst>
            </p:cNvPr>
            <p:cNvSpPr>
              <a:spLocks noChangeAspect="1"/>
            </p:cNvSpPr>
            <p:nvPr userDrawn="1"/>
          </p:nvSpPr>
          <p:spPr bwMode="gray">
            <a:xfrm>
              <a:off x="-1238250" y="-1592466"/>
              <a:ext cx="2386583" cy="2386584"/>
            </a:xfrm>
            <a:prstGeom prst="ellipse">
              <a:avLst/>
            </a:prstGeom>
            <a:gradFill flip="none" rotWithShape="1">
              <a:gsLst>
                <a:gs pos="61000">
                  <a:schemeClr val="accent5">
                    <a:alpha val="13000"/>
                  </a:schemeClr>
                </a:gs>
                <a:gs pos="8000">
                  <a:schemeClr val="accent5"/>
                </a:gs>
                <a:gs pos="77000">
                  <a:schemeClr val="accent5">
                    <a:alpha val="0"/>
                  </a:schemeClr>
                </a:gs>
              </a:gsLst>
              <a:lin ang="14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9" name="Oval 28">
              <a:extLst>
                <a:ext uri="{FF2B5EF4-FFF2-40B4-BE49-F238E27FC236}">
                  <a16:creationId xmlns:a16="http://schemas.microsoft.com/office/drawing/2014/main" id="{728237F5-8C88-4492-B905-87F177AB52C1}"/>
                </a:ext>
              </a:extLst>
            </p:cNvPr>
            <p:cNvSpPr>
              <a:spLocks noChangeAspect="1"/>
            </p:cNvSpPr>
            <p:nvPr userDrawn="1"/>
          </p:nvSpPr>
          <p:spPr bwMode="gray">
            <a:xfrm>
              <a:off x="-1776415" y="-2652717"/>
              <a:ext cx="2386583" cy="2386584"/>
            </a:xfrm>
            <a:prstGeom prst="ellipse">
              <a:avLst/>
            </a:prstGeom>
            <a:gradFill flip="none" rotWithShape="1">
              <a:gsLst>
                <a:gs pos="68000">
                  <a:srgbClr val="039BDA">
                    <a:alpha val="13000"/>
                  </a:srgbClr>
                </a:gs>
                <a:gs pos="0">
                  <a:schemeClr val="accent1"/>
                </a:gs>
                <a:gs pos="100000">
                  <a:schemeClr val="accent4">
                    <a:alpha val="0"/>
                  </a:schemeClr>
                </a:gs>
              </a:gsLst>
              <a:lin ang="96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0" name="Oval 29">
              <a:extLst>
                <a:ext uri="{FF2B5EF4-FFF2-40B4-BE49-F238E27FC236}">
                  <a16:creationId xmlns:a16="http://schemas.microsoft.com/office/drawing/2014/main" id="{38C512B5-5971-4523-AF98-6872DBD353D9}"/>
                </a:ext>
              </a:extLst>
            </p:cNvPr>
            <p:cNvSpPr>
              <a:spLocks noChangeAspect="1"/>
            </p:cNvSpPr>
            <p:nvPr userDrawn="1"/>
          </p:nvSpPr>
          <p:spPr bwMode="gray">
            <a:xfrm>
              <a:off x="-2276474" y="-1033457"/>
              <a:ext cx="2386583" cy="2386584"/>
            </a:xfrm>
            <a:prstGeom prst="ellipse">
              <a:avLst/>
            </a:prstGeom>
            <a:gradFill flip="none" rotWithShape="1">
              <a:gsLst>
                <a:gs pos="71000">
                  <a:srgbClr val="039BDA">
                    <a:alpha val="0"/>
                  </a:srgbClr>
                </a:gs>
                <a:gs pos="9000">
                  <a:schemeClr val="accent1"/>
                </a:gs>
                <a:gs pos="100000">
                  <a:schemeClr val="accent4">
                    <a:alpha val="0"/>
                  </a:schemeClr>
                </a:gs>
              </a:gsLst>
              <a:lin ang="198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5" name="Text Placeholder 6">
            <a:extLst>
              <a:ext uri="{FF2B5EF4-FFF2-40B4-BE49-F238E27FC236}">
                <a16:creationId xmlns:a16="http://schemas.microsoft.com/office/drawing/2014/main" id="{4CB743F7-1E51-4231-BDBC-00E9E84244C3}"/>
              </a:ext>
            </a:extLst>
          </p:cNvPr>
          <p:cNvSpPr>
            <a:spLocks noGrp="1"/>
          </p:cNvSpPr>
          <p:nvPr>
            <p:ph type="body" sz="quarter" idx="10" hasCustomPrompt="1"/>
          </p:nvPr>
        </p:nvSpPr>
        <p:spPr bwMode="gray">
          <a:xfrm>
            <a:off x="1320799" y="2537691"/>
            <a:ext cx="4961468" cy="1434541"/>
          </a:xfrm>
        </p:spPr>
        <p:txBody>
          <a:bodyPr lIns="0" tIns="0" rIns="0" bIns="0"/>
          <a:lstStyle>
            <a:lvl1pPr marL="0" indent="0">
              <a:buNone/>
              <a:defRPr sz="3733"/>
            </a:lvl1pPr>
          </a:lstStyle>
          <a:p>
            <a:pPr lvl="0"/>
            <a:r>
              <a:rPr lang="en-US"/>
              <a:t>Chapter Title</a:t>
            </a:r>
          </a:p>
        </p:txBody>
      </p:sp>
      <p:sp>
        <p:nvSpPr>
          <p:cNvPr id="6" name="Text Placeholder 6">
            <a:extLst>
              <a:ext uri="{FF2B5EF4-FFF2-40B4-BE49-F238E27FC236}">
                <a16:creationId xmlns:a16="http://schemas.microsoft.com/office/drawing/2014/main" id="{16BFB1D5-0A8B-432B-BC50-7C8FF108FF2F}"/>
              </a:ext>
            </a:extLst>
          </p:cNvPr>
          <p:cNvSpPr>
            <a:spLocks noGrp="1"/>
          </p:cNvSpPr>
          <p:nvPr>
            <p:ph type="body" sz="quarter" idx="16" hasCustomPrompt="1"/>
          </p:nvPr>
        </p:nvSpPr>
        <p:spPr bwMode="gray">
          <a:xfrm>
            <a:off x="435576" y="2537691"/>
            <a:ext cx="660437" cy="574516"/>
          </a:xfrm>
        </p:spPr>
        <p:txBody>
          <a:bodyPr wrap="none" lIns="0" tIns="0" rIns="0" bIns="0">
            <a:spAutoFit/>
          </a:bodyPr>
          <a:lstStyle>
            <a:lvl1pPr marL="0" indent="0">
              <a:buNone/>
              <a:defRPr sz="3733">
                <a:solidFill>
                  <a:schemeClr val="accent1"/>
                </a:solidFill>
                <a:latin typeface="+mj-lt"/>
              </a:defRPr>
            </a:lvl1pPr>
          </a:lstStyle>
          <a:p>
            <a:pPr lvl="0"/>
            <a:r>
              <a:rPr lang="en-US"/>
              <a:t>02.</a:t>
            </a:r>
          </a:p>
        </p:txBody>
      </p:sp>
      <p:pic>
        <p:nvPicPr>
          <p:cNvPr id="10" name="Picture 9">
            <a:extLst>
              <a:ext uri="{FF2B5EF4-FFF2-40B4-BE49-F238E27FC236}">
                <a16:creationId xmlns:a16="http://schemas.microsoft.com/office/drawing/2014/main" id="{D55E7684-D9BD-4C8B-9620-A988694B36F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10893426" y="6260859"/>
            <a:ext cx="863605" cy="282972"/>
          </a:xfrm>
          <a:prstGeom prst="rect">
            <a:avLst/>
          </a:prstGeom>
        </p:spPr>
      </p:pic>
    </p:spTree>
    <p:extLst>
      <p:ext uri="{BB962C8B-B14F-4D97-AF65-F5344CB8AC3E}">
        <p14:creationId xmlns:p14="http://schemas.microsoft.com/office/powerpoint/2010/main" val="1969436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Number slide #4">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a:t>Click to add chapter title </a:t>
            </a: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968" y="2079122"/>
            <a:ext cx="12240683" cy="2699757"/>
          </a:xfrm>
          <a:prstGeom prst="rect">
            <a:avLst/>
          </a:prstGeom>
        </p:spPr>
      </p:pic>
    </p:spTree>
    <p:extLst>
      <p:ext uri="{BB962C8B-B14F-4D97-AF65-F5344CB8AC3E}">
        <p14:creationId xmlns:p14="http://schemas.microsoft.com/office/powerpoint/2010/main" val="187260287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Divider 3">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4CB743F7-1E51-4231-BDBC-00E9E84244C3}"/>
              </a:ext>
            </a:extLst>
          </p:cNvPr>
          <p:cNvSpPr>
            <a:spLocks noGrp="1"/>
          </p:cNvSpPr>
          <p:nvPr>
            <p:ph type="body" sz="quarter" idx="10" hasCustomPrompt="1"/>
          </p:nvPr>
        </p:nvSpPr>
        <p:spPr bwMode="gray">
          <a:xfrm>
            <a:off x="1320799" y="2537691"/>
            <a:ext cx="4961468" cy="1434541"/>
          </a:xfrm>
        </p:spPr>
        <p:txBody>
          <a:bodyPr lIns="0" tIns="0" rIns="0" bIns="0"/>
          <a:lstStyle>
            <a:lvl1pPr marL="0" indent="0">
              <a:buNone/>
              <a:defRPr sz="3733"/>
            </a:lvl1pPr>
          </a:lstStyle>
          <a:p>
            <a:pPr lvl="0"/>
            <a:r>
              <a:rPr lang="en-US"/>
              <a:t>Chapter Title</a:t>
            </a:r>
          </a:p>
        </p:txBody>
      </p:sp>
      <p:sp>
        <p:nvSpPr>
          <p:cNvPr id="6" name="Text Placeholder 6">
            <a:extLst>
              <a:ext uri="{FF2B5EF4-FFF2-40B4-BE49-F238E27FC236}">
                <a16:creationId xmlns:a16="http://schemas.microsoft.com/office/drawing/2014/main" id="{16BFB1D5-0A8B-432B-BC50-7C8FF108FF2F}"/>
              </a:ext>
            </a:extLst>
          </p:cNvPr>
          <p:cNvSpPr>
            <a:spLocks noGrp="1"/>
          </p:cNvSpPr>
          <p:nvPr>
            <p:ph type="body" sz="quarter" idx="16" hasCustomPrompt="1"/>
          </p:nvPr>
        </p:nvSpPr>
        <p:spPr bwMode="gray">
          <a:xfrm>
            <a:off x="435576" y="2537691"/>
            <a:ext cx="660437" cy="574516"/>
          </a:xfrm>
        </p:spPr>
        <p:txBody>
          <a:bodyPr wrap="none" lIns="0" tIns="0" rIns="0" bIns="0">
            <a:spAutoFit/>
          </a:bodyPr>
          <a:lstStyle>
            <a:lvl1pPr marL="0" indent="0">
              <a:buNone/>
              <a:defRPr sz="3733">
                <a:solidFill>
                  <a:schemeClr val="accent1"/>
                </a:solidFill>
                <a:latin typeface="+mj-lt"/>
              </a:defRPr>
            </a:lvl1pPr>
          </a:lstStyle>
          <a:p>
            <a:pPr lvl="0"/>
            <a:r>
              <a:rPr lang="en-US"/>
              <a:t>03.</a:t>
            </a:r>
          </a:p>
        </p:txBody>
      </p:sp>
      <p:grpSp>
        <p:nvGrpSpPr>
          <p:cNvPr id="16" name="Group 15">
            <a:extLst>
              <a:ext uri="{FF2B5EF4-FFF2-40B4-BE49-F238E27FC236}">
                <a16:creationId xmlns:a16="http://schemas.microsoft.com/office/drawing/2014/main" id="{DD7A0416-BB17-4178-BEED-71440C5FC2EB}"/>
              </a:ext>
            </a:extLst>
          </p:cNvPr>
          <p:cNvGrpSpPr/>
          <p:nvPr/>
        </p:nvGrpSpPr>
        <p:grpSpPr bwMode="gray">
          <a:xfrm>
            <a:off x="6604000" y="1193801"/>
            <a:ext cx="4585249" cy="4585252"/>
            <a:chOff x="-5257800" y="-4102097"/>
            <a:chExt cx="4014214" cy="4014216"/>
          </a:xfrm>
        </p:grpSpPr>
        <p:sp>
          <p:nvSpPr>
            <p:cNvPr id="17" name="Oval 16">
              <a:extLst>
                <a:ext uri="{FF2B5EF4-FFF2-40B4-BE49-F238E27FC236}">
                  <a16:creationId xmlns:a16="http://schemas.microsoft.com/office/drawing/2014/main" id="{D133F32E-7489-4D85-9DB1-AA02EE2F777C}"/>
                </a:ext>
              </a:extLst>
            </p:cNvPr>
            <p:cNvSpPr>
              <a:spLocks noChangeAspect="1"/>
            </p:cNvSpPr>
            <p:nvPr userDrawn="1"/>
          </p:nvSpPr>
          <p:spPr bwMode="gray">
            <a:xfrm>
              <a:off x="-5257800" y="-4102097"/>
              <a:ext cx="4014214" cy="4014216"/>
            </a:xfrm>
            <a:prstGeom prst="ellipse">
              <a:avLst/>
            </a:prstGeom>
            <a:gradFill flip="none" rotWithShape="1">
              <a:gsLst>
                <a:gs pos="68000">
                  <a:srgbClr val="039BDA">
                    <a:alpha val="13000"/>
                  </a:srgbClr>
                </a:gs>
                <a:gs pos="4000">
                  <a:schemeClr val="accent1"/>
                </a:gs>
                <a:gs pos="100000">
                  <a:schemeClr val="accent4">
                    <a:alpha val="0"/>
                  </a:schemeClr>
                </a:gs>
              </a:gsLst>
              <a:lin ang="108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8" name="Oval 17">
              <a:extLst>
                <a:ext uri="{FF2B5EF4-FFF2-40B4-BE49-F238E27FC236}">
                  <a16:creationId xmlns:a16="http://schemas.microsoft.com/office/drawing/2014/main" id="{48AD42C8-CC64-4745-A488-6851251CFCFF}"/>
                </a:ext>
              </a:extLst>
            </p:cNvPr>
            <p:cNvSpPr>
              <a:spLocks noChangeAspect="1"/>
            </p:cNvSpPr>
            <p:nvPr userDrawn="1"/>
          </p:nvSpPr>
          <p:spPr bwMode="gray">
            <a:xfrm>
              <a:off x="-4194009" y="-1974515"/>
              <a:ext cx="1883663" cy="1883664"/>
            </a:xfrm>
            <a:prstGeom prst="ellipse">
              <a:avLst/>
            </a:prstGeom>
            <a:gradFill flip="none" rotWithShape="1">
              <a:gsLst>
                <a:gs pos="68000">
                  <a:schemeClr val="accent3">
                    <a:alpha val="13000"/>
                  </a:schemeClr>
                </a:gs>
                <a:gs pos="8000">
                  <a:schemeClr val="accent3"/>
                </a:gs>
                <a:gs pos="100000">
                  <a:schemeClr val="accent4">
                    <a:alpha val="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pic>
        <p:nvPicPr>
          <p:cNvPr id="8" name="Picture 7">
            <a:extLst>
              <a:ext uri="{FF2B5EF4-FFF2-40B4-BE49-F238E27FC236}">
                <a16:creationId xmlns:a16="http://schemas.microsoft.com/office/drawing/2014/main" id="{B6C8FEE2-1F1E-48D5-968B-BBCE8BD010A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10893426" y="6260859"/>
            <a:ext cx="863605" cy="282972"/>
          </a:xfrm>
          <a:prstGeom prst="rect">
            <a:avLst/>
          </a:prstGeom>
        </p:spPr>
      </p:pic>
    </p:spTree>
    <p:extLst>
      <p:ext uri="{BB962C8B-B14F-4D97-AF65-F5344CB8AC3E}">
        <p14:creationId xmlns:p14="http://schemas.microsoft.com/office/powerpoint/2010/main" val="32366382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Divider 4">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4CB743F7-1E51-4231-BDBC-00E9E84244C3}"/>
              </a:ext>
            </a:extLst>
          </p:cNvPr>
          <p:cNvSpPr>
            <a:spLocks noGrp="1"/>
          </p:cNvSpPr>
          <p:nvPr>
            <p:ph type="body" sz="quarter" idx="10" hasCustomPrompt="1"/>
          </p:nvPr>
        </p:nvSpPr>
        <p:spPr bwMode="gray">
          <a:xfrm>
            <a:off x="1320799" y="2537691"/>
            <a:ext cx="4961468" cy="1434541"/>
          </a:xfrm>
        </p:spPr>
        <p:txBody>
          <a:bodyPr lIns="0" tIns="0" rIns="0" bIns="0"/>
          <a:lstStyle>
            <a:lvl1pPr marL="0" indent="0">
              <a:buNone/>
              <a:defRPr sz="3733"/>
            </a:lvl1pPr>
          </a:lstStyle>
          <a:p>
            <a:pPr lvl="0"/>
            <a:r>
              <a:rPr lang="en-US"/>
              <a:t>Chapter Title</a:t>
            </a:r>
          </a:p>
        </p:txBody>
      </p:sp>
      <p:sp>
        <p:nvSpPr>
          <p:cNvPr id="6" name="Text Placeholder 6">
            <a:extLst>
              <a:ext uri="{FF2B5EF4-FFF2-40B4-BE49-F238E27FC236}">
                <a16:creationId xmlns:a16="http://schemas.microsoft.com/office/drawing/2014/main" id="{16BFB1D5-0A8B-432B-BC50-7C8FF108FF2F}"/>
              </a:ext>
            </a:extLst>
          </p:cNvPr>
          <p:cNvSpPr>
            <a:spLocks noGrp="1"/>
          </p:cNvSpPr>
          <p:nvPr>
            <p:ph type="body" sz="quarter" idx="16" hasCustomPrompt="1"/>
          </p:nvPr>
        </p:nvSpPr>
        <p:spPr bwMode="gray">
          <a:xfrm>
            <a:off x="435577" y="2537691"/>
            <a:ext cx="666849" cy="574516"/>
          </a:xfrm>
        </p:spPr>
        <p:txBody>
          <a:bodyPr wrap="none" lIns="0" tIns="0" rIns="0" bIns="0">
            <a:spAutoFit/>
          </a:bodyPr>
          <a:lstStyle>
            <a:lvl1pPr marL="0" indent="0">
              <a:buNone/>
              <a:defRPr sz="3733">
                <a:solidFill>
                  <a:schemeClr val="accent1"/>
                </a:solidFill>
                <a:latin typeface="+mj-lt"/>
              </a:defRPr>
            </a:lvl1pPr>
          </a:lstStyle>
          <a:p>
            <a:pPr lvl="0"/>
            <a:r>
              <a:rPr lang="en-US"/>
              <a:t>04.</a:t>
            </a:r>
          </a:p>
        </p:txBody>
      </p:sp>
      <p:grpSp>
        <p:nvGrpSpPr>
          <p:cNvPr id="31" name="Group 30">
            <a:extLst>
              <a:ext uri="{FF2B5EF4-FFF2-40B4-BE49-F238E27FC236}">
                <a16:creationId xmlns:a16="http://schemas.microsoft.com/office/drawing/2014/main" id="{0F917BC2-54E8-44A9-AA9B-4A2B73AF7764}"/>
              </a:ext>
            </a:extLst>
          </p:cNvPr>
          <p:cNvGrpSpPr/>
          <p:nvPr/>
        </p:nvGrpSpPr>
        <p:grpSpPr bwMode="gray">
          <a:xfrm>
            <a:off x="6853391" y="990601"/>
            <a:ext cx="4528428" cy="4580279"/>
            <a:chOff x="-2781243" y="-2005012"/>
            <a:chExt cx="3959798" cy="4005137"/>
          </a:xfrm>
        </p:grpSpPr>
        <p:sp>
          <p:nvSpPr>
            <p:cNvPr id="32" name="Oval 31">
              <a:extLst>
                <a:ext uri="{FF2B5EF4-FFF2-40B4-BE49-F238E27FC236}">
                  <a16:creationId xmlns:a16="http://schemas.microsoft.com/office/drawing/2014/main" id="{C30AD142-7098-461B-85A9-A1E16D31100B}"/>
                </a:ext>
              </a:extLst>
            </p:cNvPr>
            <p:cNvSpPr>
              <a:spLocks noChangeAspect="1"/>
            </p:cNvSpPr>
            <p:nvPr userDrawn="1"/>
          </p:nvSpPr>
          <p:spPr bwMode="gray">
            <a:xfrm>
              <a:off x="-1457326" y="-2000251"/>
              <a:ext cx="2624327" cy="2624328"/>
            </a:xfrm>
            <a:prstGeom prst="ellipse">
              <a:avLst/>
            </a:prstGeom>
            <a:gradFill flip="none" rotWithShape="1">
              <a:gsLst>
                <a:gs pos="58000">
                  <a:srgbClr val="039BDA">
                    <a:alpha val="23000"/>
                  </a:srgbClr>
                </a:gs>
                <a:gs pos="9000">
                  <a:schemeClr val="accent1"/>
                </a:gs>
                <a:gs pos="83000">
                  <a:schemeClr val="accent4">
                    <a:alpha val="0"/>
                  </a:schemeClr>
                </a:gs>
              </a:gsLst>
              <a:lin ang="30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3" name="Oval 32">
              <a:extLst>
                <a:ext uri="{FF2B5EF4-FFF2-40B4-BE49-F238E27FC236}">
                  <a16:creationId xmlns:a16="http://schemas.microsoft.com/office/drawing/2014/main" id="{AFD5B55E-4588-4C08-A905-27C2B55E54FF}"/>
                </a:ext>
              </a:extLst>
            </p:cNvPr>
            <p:cNvSpPr>
              <a:spLocks noChangeAspect="1"/>
            </p:cNvSpPr>
            <p:nvPr userDrawn="1"/>
          </p:nvSpPr>
          <p:spPr bwMode="gray">
            <a:xfrm>
              <a:off x="-1491492" y="-669923"/>
              <a:ext cx="2670047" cy="2670048"/>
            </a:xfrm>
            <a:prstGeom prst="ellipse">
              <a:avLst/>
            </a:prstGeom>
            <a:gradFill flip="none" rotWithShape="1">
              <a:gsLst>
                <a:gs pos="60000">
                  <a:srgbClr val="A375FF">
                    <a:alpha val="17000"/>
                  </a:srgbClr>
                </a:gs>
                <a:gs pos="0">
                  <a:schemeClr val="accent2"/>
                </a:gs>
                <a:gs pos="100000">
                  <a:schemeClr val="accent2">
                    <a:alpha val="0"/>
                  </a:schemeClr>
                </a:gs>
              </a:gsLst>
              <a:lin ang="108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4" name="Oval 33">
              <a:extLst>
                <a:ext uri="{FF2B5EF4-FFF2-40B4-BE49-F238E27FC236}">
                  <a16:creationId xmlns:a16="http://schemas.microsoft.com/office/drawing/2014/main" id="{AE638349-1DC9-4614-A504-CDD562A384A2}"/>
                </a:ext>
              </a:extLst>
            </p:cNvPr>
            <p:cNvSpPr>
              <a:spLocks noChangeAspect="1"/>
            </p:cNvSpPr>
            <p:nvPr userDrawn="1"/>
          </p:nvSpPr>
          <p:spPr bwMode="gray">
            <a:xfrm>
              <a:off x="-2781243" y="-2005012"/>
              <a:ext cx="2670047" cy="2670048"/>
            </a:xfrm>
            <a:prstGeom prst="ellipse">
              <a:avLst/>
            </a:prstGeom>
            <a:gradFill flip="none" rotWithShape="1">
              <a:gsLst>
                <a:gs pos="60000">
                  <a:srgbClr val="A375FF">
                    <a:alpha val="11000"/>
                  </a:srgbClr>
                </a:gs>
                <a:gs pos="6000">
                  <a:schemeClr val="accent2"/>
                </a:gs>
                <a:gs pos="100000">
                  <a:schemeClr val="accent2">
                    <a:alpha val="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5" name="Oval 34">
              <a:extLst>
                <a:ext uri="{FF2B5EF4-FFF2-40B4-BE49-F238E27FC236}">
                  <a16:creationId xmlns:a16="http://schemas.microsoft.com/office/drawing/2014/main" id="{E32AE39D-6D82-4EF2-ABB6-EAC0DDA405BA}"/>
                </a:ext>
              </a:extLst>
            </p:cNvPr>
            <p:cNvSpPr>
              <a:spLocks noChangeAspect="1"/>
            </p:cNvSpPr>
            <p:nvPr userDrawn="1"/>
          </p:nvSpPr>
          <p:spPr bwMode="gray">
            <a:xfrm>
              <a:off x="-2781243" y="-644520"/>
              <a:ext cx="2624327" cy="2624328"/>
            </a:xfrm>
            <a:prstGeom prst="ellipse">
              <a:avLst/>
            </a:prstGeom>
            <a:gradFill flip="none" rotWithShape="1">
              <a:gsLst>
                <a:gs pos="58000">
                  <a:schemeClr val="accent4">
                    <a:alpha val="13000"/>
                  </a:schemeClr>
                </a:gs>
                <a:gs pos="0">
                  <a:schemeClr val="accent4"/>
                </a:gs>
                <a:gs pos="100000">
                  <a:schemeClr val="accent4">
                    <a:alpha val="0"/>
                  </a:schemeClr>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6" name="Rectangle 35">
              <a:extLst>
                <a:ext uri="{FF2B5EF4-FFF2-40B4-BE49-F238E27FC236}">
                  <a16:creationId xmlns:a16="http://schemas.microsoft.com/office/drawing/2014/main" id="{02B704B7-94AA-4610-A074-E217163FEFBE}"/>
                </a:ext>
              </a:extLst>
            </p:cNvPr>
            <p:cNvSpPr/>
            <p:nvPr userDrawn="1"/>
          </p:nvSpPr>
          <p:spPr bwMode="gray">
            <a:xfrm>
              <a:off x="-1459706" y="-669132"/>
              <a:ext cx="1316831" cy="1335881"/>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pic>
        <p:nvPicPr>
          <p:cNvPr id="11" name="Picture 10">
            <a:extLst>
              <a:ext uri="{FF2B5EF4-FFF2-40B4-BE49-F238E27FC236}">
                <a16:creationId xmlns:a16="http://schemas.microsoft.com/office/drawing/2014/main" id="{D2EBEECB-602B-4773-97C9-1401B9D84AF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10893426" y="6260859"/>
            <a:ext cx="863605" cy="282972"/>
          </a:xfrm>
          <a:prstGeom prst="rect">
            <a:avLst/>
          </a:prstGeom>
        </p:spPr>
      </p:pic>
    </p:spTree>
    <p:extLst>
      <p:ext uri="{BB962C8B-B14F-4D97-AF65-F5344CB8AC3E}">
        <p14:creationId xmlns:p14="http://schemas.microsoft.com/office/powerpoint/2010/main" val="369460505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Divider 5">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4CB743F7-1E51-4231-BDBC-00E9E84244C3}"/>
              </a:ext>
            </a:extLst>
          </p:cNvPr>
          <p:cNvSpPr>
            <a:spLocks noGrp="1"/>
          </p:cNvSpPr>
          <p:nvPr>
            <p:ph type="body" sz="quarter" idx="10" hasCustomPrompt="1"/>
          </p:nvPr>
        </p:nvSpPr>
        <p:spPr bwMode="gray">
          <a:xfrm>
            <a:off x="1320799" y="2537691"/>
            <a:ext cx="4961468" cy="1434541"/>
          </a:xfrm>
        </p:spPr>
        <p:txBody>
          <a:bodyPr lIns="0" tIns="0" rIns="0" bIns="0"/>
          <a:lstStyle>
            <a:lvl1pPr marL="0" indent="0">
              <a:buNone/>
              <a:defRPr sz="3733"/>
            </a:lvl1pPr>
          </a:lstStyle>
          <a:p>
            <a:pPr lvl="0"/>
            <a:r>
              <a:rPr lang="en-US"/>
              <a:t>Chapter Title</a:t>
            </a:r>
          </a:p>
        </p:txBody>
      </p:sp>
      <p:sp>
        <p:nvSpPr>
          <p:cNvPr id="6" name="Text Placeholder 6">
            <a:extLst>
              <a:ext uri="{FF2B5EF4-FFF2-40B4-BE49-F238E27FC236}">
                <a16:creationId xmlns:a16="http://schemas.microsoft.com/office/drawing/2014/main" id="{16BFB1D5-0A8B-432B-BC50-7C8FF108FF2F}"/>
              </a:ext>
            </a:extLst>
          </p:cNvPr>
          <p:cNvSpPr>
            <a:spLocks noGrp="1"/>
          </p:cNvSpPr>
          <p:nvPr>
            <p:ph type="body" sz="quarter" idx="16" hasCustomPrompt="1"/>
          </p:nvPr>
        </p:nvSpPr>
        <p:spPr bwMode="gray">
          <a:xfrm>
            <a:off x="435576" y="2537691"/>
            <a:ext cx="660437" cy="574516"/>
          </a:xfrm>
        </p:spPr>
        <p:txBody>
          <a:bodyPr wrap="none" lIns="0" tIns="0" rIns="0" bIns="0">
            <a:spAutoFit/>
          </a:bodyPr>
          <a:lstStyle>
            <a:lvl1pPr marL="0" indent="0">
              <a:buNone/>
              <a:defRPr sz="3733">
                <a:solidFill>
                  <a:schemeClr val="accent1"/>
                </a:solidFill>
                <a:latin typeface="+mj-lt"/>
              </a:defRPr>
            </a:lvl1pPr>
          </a:lstStyle>
          <a:p>
            <a:pPr lvl="0"/>
            <a:r>
              <a:rPr lang="en-US"/>
              <a:t>05.</a:t>
            </a:r>
          </a:p>
        </p:txBody>
      </p:sp>
      <p:grpSp>
        <p:nvGrpSpPr>
          <p:cNvPr id="11" name="Group 10">
            <a:extLst>
              <a:ext uri="{FF2B5EF4-FFF2-40B4-BE49-F238E27FC236}">
                <a16:creationId xmlns:a16="http://schemas.microsoft.com/office/drawing/2014/main" id="{840C9F1E-DE8F-4F19-980C-CEDA0F6A5E10}"/>
              </a:ext>
            </a:extLst>
          </p:cNvPr>
          <p:cNvGrpSpPr/>
          <p:nvPr/>
        </p:nvGrpSpPr>
        <p:grpSpPr bwMode="gray">
          <a:xfrm>
            <a:off x="7303478" y="1019053"/>
            <a:ext cx="3982959" cy="4374987"/>
            <a:chOff x="-4073526" y="-2951353"/>
            <a:chExt cx="3639311" cy="3997516"/>
          </a:xfrm>
        </p:grpSpPr>
        <p:sp>
          <p:nvSpPr>
            <p:cNvPr id="12" name="Oval 11">
              <a:extLst>
                <a:ext uri="{FF2B5EF4-FFF2-40B4-BE49-F238E27FC236}">
                  <a16:creationId xmlns:a16="http://schemas.microsoft.com/office/drawing/2014/main" id="{B230C868-ECB0-45C6-9882-DA9EB1E444AC}"/>
                </a:ext>
              </a:extLst>
            </p:cNvPr>
            <p:cNvSpPr>
              <a:spLocks noChangeAspect="1"/>
            </p:cNvSpPr>
            <p:nvPr userDrawn="1"/>
          </p:nvSpPr>
          <p:spPr bwMode="gray">
            <a:xfrm>
              <a:off x="-4073526" y="-2951353"/>
              <a:ext cx="3639311" cy="3639312"/>
            </a:xfrm>
            <a:prstGeom prst="ellipse">
              <a:avLst/>
            </a:prstGeom>
            <a:gradFill flip="none" rotWithShape="1">
              <a:gsLst>
                <a:gs pos="58000">
                  <a:schemeClr val="accent3">
                    <a:alpha val="24000"/>
                  </a:schemeClr>
                </a:gs>
                <a:gs pos="9000">
                  <a:schemeClr val="accent3">
                    <a:alpha val="85000"/>
                  </a:schemeClr>
                </a:gs>
                <a:gs pos="100000">
                  <a:schemeClr val="accent3">
                    <a:alpha val="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Rectangle 12">
              <a:extLst>
                <a:ext uri="{FF2B5EF4-FFF2-40B4-BE49-F238E27FC236}">
                  <a16:creationId xmlns:a16="http://schemas.microsoft.com/office/drawing/2014/main" id="{584CF372-22D1-4229-B419-BF1E425D6447}"/>
                </a:ext>
              </a:extLst>
            </p:cNvPr>
            <p:cNvSpPr/>
            <p:nvPr userDrawn="1"/>
          </p:nvSpPr>
          <p:spPr bwMode="gray">
            <a:xfrm>
              <a:off x="-2069935" y="-1023938"/>
              <a:ext cx="1630599" cy="2070101"/>
            </a:xfrm>
            <a:prstGeom prst="rect">
              <a:avLst/>
            </a:prstGeom>
            <a:gradFill flip="none" rotWithShape="1">
              <a:gsLst>
                <a:gs pos="0">
                  <a:schemeClr val="accent1"/>
                </a:gs>
                <a:gs pos="39000">
                  <a:schemeClr val="accent1">
                    <a:alpha val="48000"/>
                  </a:schemeClr>
                </a:gs>
                <a:gs pos="100000">
                  <a:schemeClr val="accent1">
                    <a:alpha val="0"/>
                  </a:scheme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400"/>
            </a:p>
          </p:txBody>
        </p:sp>
        <p:sp>
          <p:nvSpPr>
            <p:cNvPr id="14" name="Rectangle 13">
              <a:extLst>
                <a:ext uri="{FF2B5EF4-FFF2-40B4-BE49-F238E27FC236}">
                  <a16:creationId xmlns:a16="http://schemas.microsoft.com/office/drawing/2014/main" id="{58BFB3B5-A5DD-47E5-B1C4-A55BE95D9BB2}"/>
                </a:ext>
              </a:extLst>
            </p:cNvPr>
            <p:cNvSpPr/>
            <p:nvPr userDrawn="1"/>
          </p:nvSpPr>
          <p:spPr bwMode="gray">
            <a:xfrm>
              <a:off x="-3702050" y="-47625"/>
              <a:ext cx="1630599" cy="1093788"/>
            </a:xfrm>
            <a:prstGeom prst="rect">
              <a:avLst/>
            </a:prstGeom>
            <a:gradFill flip="none" rotWithShape="1">
              <a:gsLst>
                <a:gs pos="0">
                  <a:schemeClr val="accent2"/>
                </a:gs>
                <a:gs pos="44200">
                  <a:srgbClr val="A375FF">
                    <a:alpha val="42000"/>
                  </a:srgbClr>
                </a:gs>
                <a:gs pos="100000">
                  <a:schemeClr val="accent2">
                    <a:alpha val="0"/>
                  </a:schemeClr>
                </a:gs>
              </a:gsLst>
              <a:lin ang="54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pic>
        <p:nvPicPr>
          <p:cNvPr id="10" name="Picture 9">
            <a:extLst>
              <a:ext uri="{FF2B5EF4-FFF2-40B4-BE49-F238E27FC236}">
                <a16:creationId xmlns:a16="http://schemas.microsoft.com/office/drawing/2014/main" id="{9D143F05-7946-40E0-B5B1-887E01A3BA9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10893426" y="6260859"/>
            <a:ext cx="863605" cy="282972"/>
          </a:xfrm>
          <a:prstGeom prst="rect">
            <a:avLst/>
          </a:prstGeom>
        </p:spPr>
      </p:pic>
    </p:spTree>
    <p:extLst>
      <p:ext uri="{BB962C8B-B14F-4D97-AF65-F5344CB8AC3E}">
        <p14:creationId xmlns:p14="http://schemas.microsoft.com/office/powerpoint/2010/main" val="341894074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Divider 6">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4CB743F7-1E51-4231-BDBC-00E9E84244C3}"/>
              </a:ext>
            </a:extLst>
          </p:cNvPr>
          <p:cNvSpPr>
            <a:spLocks noGrp="1"/>
          </p:cNvSpPr>
          <p:nvPr>
            <p:ph type="body" sz="quarter" idx="10" hasCustomPrompt="1"/>
          </p:nvPr>
        </p:nvSpPr>
        <p:spPr bwMode="gray">
          <a:xfrm>
            <a:off x="1320799" y="2537691"/>
            <a:ext cx="4961468" cy="1434541"/>
          </a:xfrm>
        </p:spPr>
        <p:txBody>
          <a:bodyPr lIns="0" tIns="0" rIns="0" bIns="0"/>
          <a:lstStyle>
            <a:lvl1pPr marL="0" indent="0">
              <a:buNone/>
              <a:defRPr sz="3733"/>
            </a:lvl1pPr>
          </a:lstStyle>
          <a:p>
            <a:pPr lvl="0"/>
            <a:r>
              <a:rPr lang="en-US"/>
              <a:t>Chapter Title</a:t>
            </a:r>
          </a:p>
        </p:txBody>
      </p:sp>
      <p:sp>
        <p:nvSpPr>
          <p:cNvPr id="6" name="Text Placeholder 6">
            <a:extLst>
              <a:ext uri="{FF2B5EF4-FFF2-40B4-BE49-F238E27FC236}">
                <a16:creationId xmlns:a16="http://schemas.microsoft.com/office/drawing/2014/main" id="{16BFB1D5-0A8B-432B-BC50-7C8FF108FF2F}"/>
              </a:ext>
            </a:extLst>
          </p:cNvPr>
          <p:cNvSpPr>
            <a:spLocks noGrp="1"/>
          </p:cNvSpPr>
          <p:nvPr>
            <p:ph type="body" sz="quarter" idx="16" hasCustomPrompt="1"/>
          </p:nvPr>
        </p:nvSpPr>
        <p:spPr bwMode="gray">
          <a:xfrm>
            <a:off x="435576" y="2537691"/>
            <a:ext cx="688223" cy="574516"/>
          </a:xfrm>
        </p:spPr>
        <p:txBody>
          <a:bodyPr wrap="none" lIns="0" tIns="0" rIns="0" bIns="0">
            <a:spAutoFit/>
          </a:bodyPr>
          <a:lstStyle>
            <a:lvl1pPr marL="0" indent="0">
              <a:buNone/>
              <a:defRPr sz="3733">
                <a:solidFill>
                  <a:schemeClr val="accent1"/>
                </a:solidFill>
                <a:latin typeface="+mj-lt"/>
              </a:defRPr>
            </a:lvl1pPr>
          </a:lstStyle>
          <a:p>
            <a:pPr lvl="0"/>
            <a:r>
              <a:rPr lang="en-US"/>
              <a:t>06.</a:t>
            </a:r>
          </a:p>
        </p:txBody>
      </p:sp>
      <p:grpSp>
        <p:nvGrpSpPr>
          <p:cNvPr id="30" name="Group 29">
            <a:extLst>
              <a:ext uri="{FF2B5EF4-FFF2-40B4-BE49-F238E27FC236}">
                <a16:creationId xmlns:a16="http://schemas.microsoft.com/office/drawing/2014/main" id="{CFCDA7BC-E91B-47AC-82B0-95CCC7AF36A2}"/>
              </a:ext>
            </a:extLst>
          </p:cNvPr>
          <p:cNvGrpSpPr/>
          <p:nvPr/>
        </p:nvGrpSpPr>
        <p:grpSpPr bwMode="gray">
          <a:xfrm>
            <a:off x="6908801" y="963437"/>
            <a:ext cx="4364559" cy="4734999"/>
            <a:chOff x="1423648" y="-3821905"/>
            <a:chExt cx="4008014" cy="4348193"/>
          </a:xfrm>
        </p:grpSpPr>
        <p:sp>
          <p:nvSpPr>
            <p:cNvPr id="16" name="Oval 15">
              <a:extLst>
                <a:ext uri="{FF2B5EF4-FFF2-40B4-BE49-F238E27FC236}">
                  <a16:creationId xmlns:a16="http://schemas.microsoft.com/office/drawing/2014/main" id="{8DA32B86-52B9-4EEF-98F8-2BE593479384}"/>
                </a:ext>
              </a:extLst>
            </p:cNvPr>
            <p:cNvSpPr>
              <a:spLocks noChangeAspect="1"/>
            </p:cNvSpPr>
            <p:nvPr userDrawn="1"/>
          </p:nvSpPr>
          <p:spPr bwMode="gray">
            <a:xfrm>
              <a:off x="2505075" y="-3821905"/>
              <a:ext cx="1847087" cy="1847088"/>
            </a:xfrm>
            <a:prstGeom prst="ellipse">
              <a:avLst/>
            </a:prstGeom>
            <a:gradFill flip="none" rotWithShape="1">
              <a:gsLst>
                <a:gs pos="45000">
                  <a:srgbClr val="039BDA">
                    <a:alpha val="32000"/>
                  </a:srgbClr>
                </a:gs>
                <a:gs pos="0">
                  <a:schemeClr val="accent1"/>
                </a:gs>
                <a:gs pos="92000">
                  <a:schemeClr val="accent1">
                    <a:alpha val="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2" name="Oval 21">
              <a:extLst>
                <a:ext uri="{FF2B5EF4-FFF2-40B4-BE49-F238E27FC236}">
                  <a16:creationId xmlns:a16="http://schemas.microsoft.com/office/drawing/2014/main" id="{F4E7FA8B-B146-4238-AC39-F199850FB0A0}"/>
                </a:ext>
              </a:extLst>
            </p:cNvPr>
            <p:cNvSpPr>
              <a:spLocks noChangeAspect="1"/>
            </p:cNvSpPr>
            <p:nvPr userDrawn="1"/>
          </p:nvSpPr>
          <p:spPr bwMode="gray">
            <a:xfrm>
              <a:off x="3584575" y="-3195637"/>
              <a:ext cx="1847087" cy="1847088"/>
            </a:xfrm>
            <a:prstGeom prst="ellipse">
              <a:avLst/>
            </a:prstGeom>
            <a:gradFill flip="none" rotWithShape="1">
              <a:gsLst>
                <a:gs pos="45000">
                  <a:schemeClr val="accent5">
                    <a:alpha val="39000"/>
                  </a:schemeClr>
                </a:gs>
                <a:gs pos="0">
                  <a:schemeClr val="accent5"/>
                </a:gs>
                <a:gs pos="92000">
                  <a:schemeClr val="accent5">
                    <a:alpha val="0"/>
                  </a:schemeClr>
                </a:gs>
              </a:gsLst>
              <a:lin ang="10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6" name="Oval 25">
              <a:extLst>
                <a:ext uri="{FF2B5EF4-FFF2-40B4-BE49-F238E27FC236}">
                  <a16:creationId xmlns:a16="http://schemas.microsoft.com/office/drawing/2014/main" id="{F599D2D1-62F5-491D-9347-B31E3AA1CA20}"/>
                </a:ext>
              </a:extLst>
            </p:cNvPr>
            <p:cNvSpPr>
              <a:spLocks noChangeAspect="1"/>
            </p:cNvSpPr>
            <p:nvPr userDrawn="1"/>
          </p:nvSpPr>
          <p:spPr bwMode="gray">
            <a:xfrm>
              <a:off x="3584575" y="-1951037"/>
              <a:ext cx="1847087" cy="1847088"/>
            </a:xfrm>
            <a:prstGeom prst="ellipse">
              <a:avLst/>
            </a:prstGeom>
            <a:gradFill flip="none" rotWithShape="1">
              <a:gsLst>
                <a:gs pos="56000">
                  <a:srgbClr val="039BDA">
                    <a:alpha val="32000"/>
                  </a:srgbClr>
                </a:gs>
                <a:gs pos="0">
                  <a:schemeClr val="accent1"/>
                </a:gs>
                <a:gs pos="92000">
                  <a:schemeClr val="accent1">
                    <a:alpha val="0"/>
                  </a:schemeClr>
                </a:gs>
              </a:gsLst>
              <a:lin ang="13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7" name="Oval 26">
              <a:extLst>
                <a:ext uri="{FF2B5EF4-FFF2-40B4-BE49-F238E27FC236}">
                  <a16:creationId xmlns:a16="http://schemas.microsoft.com/office/drawing/2014/main" id="{784B9C3A-2679-43C8-993F-D3452B8FAE81}"/>
                </a:ext>
              </a:extLst>
            </p:cNvPr>
            <p:cNvSpPr>
              <a:spLocks noChangeAspect="1"/>
            </p:cNvSpPr>
            <p:nvPr userDrawn="1"/>
          </p:nvSpPr>
          <p:spPr bwMode="gray">
            <a:xfrm>
              <a:off x="2505075" y="-1320800"/>
              <a:ext cx="1847087" cy="1847088"/>
            </a:xfrm>
            <a:prstGeom prst="ellipse">
              <a:avLst/>
            </a:prstGeom>
            <a:gradFill flip="none" rotWithShape="1">
              <a:gsLst>
                <a:gs pos="56000">
                  <a:schemeClr val="accent3">
                    <a:alpha val="23000"/>
                  </a:schemeClr>
                </a:gs>
                <a:gs pos="0">
                  <a:schemeClr val="accent3"/>
                </a:gs>
                <a:gs pos="92000">
                  <a:schemeClr val="accent3">
                    <a:alpha val="0"/>
                  </a:schemeClr>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8" name="Oval 27">
              <a:extLst>
                <a:ext uri="{FF2B5EF4-FFF2-40B4-BE49-F238E27FC236}">
                  <a16:creationId xmlns:a16="http://schemas.microsoft.com/office/drawing/2014/main" id="{82337773-2949-4E4C-ACB7-A18ABF111BEF}"/>
                </a:ext>
              </a:extLst>
            </p:cNvPr>
            <p:cNvSpPr>
              <a:spLocks noChangeAspect="1"/>
            </p:cNvSpPr>
            <p:nvPr userDrawn="1"/>
          </p:nvSpPr>
          <p:spPr bwMode="gray">
            <a:xfrm>
              <a:off x="1423648" y="-1951037"/>
              <a:ext cx="1847087" cy="1847088"/>
            </a:xfrm>
            <a:prstGeom prst="ellipse">
              <a:avLst/>
            </a:prstGeom>
            <a:gradFill flip="none" rotWithShape="1">
              <a:gsLst>
                <a:gs pos="56000">
                  <a:srgbClr val="039BDA">
                    <a:alpha val="32000"/>
                  </a:srgbClr>
                </a:gs>
                <a:gs pos="0">
                  <a:schemeClr val="accent1"/>
                </a:gs>
                <a:gs pos="92000">
                  <a:schemeClr val="accent1">
                    <a:alpha val="0"/>
                  </a:schemeClr>
                </a:gs>
              </a:gsLst>
              <a:lin ang="17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9" name="Oval 28">
              <a:extLst>
                <a:ext uri="{FF2B5EF4-FFF2-40B4-BE49-F238E27FC236}">
                  <a16:creationId xmlns:a16="http://schemas.microsoft.com/office/drawing/2014/main" id="{C4961035-5969-4795-B572-023EA7F86EF2}"/>
                </a:ext>
              </a:extLst>
            </p:cNvPr>
            <p:cNvSpPr>
              <a:spLocks noChangeAspect="1"/>
            </p:cNvSpPr>
            <p:nvPr userDrawn="1"/>
          </p:nvSpPr>
          <p:spPr bwMode="gray">
            <a:xfrm>
              <a:off x="1423648" y="-3195637"/>
              <a:ext cx="1847087" cy="1847088"/>
            </a:xfrm>
            <a:prstGeom prst="ellipse">
              <a:avLst/>
            </a:prstGeom>
            <a:gradFill flip="none" rotWithShape="1">
              <a:gsLst>
                <a:gs pos="56000">
                  <a:schemeClr val="accent3">
                    <a:alpha val="23000"/>
                  </a:schemeClr>
                </a:gs>
                <a:gs pos="0">
                  <a:schemeClr val="accent3"/>
                </a:gs>
                <a:gs pos="92000">
                  <a:schemeClr val="accent3">
                    <a:alpha val="0"/>
                  </a:schemeClr>
                </a:gs>
              </a:gsLst>
              <a:lin ang="18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pic>
        <p:nvPicPr>
          <p:cNvPr id="12" name="Picture 11">
            <a:extLst>
              <a:ext uri="{FF2B5EF4-FFF2-40B4-BE49-F238E27FC236}">
                <a16:creationId xmlns:a16="http://schemas.microsoft.com/office/drawing/2014/main" id="{E324DF48-8C4E-4840-A606-AB37B0E49D4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10893426" y="6260859"/>
            <a:ext cx="863605" cy="282972"/>
          </a:xfrm>
          <a:prstGeom prst="rect">
            <a:avLst/>
          </a:prstGeom>
        </p:spPr>
      </p:pic>
    </p:spTree>
    <p:extLst>
      <p:ext uri="{BB962C8B-B14F-4D97-AF65-F5344CB8AC3E}">
        <p14:creationId xmlns:p14="http://schemas.microsoft.com/office/powerpoint/2010/main" val="158090830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Question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B0C4FFE-CBEE-4906-9823-4164ADEA4911}"/>
              </a:ext>
            </a:extLst>
          </p:cNvPr>
          <p:cNvSpPr/>
          <p:nvPr/>
        </p:nvSpPr>
        <p:spPr bwMode="gray">
          <a:xfrm>
            <a:off x="0" y="0"/>
            <a:ext cx="12192000" cy="6858000"/>
          </a:xfrm>
          <a:prstGeom prst="rect">
            <a:avLst/>
          </a:prstGeom>
          <a:gradFill flip="none" rotWithShape="1">
            <a:gsLst>
              <a:gs pos="47000">
                <a:schemeClr val="bg1">
                  <a:alpha val="0"/>
                </a:schemeClr>
              </a:gs>
              <a:gs pos="100000">
                <a:schemeClr val="accent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 name="Text Placeholder 6">
            <a:extLst>
              <a:ext uri="{FF2B5EF4-FFF2-40B4-BE49-F238E27FC236}">
                <a16:creationId xmlns:a16="http://schemas.microsoft.com/office/drawing/2014/main" id="{4CB743F7-1E51-4231-BDBC-00E9E84244C3}"/>
              </a:ext>
            </a:extLst>
          </p:cNvPr>
          <p:cNvSpPr>
            <a:spLocks noGrp="1"/>
          </p:cNvSpPr>
          <p:nvPr>
            <p:ph type="body" sz="quarter" idx="10" hasCustomPrompt="1"/>
          </p:nvPr>
        </p:nvSpPr>
        <p:spPr bwMode="gray">
          <a:xfrm>
            <a:off x="2946401" y="2514602"/>
            <a:ext cx="6299200" cy="1207653"/>
          </a:xfrm>
        </p:spPr>
        <p:txBody>
          <a:bodyPr lIns="0" tIns="0" rIns="0" bIns="0" anchor="ctr">
            <a:noAutofit/>
          </a:bodyPr>
          <a:lstStyle>
            <a:lvl1pPr marL="0" indent="0" algn="ctr">
              <a:buNone/>
              <a:defRPr sz="3733">
                <a:latin typeface="+mj-lt"/>
              </a:defRPr>
            </a:lvl1pPr>
          </a:lstStyle>
          <a:p>
            <a:pPr lvl="0"/>
            <a:r>
              <a:rPr lang="en-US"/>
              <a:t>Questions</a:t>
            </a:r>
          </a:p>
        </p:txBody>
      </p:sp>
    </p:spTree>
    <p:extLst>
      <p:ext uri="{BB962C8B-B14F-4D97-AF65-F5344CB8AC3E}">
        <p14:creationId xmlns:p14="http://schemas.microsoft.com/office/powerpoint/2010/main" val="208346643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pic>
        <p:nvPicPr>
          <p:cNvPr id="23" name="Picture 22" descr="Logo, company name&#10;&#10;Description automatically generated">
            <a:extLst>
              <a:ext uri="{FF2B5EF4-FFF2-40B4-BE49-F238E27FC236}">
                <a16:creationId xmlns:a16="http://schemas.microsoft.com/office/drawing/2014/main" id="{8CF4D193-5FED-4C74-B2F8-EF074AA2CFE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6299200" y="515815"/>
            <a:ext cx="5429595" cy="5428135"/>
          </a:xfrm>
          <a:prstGeom prst="rect">
            <a:avLst/>
          </a:prstGeom>
        </p:spPr>
      </p:pic>
      <p:sp>
        <p:nvSpPr>
          <p:cNvPr id="7" name="AddNotifier#1"/>
          <p:cNvSpPr txBox="1">
            <a:spLocks noChangeArrowheads="1"/>
          </p:cNvSpPr>
          <p:nvPr/>
        </p:nvSpPr>
        <p:spPr bwMode="gray">
          <a:xfrm>
            <a:off x="312021" y="5156201"/>
            <a:ext cx="4073712" cy="605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r>
              <a:rPr lang="en-US" sz="800" kern="1200" baseline="0">
                <a:solidFill>
                  <a:schemeClr val="tx1"/>
                </a:solidFill>
                <a:latin typeface="Raleway Light" pitchFamily="2" charset="0"/>
                <a:ea typeface="Verdana" pitchFamily="34" charset="0"/>
                <a:cs typeface="Verdana" pitchFamily="34" charset="0"/>
              </a:rPr>
              <a:t>Atos, the Atos logo, </a:t>
            </a:r>
            <a:r>
              <a:rPr lang="en-US" sz="800" kern="1200" baseline="0" err="1">
                <a:solidFill>
                  <a:schemeClr val="tx1"/>
                </a:solidFill>
                <a:latin typeface="Raleway Light" pitchFamily="2" charset="0"/>
                <a:ea typeface="Verdana" pitchFamily="34" charset="0"/>
                <a:cs typeface="Verdana" pitchFamily="34" charset="0"/>
              </a:rPr>
              <a:t>Atos|Syntel</a:t>
            </a:r>
            <a:r>
              <a:rPr lang="en-US" sz="800" kern="1200" baseline="0">
                <a:solidFill>
                  <a:schemeClr val="tx1"/>
                </a:solidFill>
                <a:latin typeface="Raleway Light" pitchFamily="2" charset="0"/>
                <a:ea typeface="Verdana" pitchFamily="34" charset="0"/>
                <a:cs typeface="Verdana" pitchFamily="34" charset="0"/>
              </a:rPr>
              <a:t> are registered trademarks of the Atos group.  </a:t>
            </a:r>
            <a:br>
              <a:rPr lang="en-US" sz="800" kern="1200" baseline="0">
                <a:solidFill>
                  <a:schemeClr val="tx1"/>
                </a:solidFill>
                <a:latin typeface="Raleway Light" pitchFamily="2" charset="0"/>
                <a:ea typeface="Verdana" pitchFamily="34" charset="0"/>
                <a:cs typeface="Verdana" pitchFamily="34" charset="0"/>
              </a:rPr>
            </a:br>
            <a:r>
              <a:rPr lang="en-US" sz="800" kern="1200" baseline="0">
                <a:solidFill>
                  <a:schemeClr val="tx1"/>
                </a:solidFill>
                <a:latin typeface="Raleway Light" pitchFamily="2" charset="0"/>
                <a:ea typeface="Verdana" pitchFamily="34" charset="0"/>
                <a:cs typeface="Verdana" pitchFamily="34" charset="0"/>
              </a:rPr>
              <a:t>June 2021. © 2021 Atos. Confidential information owned by Atos, to be used by the recipient only. This document, or any part of it, may not be reproduced, copied, circulated and/or distributed nor quoted without prior written approval from Atos.</a:t>
            </a:r>
          </a:p>
        </p:txBody>
      </p:sp>
      <p:sp>
        <p:nvSpPr>
          <p:cNvPr id="8" name="Title 1">
            <a:extLst>
              <a:ext uri="{FF2B5EF4-FFF2-40B4-BE49-F238E27FC236}">
                <a16:creationId xmlns:a16="http://schemas.microsoft.com/office/drawing/2014/main" id="{86B184E1-4C6D-46A1-95DB-5392215EAC60}"/>
              </a:ext>
            </a:extLst>
          </p:cNvPr>
          <p:cNvSpPr>
            <a:spLocks noGrp="1"/>
          </p:cNvSpPr>
          <p:nvPr>
            <p:ph type="ctrTitle" hasCustomPrompt="1"/>
          </p:nvPr>
        </p:nvSpPr>
        <p:spPr bwMode="gray">
          <a:xfrm>
            <a:off x="436905" y="2209802"/>
            <a:ext cx="5486400" cy="1018309"/>
          </a:xfrm>
          <a:prstGeom prst="rect">
            <a:avLst/>
          </a:prstGeom>
        </p:spPr>
        <p:txBody>
          <a:bodyPr wrap="none" lIns="0" tIns="0" rIns="0" bIns="0" anchor="ctr" anchorCtr="0">
            <a:noAutofit/>
          </a:bodyPr>
          <a:lstStyle>
            <a:lvl1pPr>
              <a:defRPr sz="5333" b="0" baseline="0">
                <a:solidFill>
                  <a:schemeClr val="tx1"/>
                </a:solidFill>
                <a:latin typeface="Raleway SemiBold" pitchFamily="2" charset="0"/>
                <a:ea typeface="Verdana" pitchFamily="34" charset="0"/>
                <a:cs typeface="Verdana" pitchFamily="34" charset="0"/>
              </a:defRPr>
            </a:lvl1pPr>
          </a:lstStyle>
          <a:p>
            <a:r>
              <a:rPr lang="en-NL"/>
              <a:t>Thank you</a:t>
            </a:r>
            <a:endParaRPr lang="nl-NL"/>
          </a:p>
        </p:txBody>
      </p:sp>
      <p:sp>
        <p:nvSpPr>
          <p:cNvPr id="10" name="Text Placeholder 2">
            <a:extLst>
              <a:ext uri="{FF2B5EF4-FFF2-40B4-BE49-F238E27FC236}">
                <a16:creationId xmlns:a16="http://schemas.microsoft.com/office/drawing/2014/main" id="{FF96E0D4-918A-4FAB-9997-756286E3C96F}"/>
              </a:ext>
            </a:extLst>
          </p:cNvPr>
          <p:cNvSpPr>
            <a:spLocks noGrp="1"/>
          </p:cNvSpPr>
          <p:nvPr>
            <p:ph type="body" sz="quarter" idx="10"/>
          </p:nvPr>
        </p:nvSpPr>
        <p:spPr bwMode="gray">
          <a:xfrm>
            <a:off x="436903" y="3387968"/>
            <a:ext cx="5486400" cy="1463040"/>
          </a:xfrm>
        </p:spPr>
        <p:txBody>
          <a:bodyPr wrap="none" lIns="0" tIns="0" rIns="0" bIns="0">
            <a:noAutofit/>
          </a:bodyPr>
          <a:lstStyle>
            <a:lvl1pPr marL="0" indent="0">
              <a:spcAft>
                <a:spcPts val="0"/>
              </a:spcAft>
              <a:buNone/>
              <a:defRPr sz="1600">
                <a:solidFill>
                  <a:schemeClr val="accent1"/>
                </a:solidFill>
                <a:latin typeface="Raleway Medium" pitchFamily="2" charset="0"/>
              </a:defRPr>
            </a:lvl1pPr>
            <a:lvl2pPr marL="219451" indent="0">
              <a:buNone/>
              <a:defRPr>
                <a:solidFill>
                  <a:schemeClr val="accent1"/>
                </a:solidFill>
                <a:latin typeface="Raleway Medium" pitchFamily="2" charset="0"/>
              </a:defRPr>
            </a:lvl2pPr>
            <a:lvl3pPr marL="438901" indent="0">
              <a:buNone/>
              <a:defRPr>
                <a:solidFill>
                  <a:schemeClr val="accent1"/>
                </a:solidFill>
                <a:latin typeface="Raleway Medium" pitchFamily="2" charset="0"/>
              </a:defRPr>
            </a:lvl3pPr>
            <a:lvl4pPr marL="658352" indent="0">
              <a:buNone/>
              <a:defRPr>
                <a:solidFill>
                  <a:schemeClr val="accent1"/>
                </a:solidFill>
                <a:latin typeface="Raleway Medium" pitchFamily="2" charset="0"/>
              </a:defRPr>
            </a:lvl4pPr>
            <a:lvl5pPr marL="1439964" indent="0">
              <a:buNone/>
              <a:defRPr>
                <a:solidFill>
                  <a:schemeClr val="accent1"/>
                </a:solidFill>
                <a:latin typeface="Raleway Medium" pitchFamily="2" charset="0"/>
              </a:defRPr>
            </a:lvl5pPr>
          </a:lstStyle>
          <a:p>
            <a:pPr lvl="0"/>
            <a:r>
              <a:rPr lang="en-US"/>
              <a:t>Click to edit Master text styles</a:t>
            </a:r>
          </a:p>
        </p:txBody>
      </p:sp>
      <p:sp>
        <p:nvSpPr>
          <p:cNvPr id="11" name="AddClassification">
            <a:extLst>
              <a:ext uri="{FF2B5EF4-FFF2-40B4-BE49-F238E27FC236}">
                <a16:creationId xmlns:a16="http://schemas.microsoft.com/office/drawing/2014/main" id="{4CA3B924-5A8F-4360-80E0-7160E1409037}"/>
              </a:ext>
            </a:extLst>
          </p:cNvPr>
          <p:cNvSpPr txBox="1">
            <a:spLocks noChangeArrowheads="1"/>
          </p:cNvSpPr>
          <p:nvPr/>
        </p:nvSpPr>
        <p:spPr bwMode="gray">
          <a:xfrm>
            <a:off x="5904440" y="6402892"/>
            <a:ext cx="383117" cy="143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a:r>
              <a:rPr lang="en-US" sz="933" b="0" baseline="0">
                <a:solidFill>
                  <a:schemeClr val="tx1"/>
                </a:solidFill>
                <a:latin typeface="Raleway Medium" pitchFamily="2" charset="0"/>
                <a:ea typeface="Verdana" pitchFamily="34" charset="0"/>
                <a:cs typeface="Verdana" pitchFamily="34" charset="0"/>
              </a:rPr>
              <a:t>© Atos</a:t>
            </a:r>
          </a:p>
        </p:txBody>
      </p:sp>
      <p:pic>
        <p:nvPicPr>
          <p:cNvPr id="12" name="Picture 11">
            <a:extLst>
              <a:ext uri="{FF2B5EF4-FFF2-40B4-BE49-F238E27FC236}">
                <a16:creationId xmlns:a16="http://schemas.microsoft.com/office/drawing/2014/main" id="{5DD00D2A-AC24-465C-A5DE-2D256C65778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10176735" y="6033717"/>
            <a:ext cx="1585424" cy="519487"/>
          </a:xfrm>
          <a:prstGeom prst="rect">
            <a:avLst/>
          </a:prstGeom>
        </p:spPr>
      </p:pic>
    </p:spTree>
    <p:extLst>
      <p:ext uri="{BB962C8B-B14F-4D97-AF65-F5344CB8AC3E}">
        <p14:creationId xmlns:p14="http://schemas.microsoft.com/office/powerpoint/2010/main" val="410903156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cSld name="Title Slide text only">
    <p:bg bwMode="gray">
      <p:bgPr>
        <a:solidFill>
          <a:srgbClr val="0066A1"/>
        </a:solidFill>
        <a:effectLst/>
      </p:bgPr>
    </p:bg>
    <p:spTree>
      <p:nvGrpSpPr>
        <p:cNvPr id="1" name=""/>
        <p:cNvGrpSpPr/>
        <p:nvPr/>
      </p:nvGrpSpPr>
      <p:grpSpPr>
        <a:xfrm>
          <a:off x="0" y="0"/>
          <a:ext cx="0" cy="0"/>
          <a:chOff x="0" y="0"/>
          <a:chExt cx="0" cy="0"/>
        </a:xfrm>
      </p:grpSpPr>
      <p:sp>
        <p:nvSpPr>
          <p:cNvPr id="11" name="Title 4">
            <a:extLst>
              <a:ext uri="{FF2B5EF4-FFF2-40B4-BE49-F238E27FC236}">
                <a16:creationId xmlns:a16="http://schemas.microsoft.com/office/drawing/2014/main" id="{42A67D0E-7482-4A6A-9596-65138D4180BE}"/>
              </a:ext>
            </a:extLst>
          </p:cNvPr>
          <p:cNvSpPr>
            <a:spLocks noGrp="1"/>
          </p:cNvSpPr>
          <p:nvPr>
            <p:ph type="title" hasCustomPrompt="1"/>
          </p:nvPr>
        </p:nvSpPr>
        <p:spPr>
          <a:xfrm>
            <a:off x="460204" y="1983412"/>
            <a:ext cx="11160125" cy="2891176"/>
          </a:xfrm>
          <a:prstGeom prst="rect">
            <a:avLst/>
          </a:prstGeom>
        </p:spPr>
        <p:txBody>
          <a:bodyPr lIns="0" tIns="0" rIns="0" bIns="0" anchor="ctr">
            <a:spAutoFit/>
          </a:bodyPr>
          <a:lstStyle>
            <a:lvl1pPr>
              <a:lnSpc>
                <a:spcPts val="7500"/>
              </a:lnSpc>
              <a:defRPr sz="6400" b="0" i="0" baseline="0">
                <a:solidFill>
                  <a:schemeClr val="bg1"/>
                </a:solidFill>
                <a:latin typeface="+mj-lt"/>
                <a:ea typeface="Stag Sans Light" charset="0"/>
                <a:cs typeface="Stag Sans Light" charset="0"/>
              </a:defRPr>
            </a:lvl1pPr>
          </a:lstStyle>
          <a:p>
            <a:r>
              <a:rPr lang="en-US"/>
              <a:t>This is</a:t>
            </a:r>
            <a:br>
              <a:rPr lang="en-US"/>
            </a:br>
            <a:r>
              <a:rPr lang="en-US"/>
              <a:t>the title</a:t>
            </a:r>
            <a:br>
              <a:rPr lang="en-US"/>
            </a:br>
            <a:r>
              <a:rPr lang="en-US"/>
              <a:t>of this PPT</a:t>
            </a:r>
          </a:p>
        </p:txBody>
      </p:sp>
      <p:pic>
        <p:nvPicPr>
          <p:cNvPr id="8" name="Picture 7">
            <a:extLst>
              <a:ext uri="{FF2B5EF4-FFF2-40B4-BE49-F238E27FC236}">
                <a16:creationId xmlns:a16="http://schemas.microsoft.com/office/drawing/2014/main" id="{46D1DDEE-F65D-4A93-B22A-5C6CB8769368}"/>
              </a:ext>
            </a:extLst>
          </p:cNvPr>
          <p:cNvPicPr>
            <a:picLocks noChangeAspect="1"/>
          </p:cNvPicPr>
          <p:nvPr userDrawn="1"/>
        </p:nvPicPr>
        <p:blipFill rotWithShape="1">
          <a:blip r:embed="rId2"/>
          <a:srcRect r="59879" b="-51920"/>
          <a:stretch/>
        </p:blipFill>
        <p:spPr>
          <a:xfrm>
            <a:off x="10597879" y="6093823"/>
            <a:ext cx="1022450" cy="675490"/>
          </a:xfrm>
          <a:prstGeom prst="rect">
            <a:avLst/>
          </a:prstGeom>
        </p:spPr>
      </p:pic>
    </p:spTree>
    <p:extLst>
      <p:ext uri="{BB962C8B-B14F-4D97-AF65-F5344CB8AC3E}">
        <p14:creationId xmlns:p14="http://schemas.microsoft.com/office/powerpoint/2010/main" val="3850319796"/>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Title and Content Basic">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20400" y="1534637"/>
            <a:ext cx="11664000" cy="4633200"/>
          </a:xfrm>
          <a:prstGeom prst="rect">
            <a:avLst/>
          </a:prstGeom>
        </p:spPr>
        <p:txBody>
          <a:bodyPr/>
          <a:lstStyle/>
          <a:p>
            <a:pPr lvl="0"/>
            <a:r>
              <a:rPr lang="nl-NL"/>
              <a:t>First level</a:t>
            </a:r>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6" name="Title 5"/>
          <p:cNvSpPr>
            <a:spLocks noGrp="1"/>
          </p:cNvSpPr>
          <p:nvPr>
            <p:ph type="title" hasCustomPrompt="1"/>
          </p:nvPr>
        </p:nvSpPr>
        <p:spPr>
          <a:xfrm>
            <a:off x="288651" y="164637"/>
            <a:ext cx="11664000" cy="960107"/>
          </a:xfrm>
        </p:spPr>
        <p:txBody>
          <a:bodyPr/>
          <a:lstStyle>
            <a:lvl1pPr>
              <a:defRPr/>
            </a:lvl1pPr>
          </a:lstStyle>
          <a:p>
            <a:r>
              <a:rPr lang="en-US"/>
              <a:t>Click to edit the header</a:t>
            </a:r>
          </a:p>
        </p:txBody>
      </p:sp>
    </p:spTree>
    <p:extLst>
      <p:ext uri="{BB962C8B-B14F-4D97-AF65-F5344CB8AC3E}">
        <p14:creationId xmlns:p14="http://schemas.microsoft.com/office/powerpoint/2010/main" val="4269687304"/>
      </p:ext>
    </p:extLst>
  </p:cSld>
  <p:clrMapOvr>
    <a:masterClrMapping/>
  </p:clrMapOvr>
  <p:hf hdr="0" ftr="0" dt="0"/>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6673999"/>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63932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Number slide #5">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a:t>Click to add chapter title </a:t>
            </a: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968" y="2078112"/>
            <a:ext cx="12240683" cy="2701776"/>
          </a:xfrm>
          <a:prstGeom prst="rect">
            <a:avLst/>
          </a:prstGeom>
        </p:spPr>
      </p:pic>
    </p:spTree>
    <p:extLst>
      <p:ext uri="{BB962C8B-B14F-4D97-AF65-F5344CB8AC3E}">
        <p14:creationId xmlns:p14="http://schemas.microsoft.com/office/powerpoint/2010/main" val="272748101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cSld name="Number slide #1">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a:t>First chapter title</a:t>
            </a:r>
          </a:p>
        </p:txBody>
      </p:sp>
    </p:spTree>
    <p:extLst>
      <p:ext uri="{BB962C8B-B14F-4D97-AF65-F5344CB8AC3E}">
        <p14:creationId xmlns:p14="http://schemas.microsoft.com/office/powerpoint/2010/main" val="27248606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cSld name="Number slide #2">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a:t>Click to add chapter title </a:t>
            </a:r>
          </a:p>
        </p:txBody>
      </p:sp>
    </p:spTree>
    <p:extLst>
      <p:ext uri="{BB962C8B-B14F-4D97-AF65-F5344CB8AC3E}">
        <p14:creationId xmlns:p14="http://schemas.microsoft.com/office/powerpoint/2010/main" val="264451642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385664" y="164637"/>
            <a:ext cx="11570208" cy="963168"/>
          </a:xfrm>
        </p:spPr>
        <p:txBody>
          <a:bodyPr/>
          <a:lstStyle>
            <a:lvl1pPr marL="0" indent="0">
              <a:buNone/>
              <a:defRPr lang="en-US" sz="3200" b="1" kern="1200" baseline="0" dirty="0" smtClean="0">
                <a:solidFill>
                  <a:schemeClr val="tx1"/>
                </a:solidFill>
                <a:latin typeface="+mj-lt"/>
                <a:ea typeface="Verdana" pitchFamily="34" charset="0"/>
                <a:cs typeface="Verdana" pitchFamily="34" charset="0"/>
              </a:defRPr>
            </a:lvl1pPr>
            <a:lvl2pPr marL="0" indent="0">
              <a:buNone/>
              <a:defRPr lang="en-GB" sz="2400" kern="1200" baseline="0" dirty="0">
                <a:solidFill>
                  <a:schemeClr val="tx1"/>
                </a:solidFill>
                <a:latin typeface="+mj-lt"/>
                <a:ea typeface="Verdana" pitchFamily="34" charset="0"/>
                <a:cs typeface="Verdana" pitchFamily="34" charset="0"/>
              </a:defRPr>
            </a:lvl2pPr>
          </a:lstStyle>
          <a:p>
            <a:pPr marL="0" lvl="0" indent="0" algn="l" defTabSz="1219170" rtl="0" eaLnBrk="1" latinLnBrk="0" hangingPunct="1">
              <a:spcBef>
                <a:spcPts val="0"/>
              </a:spcBef>
              <a:spcAft>
                <a:spcPts val="400"/>
              </a:spcAft>
              <a:buClr>
                <a:schemeClr val="tx2"/>
              </a:buClr>
              <a:buFont typeface="Lucida Sans Unicode" pitchFamily="34" charset="0"/>
              <a:buNone/>
            </a:pPr>
            <a:r>
              <a:rPr lang="en-US"/>
              <a:t>Heading</a:t>
            </a:r>
          </a:p>
          <a:p>
            <a:pPr marL="0" lvl="1" indent="0" algn="l" defTabSz="1219170" rtl="0" eaLnBrk="1" latinLnBrk="0" hangingPunct="1">
              <a:spcBef>
                <a:spcPts val="0"/>
              </a:spcBef>
              <a:spcAft>
                <a:spcPts val="400"/>
              </a:spcAft>
              <a:buClr>
                <a:schemeClr val="tx2"/>
              </a:buClr>
              <a:buFont typeface="Arial" pitchFamily="34" charset="0"/>
              <a:buNone/>
            </a:pPr>
            <a:r>
              <a:rPr lang="en-US"/>
              <a:t>Sub-heading</a:t>
            </a:r>
            <a:endParaRPr lang="en-GB"/>
          </a:p>
        </p:txBody>
      </p:sp>
      <p:sp>
        <p:nvSpPr>
          <p:cNvPr id="10" name="Text Placeholder 9"/>
          <p:cNvSpPr>
            <a:spLocks noGrp="1"/>
          </p:cNvSpPr>
          <p:nvPr>
            <p:ph type="body" sz="quarter" idx="11" hasCustomPrompt="1"/>
          </p:nvPr>
        </p:nvSpPr>
        <p:spPr>
          <a:xfrm>
            <a:off x="385665" y="1454400"/>
            <a:ext cx="11570208" cy="4535424"/>
          </a:xfrm>
        </p:spPr>
        <p:txBody>
          <a:bodyPr/>
          <a:lstStyle/>
          <a:p>
            <a:pPr lvl="0"/>
            <a:r>
              <a:rPr lang="en-US"/>
              <a:t>First level</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5664638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9773610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cSld name="Number slide #3">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a:t>Click to add chapter title </a:t>
            </a:r>
          </a:p>
        </p:txBody>
      </p:sp>
    </p:spTree>
    <p:extLst>
      <p:ext uri="{BB962C8B-B14F-4D97-AF65-F5344CB8AC3E}">
        <p14:creationId xmlns:p14="http://schemas.microsoft.com/office/powerpoint/2010/main" val="163320933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5" name="Text Placeholder 3"/>
          <p:cNvSpPr>
            <a:spLocks noGrp="1"/>
          </p:cNvSpPr>
          <p:nvPr>
            <p:ph idx="1"/>
          </p:nvPr>
        </p:nvSpPr>
        <p:spPr>
          <a:xfrm>
            <a:off x="247651" y="1137424"/>
            <a:ext cx="11617248" cy="4995747"/>
          </a:xfrm>
          <a:prstGeom prst="rect">
            <a:avLst/>
          </a:prstGeom>
        </p:spPr>
        <p:txBody>
          <a:bodyPr vert="horz" lIns="91440" tIns="45720" rIns="91440" bIns="45720" rtlCol="0">
            <a:normAutofit/>
          </a:bodyPr>
          <a:lstStyle/>
          <a:p>
            <a:pPr marL="234945" lvl="0" indent="-234945" algn="l" defTabSz="914377" rtl="0" eaLnBrk="1" latinLnBrk="0" hangingPunct="1">
              <a:spcBef>
                <a:spcPct val="20000"/>
              </a:spcBef>
              <a:buClr>
                <a:schemeClr val="tx2"/>
              </a:buClr>
              <a:buFont typeface="Wingdings" pitchFamily="2" charset="2"/>
              <a:buChar char="§"/>
            </a:pPr>
            <a:r>
              <a:rPr lang="en-US"/>
              <a:t>Click to edit Master text styles</a:t>
            </a:r>
          </a:p>
          <a:p>
            <a:pPr marL="234945" lvl="1" indent="-234945" algn="l" defTabSz="914377" rtl="0" eaLnBrk="1" latinLnBrk="0" hangingPunct="1">
              <a:spcBef>
                <a:spcPct val="20000"/>
              </a:spcBef>
              <a:buClr>
                <a:schemeClr val="tx2"/>
              </a:buClr>
              <a:buFont typeface="Wingdings" pitchFamily="2" charset="2"/>
              <a:buChar char="§"/>
            </a:pPr>
            <a:r>
              <a:rPr lang="en-US"/>
              <a:t>Second level</a:t>
            </a:r>
          </a:p>
          <a:p>
            <a:pPr marL="234945" lvl="2" indent="-234945" algn="l" defTabSz="914377" rtl="0" eaLnBrk="1" latinLnBrk="0" hangingPunct="1">
              <a:spcBef>
                <a:spcPct val="20000"/>
              </a:spcBef>
              <a:buClr>
                <a:schemeClr val="tx2"/>
              </a:buClr>
              <a:buFont typeface="Wingdings" pitchFamily="2" charset="2"/>
              <a:buChar char="§"/>
            </a:pPr>
            <a:r>
              <a:rPr lang="en-US"/>
              <a:t>Third level</a:t>
            </a:r>
          </a:p>
        </p:txBody>
      </p:sp>
    </p:spTree>
    <p:extLst>
      <p:ext uri="{BB962C8B-B14F-4D97-AF65-F5344CB8AC3E}">
        <p14:creationId xmlns:p14="http://schemas.microsoft.com/office/powerpoint/2010/main" val="651484258"/>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Only 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435832" y="164637"/>
            <a:ext cx="10387584" cy="853440"/>
          </a:xfrm>
        </p:spPr>
        <p:txBody>
          <a:bodyPr lIns="0"/>
          <a:lstStyle>
            <a:lvl1pPr>
              <a:defRPr sz="2133"/>
            </a:lvl1pPr>
          </a:lstStyle>
          <a:p>
            <a:r>
              <a:rPr lang="en-US"/>
              <a:t>Click to edit the header</a:t>
            </a:r>
          </a:p>
        </p:txBody>
      </p:sp>
      <p:sp>
        <p:nvSpPr>
          <p:cNvPr id="10" name="Slide Number Placeholder 5"/>
          <p:cNvSpPr>
            <a:spLocks noGrp="1"/>
          </p:cNvSpPr>
          <p:nvPr>
            <p:ph type="sldNum" sz="quarter" idx="4"/>
          </p:nvPr>
        </p:nvSpPr>
        <p:spPr>
          <a:xfrm>
            <a:off x="5800488" y="6326136"/>
            <a:ext cx="591024" cy="288033"/>
          </a:xfrm>
          <a:prstGeom prst="rect">
            <a:avLst/>
          </a:prstGeom>
        </p:spPr>
        <p:txBody>
          <a:bodyPr vert="horz" lIns="91440" tIns="45720" rIns="91440" bIns="45720" rtlCol="0" anchor="ctr"/>
          <a:lstStyle>
            <a:lvl1pPr algn="l">
              <a:defRPr sz="1333">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a:t>
            </a:fld>
            <a:endParaRPr lang="nl-NL"/>
          </a:p>
        </p:txBody>
      </p:sp>
      <p:cxnSp>
        <p:nvCxnSpPr>
          <p:cNvPr id="5" name="Straight Connector 4"/>
          <p:cNvCxnSpPr>
            <a:cxnSpLocks/>
          </p:cNvCxnSpPr>
          <p:nvPr userDrawn="1"/>
        </p:nvCxnSpPr>
        <p:spPr>
          <a:xfrm>
            <a:off x="435832" y="6167837"/>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userDrawn="1"/>
        </p:nvCxnSpPr>
        <p:spPr>
          <a:xfrm>
            <a:off x="431371" y="1143000"/>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3660491"/>
      </p:ext>
    </p:extLst>
  </p:cSld>
  <p:clrMapOvr>
    <a:masterClrMapping/>
  </p:clrMapOvr>
  <p:extLst>
    <p:ext uri="{DCECCB84-F9BA-43D5-87BE-67443E8EF086}">
      <p15:sldGuideLst xmlns:p15="http://schemas.microsoft.com/office/powerpoint/2012/main">
        <p15:guide id="1" orient="horz" pos="672">
          <p15:clr>
            <a:srgbClr val="FBAE40"/>
          </p15:clr>
        </p15:guide>
        <p15:guide id="2" pos="203">
          <p15:clr>
            <a:srgbClr val="FBAE40"/>
          </p15:clr>
        </p15:guide>
        <p15:guide id="3" pos="5646">
          <p15:clr>
            <a:srgbClr val="FBAE40"/>
          </p15:clr>
        </p15:guide>
        <p15:guide id="4" orient="horz" pos="2869">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cSld name="Number slide #4">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a:t>Click to add chapter title </a:t>
            </a:r>
          </a:p>
        </p:txBody>
      </p:sp>
    </p:spTree>
    <p:extLst>
      <p:ext uri="{BB962C8B-B14F-4D97-AF65-F5344CB8AC3E}">
        <p14:creationId xmlns:p14="http://schemas.microsoft.com/office/powerpoint/2010/main" val="347749429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cSld name="Number slide #5">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a:t>Click to add chapter title </a:t>
            </a:r>
          </a:p>
        </p:txBody>
      </p:sp>
    </p:spTree>
    <p:extLst>
      <p:ext uri="{BB962C8B-B14F-4D97-AF65-F5344CB8AC3E}">
        <p14:creationId xmlns:p14="http://schemas.microsoft.com/office/powerpoint/2010/main" val="211413551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cSld name="Number slide #6">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a:t>Click to add chapter title </a:t>
            </a:r>
          </a:p>
        </p:txBody>
      </p:sp>
    </p:spTree>
    <p:extLst>
      <p:ext uri="{BB962C8B-B14F-4D97-AF65-F5344CB8AC3E}">
        <p14:creationId xmlns:p14="http://schemas.microsoft.com/office/powerpoint/2010/main" val="1508605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Number slide #6">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a:t>Click to add chapter title </a:t>
            </a: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968" y="2046034"/>
            <a:ext cx="12248651" cy="2734060"/>
          </a:xfrm>
          <a:prstGeom prst="rect">
            <a:avLst/>
          </a:prstGeom>
        </p:spPr>
      </p:pic>
    </p:spTree>
    <p:extLst>
      <p:ext uri="{BB962C8B-B14F-4D97-AF65-F5344CB8AC3E}">
        <p14:creationId xmlns:p14="http://schemas.microsoft.com/office/powerpoint/2010/main" val="53463153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cSld name="Number slide #7">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71797" y="2660915"/>
            <a:ext cx="7296811" cy="1440160"/>
          </a:xfrm>
        </p:spPr>
        <p:txBody>
          <a:bodyPr anchor="t"/>
          <a:lstStyle>
            <a:lvl1pPr>
              <a:defRPr sz="4000" b="0">
                <a:solidFill>
                  <a:schemeClr val="bg1"/>
                </a:solidFill>
              </a:defRPr>
            </a:lvl1pPr>
          </a:lstStyle>
          <a:p>
            <a:r>
              <a:rPr lang="en-US"/>
              <a:t>Click to add chapter title </a:t>
            </a:r>
          </a:p>
        </p:txBody>
      </p:sp>
    </p:spTree>
    <p:extLst>
      <p:ext uri="{BB962C8B-B14F-4D97-AF65-F5344CB8AC3E}">
        <p14:creationId xmlns:p14="http://schemas.microsoft.com/office/powerpoint/2010/main" val="406659484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type="obj">
  <p:cSld name="Title Only">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6400" b="0" i="0">
                <a:solidFill>
                  <a:schemeClr val="bg1"/>
                </a:solidFill>
                <a:latin typeface="Verdana"/>
                <a:cs typeface="Verdana"/>
              </a:defRPr>
            </a:lvl1pPr>
          </a:lstStyle>
          <a:p>
            <a:endParaRPr/>
          </a:p>
        </p:txBody>
      </p:sp>
    </p:spTree>
    <p:extLst>
      <p:ext uri="{BB962C8B-B14F-4D97-AF65-F5344CB8AC3E}">
        <p14:creationId xmlns:p14="http://schemas.microsoft.com/office/powerpoint/2010/main" val="85107361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6" name="Text Placeholder 7"/>
          <p:cNvSpPr>
            <a:spLocks noGrp="1"/>
          </p:cNvSpPr>
          <p:nvPr>
            <p:ph type="body" sz="quarter" idx="10" hasCustomPrompt="1"/>
          </p:nvPr>
        </p:nvSpPr>
        <p:spPr>
          <a:xfrm>
            <a:off x="385664" y="164637"/>
            <a:ext cx="11570208" cy="963168"/>
          </a:xfrm>
        </p:spPr>
        <p:txBody>
          <a:bodyPr/>
          <a:lstStyle>
            <a:lvl1pPr marL="0" indent="0">
              <a:buNone/>
              <a:defRPr lang="en-US" sz="2800" b="1" kern="1200" baseline="0" dirty="0" smtClean="0">
                <a:solidFill>
                  <a:schemeClr val="tx1"/>
                </a:solidFill>
                <a:latin typeface="+mj-lt"/>
                <a:ea typeface="Verdana" pitchFamily="34" charset="0"/>
                <a:cs typeface="Verdana" pitchFamily="34" charset="0"/>
              </a:defRPr>
            </a:lvl1pPr>
            <a:lvl2pPr marL="0" indent="0">
              <a:buNone/>
              <a:defRPr lang="en-GB" sz="1800" kern="1200" baseline="0" dirty="0">
                <a:solidFill>
                  <a:schemeClr val="tx1"/>
                </a:solidFill>
                <a:latin typeface="+mj-lt"/>
                <a:ea typeface="Verdana" pitchFamily="34" charset="0"/>
                <a:cs typeface="Verdana" pitchFamily="34" charset="0"/>
              </a:defRPr>
            </a:lvl2pPr>
          </a:lstStyle>
          <a:p>
            <a:pPr marL="0" lvl="0" indent="0" algn="l" defTabSz="1219170" rtl="0" eaLnBrk="1" latinLnBrk="0" hangingPunct="1">
              <a:spcBef>
                <a:spcPts val="0"/>
              </a:spcBef>
              <a:spcAft>
                <a:spcPts val="400"/>
              </a:spcAft>
              <a:buClr>
                <a:schemeClr val="tx2"/>
              </a:buClr>
              <a:buFont typeface="Lucida Sans Unicode" pitchFamily="34" charset="0"/>
              <a:buNone/>
            </a:pPr>
            <a:r>
              <a:rPr lang="en-US"/>
              <a:t>Heading</a:t>
            </a:r>
          </a:p>
          <a:p>
            <a:pPr marL="0" lvl="1" indent="0" algn="l" defTabSz="1219170" rtl="0" eaLnBrk="1" latinLnBrk="0" hangingPunct="1">
              <a:spcBef>
                <a:spcPts val="0"/>
              </a:spcBef>
              <a:spcAft>
                <a:spcPts val="400"/>
              </a:spcAft>
              <a:buClr>
                <a:schemeClr val="tx2"/>
              </a:buClr>
              <a:buFont typeface="Arial" pitchFamily="34" charset="0"/>
              <a:buNone/>
            </a:pPr>
            <a:r>
              <a:rPr lang="en-US"/>
              <a:t>Sub-heading</a:t>
            </a:r>
            <a:endParaRPr lang="en-GB"/>
          </a:p>
        </p:txBody>
      </p:sp>
    </p:spTree>
    <p:extLst>
      <p:ext uri="{BB962C8B-B14F-4D97-AF65-F5344CB8AC3E}">
        <p14:creationId xmlns:p14="http://schemas.microsoft.com/office/powerpoint/2010/main" val="7563712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 Id="rId46"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ags" Target="../tags/tag1.xml"/><Relationship Id="rId45" Type="http://schemas.openxmlformats.org/officeDocument/2006/relationships/image" Target="../media/image3.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slideLayout" Target="../slideLayouts/slideLayout63.xml"/><Relationship Id="rId39" Type="http://schemas.openxmlformats.org/officeDocument/2006/relationships/slideLayout" Target="../slideLayouts/slideLayout76.xml"/><Relationship Id="rId21" Type="http://schemas.openxmlformats.org/officeDocument/2006/relationships/slideLayout" Target="../slideLayouts/slideLayout58.xml"/><Relationship Id="rId34" Type="http://schemas.openxmlformats.org/officeDocument/2006/relationships/slideLayout" Target="../slideLayouts/slideLayout71.xml"/><Relationship Id="rId42" Type="http://schemas.openxmlformats.org/officeDocument/2006/relationships/slideLayout" Target="../slideLayouts/slideLayout79.xml"/><Relationship Id="rId47" Type="http://schemas.openxmlformats.org/officeDocument/2006/relationships/slideLayout" Target="../slideLayouts/slideLayout84.xml"/><Relationship Id="rId50" Type="http://schemas.openxmlformats.org/officeDocument/2006/relationships/slideLayout" Target="../slideLayouts/slideLayout87.xml"/><Relationship Id="rId55" Type="http://schemas.openxmlformats.org/officeDocument/2006/relationships/slideLayout" Target="../slideLayouts/slideLayout92.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slideLayout" Target="../slideLayouts/slideLayout62.xml"/><Relationship Id="rId33" Type="http://schemas.openxmlformats.org/officeDocument/2006/relationships/slideLayout" Target="../slideLayouts/slideLayout70.xml"/><Relationship Id="rId38" Type="http://schemas.openxmlformats.org/officeDocument/2006/relationships/slideLayout" Target="../slideLayouts/slideLayout75.xml"/><Relationship Id="rId46" Type="http://schemas.openxmlformats.org/officeDocument/2006/relationships/slideLayout" Target="../slideLayouts/slideLayout83.xml"/><Relationship Id="rId59" Type="http://schemas.openxmlformats.org/officeDocument/2006/relationships/image" Target="../media/image4.png"/><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29" Type="http://schemas.openxmlformats.org/officeDocument/2006/relationships/slideLayout" Target="../slideLayouts/slideLayout66.xml"/><Relationship Id="rId41" Type="http://schemas.openxmlformats.org/officeDocument/2006/relationships/slideLayout" Target="../slideLayouts/slideLayout78.xml"/><Relationship Id="rId54" Type="http://schemas.openxmlformats.org/officeDocument/2006/relationships/slideLayout" Target="../slideLayouts/slideLayout91.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32" Type="http://schemas.openxmlformats.org/officeDocument/2006/relationships/slideLayout" Target="../slideLayouts/slideLayout69.xml"/><Relationship Id="rId37" Type="http://schemas.openxmlformats.org/officeDocument/2006/relationships/slideLayout" Target="../slideLayouts/slideLayout74.xml"/><Relationship Id="rId40" Type="http://schemas.openxmlformats.org/officeDocument/2006/relationships/slideLayout" Target="../slideLayouts/slideLayout77.xml"/><Relationship Id="rId45" Type="http://schemas.openxmlformats.org/officeDocument/2006/relationships/slideLayout" Target="../slideLayouts/slideLayout82.xml"/><Relationship Id="rId53" Type="http://schemas.openxmlformats.org/officeDocument/2006/relationships/slideLayout" Target="../slideLayouts/slideLayout90.xml"/><Relationship Id="rId58" Type="http://schemas.openxmlformats.org/officeDocument/2006/relationships/image" Target="../media/image3.emf"/><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28" Type="http://schemas.openxmlformats.org/officeDocument/2006/relationships/slideLayout" Target="../slideLayouts/slideLayout65.xml"/><Relationship Id="rId36" Type="http://schemas.openxmlformats.org/officeDocument/2006/relationships/slideLayout" Target="../slideLayouts/slideLayout73.xml"/><Relationship Id="rId49" Type="http://schemas.openxmlformats.org/officeDocument/2006/relationships/slideLayout" Target="../slideLayouts/slideLayout86.xml"/><Relationship Id="rId57" Type="http://schemas.openxmlformats.org/officeDocument/2006/relationships/image" Target="../media/image2.emf"/><Relationship Id="rId10" Type="http://schemas.openxmlformats.org/officeDocument/2006/relationships/slideLayout" Target="../slideLayouts/slideLayout47.xml"/><Relationship Id="rId19" Type="http://schemas.openxmlformats.org/officeDocument/2006/relationships/slideLayout" Target="../slideLayouts/slideLayout56.xml"/><Relationship Id="rId31" Type="http://schemas.openxmlformats.org/officeDocument/2006/relationships/slideLayout" Target="../slideLayouts/slideLayout68.xml"/><Relationship Id="rId44" Type="http://schemas.openxmlformats.org/officeDocument/2006/relationships/slideLayout" Target="../slideLayouts/slideLayout81.xml"/><Relationship Id="rId52" Type="http://schemas.openxmlformats.org/officeDocument/2006/relationships/slideLayout" Target="../slideLayouts/slideLayout89.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 Id="rId27" Type="http://schemas.openxmlformats.org/officeDocument/2006/relationships/slideLayout" Target="../slideLayouts/slideLayout64.xml"/><Relationship Id="rId30" Type="http://schemas.openxmlformats.org/officeDocument/2006/relationships/slideLayout" Target="../slideLayouts/slideLayout67.xml"/><Relationship Id="rId35" Type="http://schemas.openxmlformats.org/officeDocument/2006/relationships/slideLayout" Target="../slideLayouts/slideLayout72.xml"/><Relationship Id="rId43" Type="http://schemas.openxmlformats.org/officeDocument/2006/relationships/slideLayout" Target="../slideLayouts/slideLayout80.xml"/><Relationship Id="rId48" Type="http://schemas.openxmlformats.org/officeDocument/2006/relationships/slideLayout" Target="../slideLayouts/slideLayout85.xml"/><Relationship Id="rId56" Type="http://schemas.openxmlformats.org/officeDocument/2006/relationships/theme" Target="../theme/theme2.xml"/><Relationship Id="rId8" Type="http://schemas.openxmlformats.org/officeDocument/2006/relationships/slideLayout" Target="../slideLayouts/slideLayout45.xml"/><Relationship Id="rId51" Type="http://schemas.openxmlformats.org/officeDocument/2006/relationships/slideLayout" Target="../slideLayouts/slideLayout88.xml"/><Relationship Id="rId3" Type="http://schemas.openxmlformats.org/officeDocument/2006/relationships/slideLayout" Target="../slideLayouts/slideLayout4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072A0D4-EA77-4B32-879B-92ADF68C977F}"/>
              </a:ext>
            </a:extLst>
          </p:cNvPr>
          <p:cNvGraphicFramePr>
            <a:graphicFrameLocks noChangeAspect="1"/>
          </p:cNvGraphicFramePr>
          <p:nvPr>
            <p:custDataLst>
              <p:tags r:id="rId40"/>
            </p:custDataLst>
            <p:extLst>
              <p:ext uri="{D42A27DB-BD31-4B8C-83A1-F6EECF244321}">
                <p14:modId xmlns:p14="http://schemas.microsoft.com/office/powerpoint/2010/main" val="256527699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078" name="think-cell Folie" r:id="rId42" imgW="360" imgH="360" progId="">
                  <p:embed/>
                </p:oleObj>
              </mc:Choice>
              <mc:Fallback>
                <p:oleObj name="think-cell Folie" r:id="rId42" imgW="360" imgH="360" progId="">
                  <p:embed/>
                  <p:pic>
                    <p:nvPicPr>
                      <p:cNvPr id="3" name="Object 2" hidden="1">
                        <a:extLst>
                          <a:ext uri="{FF2B5EF4-FFF2-40B4-BE49-F238E27FC236}">
                            <a16:creationId xmlns:a16="http://schemas.microsoft.com/office/drawing/2014/main" id="{C072A0D4-EA77-4B32-879B-92ADF68C977F}"/>
                          </a:ext>
                        </a:extLst>
                      </p:cNvPr>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2118" y="2118"/>
                        <a:ext cx="2117" cy="211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EFD074F5-2E34-46D6-9C7B-3CBB8F96B4C6}"/>
              </a:ext>
            </a:extLst>
          </p:cNvPr>
          <p:cNvSpPr/>
          <p:nvPr>
            <p:custDataLst>
              <p:tags r:id="rId41"/>
            </p:custDataLst>
          </p:nvPr>
        </p:nvSpPr>
        <p:spPr>
          <a:xfrm>
            <a:off x="0" y="0"/>
            <a:ext cx="211667" cy="211667"/>
          </a:xfrm>
          <a:prstGeom prst="rect">
            <a:avLst/>
          </a:pr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nl-NL" sz="3200" b="1" i="0" baseline="0">
              <a:latin typeface="Verdana" panose="020B0604030504040204" pitchFamily="34" charset="0"/>
              <a:ea typeface="Verdana" panose="020B0604030504040204" pitchFamily="34" charset="0"/>
              <a:sym typeface="Verdana" panose="020B0604030504040204" pitchFamily="34" charset="0"/>
            </a:endParaRPr>
          </a:p>
        </p:txBody>
      </p:sp>
      <p:sp>
        <p:nvSpPr>
          <p:cNvPr id="14" name="Text Placeholder 2"/>
          <p:cNvSpPr>
            <a:spLocks noGrp="1"/>
          </p:cNvSpPr>
          <p:nvPr>
            <p:ph type="body" idx="1"/>
          </p:nvPr>
        </p:nvSpPr>
        <p:spPr>
          <a:xfrm>
            <a:off x="288651" y="1454400"/>
            <a:ext cx="11664000" cy="4633200"/>
          </a:xfrm>
          <a:prstGeom prst="rect">
            <a:avLst/>
          </a:prstGeom>
        </p:spPr>
        <p:txBody>
          <a:bodyPr vert="horz" lIns="121917" tIns="60958" rIns="121917" bIns="60958" rtlCol="0">
            <a:noAutofit/>
          </a:bodyPr>
          <a:lstStyle/>
          <a:p>
            <a:pPr lvl="0"/>
            <a:r>
              <a:rPr lang="nl-NL"/>
              <a:t>First level</a:t>
            </a:r>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16" name="Title Placeholder 1"/>
          <p:cNvSpPr>
            <a:spLocks noGrp="1"/>
          </p:cNvSpPr>
          <p:nvPr>
            <p:ph type="title"/>
          </p:nvPr>
        </p:nvSpPr>
        <p:spPr>
          <a:xfrm>
            <a:off x="288651" y="164637"/>
            <a:ext cx="11664000" cy="756000"/>
          </a:xfrm>
          <a:prstGeom prst="rect">
            <a:avLst/>
          </a:prstGeom>
        </p:spPr>
        <p:txBody>
          <a:bodyPr vert="horz" lIns="121917" tIns="60958" rIns="121917" bIns="60958" rtlCol="0" anchor="t" anchorCtr="0">
            <a:noAutofit/>
          </a:bodyPr>
          <a:lstStyle/>
          <a:p>
            <a:r>
              <a:rPr lang="nl-NL"/>
              <a:t>Click to edit the header</a:t>
            </a:r>
          </a:p>
        </p:txBody>
      </p:sp>
      <p:sp>
        <p:nvSpPr>
          <p:cNvPr id="8" name="TextBox 7"/>
          <p:cNvSpPr txBox="1"/>
          <p:nvPr userDrawn="1"/>
        </p:nvSpPr>
        <p:spPr>
          <a:xfrm>
            <a:off x="5943600" y="6383179"/>
            <a:ext cx="533400" cy="246221"/>
          </a:xfrm>
          <a:prstGeom prst="rect">
            <a:avLst/>
          </a:prstGeom>
          <a:noFill/>
        </p:spPr>
        <p:txBody>
          <a:bodyPr wrap="square" rtlCol="0">
            <a:spAutoFit/>
          </a:bodyPr>
          <a:lstStyle/>
          <a:p>
            <a:pPr algn="ctr"/>
            <a:fld id="{028BD762-A7B8-45E6-A121-4D848DE62BAD}" type="slidenum">
              <a:rPr lang="en-GB" sz="1000" smtClean="0"/>
              <a:pPr algn="ctr"/>
              <a:t>‹#›</a:t>
            </a:fld>
            <a:endParaRPr lang="en-GB" sz="1050"/>
          </a:p>
        </p:txBody>
      </p:sp>
      <p:cxnSp>
        <p:nvCxnSpPr>
          <p:cNvPr id="11" name="Straight Connector 10"/>
          <p:cNvCxnSpPr>
            <a:cxnSpLocks/>
          </p:cNvCxnSpPr>
          <p:nvPr userDrawn="1"/>
        </p:nvCxnSpPr>
        <p:spPr>
          <a:xfrm>
            <a:off x="435832" y="6167837"/>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2" name="Straight Connector 11"/>
          <p:cNvCxnSpPr>
            <a:cxnSpLocks/>
          </p:cNvCxnSpPr>
          <p:nvPr userDrawn="1"/>
        </p:nvCxnSpPr>
        <p:spPr>
          <a:xfrm>
            <a:off x="435832" y="6167837"/>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3" name="Straight Connector 12"/>
          <p:cNvCxnSpPr>
            <a:cxnSpLocks/>
          </p:cNvCxnSpPr>
          <p:nvPr userDrawn="1"/>
        </p:nvCxnSpPr>
        <p:spPr>
          <a:xfrm>
            <a:off x="438946" y="1259909"/>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5" name="Straight Connector 14"/>
          <p:cNvCxnSpPr>
            <a:cxnSpLocks/>
          </p:cNvCxnSpPr>
          <p:nvPr userDrawn="1"/>
        </p:nvCxnSpPr>
        <p:spPr>
          <a:xfrm>
            <a:off x="438946" y="1259909"/>
            <a:ext cx="11760629" cy="0"/>
          </a:xfrm>
          <a:prstGeom prst="line">
            <a:avLst/>
          </a:prstGeom>
          <a:ln w="15875"/>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B1090F0E-B50D-44E5-9761-761959909802}"/>
              </a:ext>
            </a:extLst>
          </p:cNvPr>
          <p:cNvPicPr>
            <a:picLocks noChangeAspect="1"/>
          </p:cNvPicPr>
          <p:nvPr userDrawn="1"/>
        </p:nvPicPr>
        <p:blipFill>
          <a:blip r:embed="rId44" cstate="print">
            <a:extLst>
              <a:ext uri="{28A0092B-C50C-407E-A947-70E740481C1C}">
                <a14:useLocalDpi xmlns:a14="http://schemas.microsoft.com/office/drawing/2010/main" val="0"/>
              </a:ext>
            </a:extLst>
          </a:blip>
          <a:stretch>
            <a:fillRect/>
          </a:stretch>
        </p:blipFill>
        <p:spPr>
          <a:xfrm>
            <a:off x="435832" y="6468330"/>
            <a:ext cx="2180299" cy="114767"/>
          </a:xfrm>
          <a:prstGeom prst="rect">
            <a:avLst/>
          </a:prstGeom>
        </p:spPr>
      </p:pic>
      <p:pic>
        <p:nvPicPr>
          <p:cNvPr id="18" name="Picture 17">
            <a:extLst>
              <a:ext uri="{FF2B5EF4-FFF2-40B4-BE49-F238E27FC236}">
                <a16:creationId xmlns:a16="http://schemas.microsoft.com/office/drawing/2014/main" id="{6D0B8F55-4CF8-4B7B-BD13-4112885C959D}"/>
              </a:ext>
            </a:extLst>
          </p:cNvPr>
          <p:cNvPicPr>
            <a:picLocks noChangeAspect="1"/>
          </p:cNvPicPr>
          <p:nvPr userDrawn="1"/>
        </p:nvPicPr>
        <p:blipFill rotWithShape="1">
          <a:blip r:embed="rId45" cstate="print">
            <a:extLst>
              <a:ext uri="{28A0092B-C50C-407E-A947-70E740481C1C}">
                <a14:useLocalDpi xmlns:a14="http://schemas.microsoft.com/office/drawing/2010/main" val="0"/>
              </a:ext>
            </a:extLst>
          </a:blip>
          <a:srcRect l="-1" t="4820" r="60602" b="-1"/>
          <a:stretch/>
        </p:blipFill>
        <p:spPr>
          <a:xfrm>
            <a:off x="11136118" y="6344057"/>
            <a:ext cx="871260" cy="367243"/>
          </a:xfrm>
          <a:prstGeom prst="rect">
            <a:avLst/>
          </a:prstGeom>
        </p:spPr>
      </p:pic>
      <p:pic>
        <p:nvPicPr>
          <p:cNvPr id="19" name="Picture 18"/>
          <p:cNvPicPr>
            <a:picLocks noChangeAspect="1"/>
          </p:cNvPicPr>
          <p:nvPr userDrawn="1"/>
        </p:nvPicPr>
        <p:blipFill>
          <a:blip r:embed="rId46" cstate="print">
            <a:extLst>
              <a:ext uri="{28A0092B-C50C-407E-A947-70E740481C1C}">
                <a14:useLocalDpi xmlns:a14="http://schemas.microsoft.com/office/drawing/2010/main" val="0"/>
              </a:ext>
            </a:extLst>
          </a:blip>
          <a:stretch>
            <a:fillRect/>
          </a:stretch>
        </p:blipFill>
        <p:spPr>
          <a:xfrm>
            <a:off x="8001000" y="6213765"/>
            <a:ext cx="3142045" cy="609926"/>
          </a:xfrm>
          <a:prstGeom prst="rect">
            <a:avLst/>
          </a:prstGeom>
          <a:solidFill>
            <a:schemeClr val="bg1"/>
          </a:solidFill>
        </p:spPr>
      </p:pic>
    </p:spTree>
    <p:extLst>
      <p:ext uri="{BB962C8B-B14F-4D97-AF65-F5344CB8AC3E}">
        <p14:creationId xmlns:p14="http://schemas.microsoft.com/office/powerpoint/2010/main" val="1998182218"/>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5" r:id="rId17"/>
    <p:sldLayoutId id="2147483696" r:id="rId18"/>
    <p:sldLayoutId id="2147483697" r:id="rId19"/>
    <p:sldLayoutId id="2147483698" r:id="rId20"/>
    <p:sldLayoutId id="2147483699" r:id="rId21"/>
    <p:sldLayoutId id="2147483700" r:id="rId22"/>
    <p:sldLayoutId id="2147483701" r:id="rId23"/>
    <p:sldLayoutId id="2147483702" r:id="rId24"/>
    <p:sldLayoutId id="2147483703" r:id="rId25"/>
    <p:sldLayoutId id="2147483708" r:id="rId26"/>
    <p:sldLayoutId id="2147483668" r:id="rId27"/>
    <p:sldLayoutId id="2147483674" r:id="rId28"/>
    <p:sldLayoutId id="2147483712" r:id="rId29"/>
    <p:sldLayoutId id="2147483713" r:id="rId30"/>
    <p:sldLayoutId id="2147483715" r:id="rId31"/>
    <p:sldLayoutId id="2147483716" r:id="rId32"/>
    <p:sldLayoutId id="2147483717" r:id="rId33"/>
    <p:sldLayoutId id="2147483718" r:id="rId34"/>
    <p:sldLayoutId id="2147483722" r:id="rId35"/>
    <p:sldLayoutId id="2147483723" r:id="rId36"/>
    <p:sldLayoutId id="2147483724" r:id="rId37"/>
  </p:sldLayoutIdLst>
  <p:txStyles>
    <p:titleStyle>
      <a:lvl1pPr algn="l" defTabSz="1219170" rtl="0" eaLnBrk="1" latinLnBrk="0" hangingPunct="1">
        <a:spcBef>
          <a:spcPct val="0"/>
        </a:spcBef>
        <a:buNone/>
        <a:defRPr sz="3200" b="1" kern="1200" baseline="0">
          <a:solidFill>
            <a:schemeClr val="tx1"/>
          </a:solidFill>
          <a:latin typeface="Verdana" pitchFamily="34" charset="0"/>
          <a:ea typeface="Verdana" pitchFamily="34" charset="0"/>
          <a:cs typeface="Verdana" pitchFamily="34" charset="0"/>
        </a:defRPr>
      </a:lvl1pPr>
    </p:titleStyle>
    <p:bodyStyle>
      <a:lvl1pPr marL="359991" indent="-359991" algn="l" defTabSz="1219170" rtl="0" eaLnBrk="1" latinLnBrk="0" hangingPunct="1">
        <a:spcBef>
          <a:spcPct val="20000"/>
        </a:spcBef>
        <a:buClr>
          <a:schemeClr val="tx2"/>
        </a:buClr>
        <a:buFont typeface="Lucida Sans Unicode" pitchFamily="34" charset="0"/>
        <a:buChar char="▶"/>
        <a:defRPr sz="2100" kern="1200" baseline="0">
          <a:solidFill>
            <a:schemeClr val="tx1"/>
          </a:solidFill>
          <a:latin typeface="Verdana" pitchFamily="34" charset="0"/>
          <a:ea typeface="Verdana" pitchFamily="34" charset="0"/>
          <a:cs typeface="Verdana" pitchFamily="34" charset="0"/>
        </a:defRPr>
      </a:lvl1pPr>
      <a:lvl2pPr marL="719982" indent="-359991" algn="l" defTabSz="1219170" rtl="0" eaLnBrk="1" latinLnBrk="0" hangingPunct="1">
        <a:spcBef>
          <a:spcPts val="512"/>
        </a:spcBef>
        <a:buClr>
          <a:schemeClr val="tx2"/>
        </a:buClr>
        <a:buFont typeface="Arial" pitchFamily="34" charset="0"/>
        <a:buChar char="–"/>
        <a:defRPr sz="2100" kern="1200" baseline="0">
          <a:solidFill>
            <a:schemeClr val="tx1"/>
          </a:solidFill>
          <a:latin typeface="Verdana" pitchFamily="34" charset="0"/>
          <a:ea typeface="Verdana" pitchFamily="34" charset="0"/>
          <a:cs typeface="Verdana" pitchFamily="34" charset="0"/>
        </a:defRPr>
      </a:lvl2pPr>
      <a:lvl3pPr marL="1079973" indent="-359991" algn="l" defTabSz="1219170" rtl="0" eaLnBrk="1" latinLnBrk="0" hangingPunct="1">
        <a:spcBef>
          <a:spcPct val="20000"/>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3pPr>
      <a:lvl4pPr marL="1439964" indent="-359991" algn="l" defTabSz="1219170" rtl="0" eaLnBrk="1" latinLnBrk="0" hangingPunct="1">
        <a:spcBef>
          <a:spcPct val="20000"/>
        </a:spcBef>
        <a:buClr>
          <a:schemeClr val="tx2"/>
        </a:buClr>
        <a:buFont typeface="Arial" pitchFamily="34" charset="0"/>
        <a:buChar char="–"/>
        <a:defRPr sz="2100" kern="1200" baseline="0">
          <a:solidFill>
            <a:schemeClr val="tx1"/>
          </a:solidFill>
          <a:latin typeface="Verdana" pitchFamily="34" charset="0"/>
          <a:ea typeface="Verdana" pitchFamily="34" charset="0"/>
          <a:cs typeface="Verdana" pitchFamily="34" charset="0"/>
        </a:defRPr>
      </a:lvl4pPr>
      <a:lvl5pPr marL="1799955" indent="-359991" algn="l" defTabSz="1219170" rtl="0" eaLnBrk="1" latinLnBrk="0" hangingPunct="1">
        <a:spcBef>
          <a:spcPct val="20000"/>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5pPr>
      <a:lvl6pPr marL="3352716"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nl-NL"/>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14" name="Text Placeholder 2"/>
          <p:cNvSpPr>
            <a:spLocks noGrp="1"/>
          </p:cNvSpPr>
          <p:nvPr>
            <p:ph type="body" idx="1"/>
          </p:nvPr>
        </p:nvSpPr>
        <p:spPr bwMode="gray">
          <a:xfrm>
            <a:off x="303548" y="1432984"/>
            <a:ext cx="11436096" cy="4654616"/>
          </a:xfrm>
          <a:prstGeom prst="rect">
            <a:avLst/>
          </a:prstGeom>
        </p:spPr>
        <p:txBody>
          <a:bodyPr vert="horz" lIns="91440" tIns="45720" rIns="91440" bIns="45720" rtlCol="0">
            <a:noAutofit/>
          </a:bodyPr>
          <a:lstStyle/>
          <a:p>
            <a:pPr lvl="0"/>
            <a:r>
              <a:rPr lang="nl-NL"/>
              <a:t>Paragraph 01 (Raleway Medium 14 pt)</a:t>
            </a:r>
          </a:p>
          <a:p>
            <a:pPr lvl="1"/>
            <a:r>
              <a:rPr lang="nl-NL"/>
              <a:t>Paragraph 02 (Raleway Light 12 pt)</a:t>
            </a:r>
          </a:p>
          <a:p>
            <a:pPr lvl="2"/>
            <a:r>
              <a:rPr lang="nl-NL"/>
              <a:t>Paragraph 03 (Raleway Light 11 pt)</a:t>
            </a:r>
          </a:p>
          <a:p>
            <a:pPr lvl="3"/>
            <a:r>
              <a:rPr lang="en-US"/>
              <a:t>Paragraph 04 (</a:t>
            </a:r>
            <a:r>
              <a:rPr lang="en-US" err="1"/>
              <a:t>Raleway</a:t>
            </a:r>
            <a:r>
              <a:rPr lang="en-US"/>
              <a:t> Light 10 </a:t>
            </a:r>
            <a:r>
              <a:rPr lang="en-US" err="1"/>
              <a:t>pt</a:t>
            </a:r>
            <a:r>
              <a:rPr lang="en-US"/>
              <a:t>)</a:t>
            </a:r>
            <a:endParaRPr lang="nl-NL"/>
          </a:p>
        </p:txBody>
      </p:sp>
      <p:sp>
        <p:nvSpPr>
          <p:cNvPr id="16" name="Title Placeholder 1"/>
          <p:cNvSpPr>
            <a:spLocks noGrp="1"/>
          </p:cNvSpPr>
          <p:nvPr>
            <p:ph type="title"/>
          </p:nvPr>
        </p:nvSpPr>
        <p:spPr bwMode="gray">
          <a:xfrm>
            <a:off x="303548" y="164637"/>
            <a:ext cx="11436096" cy="756000"/>
          </a:xfrm>
          <a:prstGeom prst="rect">
            <a:avLst/>
          </a:prstGeom>
        </p:spPr>
        <p:txBody>
          <a:bodyPr vert="horz" lIns="91440" tIns="45720" rIns="91440" bIns="45720" rtlCol="0" anchor="t" anchorCtr="0">
            <a:noAutofit/>
          </a:bodyPr>
          <a:lstStyle/>
          <a:p>
            <a:r>
              <a:rPr lang="en-US"/>
              <a:t>Title in </a:t>
            </a:r>
            <a:r>
              <a:rPr lang="en-US" err="1"/>
              <a:t>Raleway</a:t>
            </a:r>
            <a:r>
              <a:rPr lang="en-US"/>
              <a:t> </a:t>
            </a:r>
            <a:r>
              <a:rPr lang="en-US" err="1"/>
              <a:t>SemiBold</a:t>
            </a:r>
            <a:r>
              <a:rPr lang="en-US"/>
              <a:t> 20pt</a:t>
            </a:r>
            <a:endParaRPr lang="nl-NL"/>
          </a:p>
        </p:txBody>
      </p:sp>
      <p:pic>
        <p:nvPicPr>
          <p:cNvPr id="12" name="Picture 11">
            <a:extLst>
              <a:ext uri="{FF2B5EF4-FFF2-40B4-BE49-F238E27FC236}">
                <a16:creationId xmlns:a16="http://schemas.microsoft.com/office/drawing/2014/main" id="{89494A63-0145-448C-B13E-0EAA15753482}"/>
              </a:ext>
            </a:extLst>
          </p:cNvPr>
          <p:cNvPicPr>
            <a:picLocks noChangeAspect="1"/>
          </p:cNvPicPr>
          <p:nvPr userDrawn="1"/>
        </p:nvPicPr>
        <p:blipFill>
          <a:blip r:embed="rId57" cstate="print">
            <a:extLst>
              <a:ext uri="{28A0092B-C50C-407E-A947-70E740481C1C}">
                <a14:useLocalDpi xmlns:a14="http://schemas.microsoft.com/office/drawing/2010/main" val="0"/>
              </a:ext>
            </a:extLst>
          </a:blip>
          <a:stretch>
            <a:fillRect/>
          </a:stretch>
        </p:blipFill>
        <p:spPr>
          <a:xfrm>
            <a:off x="435832" y="6435684"/>
            <a:ext cx="2180299" cy="114767"/>
          </a:xfrm>
          <a:prstGeom prst="rect">
            <a:avLst/>
          </a:prstGeom>
        </p:spPr>
      </p:pic>
      <p:pic>
        <p:nvPicPr>
          <p:cNvPr id="13" name="Picture 12">
            <a:extLst>
              <a:ext uri="{FF2B5EF4-FFF2-40B4-BE49-F238E27FC236}">
                <a16:creationId xmlns:a16="http://schemas.microsoft.com/office/drawing/2014/main" id="{8E19F08E-8B90-4414-BA9D-F8DBE1984E9C}"/>
              </a:ext>
            </a:extLst>
          </p:cNvPr>
          <p:cNvPicPr>
            <a:picLocks noChangeAspect="1"/>
          </p:cNvPicPr>
          <p:nvPr userDrawn="1"/>
        </p:nvPicPr>
        <p:blipFill rotWithShape="1">
          <a:blip r:embed="rId58" cstate="print">
            <a:extLst>
              <a:ext uri="{28A0092B-C50C-407E-A947-70E740481C1C}">
                <a14:useLocalDpi xmlns:a14="http://schemas.microsoft.com/office/drawing/2010/main" val="0"/>
              </a:ext>
            </a:extLst>
          </a:blip>
          <a:srcRect l="-1" t="4820" r="60602" b="-1"/>
          <a:stretch/>
        </p:blipFill>
        <p:spPr>
          <a:xfrm>
            <a:off x="11008974" y="6309446"/>
            <a:ext cx="871260" cy="367243"/>
          </a:xfrm>
          <a:prstGeom prst="rect">
            <a:avLst/>
          </a:prstGeom>
        </p:spPr>
      </p:pic>
      <p:pic>
        <p:nvPicPr>
          <p:cNvPr id="15" name="Picture 14">
            <a:extLst>
              <a:ext uri="{FF2B5EF4-FFF2-40B4-BE49-F238E27FC236}">
                <a16:creationId xmlns:a16="http://schemas.microsoft.com/office/drawing/2014/main" id="{E800F259-7699-4559-98DA-62EF87085B95}"/>
              </a:ext>
            </a:extLst>
          </p:cNvPr>
          <p:cNvPicPr>
            <a:picLocks noChangeAspect="1"/>
          </p:cNvPicPr>
          <p:nvPr userDrawn="1"/>
        </p:nvPicPr>
        <p:blipFill>
          <a:blip r:embed="rId59" cstate="print">
            <a:extLst>
              <a:ext uri="{28A0092B-C50C-407E-A947-70E740481C1C}">
                <a14:useLocalDpi xmlns:a14="http://schemas.microsoft.com/office/drawing/2010/main" val="0"/>
              </a:ext>
            </a:extLst>
          </a:blip>
          <a:stretch>
            <a:fillRect/>
          </a:stretch>
        </p:blipFill>
        <p:spPr>
          <a:xfrm>
            <a:off x="7834181" y="6188104"/>
            <a:ext cx="3142045" cy="609926"/>
          </a:xfrm>
          <a:prstGeom prst="rect">
            <a:avLst/>
          </a:prstGeom>
          <a:solidFill>
            <a:schemeClr val="bg1"/>
          </a:solidFill>
        </p:spPr>
      </p:pic>
      <p:sp>
        <p:nvSpPr>
          <p:cNvPr id="2" name="TextBox 1">
            <a:extLst>
              <a:ext uri="{FF2B5EF4-FFF2-40B4-BE49-F238E27FC236}">
                <a16:creationId xmlns:a16="http://schemas.microsoft.com/office/drawing/2014/main" id="{9941D5ED-F687-48D0-A36A-9836CA920310}"/>
              </a:ext>
            </a:extLst>
          </p:cNvPr>
          <p:cNvSpPr txBox="1"/>
          <p:nvPr userDrawn="1"/>
        </p:nvSpPr>
        <p:spPr>
          <a:xfrm>
            <a:off x="5805715" y="6354568"/>
            <a:ext cx="580571" cy="276999"/>
          </a:xfrm>
          <a:prstGeom prst="rect">
            <a:avLst/>
          </a:prstGeom>
          <a:noFill/>
        </p:spPr>
        <p:txBody>
          <a:bodyPr wrap="square" rtlCol="0" anchor="ctr">
            <a:spAutoFit/>
          </a:bodyPr>
          <a:lstStyle/>
          <a:p>
            <a:pPr algn="ctr"/>
            <a:fld id="{2B92537D-15C5-47A8-BE8D-7DFB680ECC62}" type="slidenum">
              <a:rPr lang="en-GB" sz="1200" smtClean="0">
                <a:solidFill>
                  <a:schemeClr val="tx1"/>
                </a:solidFill>
              </a:rPr>
              <a:t>‹#›</a:t>
            </a:fld>
            <a:endParaRPr lang="en-GB" sz="1100" err="1">
              <a:solidFill>
                <a:schemeClr val="tx1"/>
              </a:solidFill>
            </a:endParaRPr>
          </a:p>
        </p:txBody>
      </p:sp>
    </p:spTree>
    <p:extLst>
      <p:ext uri="{BB962C8B-B14F-4D97-AF65-F5344CB8AC3E}">
        <p14:creationId xmlns:p14="http://schemas.microsoft.com/office/powerpoint/2010/main" val="4126265207"/>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 id="2147483741" r:id="rId16"/>
    <p:sldLayoutId id="2147483742" r:id="rId17"/>
    <p:sldLayoutId id="2147483743" r:id="rId18"/>
    <p:sldLayoutId id="2147483744" r:id="rId19"/>
    <p:sldLayoutId id="2147483745" r:id="rId20"/>
    <p:sldLayoutId id="2147483746" r:id="rId21"/>
    <p:sldLayoutId id="2147483747" r:id="rId22"/>
    <p:sldLayoutId id="2147483748" r:id="rId23"/>
    <p:sldLayoutId id="2147483749" r:id="rId24"/>
    <p:sldLayoutId id="2147483750" r:id="rId25"/>
    <p:sldLayoutId id="2147483751" r:id="rId26"/>
    <p:sldLayoutId id="2147483752" r:id="rId27"/>
    <p:sldLayoutId id="2147483753" r:id="rId28"/>
    <p:sldLayoutId id="2147483754" r:id="rId29"/>
    <p:sldLayoutId id="2147483755" r:id="rId30"/>
    <p:sldLayoutId id="2147483756" r:id="rId31"/>
    <p:sldLayoutId id="2147483757" r:id="rId32"/>
    <p:sldLayoutId id="2147483758" r:id="rId33"/>
    <p:sldLayoutId id="2147483759" r:id="rId34"/>
    <p:sldLayoutId id="2147483760" r:id="rId35"/>
    <p:sldLayoutId id="2147483761" r:id="rId36"/>
    <p:sldLayoutId id="2147483762" r:id="rId37"/>
    <p:sldLayoutId id="2147483763" r:id="rId38"/>
    <p:sldLayoutId id="2147483764" r:id="rId39"/>
    <p:sldLayoutId id="2147483765" r:id="rId40"/>
    <p:sldLayoutId id="2147483766" r:id="rId41"/>
    <p:sldLayoutId id="2147483767" r:id="rId42"/>
    <p:sldLayoutId id="2147483768" r:id="rId43"/>
    <p:sldLayoutId id="2147483769" r:id="rId44"/>
    <p:sldLayoutId id="2147483770" r:id="rId45"/>
    <p:sldLayoutId id="2147483771" r:id="rId46"/>
    <p:sldLayoutId id="2147483772" r:id="rId47"/>
    <p:sldLayoutId id="2147483773" r:id="rId48"/>
    <p:sldLayoutId id="2147483774" r:id="rId49"/>
    <p:sldLayoutId id="2147483775" r:id="rId50"/>
    <p:sldLayoutId id="2147483776" r:id="rId51"/>
    <p:sldLayoutId id="2147483777" r:id="rId52"/>
    <p:sldLayoutId id="2147483779" r:id="rId53"/>
    <p:sldLayoutId id="2147483780" r:id="rId54"/>
    <p:sldLayoutId id="2147483783" r:id="rId55"/>
  </p:sldLayoutIdLst>
  <p:txStyles>
    <p:titleStyle>
      <a:lvl1pPr algn="l" defTabSz="1219170" rtl="0" eaLnBrk="1" latinLnBrk="0" hangingPunct="1">
        <a:spcBef>
          <a:spcPct val="0"/>
        </a:spcBef>
        <a:buNone/>
        <a:defRPr sz="2667" b="1" kern="1200" baseline="0">
          <a:solidFill>
            <a:schemeClr val="tx1"/>
          </a:solidFill>
          <a:latin typeface="Raleway SemiBold" pitchFamily="2" charset="0"/>
          <a:ea typeface="Verdana" pitchFamily="34" charset="0"/>
          <a:cs typeface="Raleway SemiBold" pitchFamily="2" charset="0"/>
        </a:defRPr>
      </a:lvl1pPr>
    </p:titleStyle>
    <p:bodyStyle>
      <a:lvl1pPr marL="219451" indent="-219451" algn="l" defTabSz="1219170" rtl="0" eaLnBrk="1" latinLnBrk="0" hangingPunct="1">
        <a:spcBef>
          <a:spcPts val="0"/>
        </a:spcBef>
        <a:spcAft>
          <a:spcPts val="533"/>
        </a:spcAft>
        <a:buClr>
          <a:schemeClr val="tx1"/>
        </a:buClr>
        <a:buSzPct val="100000"/>
        <a:buFont typeface="Arial" panose="020B0604020202020204" pitchFamily="34" charset="0"/>
        <a:buChar char="•"/>
        <a:defRPr sz="1867" kern="1200" baseline="0">
          <a:solidFill>
            <a:schemeClr val="tx1"/>
          </a:solidFill>
          <a:latin typeface="Raleway Medium" pitchFamily="2" charset="0"/>
          <a:ea typeface="Verdana" pitchFamily="34" charset="0"/>
          <a:cs typeface="Verdana" pitchFamily="34" charset="0"/>
        </a:defRPr>
      </a:lvl1pPr>
      <a:lvl2pPr marL="438901" indent="-219451" algn="l" defTabSz="1219170" rtl="0" eaLnBrk="1" latinLnBrk="0" hangingPunct="1">
        <a:spcBef>
          <a:spcPts val="0"/>
        </a:spcBef>
        <a:spcAft>
          <a:spcPts val="533"/>
        </a:spcAft>
        <a:buClr>
          <a:schemeClr val="tx1"/>
        </a:buClr>
        <a:buFont typeface="Arial" panose="020B0604020202020204" pitchFamily="34" charset="0"/>
        <a:buChar char="•"/>
        <a:defRPr sz="1600" kern="1200" baseline="0">
          <a:solidFill>
            <a:schemeClr val="tx1"/>
          </a:solidFill>
          <a:latin typeface="Raleway Light" pitchFamily="2" charset="0"/>
          <a:ea typeface="Verdana" pitchFamily="34" charset="0"/>
          <a:cs typeface="Verdana" pitchFamily="34" charset="0"/>
        </a:defRPr>
      </a:lvl2pPr>
      <a:lvl3pPr marL="658352" indent="-219451" algn="l" defTabSz="1219170" rtl="0" eaLnBrk="1" latinLnBrk="0" hangingPunct="1">
        <a:spcBef>
          <a:spcPts val="0"/>
        </a:spcBef>
        <a:spcAft>
          <a:spcPts val="533"/>
        </a:spcAft>
        <a:buClr>
          <a:schemeClr val="tx1"/>
        </a:buClr>
        <a:buFont typeface="Arial" pitchFamily="34" charset="0"/>
        <a:buChar char="•"/>
        <a:defRPr sz="1467" kern="1200">
          <a:solidFill>
            <a:schemeClr val="tx1"/>
          </a:solidFill>
          <a:latin typeface="Raleway Light" pitchFamily="2" charset="0"/>
          <a:ea typeface="Verdana" pitchFamily="34" charset="0"/>
          <a:cs typeface="Verdana" pitchFamily="34" charset="0"/>
        </a:defRPr>
      </a:lvl3pPr>
      <a:lvl4pPr marL="877802" indent="-219451" algn="l" defTabSz="1219170" rtl="0" eaLnBrk="1" latinLnBrk="0" hangingPunct="1">
        <a:spcBef>
          <a:spcPts val="0"/>
        </a:spcBef>
        <a:spcAft>
          <a:spcPts val="533"/>
        </a:spcAft>
        <a:buClr>
          <a:schemeClr val="tx1"/>
        </a:buClr>
        <a:buFont typeface="Arial" panose="020B0604020202020204" pitchFamily="34" charset="0"/>
        <a:buChar char="•"/>
        <a:defRPr sz="1333" kern="1200" baseline="0">
          <a:solidFill>
            <a:schemeClr val="tx1"/>
          </a:solidFill>
          <a:latin typeface="+mn-lt"/>
          <a:ea typeface="Verdana" pitchFamily="34" charset="0"/>
          <a:cs typeface="Verdana" pitchFamily="34" charset="0"/>
        </a:defRPr>
      </a:lvl4pPr>
      <a:lvl5pPr marL="1799955" indent="-359991" algn="l" defTabSz="1219170" rtl="0" eaLnBrk="1" latinLnBrk="0" hangingPunct="1">
        <a:spcBef>
          <a:spcPct val="20000"/>
        </a:spcBef>
        <a:buClr>
          <a:schemeClr val="tx2"/>
        </a:buClr>
        <a:buFont typeface="Arial" pitchFamily="34" charset="0"/>
        <a:buChar char="»"/>
        <a:defRPr sz="2133" kern="1200">
          <a:solidFill>
            <a:srgbClr val="FFFFFF"/>
          </a:solidFill>
          <a:latin typeface="Verdana" pitchFamily="34" charset="0"/>
          <a:ea typeface="Verdana" pitchFamily="34" charset="0"/>
          <a:cs typeface="Verdana"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nl-NL"/>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77">
          <p15:clr>
            <a:srgbClr val="F26B43"/>
          </p15:clr>
        </p15:guide>
        <p15:guide id="2" pos="5552">
          <p15:clr>
            <a:srgbClr val="F26B43"/>
          </p15:clr>
        </p15:guide>
        <p15:guide id="3" orient="horz" pos="2880">
          <p15:clr>
            <a:srgbClr val="F26B43"/>
          </p15:clr>
        </p15:guide>
        <p15:guide id="4" pos="20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xml"/><Relationship Id="rId1" Type="http://schemas.openxmlformats.org/officeDocument/2006/relationships/slideLayout" Target="../slideLayouts/slideLayout38.xml"/><Relationship Id="rId4" Type="http://schemas.openxmlformats.org/officeDocument/2006/relationships/image" Target="../media/image32.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13.xml.rels><?xml version="1.0" encoding="UTF-8" standalone="yes"?>
<Relationships xmlns="http://schemas.openxmlformats.org/package/2006/relationships"><Relationship Id="rId8" Type="http://schemas.openxmlformats.org/officeDocument/2006/relationships/diagramData" Target="../diagrams/data1.xml"/><Relationship Id="rId13" Type="http://schemas.openxmlformats.org/officeDocument/2006/relationships/diagramData" Target="../diagrams/data2.xml"/><Relationship Id="rId18" Type="http://schemas.openxmlformats.org/officeDocument/2006/relationships/image" Target="../media/image39.png"/><Relationship Id="rId3" Type="http://schemas.microsoft.com/office/2007/relationships/hdphoto" Target="../media/hdphoto1.wdp"/><Relationship Id="rId21" Type="http://schemas.microsoft.com/office/2007/relationships/hdphoto" Target="../media/hdphoto2.wdp"/><Relationship Id="rId7" Type="http://schemas.openxmlformats.org/officeDocument/2006/relationships/image" Target="../media/image38.png"/><Relationship Id="rId12" Type="http://schemas.microsoft.com/office/2007/relationships/diagramDrawing" Target="../diagrams/drawing1.xml"/><Relationship Id="rId17" Type="http://schemas.microsoft.com/office/2007/relationships/diagramDrawing" Target="../diagrams/drawing2.xml"/><Relationship Id="rId2" Type="http://schemas.openxmlformats.org/officeDocument/2006/relationships/image" Target="../media/image34.png"/><Relationship Id="rId16" Type="http://schemas.openxmlformats.org/officeDocument/2006/relationships/diagramColors" Target="../diagrams/colors2.xml"/><Relationship Id="rId20" Type="http://schemas.openxmlformats.org/officeDocument/2006/relationships/image" Target="../media/image41.png"/><Relationship Id="rId1" Type="http://schemas.openxmlformats.org/officeDocument/2006/relationships/slideLayout" Target="../slideLayouts/slideLayout82.xml"/><Relationship Id="rId6" Type="http://schemas.openxmlformats.org/officeDocument/2006/relationships/image" Target="../media/image37.png"/><Relationship Id="rId11" Type="http://schemas.openxmlformats.org/officeDocument/2006/relationships/diagramColors" Target="../diagrams/colors1.xml"/><Relationship Id="rId5" Type="http://schemas.openxmlformats.org/officeDocument/2006/relationships/image" Target="../media/image36.png"/><Relationship Id="rId15" Type="http://schemas.openxmlformats.org/officeDocument/2006/relationships/diagramQuickStyle" Target="../diagrams/quickStyle2.xml"/><Relationship Id="rId10" Type="http://schemas.openxmlformats.org/officeDocument/2006/relationships/diagramQuickStyle" Target="../diagrams/quickStyle1.xml"/><Relationship Id="rId19" Type="http://schemas.openxmlformats.org/officeDocument/2006/relationships/image" Target="../media/image40.png"/><Relationship Id="rId4" Type="http://schemas.openxmlformats.org/officeDocument/2006/relationships/image" Target="../media/image35.png"/><Relationship Id="rId9" Type="http://schemas.openxmlformats.org/officeDocument/2006/relationships/diagramLayout" Target="../diagrams/layout1.xml"/><Relationship Id="rId14" Type="http://schemas.openxmlformats.org/officeDocument/2006/relationships/diagramLayout" Target="../diagrams/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jpeg"/><Relationship Id="rId7" Type="http://schemas.openxmlformats.org/officeDocument/2006/relationships/image" Target="../media/image47.png"/><Relationship Id="rId2" Type="http://schemas.openxmlformats.org/officeDocument/2006/relationships/image" Target="../media/image42.png"/><Relationship Id="rId1" Type="http://schemas.openxmlformats.org/officeDocument/2006/relationships/slideLayout" Target="../slideLayouts/slideLayout41.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jpeg"/></Relationships>
</file>

<file path=ppt/slides/_rels/slide1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41.xml"/></Relationships>
</file>

<file path=ppt/slides/_rels/slide16.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jpeg"/><Relationship Id="rId7" Type="http://schemas.openxmlformats.org/officeDocument/2006/relationships/image" Target="../media/image47.png"/><Relationship Id="rId2" Type="http://schemas.openxmlformats.org/officeDocument/2006/relationships/image" Target="../media/image42.png"/><Relationship Id="rId1" Type="http://schemas.openxmlformats.org/officeDocument/2006/relationships/slideLayout" Target="../slideLayouts/slideLayout41.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jpe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21.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image" Target="../media/image55.jpeg"/><Relationship Id="rId2" Type="http://schemas.openxmlformats.org/officeDocument/2006/relationships/notesSlide" Target="../notesSlides/notesSlide2.xml"/><Relationship Id="rId1" Type="http://schemas.openxmlformats.org/officeDocument/2006/relationships/slideLayout" Target="../slideLayouts/slideLayout77.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24.xml.rels><?xml version="1.0" encoding="UTF-8" standalone="yes"?>
<Relationships xmlns="http://schemas.openxmlformats.org/package/2006/relationships"><Relationship Id="rId8" Type="http://schemas.openxmlformats.org/officeDocument/2006/relationships/diagramColors" Target="../diagrams/colors3.xml"/><Relationship Id="rId13" Type="http://schemas.openxmlformats.org/officeDocument/2006/relationships/image" Target="../media/image39.png"/><Relationship Id="rId3" Type="http://schemas.openxmlformats.org/officeDocument/2006/relationships/image" Target="../media/image56.png"/><Relationship Id="rId7" Type="http://schemas.openxmlformats.org/officeDocument/2006/relationships/diagramQuickStyle" Target="../diagrams/quickStyle3.xml"/><Relationship Id="rId12" Type="http://schemas.openxmlformats.org/officeDocument/2006/relationships/image" Target="../media/image60.jpeg"/><Relationship Id="rId2" Type="http://schemas.openxmlformats.org/officeDocument/2006/relationships/notesSlide" Target="../notesSlides/notesSlide3.xml"/><Relationship Id="rId1" Type="http://schemas.openxmlformats.org/officeDocument/2006/relationships/slideLayout" Target="../slideLayouts/slideLayout77.xml"/><Relationship Id="rId6" Type="http://schemas.openxmlformats.org/officeDocument/2006/relationships/diagramLayout" Target="../diagrams/layout3.xml"/><Relationship Id="rId11" Type="http://schemas.openxmlformats.org/officeDocument/2006/relationships/image" Target="../media/image59.png"/><Relationship Id="rId5" Type="http://schemas.openxmlformats.org/officeDocument/2006/relationships/diagramData" Target="../diagrams/data3.xml"/><Relationship Id="rId10" Type="http://schemas.openxmlformats.org/officeDocument/2006/relationships/image" Target="../media/image58.jpeg"/><Relationship Id="rId4" Type="http://schemas.openxmlformats.org/officeDocument/2006/relationships/image" Target="../media/image57.svg"/><Relationship Id="rId9" Type="http://schemas.microsoft.com/office/2007/relationships/diagramDrawing" Target="../diagrams/drawing3.xml"/></Relationships>
</file>

<file path=ppt/slides/_rels/slide25.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png"/><Relationship Id="rId1" Type="http://schemas.openxmlformats.org/officeDocument/2006/relationships/slideLayout" Target="../slideLayouts/slideLayout41.xml"/></Relationships>
</file>

<file path=ppt/slides/_rels/slide2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4.xml"/><Relationship Id="rId1" Type="http://schemas.openxmlformats.org/officeDocument/2006/relationships/slideLayout" Target="../slideLayouts/slideLayout41.xml"/></Relationships>
</file>

<file path=ppt/slides/_rels/slide27.xml.rels><?xml version="1.0" encoding="UTF-8" standalone="yes"?>
<Relationships xmlns="http://schemas.openxmlformats.org/package/2006/relationships"><Relationship Id="rId8" Type="http://schemas.openxmlformats.org/officeDocument/2006/relationships/image" Target="../media/image69.png"/><Relationship Id="rId13" Type="http://schemas.microsoft.com/office/2007/relationships/hdphoto" Target="../media/hdphoto4.wdp"/><Relationship Id="rId3" Type="http://schemas.openxmlformats.org/officeDocument/2006/relationships/image" Target="../media/image64.png"/><Relationship Id="rId7" Type="http://schemas.openxmlformats.org/officeDocument/2006/relationships/image" Target="../media/image68.png"/><Relationship Id="rId12" Type="http://schemas.openxmlformats.org/officeDocument/2006/relationships/image" Target="../media/image72.png"/><Relationship Id="rId2" Type="http://schemas.openxmlformats.org/officeDocument/2006/relationships/notesSlide" Target="../notesSlides/notesSlide5.xml"/><Relationship Id="rId1" Type="http://schemas.openxmlformats.org/officeDocument/2006/relationships/slideLayout" Target="../slideLayouts/slideLayout41.xml"/><Relationship Id="rId6" Type="http://schemas.openxmlformats.org/officeDocument/2006/relationships/image" Target="../media/image67.png"/><Relationship Id="rId11" Type="http://schemas.openxmlformats.org/officeDocument/2006/relationships/image" Target="../media/image71.png"/><Relationship Id="rId5" Type="http://schemas.openxmlformats.org/officeDocument/2006/relationships/image" Target="../media/image66.png"/><Relationship Id="rId10" Type="http://schemas.microsoft.com/office/2007/relationships/hdphoto" Target="../media/hdphoto3.wdp"/><Relationship Id="rId4" Type="http://schemas.openxmlformats.org/officeDocument/2006/relationships/image" Target="../media/image65.png"/><Relationship Id="rId9" Type="http://schemas.openxmlformats.org/officeDocument/2006/relationships/image" Target="../media/image70.png"/></Relationships>
</file>

<file path=ppt/slides/_rels/slide28.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7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31.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77.xml"/></Relationships>
</file>

<file path=ppt/slides/_rels/slide3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41.xml"/><Relationship Id="rId6" Type="http://schemas.openxmlformats.org/officeDocument/2006/relationships/image" Target="../media/image78.png"/><Relationship Id="rId5" Type="http://schemas.openxmlformats.org/officeDocument/2006/relationships/image" Target="../media/image77.png"/><Relationship Id="rId4" Type="http://schemas.microsoft.com/office/2007/relationships/hdphoto" Target="../media/hdphoto5.wdp"/></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5.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9.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4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p:nvPr/>
        </p:nvSpPr>
        <p:spPr>
          <a:xfrm>
            <a:off x="458585" y="6317064"/>
            <a:ext cx="1663339" cy="109815"/>
          </a:xfrm>
          <a:prstGeom prst="rect">
            <a:avLst/>
          </a:prstGeom>
          <a:blipFill>
            <a:blip r:embed="rId3" cstate="print"/>
            <a:stretch>
              <a:fillRect/>
            </a:stretch>
          </a:blipFill>
        </p:spPr>
        <p:txBody>
          <a:bodyPr wrap="square" lIns="0" tIns="0" rIns="0" bIns="0" rtlCol="0"/>
          <a:lstStyle/>
          <a:p>
            <a:endParaRPr/>
          </a:p>
        </p:txBody>
      </p:sp>
      <p:sp>
        <p:nvSpPr>
          <p:cNvPr id="5" name="object 5"/>
          <p:cNvSpPr/>
          <p:nvPr/>
        </p:nvSpPr>
        <p:spPr>
          <a:xfrm>
            <a:off x="2144487" y="6317064"/>
            <a:ext cx="0" cy="90170"/>
          </a:xfrm>
          <a:custGeom>
            <a:avLst/>
            <a:gdLst/>
            <a:ahLst/>
            <a:cxnLst/>
            <a:rect l="l" t="t" r="r" b="b"/>
            <a:pathLst>
              <a:path h="90170">
                <a:moveTo>
                  <a:pt x="0" y="0"/>
                </a:moveTo>
                <a:lnTo>
                  <a:pt x="0" y="89645"/>
                </a:lnTo>
              </a:path>
            </a:pathLst>
          </a:custGeom>
          <a:ln w="13521">
            <a:solidFill>
              <a:srgbClr val="FFFFFF"/>
            </a:solidFill>
          </a:ln>
        </p:spPr>
        <p:txBody>
          <a:bodyPr wrap="square" lIns="0" tIns="0" rIns="0" bIns="0" rtlCol="0"/>
          <a:lstStyle/>
          <a:p>
            <a:endParaRPr/>
          </a:p>
        </p:txBody>
      </p:sp>
      <p:sp>
        <p:nvSpPr>
          <p:cNvPr id="6" name="object 6"/>
          <p:cNvSpPr/>
          <p:nvPr/>
        </p:nvSpPr>
        <p:spPr>
          <a:xfrm>
            <a:off x="2189458" y="6317064"/>
            <a:ext cx="443413" cy="109816"/>
          </a:xfrm>
          <a:prstGeom prst="rect">
            <a:avLst/>
          </a:prstGeom>
          <a:blipFill>
            <a:blip r:embed="rId4" cstate="print"/>
            <a:stretch>
              <a:fillRect/>
            </a:stretch>
          </a:blipFill>
        </p:spPr>
        <p:txBody>
          <a:bodyPr wrap="square" lIns="0" tIns="0" rIns="0" bIns="0" rtlCol="0"/>
          <a:lstStyle/>
          <a:p>
            <a:endParaRPr/>
          </a:p>
        </p:txBody>
      </p:sp>
      <p:sp>
        <p:nvSpPr>
          <p:cNvPr id="3" name="AddCustomDate#1">
            <a:extLst>
              <a:ext uri="{FF2B5EF4-FFF2-40B4-BE49-F238E27FC236}">
                <a16:creationId xmlns:a16="http://schemas.microsoft.com/office/drawing/2014/main" id="{7CA31E7A-D508-491E-A186-77992EC86BD4}"/>
              </a:ext>
            </a:extLst>
          </p:cNvPr>
          <p:cNvSpPr txBox="1"/>
          <p:nvPr/>
        </p:nvSpPr>
        <p:spPr>
          <a:xfrm>
            <a:off x="335361" y="5383798"/>
            <a:ext cx="2509592" cy="369328"/>
          </a:xfrm>
          <a:prstGeom prst="rect">
            <a:avLst/>
          </a:prstGeom>
          <a:noFill/>
        </p:spPr>
        <p:txBody>
          <a:bodyPr wrap="none" lIns="121917" tIns="60958" rIns="121917" bIns="60958" rtlCol="0">
            <a:spAutoFit/>
          </a:bodyPr>
          <a:lstStyle/>
          <a:p>
            <a:pPr algn="l"/>
            <a:r>
              <a:rPr lang="nl-NL" sz="1600" b="0">
                <a:solidFill>
                  <a:schemeClr val="bg1"/>
                </a:solidFill>
                <a:latin typeface="Verdana" pitchFamily="34" charset="0"/>
                <a:ea typeface="Verdana" pitchFamily="34" charset="0"/>
                <a:cs typeface="Verdana" pitchFamily="34" charset="0"/>
              </a:rPr>
              <a:t>22th November 2021</a:t>
            </a:r>
          </a:p>
        </p:txBody>
      </p:sp>
      <p:sp>
        <p:nvSpPr>
          <p:cNvPr id="2" name="Text Placeholder 1">
            <a:extLst>
              <a:ext uri="{FF2B5EF4-FFF2-40B4-BE49-F238E27FC236}">
                <a16:creationId xmlns:a16="http://schemas.microsoft.com/office/drawing/2014/main" id="{5251D198-7678-44A8-A784-41814137B5C7}"/>
              </a:ext>
            </a:extLst>
          </p:cNvPr>
          <p:cNvSpPr>
            <a:spLocks noGrp="1"/>
          </p:cNvSpPr>
          <p:nvPr>
            <p:ph type="body" sz="quarter" idx="11"/>
          </p:nvPr>
        </p:nvSpPr>
        <p:spPr/>
        <p:txBody>
          <a:bodyPr/>
          <a:lstStyle/>
          <a:p>
            <a:r>
              <a:rPr lang="en-US" dirty="0"/>
              <a:t>Atos Response   </a:t>
            </a:r>
          </a:p>
          <a:p>
            <a:r>
              <a:rPr lang="en-US" dirty="0"/>
              <a:t>Manulife SLX to MPS migration RFI</a:t>
            </a:r>
          </a:p>
        </p:txBody>
      </p:sp>
      <p:sp>
        <p:nvSpPr>
          <p:cNvPr id="8" name="Text Placeholder 7">
            <a:extLst>
              <a:ext uri="{FF2B5EF4-FFF2-40B4-BE49-F238E27FC236}">
                <a16:creationId xmlns:a16="http://schemas.microsoft.com/office/drawing/2014/main" id="{4FE7311D-13EA-4D90-93D4-B67A38B66110}"/>
              </a:ext>
            </a:extLst>
          </p:cNvPr>
          <p:cNvSpPr>
            <a:spLocks noGrp="1"/>
          </p:cNvSpPr>
          <p:nvPr>
            <p:ph type="body" sz="quarter" idx="12"/>
          </p:nvPr>
        </p:nvSpPr>
        <p:spPr/>
        <p:txBody>
          <a:bodyPr/>
          <a:lstStyle/>
          <a:p>
            <a:r>
              <a:rPr lang="en-GB"/>
              <a:t>22</a:t>
            </a:r>
            <a:r>
              <a:rPr lang="en-GB" baseline="30000"/>
              <a:t>nd</a:t>
            </a:r>
            <a:r>
              <a:rPr lang="en-GB"/>
              <a:t> November 2021</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a:t>Due Diligence Approach</a:t>
            </a:r>
          </a:p>
        </p:txBody>
      </p:sp>
      <p:sp>
        <p:nvSpPr>
          <p:cNvPr id="22" name="Rounded Rectangle 21"/>
          <p:cNvSpPr/>
          <p:nvPr/>
        </p:nvSpPr>
        <p:spPr>
          <a:xfrm>
            <a:off x="501487" y="2101230"/>
            <a:ext cx="1350698" cy="2700000"/>
          </a:xfrm>
          <a:prstGeom prst="rect">
            <a:avLst/>
          </a:prstGeom>
          <a:solidFill>
            <a:schemeClr val="bg1"/>
          </a:solidFill>
          <a:ln w="3175">
            <a:solidFill>
              <a:schemeClr val="accent1">
                <a:lumMod val="60000"/>
                <a:lumOff val="40000"/>
              </a:schemeClr>
            </a:solidFill>
            <a:round/>
            <a:headEnd/>
            <a:tailEnd/>
          </a:ln>
          <a:effectLst/>
        </p:spPr>
        <p:txBody>
          <a:bodyPr wrap="square" lIns="36000" tIns="36000" rIns="36000" bIns="36000" anchor="t"/>
          <a:lstStyle/>
          <a:p>
            <a:pPr marL="177800" marR="0" lvl="0" indent="-144463" algn="l" defTabSz="914400" rtl="0" eaLnBrk="1" fontAlgn="auto" latinLnBrk="0" hangingPunct="1">
              <a:lnSpc>
                <a:spcPct val="100000"/>
              </a:lnSpc>
              <a:spcBef>
                <a:spcPts val="200"/>
              </a:spcBef>
              <a:spcAft>
                <a:spcPts val="200"/>
              </a:spcAft>
              <a:buClrTx/>
              <a:buSzTx/>
              <a:buFont typeface="Wingdings" panose="05000000000000000000" pitchFamily="2" charset="2"/>
              <a:buChar char="§"/>
              <a:tabLst/>
              <a:defRPr/>
            </a:pPr>
            <a:r>
              <a:rPr kumimoji="0" lang="en-US" sz="1000" b="0" i="0" u="none" strike="noStrike" kern="1200" cap="none" spc="0" normalizeH="0" baseline="0" noProof="0">
                <a:ln>
                  <a:noFill/>
                </a:ln>
                <a:effectLst/>
                <a:uLnTx/>
                <a:uFillTx/>
                <a:ea typeface="Calibri" panose="020F0502020204030204" pitchFamily="34" charset="0"/>
                <a:cs typeface="Times New Roman" panose="02020603050405020304" pitchFamily="18" charset="0"/>
              </a:rPr>
              <a:t>Finalize due diligence plan</a:t>
            </a:r>
          </a:p>
          <a:p>
            <a:pPr marL="177800" marR="0" lvl="0" indent="-144463" algn="l" defTabSz="914400" rtl="0" eaLnBrk="1" fontAlgn="auto" latinLnBrk="0" hangingPunct="1">
              <a:lnSpc>
                <a:spcPct val="100000"/>
              </a:lnSpc>
              <a:spcBef>
                <a:spcPts val="200"/>
              </a:spcBef>
              <a:spcAft>
                <a:spcPts val="200"/>
              </a:spcAft>
              <a:buClrTx/>
              <a:buSzTx/>
              <a:buFont typeface="Wingdings" panose="05000000000000000000" pitchFamily="2" charset="2"/>
              <a:buChar char="§"/>
              <a:tabLst/>
              <a:defRPr/>
            </a:pPr>
            <a:r>
              <a:rPr kumimoji="0" lang="en-US" sz="1000" b="0" i="0" u="none" strike="noStrike" kern="1200" cap="none" spc="0" normalizeH="0" baseline="0" noProof="0">
                <a:ln>
                  <a:noFill/>
                </a:ln>
                <a:effectLst/>
                <a:uLnTx/>
                <a:uFillTx/>
                <a:ea typeface="Calibri" panose="020F0502020204030204" pitchFamily="34" charset="0"/>
                <a:cs typeface="Times New Roman" panose="02020603050405020304" pitchFamily="18" charset="0"/>
              </a:rPr>
              <a:t>Finalize schedule for meeting Manulife SMES (Business and IT) </a:t>
            </a:r>
          </a:p>
          <a:p>
            <a:pPr marL="177800" marR="0" lvl="0" indent="-144463" algn="l" defTabSz="914400" rtl="0" eaLnBrk="1" fontAlgn="auto" latinLnBrk="0" hangingPunct="1">
              <a:lnSpc>
                <a:spcPct val="100000"/>
              </a:lnSpc>
              <a:spcBef>
                <a:spcPts val="200"/>
              </a:spcBef>
              <a:spcAft>
                <a:spcPts val="200"/>
              </a:spcAft>
              <a:buClrTx/>
              <a:buSzTx/>
              <a:buFont typeface="Wingdings" panose="05000000000000000000" pitchFamily="2" charset="2"/>
              <a:buChar char="§"/>
              <a:tabLst/>
              <a:defRPr/>
            </a:pPr>
            <a:r>
              <a:rPr kumimoji="0" lang="en-US" sz="1000" b="0" i="0" u="none" strike="noStrike" kern="1200" cap="none" spc="0" normalizeH="0" baseline="0" noProof="0">
                <a:ln>
                  <a:noFill/>
                </a:ln>
                <a:effectLst/>
                <a:uLnTx/>
                <a:uFillTx/>
                <a:ea typeface="Calibri" panose="020F0502020204030204" pitchFamily="34" charset="0"/>
                <a:cs typeface="Times New Roman" panose="02020603050405020304" pitchFamily="18" charset="0"/>
              </a:rPr>
              <a:t>Acquire access to systems and artefacts required for the assessment</a:t>
            </a:r>
          </a:p>
          <a:p>
            <a:pPr marL="177800" marR="0" lvl="0" indent="-144463" algn="l" defTabSz="914400" rtl="0" eaLnBrk="1" fontAlgn="auto" latinLnBrk="0" hangingPunct="1">
              <a:lnSpc>
                <a:spcPct val="100000"/>
              </a:lnSpc>
              <a:spcBef>
                <a:spcPts val="200"/>
              </a:spcBef>
              <a:spcAft>
                <a:spcPts val="200"/>
              </a:spcAft>
              <a:buClrTx/>
              <a:buSzTx/>
              <a:buFont typeface="Wingdings" panose="05000000000000000000" pitchFamily="2" charset="2"/>
              <a:buChar char="§"/>
              <a:tabLst/>
              <a:defRPr/>
            </a:pPr>
            <a:r>
              <a:rPr kumimoji="0" lang="en-US" sz="1000" b="0" i="0" u="none" strike="noStrike" kern="1200" cap="none" spc="0" normalizeH="0" baseline="0" noProof="0">
                <a:ln>
                  <a:noFill/>
                </a:ln>
                <a:effectLst/>
                <a:uLnTx/>
                <a:uFillTx/>
                <a:ea typeface="Calibri" panose="020F0502020204030204" pitchFamily="34" charset="0"/>
                <a:cs typeface="Times New Roman" panose="02020603050405020304" pitchFamily="18" charset="0"/>
              </a:rPr>
              <a:t>System Access and SME familiarization</a:t>
            </a:r>
          </a:p>
          <a:p>
            <a:pPr marL="177800" marR="0" lvl="0" indent="-144463" algn="l" defTabSz="914400" rtl="0" eaLnBrk="1" fontAlgn="auto" latinLnBrk="0" hangingPunct="1">
              <a:lnSpc>
                <a:spcPct val="100000"/>
              </a:lnSpc>
              <a:spcBef>
                <a:spcPts val="200"/>
              </a:spcBef>
              <a:spcAft>
                <a:spcPts val="200"/>
              </a:spcAft>
              <a:buClrTx/>
              <a:buSzTx/>
              <a:buFont typeface="Wingdings" panose="05000000000000000000" pitchFamily="2" charset="2"/>
              <a:buChar char="§"/>
              <a:tabLst/>
              <a:defRPr/>
            </a:pPr>
            <a:r>
              <a:rPr kumimoji="0" lang="en-US" sz="1000" b="0" i="0" u="none" strike="noStrike" kern="1200" cap="none" spc="0" normalizeH="0" baseline="0" noProof="0">
                <a:ln>
                  <a:noFill/>
                </a:ln>
                <a:effectLst/>
                <a:uLnTx/>
                <a:uFillTx/>
                <a:ea typeface="Calibri" panose="020F0502020204030204" pitchFamily="34" charset="0"/>
                <a:cs typeface="Times New Roman" panose="02020603050405020304" pitchFamily="18" charset="0"/>
              </a:rPr>
              <a:t>Tool Set-up</a:t>
            </a:r>
          </a:p>
        </p:txBody>
      </p:sp>
      <p:sp>
        <p:nvSpPr>
          <p:cNvPr id="24" name="Freeform 23"/>
          <p:cNvSpPr/>
          <p:nvPr/>
        </p:nvSpPr>
        <p:spPr>
          <a:xfrm>
            <a:off x="501488" y="1429940"/>
            <a:ext cx="1350698" cy="619844"/>
          </a:xfrm>
          <a:prstGeom prst="rect">
            <a:avLst/>
          </a:prstGeom>
          <a:solidFill>
            <a:schemeClr val="accent1"/>
          </a:solidFill>
          <a:ln w="19050">
            <a:noFill/>
          </a:ln>
          <a:effectLst/>
          <a:scene3d>
            <a:camera prst="orthographicFront">
              <a:rot lat="0" lon="0" rev="0"/>
            </a:camera>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spcFirstLastPara="0" vert="horz" wrap="square" lIns="29143" tIns="23428" rIns="29143" bIns="23428" numCol="1" spcCol="1270" anchor="ctr" anchorCtr="0">
            <a:noAutofit/>
          </a:bodyPr>
          <a:lstStyle/>
          <a:p>
            <a:pPr marL="0" marR="0" lvl="0" indent="0" algn="ctr" defTabSz="400050" rtl="0" eaLnBrk="1" fontAlgn="auto" latinLnBrk="0" hangingPunct="1">
              <a:lnSpc>
                <a:spcPct val="90000"/>
              </a:lnSpc>
              <a:spcBef>
                <a:spcPts val="0"/>
              </a:spcBef>
              <a:spcAft>
                <a:spcPct val="35000"/>
              </a:spcAft>
              <a:buClrTx/>
              <a:buSzTx/>
              <a:buFontTx/>
              <a:buNone/>
              <a:tabLst/>
              <a:defRPr/>
            </a:pPr>
            <a:r>
              <a:rPr kumimoji="0" lang="en-US" sz="1100" b="1" i="0" u="none" strike="noStrike" kern="0" cap="none" spc="0" normalizeH="0" baseline="0" noProof="0">
                <a:ln>
                  <a:noFill/>
                </a:ln>
                <a:solidFill>
                  <a:prstClr val="white"/>
                </a:solidFill>
                <a:effectLst/>
                <a:uLnTx/>
                <a:uFillTx/>
                <a:ea typeface="+mn-ea"/>
                <a:cs typeface="+mn-cs"/>
              </a:rPr>
              <a:t>Planning</a:t>
            </a:r>
          </a:p>
        </p:txBody>
      </p:sp>
      <p:sp>
        <p:nvSpPr>
          <p:cNvPr id="25" name="Rounded Rectangle 24"/>
          <p:cNvSpPr/>
          <p:nvPr/>
        </p:nvSpPr>
        <p:spPr>
          <a:xfrm>
            <a:off x="1979408" y="2101230"/>
            <a:ext cx="3735852" cy="2700000"/>
          </a:xfrm>
          <a:prstGeom prst="rect">
            <a:avLst/>
          </a:prstGeom>
          <a:solidFill>
            <a:schemeClr val="bg1"/>
          </a:solidFill>
          <a:ln w="3175">
            <a:solidFill>
              <a:schemeClr val="accent1">
                <a:lumMod val="60000"/>
                <a:lumOff val="40000"/>
              </a:schemeClr>
            </a:solidFill>
            <a:round/>
            <a:headEnd/>
            <a:tailEnd/>
          </a:ln>
          <a:effectLst/>
        </p:spPr>
        <p:txBody>
          <a:bodyPr wrap="square" lIns="36000" tIns="36000" rIns="36000" bIns="36000" anchor="t"/>
          <a:lstStyle/>
          <a:p>
            <a:pPr marL="34925" lvl="1">
              <a:spcBef>
                <a:spcPts val="200"/>
              </a:spcBef>
              <a:spcAft>
                <a:spcPts val="200"/>
              </a:spcAft>
              <a:defRPr/>
            </a:pPr>
            <a:r>
              <a:rPr kumimoji="0" lang="en-US" sz="900" b="1" i="0" u="none" strike="noStrike" kern="1200" cap="none" spc="0" normalizeH="0" baseline="0" noProof="0">
                <a:ln>
                  <a:noFill/>
                </a:ln>
                <a:effectLst/>
                <a:uLnTx/>
                <a:uFillTx/>
                <a:ea typeface="Calibri" panose="020F0502020204030204" pitchFamily="34" charset="0"/>
                <a:cs typeface="Times New Roman"/>
              </a:rPr>
              <a:t>Analysis of SLX/MPS processes:</a:t>
            </a:r>
            <a:r>
              <a:rPr lang="en-US" sz="900">
                <a:ea typeface="Calibri" panose="020F0502020204030204" pitchFamily="34" charset="0"/>
                <a:cs typeface="Times New Roman"/>
              </a:rPr>
              <a:t> </a:t>
            </a:r>
            <a:endParaRPr kumimoji="0" lang="en-US" sz="900" b="0" i="0" u="none" strike="noStrike" kern="1200" cap="none" spc="0" normalizeH="0" baseline="0" noProof="0">
              <a:ln>
                <a:noFill/>
              </a:ln>
              <a:effectLst/>
              <a:uLnTx/>
              <a:uFillTx/>
              <a:ea typeface="Calibri" panose="020F0502020204030204" pitchFamily="34" charset="0"/>
              <a:cs typeface="Times New Roman" panose="02020603050405020304" pitchFamily="18" charset="0"/>
            </a:endParaRPr>
          </a:p>
          <a:p>
            <a:pPr marL="206375" marR="0" lvl="1" indent="-171450" algn="l" defTabSz="914400" rtl="0" eaLnBrk="1" fontAlgn="auto" latinLnBrk="0" hangingPunct="1">
              <a:lnSpc>
                <a:spcPct val="100000"/>
              </a:lnSpc>
              <a:spcBef>
                <a:spcPts val="200"/>
              </a:spcBef>
              <a:spcAft>
                <a:spcPts val="200"/>
              </a:spcAft>
              <a:buClrTx/>
              <a:buSzTx/>
              <a:buFont typeface="Courier New" panose="02070309020205020404" pitchFamily="49" charset="0"/>
              <a:buChar char="o"/>
              <a:tabLst/>
              <a:defRPr/>
            </a:pPr>
            <a:r>
              <a:rPr kumimoji="0" lang="en-US" sz="900" b="1" i="0" u="none" strike="noStrike" kern="1200" cap="none" spc="0" normalizeH="0" baseline="0" noProof="0">
                <a:ln>
                  <a:noFill/>
                </a:ln>
                <a:effectLst/>
                <a:uLnTx/>
                <a:uFillTx/>
                <a:ea typeface="Calibri" panose="020F0502020204030204" pitchFamily="34" charset="0"/>
                <a:cs typeface="Times New Roman"/>
              </a:rPr>
              <a:t>ACQUISITION / PROPOSAL</a:t>
            </a:r>
            <a:r>
              <a:rPr kumimoji="0" lang="en-US" sz="900" b="0" i="0" u="none" strike="noStrike" kern="1200" cap="none" spc="0" normalizeH="0" baseline="0" noProof="0">
                <a:ln>
                  <a:noFill/>
                </a:ln>
                <a:effectLst/>
                <a:uLnTx/>
                <a:uFillTx/>
                <a:ea typeface="Calibri" panose="020F0502020204030204" pitchFamily="34" charset="0"/>
                <a:cs typeface="Times New Roman"/>
              </a:rPr>
              <a:t>: Pre-sale / Post sale transaction, Plan design, Sale, Management, Pricing</a:t>
            </a:r>
            <a:endParaRPr lang="en-US" sz="900" b="0" i="0" u="none" strike="noStrike" kern="1200" cap="none" spc="0" normalizeH="0" baseline="0" noProof="0">
              <a:ln>
                <a:noFill/>
              </a:ln>
              <a:effectLst/>
              <a:uLnTx/>
              <a:uFillTx/>
              <a:ea typeface="Calibri" panose="020F0502020204030204" pitchFamily="34" charset="0"/>
              <a:cs typeface="Times New Roman"/>
            </a:endParaRPr>
          </a:p>
          <a:p>
            <a:pPr marL="206375" lvl="1" indent="-171450">
              <a:spcBef>
                <a:spcPts val="200"/>
              </a:spcBef>
              <a:spcAft>
                <a:spcPts val="200"/>
              </a:spcAft>
              <a:buFont typeface="Courier New" panose="02070309020205020404" pitchFamily="49" charset="0"/>
              <a:buChar char="o"/>
              <a:defRPr/>
            </a:pPr>
            <a:r>
              <a:rPr kumimoji="0" lang="en-US" sz="900" b="1" i="0" u="none" strike="noStrike" kern="1200" cap="none" spc="0" normalizeH="0" baseline="0" noProof="0">
                <a:ln>
                  <a:noFill/>
                </a:ln>
                <a:effectLst/>
                <a:uLnTx/>
                <a:uFillTx/>
                <a:ea typeface="Calibri" panose="020F0502020204030204" pitchFamily="34" charset="0"/>
                <a:cs typeface="Times New Roman"/>
              </a:rPr>
              <a:t>ONBOARDING</a:t>
            </a:r>
            <a:r>
              <a:rPr kumimoji="0" lang="en-US" sz="900" b="0" i="0" u="none" strike="noStrike" kern="1200" cap="none" spc="0" normalizeH="0" baseline="0" noProof="0">
                <a:ln>
                  <a:noFill/>
                </a:ln>
                <a:effectLst/>
                <a:uLnTx/>
                <a:uFillTx/>
                <a:ea typeface="Calibri" panose="020F0502020204030204" pitchFamily="34" charset="0"/>
                <a:cs typeface="Times New Roman"/>
              </a:rPr>
              <a:t>: Data entry, Map funds/Reconcile, Payroll data, Issue resolution, Enrollment, Plan sponsor/Advisor interaction</a:t>
            </a:r>
            <a:r>
              <a:rPr lang="en-US" sz="900">
                <a:ea typeface="Calibri" panose="020F0502020204030204" pitchFamily="34" charset="0"/>
                <a:cs typeface="Times New Roman"/>
              </a:rPr>
              <a:t> </a:t>
            </a:r>
            <a:endParaRPr lang="en-US" sz="900" b="0" i="0" u="none" strike="noStrike" kern="1200" cap="none" spc="0" normalizeH="0" baseline="0" noProof="0">
              <a:ln>
                <a:noFill/>
              </a:ln>
              <a:effectLst/>
              <a:uLnTx/>
              <a:uFillTx/>
              <a:ea typeface="Calibri" panose="020F0502020204030204" pitchFamily="34" charset="0"/>
              <a:cs typeface="Times New Roman" panose="02020603050405020304" pitchFamily="18" charset="0"/>
            </a:endParaRPr>
          </a:p>
          <a:p>
            <a:pPr marL="206375" marR="0" lvl="1" indent="-171450" algn="l" defTabSz="914400" rtl="0" eaLnBrk="1" fontAlgn="auto" latinLnBrk="0" hangingPunct="1">
              <a:lnSpc>
                <a:spcPct val="100000"/>
              </a:lnSpc>
              <a:spcBef>
                <a:spcPts val="200"/>
              </a:spcBef>
              <a:spcAft>
                <a:spcPts val="200"/>
              </a:spcAft>
              <a:buClrTx/>
              <a:buSzTx/>
              <a:buFont typeface="Courier New" panose="02070309020205020404" pitchFamily="49" charset="0"/>
              <a:buChar char="o"/>
              <a:tabLst/>
              <a:defRPr/>
            </a:pPr>
            <a:r>
              <a:rPr kumimoji="0" lang="en-US" sz="900" b="1" i="0" u="none" strike="noStrike" kern="1200" cap="none" spc="0" normalizeH="0" baseline="0" noProof="0">
                <a:ln>
                  <a:noFill/>
                </a:ln>
                <a:effectLst/>
                <a:uLnTx/>
                <a:uFillTx/>
                <a:ea typeface="Calibri" panose="020F0502020204030204" pitchFamily="34" charset="0"/>
                <a:cs typeface="Times New Roman"/>
              </a:rPr>
              <a:t>SUPPORT AND SERVICES</a:t>
            </a:r>
            <a:r>
              <a:rPr kumimoji="0" lang="en-US" sz="900" b="0" i="0" u="none" strike="noStrike" kern="1200" cap="none" spc="0" normalizeH="0" baseline="0" noProof="0">
                <a:ln>
                  <a:noFill/>
                </a:ln>
                <a:effectLst/>
                <a:uLnTx/>
                <a:uFillTx/>
                <a:ea typeface="Calibri" panose="020F0502020204030204" pitchFamily="34" charset="0"/>
                <a:cs typeface="Times New Roman"/>
              </a:rPr>
              <a:t>: Trading, Service operations, Products, Services, Transactions (Contribution, withdrawals, loans, transfers), Reporting, Statements, Compliance and Testing</a:t>
            </a:r>
            <a:endParaRPr lang="en-US" sz="900" b="0" i="0" u="none" strike="noStrike" kern="1200" cap="none" spc="0" normalizeH="0" baseline="0" noProof="0">
              <a:ln>
                <a:noFill/>
              </a:ln>
              <a:effectLst/>
              <a:uLnTx/>
              <a:uFillTx/>
              <a:ea typeface="Calibri" panose="020F0502020204030204" pitchFamily="34" charset="0"/>
              <a:cs typeface="Times New Roman"/>
            </a:endParaRPr>
          </a:p>
          <a:p>
            <a:pPr marL="206375" marR="0" lvl="1" indent="-171450" algn="l" defTabSz="914400" rtl="0" eaLnBrk="1" fontAlgn="auto" latinLnBrk="0" hangingPunct="1">
              <a:lnSpc>
                <a:spcPct val="100000"/>
              </a:lnSpc>
              <a:spcBef>
                <a:spcPts val="200"/>
              </a:spcBef>
              <a:spcAft>
                <a:spcPts val="200"/>
              </a:spcAft>
              <a:buClrTx/>
              <a:buSzTx/>
              <a:buFont typeface="Courier New" panose="02070309020205020404" pitchFamily="49" charset="0"/>
              <a:buChar char="o"/>
              <a:tabLst/>
              <a:defRPr/>
            </a:pPr>
            <a:r>
              <a:rPr kumimoji="0" lang="en-US" sz="900" b="1" i="0" u="none" strike="noStrike" kern="1200" cap="none" spc="0" normalizeH="0" baseline="0" noProof="0">
                <a:ln>
                  <a:noFill/>
                </a:ln>
                <a:effectLst/>
                <a:uLnTx/>
                <a:uFillTx/>
                <a:ea typeface="Calibri" panose="020F0502020204030204" pitchFamily="34" charset="0"/>
                <a:cs typeface="Times New Roman"/>
              </a:rPr>
              <a:t>ACCOUNT TRANSITIONS</a:t>
            </a:r>
            <a:r>
              <a:rPr kumimoji="0" lang="en-US" sz="900" b="0" i="0" u="none" strike="noStrike" kern="1200" cap="none" spc="0" normalizeH="0" baseline="0" noProof="0">
                <a:ln>
                  <a:noFill/>
                </a:ln>
                <a:effectLst/>
                <a:uLnTx/>
                <a:uFillTx/>
                <a:ea typeface="Calibri" panose="020F0502020204030204" pitchFamily="34" charset="0"/>
                <a:cs typeface="Times New Roman"/>
              </a:rPr>
              <a:t>: Retention, Expansion</a:t>
            </a:r>
            <a:endParaRPr lang="en-US" sz="900" b="0" i="0" u="none" strike="noStrike" kern="1200" cap="none" spc="0" normalizeH="0" baseline="0" noProof="0">
              <a:ln>
                <a:noFill/>
              </a:ln>
              <a:effectLst/>
              <a:uLnTx/>
              <a:uFillTx/>
              <a:ea typeface="Calibri" panose="020F0502020204030204" pitchFamily="34" charset="0"/>
              <a:cs typeface="Times New Roman"/>
            </a:endParaRPr>
          </a:p>
          <a:p>
            <a:pPr marL="179070" lvl="1" indent="-144145">
              <a:spcBef>
                <a:spcPts val="200"/>
              </a:spcBef>
              <a:spcAft>
                <a:spcPts val="200"/>
              </a:spcAft>
              <a:buFont typeface="Wingdings" panose="05000000000000000000" pitchFamily="2" charset="2"/>
              <a:buChar char="§"/>
              <a:defRPr/>
            </a:pPr>
            <a:r>
              <a:rPr kumimoji="0" lang="en-US" sz="900" b="0" i="0" u="none" strike="noStrike" kern="1200" cap="none" spc="0" normalizeH="0" baseline="0" noProof="0">
                <a:ln>
                  <a:noFill/>
                </a:ln>
                <a:effectLst/>
                <a:uLnTx/>
                <a:uFillTx/>
                <a:ea typeface="Calibri" panose="020F0502020204030204" pitchFamily="34" charset="0"/>
                <a:cs typeface="Times New Roman"/>
              </a:rPr>
              <a:t>Analyze SLX </a:t>
            </a:r>
            <a:r>
              <a:rPr lang="en-US" sz="900">
                <a:ea typeface="Calibri" panose="020F0502020204030204" pitchFamily="34" charset="0"/>
                <a:cs typeface="Times New Roman"/>
              </a:rPr>
              <a:t>and MPS process workflows, </a:t>
            </a:r>
            <a:r>
              <a:rPr kumimoji="0" lang="en-US" sz="900" b="0" i="0" u="none" strike="noStrike" kern="1200" cap="none" spc="0" normalizeH="0" baseline="0" noProof="0">
                <a:ln>
                  <a:noFill/>
                </a:ln>
                <a:effectLst/>
                <a:uLnTx/>
                <a:uFillTx/>
                <a:ea typeface="Calibri" panose="020F0502020204030204" pitchFamily="34" charset="0"/>
                <a:cs typeface="Times New Roman"/>
              </a:rPr>
              <a:t>existing reports, database</a:t>
            </a:r>
            <a:endParaRPr lang="en-US" sz="900" b="0" i="0" u="none" strike="noStrike" kern="1200" cap="none" spc="0" normalizeH="0" baseline="0" noProof="0">
              <a:ln>
                <a:noFill/>
              </a:ln>
              <a:effectLst/>
              <a:uLnTx/>
              <a:uFillTx/>
              <a:ea typeface="Calibri" panose="020F0502020204030204" pitchFamily="34" charset="0"/>
              <a:cs typeface="Times New Roman"/>
            </a:endParaRPr>
          </a:p>
          <a:p>
            <a:pPr marL="179070" marR="0" lvl="1" indent="-144145" algn="l" defTabSz="914400" rtl="0" eaLnBrk="1" fontAlgn="auto" latinLnBrk="0" hangingPunct="1">
              <a:lnSpc>
                <a:spcPct val="100000"/>
              </a:lnSpc>
              <a:spcBef>
                <a:spcPts val="200"/>
              </a:spcBef>
              <a:spcAft>
                <a:spcPts val="200"/>
              </a:spcAft>
              <a:buClrTx/>
              <a:buSzTx/>
              <a:buFont typeface="Wingdings" panose="05000000000000000000" pitchFamily="2" charset="2"/>
              <a:buChar char="§"/>
              <a:tabLst/>
              <a:defRPr/>
            </a:pPr>
            <a:r>
              <a:rPr kumimoji="0" lang="en-US" sz="900" b="0" i="0" u="none" strike="noStrike" kern="1200" cap="none" spc="0" normalizeH="0" baseline="0" noProof="0">
                <a:ln>
                  <a:noFill/>
                </a:ln>
                <a:effectLst/>
                <a:uLnTx/>
                <a:uFillTx/>
                <a:ea typeface="Calibri" panose="020F0502020204030204" pitchFamily="34" charset="0"/>
                <a:cs typeface="Times New Roman"/>
              </a:rPr>
              <a:t>Analyze SLX &amp; MPS test asset/ repository, test environment</a:t>
            </a:r>
            <a:endParaRPr lang="en-US" sz="900" b="0" i="0" u="none" strike="noStrike" kern="1200" cap="none" spc="0" normalizeH="0" baseline="0" noProof="0">
              <a:ln>
                <a:noFill/>
              </a:ln>
              <a:effectLst/>
              <a:uLnTx/>
              <a:uFillTx/>
              <a:ea typeface="Calibri" panose="020F0502020204030204" pitchFamily="34" charset="0"/>
              <a:cs typeface="Times New Roman"/>
            </a:endParaRPr>
          </a:p>
          <a:p>
            <a:pPr marL="179070" marR="0" lvl="1" indent="-144145" algn="l" defTabSz="914400" rtl="0" eaLnBrk="1" fontAlgn="auto" latinLnBrk="0" hangingPunct="1">
              <a:lnSpc>
                <a:spcPct val="100000"/>
              </a:lnSpc>
              <a:spcBef>
                <a:spcPts val="200"/>
              </a:spcBef>
              <a:spcAft>
                <a:spcPts val="200"/>
              </a:spcAft>
              <a:buClrTx/>
              <a:buSzTx/>
              <a:buFont typeface="Wingdings" panose="05000000000000000000" pitchFamily="2" charset="2"/>
              <a:buChar char="§"/>
              <a:tabLst/>
              <a:defRPr/>
            </a:pPr>
            <a:r>
              <a:rPr lang="en-US" sz="900">
                <a:ea typeface="Calibri" panose="020F0502020204030204" pitchFamily="34" charset="0"/>
                <a:cs typeface="Times New Roman"/>
              </a:rPr>
              <a:t>Analyze additional SLX features that are to be implemented on MPS</a:t>
            </a:r>
            <a:endParaRPr lang="en-US" sz="900" b="0" i="0" u="none" strike="noStrike" kern="1200" cap="none" spc="0" normalizeH="0" baseline="0" noProof="0">
              <a:ln>
                <a:noFill/>
              </a:ln>
              <a:effectLst/>
              <a:uLnTx/>
              <a:uFillTx/>
              <a:ea typeface="Calibri" panose="020F0502020204030204" pitchFamily="34" charset="0"/>
              <a:cs typeface="Times New Roman"/>
            </a:endParaRPr>
          </a:p>
          <a:p>
            <a:pPr marL="179070" marR="0" lvl="1" indent="-144145" algn="l" defTabSz="914400" rtl="0" eaLnBrk="1" fontAlgn="auto" latinLnBrk="0" hangingPunct="1">
              <a:lnSpc>
                <a:spcPct val="100000"/>
              </a:lnSpc>
              <a:spcBef>
                <a:spcPts val="200"/>
              </a:spcBef>
              <a:spcAft>
                <a:spcPts val="200"/>
              </a:spcAft>
              <a:buClrTx/>
              <a:buSzTx/>
              <a:buFont typeface="Wingdings" panose="05000000000000000000" pitchFamily="2" charset="2"/>
              <a:buChar char="§"/>
              <a:tabLst/>
              <a:defRPr/>
            </a:pPr>
            <a:r>
              <a:rPr kumimoji="0" lang="en-US" sz="900" b="0" i="0" u="none" strike="noStrike" kern="1200" cap="none" spc="0" normalizeH="0" baseline="0" noProof="0">
                <a:ln>
                  <a:noFill/>
                </a:ln>
                <a:effectLst/>
                <a:uLnTx/>
                <a:uFillTx/>
                <a:ea typeface="Calibri" panose="020F0502020204030204" pitchFamily="34" charset="0"/>
                <a:cs typeface="Times New Roman"/>
              </a:rPr>
              <a:t>Identify data components, workflows required to implement SLX features on MPS; </a:t>
            </a:r>
            <a:r>
              <a:rPr lang="en-US" sz="900">
                <a:ea typeface="Calibri" panose="020F0502020204030204" pitchFamily="34" charset="0"/>
                <a:cs typeface="Times New Roman"/>
              </a:rPr>
              <a:t>Analyze processes that can be automated</a:t>
            </a:r>
          </a:p>
        </p:txBody>
      </p:sp>
      <p:sp>
        <p:nvSpPr>
          <p:cNvPr id="27" name="Freeform 26"/>
          <p:cNvSpPr/>
          <p:nvPr/>
        </p:nvSpPr>
        <p:spPr>
          <a:xfrm>
            <a:off x="1993208" y="1429940"/>
            <a:ext cx="3722051" cy="619844"/>
          </a:xfrm>
          <a:prstGeom prst="rect">
            <a:avLst/>
          </a:prstGeom>
          <a:solidFill>
            <a:schemeClr val="accent1"/>
          </a:solidFill>
          <a:ln w="19050">
            <a:noFill/>
          </a:ln>
          <a:effectLst/>
          <a:scene3d>
            <a:camera prst="orthographicFront">
              <a:rot lat="0" lon="0" rev="0"/>
            </a:camera>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spcFirstLastPara="0" vert="horz" wrap="square" lIns="29143" tIns="23428" rIns="29143" bIns="23428" numCol="1" spcCol="1270" anchor="ctr" anchorCtr="0">
            <a:noAutofit/>
          </a:bodyPr>
          <a:lstStyle/>
          <a:p>
            <a:pPr marL="0" marR="0" lvl="0" indent="0" algn="ctr" defTabSz="400050" rtl="0" eaLnBrk="1" fontAlgn="auto" latinLnBrk="0" hangingPunct="1">
              <a:lnSpc>
                <a:spcPct val="90000"/>
              </a:lnSpc>
              <a:spcBef>
                <a:spcPts val="0"/>
              </a:spcBef>
              <a:spcAft>
                <a:spcPct val="35000"/>
              </a:spcAft>
              <a:buClrTx/>
              <a:buSzTx/>
              <a:buFontTx/>
              <a:buNone/>
              <a:tabLst/>
              <a:defRPr/>
            </a:pPr>
            <a:r>
              <a:rPr kumimoji="0" lang="en-US" sz="1100" b="1" i="0" u="none" strike="noStrike" kern="0" cap="none" spc="0" normalizeH="0" baseline="0" noProof="0">
                <a:ln>
                  <a:noFill/>
                </a:ln>
                <a:solidFill>
                  <a:prstClr val="white"/>
                </a:solidFill>
                <a:effectLst/>
                <a:uLnTx/>
                <a:uFillTx/>
                <a:ea typeface="+mn-ea"/>
                <a:cs typeface="+mn-cs"/>
              </a:rPr>
              <a:t>Detailed Analysis of SLX and MPS applications</a:t>
            </a:r>
          </a:p>
        </p:txBody>
      </p:sp>
      <p:sp>
        <p:nvSpPr>
          <p:cNvPr id="31" name="Rounded Rectangle 30"/>
          <p:cNvSpPr/>
          <p:nvPr/>
        </p:nvSpPr>
        <p:spPr>
          <a:xfrm>
            <a:off x="5820014" y="2101230"/>
            <a:ext cx="2042821" cy="2700000"/>
          </a:xfrm>
          <a:prstGeom prst="rect">
            <a:avLst/>
          </a:prstGeom>
          <a:solidFill>
            <a:schemeClr val="bg1"/>
          </a:solidFill>
          <a:ln w="3175">
            <a:solidFill>
              <a:schemeClr val="accent1">
                <a:lumMod val="60000"/>
                <a:lumOff val="40000"/>
              </a:schemeClr>
            </a:solidFill>
            <a:round/>
            <a:headEnd/>
            <a:tailEnd/>
          </a:ln>
          <a:effectLst/>
        </p:spPr>
        <p:txBody>
          <a:bodyPr wrap="square" lIns="36000" tIns="36000" rIns="36000" bIns="36000" anchor="t"/>
          <a:lstStyle/>
          <a:p>
            <a:pPr marL="179388" marR="0" lvl="1" indent="-144463" algn="l" defTabSz="914400" rtl="0" eaLnBrk="1" fontAlgn="auto" latinLnBrk="0" hangingPunct="1">
              <a:lnSpc>
                <a:spcPct val="100000"/>
              </a:lnSpc>
              <a:spcBef>
                <a:spcPts val="200"/>
              </a:spcBef>
              <a:spcAft>
                <a:spcPts val="200"/>
              </a:spcAft>
              <a:buClrTx/>
              <a:buSzTx/>
              <a:buFont typeface="Wingdings" panose="05000000000000000000" pitchFamily="2" charset="2"/>
              <a:buChar char="§"/>
              <a:tabLst/>
              <a:defRPr/>
            </a:pPr>
            <a:r>
              <a:rPr kumimoji="0" lang="en-US" sz="1000" b="0" i="0" u="none" strike="noStrike" kern="1200" cap="none" spc="0" normalizeH="0" baseline="0" noProof="0">
                <a:ln>
                  <a:noFill/>
                </a:ln>
                <a:effectLst/>
                <a:uLnTx/>
                <a:uFillTx/>
                <a:ea typeface="Calibri" panose="020F0502020204030204" pitchFamily="34" charset="0"/>
                <a:cs typeface="Times New Roman" panose="02020603050405020304" pitchFamily="18" charset="0"/>
              </a:rPr>
              <a:t>Gather all the information collated during due diligence</a:t>
            </a:r>
          </a:p>
          <a:p>
            <a:pPr marL="179388" marR="0" lvl="1" indent="-144463" algn="l" defTabSz="914400" rtl="0" eaLnBrk="1" fontAlgn="auto" latinLnBrk="0" hangingPunct="1">
              <a:lnSpc>
                <a:spcPct val="100000"/>
              </a:lnSpc>
              <a:spcBef>
                <a:spcPts val="200"/>
              </a:spcBef>
              <a:spcAft>
                <a:spcPts val="200"/>
              </a:spcAft>
              <a:buClrTx/>
              <a:buSzTx/>
              <a:buFont typeface="Wingdings" panose="05000000000000000000" pitchFamily="2" charset="2"/>
              <a:buChar char="§"/>
              <a:tabLst/>
              <a:defRPr/>
            </a:pPr>
            <a:r>
              <a:rPr lang="en-US" sz="1000">
                <a:ea typeface="Calibri" panose="020F0502020204030204" pitchFamily="34" charset="0"/>
                <a:cs typeface="Times New Roman" panose="02020603050405020304" pitchFamily="18" charset="0"/>
              </a:rPr>
              <a:t>Revise SLX data migration approach and re-calibration of migration tools</a:t>
            </a:r>
          </a:p>
          <a:p>
            <a:pPr marL="179388" marR="0" lvl="1" indent="-144463" algn="l" defTabSz="914400" rtl="0" eaLnBrk="1" fontAlgn="auto" latinLnBrk="0" hangingPunct="1">
              <a:lnSpc>
                <a:spcPct val="100000"/>
              </a:lnSpc>
              <a:spcBef>
                <a:spcPts val="200"/>
              </a:spcBef>
              <a:spcAft>
                <a:spcPts val="200"/>
              </a:spcAft>
              <a:buClrTx/>
              <a:buSzTx/>
              <a:buFont typeface="Wingdings" panose="05000000000000000000" pitchFamily="2" charset="2"/>
              <a:buChar char="§"/>
              <a:tabLst/>
              <a:defRPr/>
            </a:pPr>
            <a:r>
              <a:rPr lang="en-US" sz="1000">
                <a:ea typeface="Calibri" panose="020F0502020204030204" pitchFamily="34" charset="0"/>
                <a:cs typeface="Times New Roman" panose="02020603050405020304" pitchFamily="18" charset="0"/>
              </a:rPr>
              <a:t>Mapping of SLX data fields in MPS system and resolve any data mapping and data conversion issues</a:t>
            </a:r>
          </a:p>
          <a:p>
            <a:pPr marL="179388" marR="0" lvl="1" indent="-144463" algn="l" defTabSz="914400" rtl="0" eaLnBrk="1" fontAlgn="auto" latinLnBrk="0" hangingPunct="1">
              <a:lnSpc>
                <a:spcPct val="100000"/>
              </a:lnSpc>
              <a:spcBef>
                <a:spcPts val="200"/>
              </a:spcBef>
              <a:spcAft>
                <a:spcPts val="200"/>
              </a:spcAft>
              <a:buClrTx/>
              <a:buSzTx/>
              <a:buFont typeface="Wingdings" panose="05000000000000000000" pitchFamily="2" charset="2"/>
              <a:buChar char="§"/>
              <a:tabLst/>
              <a:defRPr/>
            </a:pPr>
            <a:r>
              <a:rPr lang="en-US" sz="1000">
                <a:ea typeface="Calibri" panose="020F0502020204030204" pitchFamily="34" charset="0"/>
                <a:cs typeface="Times New Roman" panose="02020603050405020304" pitchFamily="18" charset="0"/>
              </a:rPr>
              <a:t>Refine data migration schedule based on Manulife priorities</a:t>
            </a:r>
          </a:p>
          <a:p>
            <a:pPr marL="179388" marR="0" lvl="1" indent="-144463" algn="l" defTabSz="914400" rtl="0" eaLnBrk="1" fontAlgn="auto" latinLnBrk="0" hangingPunct="1">
              <a:lnSpc>
                <a:spcPct val="100000"/>
              </a:lnSpc>
              <a:spcBef>
                <a:spcPts val="200"/>
              </a:spcBef>
              <a:spcAft>
                <a:spcPts val="200"/>
              </a:spcAft>
              <a:buClrTx/>
              <a:buSzTx/>
              <a:buFont typeface="Wingdings" panose="05000000000000000000" pitchFamily="2" charset="2"/>
              <a:buChar char="§"/>
              <a:tabLst/>
              <a:defRPr/>
            </a:pPr>
            <a:r>
              <a:rPr lang="en-US" sz="1000">
                <a:ea typeface="Calibri" panose="020F0502020204030204" pitchFamily="34" charset="0"/>
                <a:cs typeface="Times New Roman" panose="02020603050405020304" pitchFamily="18" charset="0"/>
              </a:rPr>
              <a:t>Detailed Agile sprint schedule for all the features implementation in scope</a:t>
            </a:r>
            <a:endParaRPr kumimoji="0" lang="en-US" sz="1000" b="0" i="0" u="none" strike="noStrike" kern="1200" cap="none" spc="0" normalizeH="0" baseline="0" noProof="0">
              <a:ln>
                <a:noFill/>
              </a:ln>
              <a:effectLst/>
              <a:uLnTx/>
              <a:uFillTx/>
              <a:ea typeface="Calibri" panose="020F0502020204030204" pitchFamily="34" charset="0"/>
              <a:cs typeface="Times New Roman" panose="02020603050405020304" pitchFamily="18" charset="0"/>
            </a:endParaRPr>
          </a:p>
        </p:txBody>
      </p:sp>
      <p:sp>
        <p:nvSpPr>
          <p:cNvPr id="37" name="Rounded Rectangle 36"/>
          <p:cNvSpPr/>
          <p:nvPr/>
        </p:nvSpPr>
        <p:spPr>
          <a:xfrm>
            <a:off x="7995514" y="2101230"/>
            <a:ext cx="1356166" cy="2700000"/>
          </a:xfrm>
          <a:prstGeom prst="rect">
            <a:avLst/>
          </a:prstGeom>
          <a:solidFill>
            <a:schemeClr val="bg1"/>
          </a:solidFill>
          <a:ln w="3175">
            <a:solidFill>
              <a:schemeClr val="accent1">
                <a:lumMod val="60000"/>
                <a:lumOff val="40000"/>
              </a:schemeClr>
            </a:solidFill>
            <a:round/>
            <a:headEnd/>
            <a:tailEnd/>
          </a:ln>
          <a:effectLst/>
        </p:spPr>
        <p:txBody>
          <a:bodyPr wrap="square" lIns="36000" tIns="36000" rIns="36000" bIns="36000" anchor="t"/>
          <a:lstStyle/>
          <a:p>
            <a:pPr marL="179070" marR="0" lvl="1" indent="-144145" algn="l" defTabSz="914400" rtl="0" eaLnBrk="1" fontAlgn="auto" latinLnBrk="0" hangingPunct="1">
              <a:lnSpc>
                <a:spcPct val="100000"/>
              </a:lnSpc>
              <a:spcBef>
                <a:spcPts val="200"/>
              </a:spcBef>
              <a:spcAft>
                <a:spcPts val="200"/>
              </a:spcAft>
              <a:buClrTx/>
              <a:buSzTx/>
              <a:buFont typeface="Wingdings" panose="05000000000000000000" pitchFamily="2" charset="2"/>
              <a:buChar char="§"/>
              <a:tabLst/>
              <a:defRPr/>
            </a:pPr>
            <a:r>
              <a:rPr kumimoji="0" lang="en-US" sz="1000" b="0" i="0" u="none" strike="noStrike" kern="1200" cap="none" spc="0" normalizeH="0" baseline="0" noProof="0">
                <a:ln>
                  <a:noFill/>
                </a:ln>
                <a:effectLst/>
                <a:uLnTx/>
                <a:uFillTx/>
                <a:ea typeface="Calibri" panose="020F0502020204030204" pitchFamily="34" charset="0"/>
                <a:cs typeface="Times New Roman"/>
              </a:rPr>
              <a:t>Present Atos project plan to Manulife for approval</a:t>
            </a:r>
            <a:endParaRPr lang="en-US">
              <a:cs typeface="Times New Roman"/>
            </a:endParaRPr>
          </a:p>
          <a:p>
            <a:pPr marL="179070" marR="0" lvl="1" indent="-144145" algn="l" defTabSz="914400" rtl="0" eaLnBrk="1" fontAlgn="auto" latinLnBrk="0" hangingPunct="1">
              <a:lnSpc>
                <a:spcPct val="100000"/>
              </a:lnSpc>
              <a:spcBef>
                <a:spcPts val="200"/>
              </a:spcBef>
              <a:spcAft>
                <a:spcPts val="200"/>
              </a:spcAft>
              <a:buClrTx/>
              <a:buSzTx/>
              <a:buFont typeface="Wingdings" panose="05000000000000000000" pitchFamily="2" charset="2"/>
              <a:buChar char="§"/>
              <a:tabLst/>
              <a:defRPr/>
            </a:pPr>
            <a:r>
              <a:rPr lang="en-US" sz="1000">
                <a:ea typeface="Calibri" panose="020F0502020204030204" pitchFamily="34" charset="0"/>
                <a:cs typeface="Times New Roman"/>
              </a:rPr>
              <a:t>Fine tune the solution approach based on Manulife suggestions</a:t>
            </a:r>
            <a:endParaRPr lang="en-US" sz="1000" b="0" i="0" u="none" strike="noStrike" kern="1200" cap="none" spc="0" normalizeH="0" baseline="0" noProof="0">
              <a:ln>
                <a:noFill/>
              </a:ln>
              <a:effectLst/>
              <a:uLnTx/>
              <a:uFillTx/>
              <a:ea typeface="Calibri" panose="020F0502020204030204" pitchFamily="34" charset="0"/>
              <a:cs typeface="Times New Roman"/>
            </a:endParaRPr>
          </a:p>
          <a:p>
            <a:pPr marL="179070" marR="0" lvl="1" indent="-144145" algn="l" defTabSz="914400" rtl="0" eaLnBrk="1" fontAlgn="auto" latinLnBrk="0" hangingPunct="1">
              <a:lnSpc>
                <a:spcPct val="100000"/>
              </a:lnSpc>
              <a:spcBef>
                <a:spcPts val="200"/>
              </a:spcBef>
              <a:spcAft>
                <a:spcPts val="200"/>
              </a:spcAft>
              <a:buClrTx/>
              <a:buSzTx/>
              <a:buFont typeface="Wingdings" panose="05000000000000000000" pitchFamily="2" charset="2"/>
              <a:buChar char="§"/>
              <a:tabLst/>
              <a:defRPr/>
            </a:pPr>
            <a:endParaRPr lang="en-US" sz="1000" b="0" i="0" u="none" strike="noStrike" kern="1200" cap="none" spc="0" normalizeH="0" baseline="0" noProof="0">
              <a:ln>
                <a:noFill/>
              </a:ln>
              <a:effectLst/>
              <a:uLnTx/>
              <a:uFillTx/>
              <a:ea typeface="Calibri" panose="020F0502020204030204" pitchFamily="34" charset="0"/>
              <a:cs typeface="Times New Roman" panose="02020603050405020304" pitchFamily="18" charset="0"/>
            </a:endParaRPr>
          </a:p>
        </p:txBody>
      </p:sp>
      <p:sp>
        <p:nvSpPr>
          <p:cNvPr id="39" name="Rectangle 38"/>
          <p:cNvSpPr/>
          <p:nvPr/>
        </p:nvSpPr>
        <p:spPr>
          <a:xfrm>
            <a:off x="9644190" y="2124064"/>
            <a:ext cx="2222124" cy="3616336"/>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41300" marR="0" lvl="0" indent="-241300" algn="l" defTabSz="914400" rtl="0" eaLnBrk="1" fontAlgn="auto" latinLnBrk="0" hangingPunct="1">
              <a:spcBef>
                <a:spcPts val="600"/>
              </a:spcBef>
              <a:spcAft>
                <a:spcPts val="600"/>
              </a:spcAft>
              <a:buClrTx/>
              <a:buSzTx/>
              <a:buFont typeface="Wingdings" panose="05000000000000000000" pitchFamily="2" charset="2"/>
              <a:buChar char="§"/>
              <a:tabLst/>
              <a:defRPr/>
            </a:pPr>
            <a:r>
              <a:rPr kumimoji="0" lang="en-US" sz="1200" b="1" i="0" u="none" strike="noStrike" kern="1200" cap="none" spc="0" normalizeH="0" baseline="0" noProof="0">
                <a:ln>
                  <a:noFill/>
                </a:ln>
                <a:solidFill>
                  <a:prstClr val="white"/>
                </a:solidFill>
                <a:uLnTx/>
                <a:uFillTx/>
                <a:latin typeface="+mj-lt"/>
                <a:ea typeface="Calibri" panose="020F0502020204030204" pitchFamily="34" charset="0"/>
                <a:cs typeface="Times New Roman" panose="02020603050405020304" pitchFamily="18" charset="0"/>
              </a:rPr>
              <a:t>Access to SLX and MPS applications and any documentation, if available</a:t>
            </a:r>
          </a:p>
          <a:p>
            <a:pPr marL="241300" marR="0" lvl="0" indent="-241300" algn="l" defTabSz="914400" rtl="0" eaLnBrk="1" fontAlgn="auto" latinLnBrk="0" hangingPunct="1">
              <a:spcBef>
                <a:spcPts val="600"/>
              </a:spcBef>
              <a:spcAft>
                <a:spcPts val="600"/>
              </a:spcAft>
              <a:buClrTx/>
              <a:buSzTx/>
              <a:buFont typeface="Wingdings" panose="05000000000000000000" pitchFamily="2" charset="2"/>
              <a:buChar char="§"/>
              <a:tabLst/>
              <a:defRPr/>
            </a:pPr>
            <a:r>
              <a:rPr kumimoji="0" lang="en-US" sz="1200" b="1" i="0" u="none" strike="noStrike" kern="1200" cap="none" spc="0" normalizeH="0" baseline="0" noProof="0">
                <a:ln>
                  <a:noFill/>
                </a:ln>
                <a:solidFill>
                  <a:prstClr val="white"/>
                </a:solidFill>
                <a:uLnTx/>
                <a:uFillTx/>
                <a:latin typeface="+mj-lt"/>
                <a:ea typeface="Calibri" panose="020F0502020204030204" pitchFamily="34" charset="0"/>
                <a:cs typeface="Times New Roman" panose="02020603050405020304" pitchFamily="18" charset="0"/>
              </a:rPr>
              <a:t>Detailed database Architecture including ER relationship diagram , DB stats , DB objects, Entities</a:t>
            </a:r>
          </a:p>
          <a:p>
            <a:pPr marL="241300" marR="0" lvl="0" indent="-241300" algn="l" defTabSz="914400" rtl="0" eaLnBrk="1" fontAlgn="auto" latinLnBrk="0" hangingPunct="1">
              <a:spcBef>
                <a:spcPts val="600"/>
              </a:spcBef>
              <a:spcAft>
                <a:spcPts val="600"/>
              </a:spcAft>
              <a:buClrTx/>
              <a:buSzTx/>
              <a:buFont typeface="Wingdings" panose="05000000000000000000" pitchFamily="2" charset="2"/>
              <a:buChar char="§"/>
              <a:tabLst/>
              <a:defRPr/>
            </a:pPr>
            <a:r>
              <a:rPr kumimoji="0" lang="en-US" sz="1200" b="1" i="0" u="none" strike="noStrike" kern="1200" cap="none" spc="0" normalizeH="0" baseline="0" noProof="0">
                <a:ln>
                  <a:noFill/>
                </a:ln>
                <a:solidFill>
                  <a:prstClr val="white"/>
                </a:solidFill>
                <a:uLnTx/>
                <a:uFillTx/>
                <a:latin typeface="+mj-lt"/>
                <a:ea typeface="Calibri" panose="020F0502020204030204" pitchFamily="34" charset="0"/>
                <a:cs typeface="Times New Roman" panose="02020603050405020304" pitchFamily="18" charset="0"/>
              </a:rPr>
              <a:t>Provide SMEs for inputs, clarification, query resolution </a:t>
            </a:r>
          </a:p>
          <a:p>
            <a:pPr marL="241300" marR="0" lvl="0" indent="-241300" algn="l" defTabSz="914400" rtl="0" eaLnBrk="1" fontAlgn="auto" latinLnBrk="0" hangingPunct="1">
              <a:spcBef>
                <a:spcPts val="600"/>
              </a:spcBef>
              <a:spcAft>
                <a:spcPts val="600"/>
              </a:spcAft>
              <a:buClrTx/>
              <a:buSzTx/>
              <a:buFont typeface="Wingdings" panose="05000000000000000000" pitchFamily="2" charset="2"/>
              <a:buChar char="§"/>
              <a:tabLst/>
              <a:defRPr/>
            </a:pPr>
            <a:r>
              <a:rPr kumimoji="0" lang="en-US" sz="1200" b="1" i="0" u="none" strike="noStrike" kern="1200" cap="none" spc="0" normalizeH="0" baseline="0" noProof="0">
                <a:ln>
                  <a:noFill/>
                </a:ln>
                <a:solidFill>
                  <a:prstClr val="white"/>
                </a:solidFill>
                <a:uLnTx/>
                <a:uFillTx/>
                <a:latin typeface="+mj-lt"/>
                <a:ea typeface="Calibri" panose="020F0502020204030204" pitchFamily="34" charset="0"/>
                <a:cs typeface="Times New Roman" panose="02020603050405020304" pitchFamily="18" charset="0"/>
              </a:rPr>
              <a:t>Review and Sign-off</a:t>
            </a:r>
            <a:br>
              <a:rPr kumimoji="0" lang="en-US" sz="1200" b="1" i="0" u="none" strike="noStrike" kern="1200" cap="none" spc="0" normalizeH="0" baseline="0" noProof="0">
                <a:ln>
                  <a:noFill/>
                </a:ln>
                <a:solidFill>
                  <a:prstClr val="white"/>
                </a:solidFill>
                <a:uLnTx/>
                <a:uFillTx/>
                <a:latin typeface="+mj-lt"/>
                <a:ea typeface="Calibri" panose="020F0502020204030204" pitchFamily="34" charset="0"/>
                <a:cs typeface="Times New Roman" panose="02020603050405020304" pitchFamily="18" charset="0"/>
              </a:rPr>
            </a:br>
            <a:r>
              <a:rPr kumimoji="0" lang="en-US" sz="1200" b="1" i="0" u="none" strike="noStrike" kern="1200" cap="none" spc="0" normalizeH="0" baseline="0" noProof="0">
                <a:ln>
                  <a:noFill/>
                </a:ln>
                <a:solidFill>
                  <a:prstClr val="white"/>
                </a:solidFill>
                <a:uLnTx/>
                <a:uFillTx/>
                <a:latin typeface="+mj-lt"/>
                <a:ea typeface="Calibri" panose="020F0502020204030204" pitchFamily="34" charset="0"/>
                <a:cs typeface="Times New Roman" panose="02020603050405020304" pitchFamily="18" charset="0"/>
              </a:rPr>
              <a:t>due diligence report, solution approach and project plan</a:t>
            </a:r>
          </a:p>
        </p:txBody>
      </p:sp>
      <p:cxnSp>
        <p:nvCxnSpPr>
          <p:cNvPr id="10" name="Straight Arrow Connector 9">
            <a:extLst>
              <a:ext uri="{FF2B5EF4-FFF2-40B4-BE49-F238E27FC236}">
                <a16:creationId xmlns:a16="http://schemas.microsoft.com/office/drawing/2014/main" id="{00A967AF-7F7C-4A78-B24D-6D248BDE7B57}"/>
              </a:ext>
            </a:extLst>
          </p:cNvPr>
          <p:cNvCxnSpPr>
            <a:cxnSpLocks/>
          </p:cNvCxnSpPr>
          <p:nvPr/>
        </p:nvCxnSpPr>
        <p:spPr>
          <a:xfrm>
            <a:off x="478399" y="1265094"/>
            <a:ext cx="8873281" cy="0"/>
          </a:xfrm>
          <a:prstGeom prst="straightConnector1">
            <a:avLst/>
          </a:prstGeom>
          <a:ln w="38100">
            <a:solidFill>
              <a:srgbClr val="808080"/>
            </a:solidFill>
            <a:tailEnd type="triangle"/>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589E2CF4-F773-406A-9CFA-FE33A57AF235}"/>
              </a:ext>
            </a:extLst>
          </p:cNvPr>
          <p:cNvSpPr/>
          <p:nvPr/>
        </p:nvSpPr>
        <p:spPr>
          <a:xfrm>
            <a:off x="669434" y="1203744"/>
            <a:ext cx="179882" cy="169260"/>
          </a:xfrm>
          <a:prstGeom prst="ellipse">
            <a:avLst/>
          </a:pr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200"/>
          </a:p>
        </p:txBody>
      </p:sp>
      <p:sp>
        <p:nvSpPr>
          <p:cNvPr id="47" name="Oval 46">
            <a:extLst>
              <a:ext uri="{FF2B5EF4-FFF2-40B4-BE49-F238E27FC236}">
                <a16:creationId xmlns:a16="http://schemas.microsoft.com/office/drawing/2014/main" id="{60843296-780B-4B82-B09C-E1345971FA77}"/>
              </a:ext>
            </a:extLst>
          </p:cNvPr>
          <p:cNvSpPr/>
          <p:nvPr/>
        </p:nvSpPr>
        <p:spPr>
          <a:xfrm>
            <a:off x="2703650" y="1203744"/>
            <a:ext cx="179882" cy="169260"/>
          </a:xfrm>
          <a:prstGeom prst="ellipse">
            <a:avLst/>
          </a:pr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200"/>
          </a:p>
        </p:txBody>
      </p:sp>
      <p:sp>
        <p:nvSpPr>
          <p:cNvPr id="48" name="Oval 47">
            <a:extLst>
              <a:ext uri="{FF2B5EF4-FFF2-40B4-BE49-F238E27FC236}">
                <a16:creationId xmlns:a16="http://schemas.microsoft.com/office/drawing/2014/main" id="{80398C71-4B08-4FCC-A5FF-6113BB379FA0}"/>
              </a:ext>
            </a:extLst>
          </p:cNvPr>
          <p:cNvSpPr/>
          <p:nvPr/>
        </p:nvSpPr>
        <p:spPr>
          <a:xfrm>
            <a:off x="3498439" y="1203744"/>
            <a:ext cx="179882" cy="169260"/>
          </a:xfrm>
          <a:prstGeom prst="ellipse">
            <a:avLst/>
          </a:pr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200"/>
          </a:p>
        </p:txBody>
      </p:sp>
      <p:sp>
        <p:nvSpPr>
          <p:cNvPr id="49" name="Oval 48">
            <a:extLst>
              <a:ext uri="{FF2B5EF4-FFF2-40B4-BE49-F238E27FC236}">
                <a16:creationId xmlns:a16="http://schemas.microsoft.com/office/drawing/2014/main" id="{8B0C651F-1CE1-48D2-9B27-A88AF38BD62A}"/>
              </a:ext>
            </a:extLst>
          </p:cNvPr>
          <p:cNvSpPr/>
          <p:nvPr/>
        </p:nvSpPr>
        <p:spPr>
          <a:xfrm>
            <a:off x="5658012" y="1203744"/>
            <a:ext cx="179882" cy="169260"/>
          </a:xfrm>
          <a:prstGeom prst="ellipse">
            <a:avLst/>
          </a:pr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200"/>
          </a:p>
        </p:txBody>
      </p:sp>
      <p:sp>
        <p:nvSpPr>
          <p:cNvPr id="50" name="Oval 49">
            <a:extLst>
              <a:ext uri="{FF2B5EF4-FFF2-40B4-BE49-F238E27FC236}">
                <a16:creationId xmlns:a16="http://schemas.microsoft.com/office/drawing/2014/main" id="{05EE7820-777F-4961-932F-5E8B68FE9770}"/>
              </a:ext>
            </a:extLst>
          </p:cNvPr>
          <p:cNvSpPr/>
          <p:nvPr/>
        </p:nvSpPr>
        <p:spPr>
          <a:xfrm>
            <a:off x="6737812" y="1203744"/>
            <a:ext cx="179882" cy="169260"/>
          </a:xfrm>
          <a:prstGeom prst="ellipse">
            <a:avLst/>
          </a:pr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200"/>
          </a:p>
        </p:txBody>
      </p:sp>
      <p:sp>
        <p:nvSpPr>
          <p:cNvPr id="51" name="Oval 50">
            <a:extLst>
              <a:ext uri="{FF2B5EF4-FFF2-40B4-BE49-F238E27FC236}">
                <a16:creationId xmlns:a16="http://schemas.microsoft.com/office/drawing/2014/main" id="{646F9A7C-A15A-445F-9738-60930BC6C013}"/>
              </a:ext>
            </a:extLst>
          </p:cNvPr>
          <p:cNvSpPr/>
          <p:nvPr/>
        </p:nvSpPr>
        <p:spPr>
          <a:xfrm>
            <a:off x="7821548" y="1203744"/>
            <a:ext cx="179882" cy="169260"/>
          </a:xfrm>
          <a:prstGeom prst="ellipse">
            <a:avLst/>
          </a:pr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200"/>
          </a:p>
        </p:txBody>
      </p:sp>
      <p:sp>
        <p:nvSpPr>
          <p:cNvPr id="52" name="Oval 51">
            <a:extLst>
              <a:ext uri="{FF2B5EF4-FFF2-40B4-BE49-F238E27FC236}">
                <a16:creationId xmlns:a16="http://schemas.microsoft.com/office/drawing/2014/main" id="{AE16453B-8B4E-458D-9104-D93408303AD2}"/>
              </a:ext>
            </a:extLst>
          </p:cNvPr>
          <p:cNvSpPr/>
          <p:nvPr/>
        </p:nvSpPr>
        <p:spPr>
          <a:xfrm>
            <a:off x="8953408" y="1203744"/>
            <a:ext cx="179882" cy="169260"/>
          </a:xfrm>
          <a:prstGeom prst="ellipse">
            <a:avLst/>
          </a:pr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200"/>
          </a:p>
        </p:txBody>
      </p:sp>
      <p:sp>
        <p:nvSpPr>
          <p:cNvPr id="53" name="Oval 52">
            <a:extLst>
              <a:ext uri="{FF2B5EF4-FFF2-40B4-BE49-F238E27FC236}">
                <a16:creationId xmlns:a16="http://schemas.microsoft.com/office/drawing/2014/main" id="{D90A70E5-F5C7-481B-95B8-50AB86E43994}"/>
              </a:ext>
            </a:extLst>
          </p:cNvPr>
          <p:cNvSpPr/>
          <p:nvPr/>
        </p:nvSpPr>
        <p:spPr>
          <a:xfrm>
            <a:off x="1813326" y="1203744"/>
            <a:ext cx="179882" cy="169260"/>
          </a:xfrm>
          <a:prstGeom prst="ellipse">
            <a:avLst/>
          </a:pr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200"/>
          </a:p>
        </p:txBody>
      </p:sp>
      <p:sp>
        <p:nvSpPr>
          <p:cNvPr id="12" name="TextBox 11">
            <a:extLst>
              <a:ext uri="{FF2B5EF4-FFF2-40B4-BE49-F238E27FC236}">
                <a16:creationId xmlns:a16="http://schemas.microsoft.com/office/drawing/2014/main" id="{A69D8E5F-B95F-4507-A195-50E4FE93DD8C}"/>
              </a:ext>
            </a:extLst>
          </p:cNvPr>
          <p:cNvSpPr txBox="1"/>
          <p:nvPr/>
        </p:nvSpPr>
        <p:spPr>
          <a:xfrm>
            <a:off x="478399" y="951192"/>
            <a:ext cx="745670" cy="214292"/>
          </a:xfrm>
          <a:prstGeom prst="rect">
            <a:avLst/>
          </a:prstGeom>
          <a:noFill/>
        </p:spPr>
        <p:txBody>
          <a:bodyPr wrap="square" lIns="0" tIns="0" rIns="0" bIns="0" rtlCol="0">
            <a:noAutofit/>
          </a:bodyPr>
          <a:lstStyle/>
          <a:p>
            <a:pPr algn="l"/>
            <a:r>
              <a:rPr lang="en-US" sz="1200" b="1">
                <a:latin typeface="+mj-lt"/>
              </a:rPr>
              <a:t>Week 1</a:t>
            </a:r>
            <a:endParaRPr lang="en-IN" sz="1200" b="1">
              <a:latin typeface="+mj-lt"/>
            </a:endParaRPr>
          </a:p>
        </p:txBody>
      </p:sp>
      <p:sp>
        <p:nvSpPr>
          <p:cNvPr id="54" name="TextBox 53">
            <a:extLst>
              <a:ext uri="{FF2B5EF4-FFF2-40B4-BE49-F238E27FC236}">
                <a16:creationId xmlns:a16="http://schemas.microsoft.com/office/drawing/2014/main" id="{8FBE57AC-3F8B-4354-A477-8DC80484113B}"/>
              </a:ext>
            </a:extLst>
          </p:cNvPr>
          <p:cNvSpPr txBox="1"/>
          <p:nvPr/>
        </p:nvSpPr>
        <p:spPr>
          <a:xfrm>
            <a:off x="1606573" y="951192"/>
            <a:ext cx="745670" cy="214292"/>
          </a:xfrm>
          <a:prstGeom prst="rect">
            <a:avLst/>
          </a:prstGeom>
          <a:noFill/>
        </p:spPr>
        <p:txBody>
          <a:bodyPr wrap="square" lIns="0" tIns="0" rIns="0" bIns="0" rtlCol="0">
            <a:noAutofit/>
          </a:bodyPr>
          <a:lstStyle/>
          <a:p>
            <a:pPr algn="l"/>
            <a:r>
              <a:rPr lang="en-US" sz="1200" b="1">
                <a:latin typeface="+mj-lt"/>
              </a:rPr>
              <a:t>Week 2</a:t>
            </a:r>
            <a:endParaRPr lang="en-IN" sz="1200" b="1">
              <a:latin typeface="+mj-lt"/>
            </a:endParaRPr>
          </a:p>
        </p:txBody>
      </p:sp>
      <p:sp>
        <p:nvSpPr>
          <p:cNvPr id="55" name="TextBox 54">
            <a:extLst>
              <a:ext uri="{FF2B5EF4-FFF2-40B4-BE49-F238E27FC236}">
                <a16:creationId xmlns:a16="http://schemas.microsoft.com/office/drawing/2014/main" id="{C44D0147-92B4-424B-A3D0-D46F2BB08991}"/>
              </a:ext>
            </a:extLst>
          </p:cNvPr>
          <p:cNvSpPr txBox="1"/>
          <p:nvPr/>
        </p:nvSpPr>
        <p:spPr>
          <a:xfrm>
            <a:off x="2414909" y="951192"/>
            <a:ext cx="745670" cy="214292"/>
          </a:xfrm>
          <a:prstGeom prst="rect">
            <a:avLst/>
          </a:prstGeom>
          <a:noFill/>
        </p:spPr>
        <p:txBody>
          <a:bodyPr wrap="square" lIns="0" tIns="0" rIns="0" bIns="0" rtlCol="0">
            <a:noAutofit/>
          </a:bodyPr>
          <a:lstStyle/>
          <a:p>
            <a:pPr algn="l"/>
            <a:r>
              <a:rPr lang="en-US" sz="1200" b="1">
                <a:latin typeface="+mj-lt"/>
              </a:rPr>
              <a:t>Week 3</a:t>
            </a:r>
            <a:endParaRPr lang="en-IN" sz="1200" b="1">
              <a:latin typeface="+mj-lt"/>
            </a:endParaRPr>
          </a:p>
        </p:txBody>
      </p:sp>
      <p:sp>
        <p:nvSpPr>
          <p:cNvPr id="56" name="TextBox 55">
            <a:extLst>
              <a:ext uri="{FF2B5EF4-FFF2-40B4-BE49-F238E27FC236}">
                <a16:creationId xmlns:a16="http://schemas.microsoft.com/office/drawing/2014/main" id="{8210A642-543F-4D6A-B74C-1FFA4DEC8D76}"/>
              </a:ext>
            </a:extLst>
          </p:cNvPr>
          <p:cNvSpPr txBox="1"/>
          <p:nvPr/>
        </p:nvSpPr>
        <p:spPr>
          <a:xfrm>
            <a:off x="3210549" y="951192"/>
            <a:ext cx="745670" cy="214292"/>
          </a:xfrm>
          <a:prstGeom prst="rect">
            <a:avLst/>
          </a:prstGeom>
          <a:noFill/>
        </p:spPr>
        <p:txBody>
          <a:bodyPr wrap="square" lIns="0" tIns="0" rIns="0" bIns="0" rtlCol="0">
            <a:noAutofit/>
          </a:bodyPr>
          <a:lstStyle/>
          <a:p>
            <a:pPr algn="l"/>
            <a:r>
              <a:rPr lang="en-US" sz="1200" b="1">
                <a:latin typeface="+mj-lt"/>
              </a:rPr>
              <a:t>Week 4</a:t>
            </a:r>
            <a:endParaRPr lang="en-IN" sz="1200" b="1">
              <a:latin typeface="+mj-lt"/>
            </a:endParaRPr>
          </a:p>
        </p:txBody>
      </p:sp>
      <p:sp>
        <p:nvSpPr>
          <p:cNvPr id="57" name="TextBox 56">
            <a:extLst>
              <a:ext uri="{FF2B5EF4-FFF2-40B4-BE49-F238E27FC236}">
                <a16:creationId xmlns:a16="http://schemas.microsoft.com/office/drawing/2014/main" id="{B0DCD41F-E5F5-4891-8EBE-118F8F06E7BC}"/>
              </a:ext>
            </a:extLst>
          </p:cNvPr>
          <p:cNvSpPr txBox="1"/>
          <p:nvPr/>
        </p:nvSpPr>
        <p:spPr>
          <a:xfrm>
            <a:off x="5595225" y="951192"/>
            <a:ext cx="745670" cy="214292"/>
          </a:xfrm>
          <a:prstGeom prst="rect">
            <a:avLst/>
          </a:prstGeom>
          <a:noFill/>
        </p:spPr>
        <p:txBody>
          <a:bodyPr wrap="square" lIns="0" tIns="0" rIns="0" bIns="0" rtlCol="0">
            <a:noAutofit/>
          </a:bodyPr>
          <a:lstStyle/>
          <a:p>
            <a:pPr algn="l"/>
            <a:r>
              <a:rPr lang="en-US" sz="1200" b="1">
                <a:latin typeface="+mj-lt"/>
              </a:rPr>
              <a:t>Week 7</a:t>
            </a:r>
            <a:endParaRPr lang="en-IN" sz="1200" b="1">
              <a:latin typeface="+mj-lt"/>
            </a:endParaRPr>
          </a:p>
        </p:txBody>
      </p:sp>
      <p:sp>
        <p:nvSpPr>
          <p:cNvPr id="58" name="TextBox 57">
            <a:extLst>
              <a:ext uri="{FF2B5EF4-FFF2-40B4-BE49-F238E27FC236}">
                <a16:creationId xmlns:a16="http://schemas.microsoft.com/office/drawing/2014/main" id="{AE7B651C-8F49-490F-95F6-52708C277A92}"/>
              </a:ext>
            </a:extLst>
          </p:cNvPr>
          <p:cNvSpPr txBox="1"/>
          <p:nvPr/>
        </p:nvSpPr>
        <p:spPr>
          <a:xfrm>
            <a:off x="6500560" y="951192"/>
            <a:ext cx="677882" cy="214292"/>
          </a:xfrm>
          <a:prstGeom prst="rect">
            <a:avLst/>
          </a:prstGeom>
          <a:noFill/>
        </p:spPr>
        <p:txBody>
          <a:bodyPr wrap="square" lIns="0" tIns="0" rIns="0" bIns="0" rtlCol="0">
            <a:noAutofit/>
          </a:bodyPr>
          <a:lstStyle/>
          <a:p>
            <a:pPr algn="l"/>
            <a:r>
              <a:rPr lang="en-US" sz="1200" b="1">
                <a:latin typeface="+mj-lt"/>
              </a:rPr>
              <a:t>Week 8</a:t>
            </a:r>
            <a:endParaRPr lang="en-IN" sz="1200" b="1">
              <a:latin typeface="+mj-lt"/>
            </a:endParaRPr>
          </a:p>
        </p:txBody>
      </p:sp>
      <p:sp>
        <p:nvSpPr>
          <p:cNvPr id="59" name="TextBox 58">
            <a:extLst>
              <a:ext uri="{FF2B5EF4-FFF2-40B4-BE49-F238E27FC236}">
                <a16:creationId xmlns:a16="http://schemas.microsoft.com/office/drawing/2014/main" id="{FDC94DB8-2CA3-419D-8FE6-7556F614589E}"/>
              </a:ext>
            </a:extLst>
          </p:cNvPr>
          <p:cNvSpPr txBox="1"/>
          <p:nvPr/>
        </p:nvSpPr>
        <p:spPr>
          <a:xfrm>
            <a:off x="7538367" y="951192"/>
            <a:ext cx="745670" cy="214292"/>
          </a:xfrm>
          <a:prstGeom prst="rect">
            <a:avLst/>
          </a:prstGeom>
          <a:noFill/>
        </p:spPr>
        <p:txBody>
          <a:bodyPr wrap="square" lIns="0" tIns="0" rIns="0" bIns="0" rtlCol="0">
            <a:noAutofit/>
          </a:bodyPr>
          <a:lstStyle/>
          <a:p>
            <a:pPr algn="l"/>
            <a:r>
              <a:rPr lang="en-US" sz="1200" b="1">
                <a:latin typeface="+mj-lt"/>
              </a:rPr>
              <a:t>Week 9</a:t>
            </a:r>
            <a:endParaRPr lang="en-IN" sz="1200" b="1">
              <a:latin typeface="+mj-lt"/>
            </a:endParaRPr>
          </a:p>
        </p:txBody>
      </p:sp>
      <p:sp>
        <p:nvSpPr>
          <p:cNvPr id="60" name="TextBox 59">
            <a:extLst>
              <a:ext uri="{FF2B5EF4-FFF2-40B4-BE49-F238E27FC236}">
                <a16:creationId xmlns:a16="http://schemas.microsoft.com/office/drawing/2014/main" id="{D05834EA-4ED5-424D-A836-B9E4AC53535B}"/>
              </a:ext>
            </a:extLst>
          </p:cNvPr>
          <p:cNvSpPr txBox="1"/>
          <p:nvPr/>
        </p:nvSpPr>
        <p:spPr>
          <a:xfrm>
            <a:off x="8606119" y="951192"/>
            <a:ext cx="745670" cy="214292"/>
          </a:xfrm>
          <a:prstGeom prst="rect">
            <a:avLst/>
          </a:prstGeom>
          <a:noFill/>
        </p:spPr>
        <p:txBody>
          <a:bodyPr wrap="square" lIns="0" tIns="0" rIns="0" bIns="0" rtlCol="0">
            <a:noAutofit/>
          </a:bodyPr>
          <a:lstStyle/>
          <a:p>
            <a:pPr algn="l"/>
            <a:r>
              <a:rPr lang="en-US" sz="1200" b="1">
                <a:latin typeface="+mj-lt"/>
              </a:rPr>
              <a:t>Week 10</a:t>
            </a:r>
            <a:endParaRPr lang="en-IN" sz="1200" b="1">
              <a:latin typeface="+mj-lt"/>
            </a:endParaRPr>
          </a:p>
        </p:txBody>
      </p:sp>
      <p:sp>
        <p:nvSpPr>
          <p:cNvPr id="16" name="TextBox 15">
            <a:extLst>
              <a:ext uri="{FF2B5EF4-FFF2-40B4-BE49-F238E27FC236}">
                <a16:creationId xmlns:a16="http://schemas.microsoft.com/office/drawing/2014/main" id="{9DDCF789-DA51-47A0-866F-AF20031EF89D}"/>
              </a:ext>
            </a:extLst>
          </p:cNvPr>
          <p:cNvSpPr txBox="1"/>
          <p:nvPr/>
        </p:nvSpPr>
        <p:spPr>
          <a:xfrm>
            <a:off x="164021" y="1361862"/>
            <a:ext cx="204839" cy="756000"/>
          </a:xfrm>
          <a:prstGeom prst="rect">
            <a:avLst/>
          </a:prstGeom>
          <a:noFill/>
        </p:spPr>
        <p:txBody>
          <a:bodyPr vert="vert270" wrap="square" lIns="0" tIns="0" rIns="0" bIns="0" rtlCol="0">
            <a:noAutofit/>
          </a:bodyPr>
          <a:lstStyle/>
          <a:p>
            <a:pPr algn="ctr"/>
            <a:r>
              <a:rPr lang="en-US" sz="1200" b="1" spc="300">
                <a:latin typeface="+mj-lt"/>
              </a:rPr>
              <a:t>Phase</a:t>
            </a:r>
            <a:endParaRPr lang="en-IN" sz="1200" b="1" spc="300">
              <a:latin typeface="+mj-lt"/>
            </a:endParaRPr>
          </a:p>
        </p:txBody>
      </p:sp>
      <p:sp>
        <p:nvSpPr>
          <p:cNvPr id="61" name="TextBox 60">
            <a:extLst>
              <a:ext uri="{FF2B5EF4-FFF2-40B4-BE49-F238E27FC236}">
                <a16:creationId xmlns:a16="http://schemas.microsoft.com/office/drawing/2014/main" id="{6ED89E70-BC55-4D1F-B7CA-87863C8E4EC2}"/>
              </a:ext>
            </a:extLst>
          </p:cNvPr>
          <p:cNvSpPr txBox="1"/>
          <p:nvPr/>
        </p:nvSpPr>
        <p:spPr>
          <a:xfrm>
            <a:off x="183137" y="2578786"/>
            <a:ext cx="185723" cy="1744888"/>
          </a:xfrm>
          <a:prstGeom prst="rect">
            <a:avLst/>
          </a:prstGeom>
          <a:noFill/>
        </p:spPr>
        <p:txBody>
          <a:bodyPr vert="vert270" wrap="square" lIns="0" tIns="0" rIns="0" bIns="0" rtlCol="0">
            <a:noAutofit/>
          </a:bodyPr>
          <a:lstStyle/>
          <a:p>
            <a:pPr algn="ctr"/>
            <a:r>
              <a:rPr lang="en-US" sz="1200" b="1" spc="600">
                <a:latin typeface="+mj-lt"/>
              </a:rPr>
              <a:t>Activities</a:t>
            </a:r>
            <a:endParaRPr lang="en-IN" sz="1200" b="1" spc="600">
              <a:latin typeface="+mj-lt"/>
            </a:endParaRPr>
          </a:p>
        </p:txBody>
      </p:sp>
      <p:sp>
        <p:nvSpPr>
          <p:cNvPr id="62" name="TextBox 61">
            <a:extLst>
              <a:ext uri="{FF2B5EF4-FFF2-40B4-BE49-F238E27FC236}">
                <a16:creationId xmlns:a16="http://schemas.microsoft.com/office/drawing/2014/main" id="{85B7EA1E-9770-4157-AAEE-3DC88D79B575}"/>
              </a:ext>
            </a:extLst>
          </p:cNvPr>
          <p:cNvSpPr txBox="1"/>
          <p:nvPr/>
        </p:nvSpPr>
        <p:spPr>
          <a:xfrm>
            <a:off x="186231" y="4675291"/>
            <a:ext cx="182629" cy="1517291"/>
          </a:xfrm>
          <a:prstGeom prst="rect">
            <a:avLst/>
          </a:prstGeom>
          <a:noFill/>
        </p:spPr>
        <p:txBody>
          <a:bodyPr vert="vert270" wrap="square" lIns="0" tIns="0" rIns="0" bIns="0" rtlCol="0">
            <a:noAutofit/>
          </a:bodyPr>
          <a:lstStyle/>
          <a:p>
            <a:pPr algn="ctr"/>
            <a:r>
              <a:rPr lang="en-US" sz="1200" b="1" spc="300">
                <a:latin typeface="+mj-lt"/>
              </a:rPr>
              <a:t>Deliverable</a:t>
            </a:r>
            <a:endParaRPr lang="en-IN" sz="1200" b="1" spc="300">
              <a:latin typeface="+mj-lt"/>
            </a:endParaRPr>
          </a:p>
        </p:txBody>
      </p:sp>
      <p:sp>
        <p:nvSpPr>
          <p:cNvPr id="63" name="Rounded Rectangle 21">
            <a:extLst>
              <a:ext uri="{FF2B5EF4-FFF2-40B4-BE49-F238E27FC236}">
                <a16:creationId xmlns:a16="http://schemas.microsoft.com/office/drawing/2014/main" id="{0893306F-63A6-4764-AF5C-20297C790409}"/>
              </a:ext>
            </a:extLst>
          </p:cNvPr>
          <p:cNvSpPr/>
          <p:nvPr/>
        </p:nvSpPr>
        <p:spPr>
          <a:xfrm>
            <a:off x="498785" y="4848093"/>
            <a:ext cx="1360467" cy="1331461"/>
          </a:xfrm>
          <a:prstGeom prst="rect">
            <a:avLst/>
          </a:prstGeom>
          <a:solidFill>
            <a:schemeClr val="accent1">
              <a:lumMod val="20000"/>
              <a:lumOff val="80000"/>
            </a:schemeClr>
          </a:solidFill>
          <a:ln w="3175">
            <a:solidFill>
              <a:schemeClr val="accent1">
                <a:lumMod val="60000"/>
                <a:lumOff val="40000"/>
              </a:schemeClr>
            </a:solidFill>
            <a:round/>
            <a:headEnd/>
            <a:tailEnd/>
          </a:ln>
          <a:effectLst/>
        </p:spPr>
        <p:txBody>
          <a:bodyPr wrap="square" lIns="0" tIns="0" rIns="0" bIns="0" anchor="t"/>
          <a:lstStyle/>
          <a:p>
            <a:pPr marL="269875" marR="0" lvl="0" indent="-144463" algn="l" defTabSz="914400" rtl="0" eaLnBrk="1" fontAlgn="auto" latinLnBrk="0" hangingPunct="1">
              <a:lnSpc>
                <a:spcPct val="100000"/>
              </a:lnSpc>
              <a:spcBef>
                <a:spcPts val="200"/>
              </a:spcBef>
              <a:spcAft>
                <a:spcPts val="200"/>
              </a:spcAft>
              <a:buClrTx/>
              <a:buSzTx/>
              <a:buFont typeface="Wingdings" panose="05000000000000000000" pitchFamily="2" charset="2"/>
              <a:buChar char="§"/>
              <a:tabLst/>
              <a:defRPr/>
            </a:pPr>
            <a:endParaRPr kumimoji="0" lang="en-US" sz="900" b="1" i="0" u="none" strike="noStrike" kern="1200" cap="none" spc="0" normalizeH="0" baseline="0" noProof="0">
              <a:ln>
                <a:noFill/>
              </a:ln>
              <a:effectLst/>
              <a:uLnTx/>
              <a:uFillTx/>
              <a:latin typeface="+mj-lt"/>
              <a:ea typeface="Calibri" panose="020F0502020204030204" pitchFamily="34" charset="0"/>
              <a:cs typeface="Times New Roman" panose="02020603050405020304" pitchFamily="18" charset="0"/>
            </a:endParaRPr>
          </a:p>
          <a:p>
            <a:pPr marL="269875" marR="0" lvl="0" indent="-144463" algn="l" defTabSz="914400" rtl="0" eaLnBrk="1" fontAlgn="auto" latinLnBrk="0" hangingPunct="1">
              <a:lnSpc>
                <a:spcPct val="100000"/>
              </a:lnSpc>
              <a:spcBef>
                <a:spcPts val="200"/>
              </a:spcBef>
              <a:spcAft>
                <a:spcPts val="200"/>
              </a:spcAft>
              <a:buClrTx/>
              <a:buSzTx/>
              <a:buFont typeface="Wingdings" panose="05000000000000000000" pitchFamily="2" charset="2"/>
              <a:buChar char="§"/>
              <a:tabLst/>
              <a:defRPr/>
            </a:pPr>
            <a:r>
              <a:rPr kumimoji="0" lang="en-US" sz="900" b="1" i="0" u="none" strike="noStrike" kern="1200" cap="none" spc="0" normalizeH="0" baseline="0" noProof="0">
                <a:ln>
                  <a:noFill/>
                </a:ln>
                <a:effectLst/>
                <a:uLnTx/>
                <a:uFillTx/>
                <a:latin typeface="+mj-lt"/>
                <a:ea typeface="Calibri" panose="020F0502020204030204" pitchFamily="34" charset="0"/>
                <a:cs typeface="Times New Roman" panose="02020603050405020304" pitchFamily="18" charset="0"/>
              </a:rPr>
              <a:t>Approved diligence plan</a:t>
            </a:r>
          </a:p>
          <a:p>
            <a:pPr marL="269875" marR="0" lvl="0" indent="-144463" algn="l" defTabSz="914400" rtl="0" eaLnBrk="1" fontAlgn="auto" latinLnBrk="0" hangingPunct="1">
              <a:lnSpc>
                <a:spcPct val="100000"/>
              </a:lnSpc>
              <a:spcBef>
                <a:spcPts val="200"/>
              </a:spcBef>
              <a:spcAft>
                <a:spcPts val="200"/>
              </a:spcAft>
              <a:buClrTx/>
              <a:buSzTx/>
              <a:buFont typeface="Wingdings" panose="05000000000000000000" pitchFamily="2" charset="2"/>
              <a:buChar char="§"/>
              <a:tabLst/>
              <a:defRPr/>
            </a:pPr>
            <a:r>
              <a:rPr lang="en-US" sz="900" b="1">
                <a:latin typeface="+mj-lt"/>
                <a:ea typeface="Calibri" panose="020F0502020204030204" pitchFamily="34" charset="0"/>
                <a:cs typeface="Times New Roman" panose="02020603050405020304" pitchFamily="18" charset="0"/>
              </a:rPr>
              <a:t>Team onboarded for the due diligence</a:t>
            </a:r>
          </a:p>
          <a:p>
            <a:pPr marL="269875" marR="0" lvl="0" indent="-144463" algn="l" defTabSz="914400" rtl="0" eaLnBrk="1" fontAlgn="auto" latinLnBrk="0" hangingPunct="1">
              <a:lnSpc>
                <a:spcPct val="100000"/>
              </a:lnSpc>
              <a:spcBef>
                <a:spcPts val="200"/>
              </a:spcBef>
              <a:spcAft>
                <a:spcPts val="200"/>
              </a:spcAft>
              <a:buClrTx/>
              <a:buSzTx/>
              <a:buFont typeface="Wingdings" panose="05000000000000000000" pitchFamily="2" charset="2"/>
              <a:buChar char="§"/>
              <a:tabLst/>
              <a:defRPr/>
            </a:pPr>
            <a:endParaRPr kumimoji="0" lang="en-US" sz="900" b="1" i="0" u="none" strike="noStrike" kern="1200" cap="none" spc="0" normalizeH="0" baseline="0" noProof="0">
              <a:ln>
                <a:noFill/>
              </a:ln>
              <a:effectLst/>
              <a:uLnTx/>
              <a:uFillTx/>
              <a:latin typeface="+mj-lt"/>
              <a:ea typeface="Calibri" panose="020F0502020204030204" pitchFamily="34" charset="0"/>
              <a:cs typeface="Times New Roman" panose="02020603050405020304" pitchFamily="18" charset="0"/>
            </a:endParaRPr>
          </a:p>
          <a:p>
            <a:pPr marL="269875" marR="0" lvl="0" indent="-144463" algn="l" defTabSz="914400" rtl="0" eaLnBrk="1" fontAlgn="auto" latinLnBrk="0" hangingPunct="1">
              <a:lnSpc>
                <a:spcPct val="100000"/>
              </a:lnSpc>
              <a:spcBef>
                <a:spcPts val="200"/>
              </a:spcBef>
              <a:spcAft>
                <a:spcPts val="200"/>
              </a:spcAft>
              <a:buClrTx/>
              <a:buSzTx/>
              <a:buFont typeface="Wingdings" panose="05000000000000000000" pitchFamily="2" charset="2"/>
              <a:buChar char="§"/>
              <a:tabLst/>
              <a:defRPr/>
            </a:pPr>
            <a:endParaRPr kumimoji="0" lang="en-US" sz="900" b="1" i="0" u="none" strike="noStrike" kern="1200" cap="none" spc="0" normalizeH="0" baseline="0" noProof="0">
              <a:ln>
                <a:noFill/>
              </a:ln>
              <a:effectLst/>
              <a:uLnTx/>
              <a:uFillTx/>
              <a:latin typeface="+mj-lt"/>
              <a:ea typeface="Calibri" panose="020F0502020204030204" pitchFamily="34" charset="0"/>
              <a:cs typeface="Times New Roman" panose="02020603050405020304" pitchFamily="18" charset="0"/>
            </a:endParaRPr>
          </a:p>
        </p:txBody>
      </p:sp>
      <p:sp>
        <p:nvSpPr>
          <p:cNvPr id="64" name="Rounded Rectangle 21">
            <a:extLst>
              <a:ext uri="{FF2B5EF4-FFF2-40B4-BE49-F238E27FC236}">
                <a16:creationId xmlns:a16="http://schemas.microsoft.com/office/drawing/2014/main" id="{2D7B80DB-7F5D-4455-B3DC-85F6FB1BE777}"/>
              </a:ext>
            </a:extLst>
          </p:cNvPr>
          <p:cNvSpPr/>
          <p:nvPr/>
        </p:nvSpPr>
        <p:spPr>
          <a:xfrm>
            <a:off x="1987405" y="4848093"/>
            <a:ext cx="3727854" cy="1331461"/>
          </a:xfrm>
          <a:prstGeom prst="rect">
            <a:avLst/>
          </a:prstGeom>
          <a:solidFill>
            <a:schemeClr val="accent1">
              <a:lumMod val="20000"/>
              <a:lumOff val="80000"/>
            </a:schemeClr>
          </a:solidFill>
          <a:ln w="3175">
            <a:solidFill>
              <a:schemeClr val="accent1">
                <a:lumMod val="60000"/>
                <a:lumOff val="40000"/>
              </a:schemeClr>
            </a:solidFill>
            <a:round/>
            <a:headEnd/>
            <a:tailEnd/>
          </a:ln>
          <a:effectLst/>
        </p:spPr>
        <p:txBody>
          <a:bodyPr wrap="square" lIns="0" tIns="0" rIns="0" bIns="0" anchor="ctr"/>
          <a:lstStyle/>
          <a:p>
            <a:pPr marL="269875" marR="0" lvl="0" indent="-144145" algn="l" defTabSz="914400" rtl="0" eaLnBrk="1" fontAlgn="auto" latinLnBrk="0" hangingPunct="1">
              <a:lnSpc>
                <a:spcPct val="100000"/>
              </a:lnSpc>
              <a:spcBef>
                <a:spcPts val="200"/>
              </a:spcBef>
              <a:spcAft>
                <a:spcPts val="200"/>
              </a:spcAft>
              <a:buClrTx/>
              <a:buSzTx/>
              <a:buFont typeface="Wingdings" panose="05000000000000000000" pitchFamily="2" charset="2"/>
              <a:buChar char="§"/>
              <a:tabLst/>
              <a:defRPr/>
            </a:pPr>
            <a:r>
              <a:rPr kumimoji="0" lang="en-US" sz="900" b="1" i="0" u="none" strike="noStrike" kern="1200" cap="none" spc="0" normalizeH="0" baseline="0" noProof="0">
                <a:ln>
                  <a:noFill/>
                </a:ln>
                <a:effectLst/>
                <a:uLnTx/>
                <a:uFillTx/>
                <a:latin typeface="+mj-lt"/>
                <a:ea typeface="Calibri" panose="020F0502020204030204" pitchFamily="34" charset="0"/>
                <a:cs typeface="Times New Roman"/>
              </a:rPr>
              <a:t>Detailed Assessment Report for Databases, workflows, additional features and reporting requirements</a:t>
            </a:r>
            <a:endParaRPr lang="en-US">
              <a:cs typeface="Times New Roman"/>
            </a:endParaRPr>
          </a:p>
          <a:p>
            <a:pPr marL="269875" marR="0" lvl="0" indent="-144145" algn="l" defTabSz="914400" rtl="0" eaLnBrk="1" fontAlgn="auto" latinLnBrk="0" hangingPunct="1">
              <a:lnSpc>
                <a:spcPct val="100000"/>
              </a:lnSpc>
              <a:spcBef>
                <a:spcPts val="200"/>
              </a:spcBef>
              <a:spcAft>
                <a:spcPts val="200"/>
              </a:spcAft>
              <a:buClrTx/>
              <a:buSzTx/>
              <a:buFont typeface="Wingdings" panose="05000000000000000000" pitchFamily="2" charset="2"/>
              <a:buChar char="§"/>
              <a:tabLst/>
              <a:defRPr/>
            </a:pPr>
            <a:r>
              <a:rPr kumimoji="0" lang="en-US" sz="900" b="1" i="0" u="none" strike="noStrike" kern="1200" cap="none" spc="0" normalizeH="0" baseline="0" noProof="0">
                <a:ln>
                  <a:noFill/>
                </a:ln>
                <a:effectLst/>
                <a:uLnTx/>
                <a:uFillTx/>
                <a:latin typeface="+mj-lt"/>
                <a:ea typeface="Calibri" panose="020F0502020204030204" pitchFamily="34" charset="0"/>
                <a:cs typeface="Times New Roman"/>
              </a:rPr>
              <a:t>Tables/components categorization Report including Business Rules, Complexity, Data Mappings, Data Dependencies and Volumetric Analysis</a:t>
            </a:r>
            <a:endParaRPr lang="en-US" sz="900" b="1" i="0" u="none" strike="noStrike" kern="1200" cap="none" spc="0" normalizeH="0" baseline="0" noProof="0">
              <a:ln>
                <a:noFill/>
              </a:ln>
              <a:effectLst/>
              <a:uLnTx/>
              <a:uFillTx/>
              <a:latin typeface="+mj-lt"/>
              <a:ea typeface="Calibri" panose="020F0502020204030204" pitchFamily="34" charset="0"/>
              <a:cs typeface="Times New Roman"/>
            </a:endParaRPr>
          </a:p>
          <a:p>
            <a:pPr marL="269875" marR="0" lvl="0" indent="-144145" algn="l" defTabSz="914400" rtl="0" eaLnBrk="1" fontAlgn="auto" latinLnBrk="0" hangingPunct="1">
              <a:lnSpc>
                <a:spcPct val="100000"/>
              </a:lnSpc>
              <a:spcBef>
                <a:spcPts val="200"/>
              </a:spcBef>
              <a:spcAft>
                <a:spcPts val="200"/>
              </a:spcAft>
              <a:buClrTx/>
              <a:buSzTx/>
              <a:buFont typeface="Wingdings" panose="05000000000000000000" pitchFamily="2" charset="2"/>
              <a:buChar char="§"/>
              <a:tabLst/>
              <a:defRPr/>
            </a:pPr>
            <a:r>
              <a:rPr kumimoji="0" lang="en-US" sz="900" b="1" i="0" u="none" strike="noStrike" kern="1200" cap="none" spc="0" normalizeH="0" baseline="0" noProof="0">
                <a:ln>
                  <a:noFill/>
                </a:ln>
                <a:effectLst/>
                <a:uLnTx/>
                <a:uFillTx/>
                <a:latin typeface="+mj-lt"/>
                <a:ea typeface="Calibri" panose="020F0502020204030204" pitchFamily="34" charset="0"/>
                <a:cs typeface="Times New Roman"/>
              </a:rPr>
              <a:t>SLX &amp; MPS existing test asset availability report</a:t>
            </a:r>
            <a:endParaRPr lang="en-US" sz="900" b="1" i="0" u="none" strike="noStrike" kern="1200" cap="none" spc="0" normalizeH="0" baseline="0" noProof="0">
              <a:ln>
                <a:noFill/>
              </a:ln>
              <a:effectLst/>
              <a:uLnTx/>
              <a:uFillTx/>
              <a:latin typeface="+mj-lt"/>
              <a:ea typeface="Calibri" panose="020F0502020204030204" pitchFamily="34" charset="0"/>
              <a:cs typeface="Times New Roman"/>
            </a:endParaRPr>
          </a:p>
          <a:p>
            <a:pPr marL="269875" indent="-144145">
              <a:spcBef>
                <a:spcPts val="200"/>
              </a:spcBef>
              <a:spcAft>
                <a:spcPts val="200"/>
              </a:spcAft>
              <a:buFont typeface="Wingdings" panose="05000000000000000000" pitchFamily="2" charset="2"/>
              <a:buChar char="§"/>
              <a:defRPr/>
            </a:pPr>
            <a:r>
              <a:rPr kumimoji="0" lang="en-US" sz="900" b="1" i="0" u="none" strike="noStrike" kern="1200" cap="none" spc="0" normalizeH="0" baseline="0" noProof="0">
                <a:ln>
                  <a:noFill/>
                </a:ln>
                <a:effectLst/>
                <a:uLnTx/>
                <a:uFillTx/>
                <a:latin typeface="+mj-lt"/>
                <a:ea typeface="Calibri" panose="020F0502020204030204" pitchFamily="34" charset="0"/>
                <a:cs typeface="Times New Roman"/>
              </a:rPr>
              <a:t>Understanding document on existing conversion </a:t>
            </a:r>
            <a:r>
              <a:rPr lang="en-US" sz="900" b="1">
                <a:latin typeface="+mj-lt"/>
                <a:ea typeface="Calibri" panose="020F0502020204030204" pitchFamily="34" charset="0"/>
                <a:cs typeface="Times New Roman"/>
              </a:rPr>
              <a:t>tools (like BTP)</a:t>
            </a:r>
            <a:endParaRPr lang="en-US" sz="900" b="1" i="0" u="none" strike="noStrike" kern="1200" cap="none" spc="0" normalizeH="0" baseline="0" noProof="0">
              <a:ln>
                <a:noFill/>
              </a:ln>
              <a:effectLst/>
              <a:uLnTx/>
              <a:uFillTx/>
              <a:latin typeface="+mj-lt"/>
              <a:ea typeface="Calibri" panose="020F0502020204030204" pitchFamily="34" charset="0"/>
              <a:cs typeface="Times New Roman"/>
            </a:endParaRPr>
          </a:p>
        </p:txBody>
      </p:sp>
      <p:sp>
        <p:nvSpPr>
          <p:cNvPr id="65" name="Rounded Rectangle 21">
            <a:extLst>
              <a:ext uri="{FF2B5EF4-FFF2-40B4-BE49-F238E27FC236}">
                <a16:creationId xmlns:a16="http://schemas.microsoft.com/office/drawing/2014/main" id="{A00CFAB9-2569-4C8F-910D-66EC7341CEA4}"/>
              </a:ext>
            </a:extLst>
          </p:cNvPr>
          <p:cNvSpPr/>
          <p:nvPr/>
        </p:nvSpPr>
        <p:spPr>
          <a:xfrm>
            <a:off x="7975976" y="4848093"/>
            <a:ext cx="1375704" cy="1331461"/>
          </a:xfrm>
          <a:prstGeom prst="rect">
            <a:avLst/>
          </a:prstGeom>
          <a:solidFill>
            <a:schemeClr val="accent1">
              <a:lumMod val="20000"/>
              <a:lumOff val="80000"/>
            </a:schemeClr>
          </a:solidFill>
          <a:ln w="3175">
            <a:solidFill>
              <a:schemeClr val="accent1">
                <a:lumMod val="60000"/>
                <a:lumOff val="40000"/>
              </a:schemeClr>
            </a:solidFill>
            <a:round/>
            <a:headEnd/>
            <a:tailEnd/>
          </a:ln>
          <a:effectLst/>
        </p:spPr>
        <p:txBody>
          <a:bodyPr wrap="square" lIns="0" tIns="0" rIns="0" bIns="0" anchor="t"/>
          <a:lstStyle/>
          <a:p>
            <a:pPr marL="269875" marR="0" lvl="0" indent="-144145" algn="l" defTabSz="914400" rtl="0" eaLnBrk="1" fontAlgn="auto" latinLnBrk="0" hangingPunct="1">
              <a:lnSpc>
                <a:spcPct val="100000"/>
              </a:lnSpc>
              <a:spcBef>
                <a:spcPts val="200"/>
              </a:spcBef>
              <a:spcAft>
                <a:spcPts val="200"/>
              </a:spcAft>
              <a:buClrTx/>
              <a:buSzTx/>
              <a:buFont typeface="Wingdings" panose="05000000000000000000" pitchFamily="2" charset="2"/>
              <a:buChar char="§"/>
              <a:tabLst/>
              <a:defRPr/>
            </a:pPr>
            <a:r>
              <a:rPr kumimoji="0" lang="en-US" sz="900" b="1" i="0" u="none" strike="noStrike" kern="1200" cap="none" spc="0" normalizeH="0" baseline="0" noProof="0">
                <a:ln>
                  <a:noFill/>
                </a:ln>
                <a:effectLst/>
                <a:uLnTx/>
                <a:uFillTx/>
                <a:latin typeface="+mj-lt"/>
                <a:ea typeface="Calibri" panose="020F0502020204030204" pitchFamily="34" charset="0"/>
                <a:cs typeface="Times New Roman"/>
              </a:rPr>
              <a:t>Signed-off migration approach: Solution &amp; Waves</a:t>
            </a:r>
            <a:endParaRPr lang="en-US">
              <a:cs typeface="Times New Roman"/>
            </a:endParaRPr>
          </a:p>
          <a:p>
            <a:pPr marL="269875" indent="-144145">
              <a:spcBef>
                <a:spcPts val="200"/>
              </a:spcBef>
              <a:spcAft>
                <a:spcPts val="200"/>
              </a:spcAft>
              <a:buFont typeface="Wingdings" panose="05000000000000000000" pitchFamily="2" charset="2"/>
              <a:buChar char="§"/>
              <a:defRPr/>
            </a:pPr>
            <a:r>
              <a:rPr kumimoji="0" lang="en-US" sz="900" b="1" i="0" u="none" strike="noStrike" kern="1200" cap="none" spc="0" normalizeH="0" baseline="0" noProof="0">
                <a:ln>
                  <a:noFill/>
                </a:ln>
                <a:effectLst/>
                <a:uLnTx/>
                <a:uFillTx/>
                <a:latin typeface="+mj-lt"/>
                <a:ea typeface="Calibri" panose="020F0502020204030204" pitchFamily="34" charset="0"/>
                <a:cs typeface="Times New Roman"/>
              </a:rPr>
              <a:t>Signed-off </a:t>
            </a:r>
            <a:r>
              <a:rPr lang="en-US" sz="900" b="1">
                <a:latin typeface="+mj-lt"/>
                <a:ea typeface="Calibri" panose="020F0502020204030204" pitchFamily="34" charset="0"/>
                <a:cs typeface="Times New Roman"/>
              </a:rPr>
              <a:t>on Business requirement</a:t>
            </a:r>
            <a:endParaRPr lang="en-US" sz="900" b="1" i="0" u="none" strike="noStrike" kern="1200" cap="none" spc="0" normalizeH="0" baseline="0" noProof="0">
              <a:ln>
                <a:noFill/>
              </a:ln>
              <a:effectLst/>
              <a:uLnTx/>
              <a:uFillTx/>
              <a:latin typeface="+mj-lt"/>
              <a:ea typeface="Calibri" panose="020F0502020204030204" pitchFamily="34" charset="0"/>
              <a:cs typeface="Times New Roman" panose="02020603050405020304" pitchFamily="18" charset="0"/>
            </a:endParaRPr>
          </a:p>
        </p:txBody>
      </p:sp>
      <p:sp>
        <p:nvSpPr>
          <p:cNvPr id="17" name="Isosceles Triangle 16">
            <a:extLst>
              <a:ext uri="{FF2B5EF4-FFF2-40B4-BE49-F238E27FC236}">
                <a16:creationId xmlns:a16="http://schemas.microsoft.com/office/drawing/2014/main" id="{77854177-D86B-48B1-AF9A-10387AFFD226}"/>
              </a:ext>
            </a:extLst>
          </p:cNvPr>
          <p:cNvSpPr/>
          <p:nvPr/>
        </p:nvSpPr>
        <p:spPr>
          <a:xfrm rot="5400000">
            <a:off x="1775614" y="1596404"/>
            <a:ext cx="359884" cy="286916"/>
          </a:xfrm>
          <a:prstGeom prst="triangle">
            <a:avLst/>
          </a:prstGeom>
          <a:solidFill>
            <a:srgbClr val="92D050"/>
          </a:solidFill>
          <a:ln w="28575"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200"/>
          </a:p>
        </p:txBody>
      </p:sp>
      <p:sp>
        <p:nvSpPr>
          <p:cNvPr id="66" name="Rounded Rectangle 21">
            <a:extLst>
              <a:ext uri="{FF2B5EF4-FFF2-40B4-BE49-F238E27FC236}">
                <a16:creationId xmlns:a16="http://schemas.microsoft.com/office/drawing/2014/main" id="{9B76FC80-9265-4000-A00E-29B8B6F3CEFF}"/>
              </a:ext>
            </a:extLst>
          </p:cNvPr>
          <p:cNvSpPr/>
          <p:nvPr/>
        </p:nvSpPr>
        <p:spPr>
          <a:xfrm>
            <a:off x="5839552" y="4848093"/>
            <a:ext cx="2023283" cy="1331461"/>
          </a:xfrm>
          <a:prstGeom prst="rect">
            <a:avLst/>
          </a:prstGeom>
          <a:solidFill>
            <a:schemeClr val="accent1">
              <a:lumMod val="20000"/>
              <a:lumOff val="80000"/>
            </a:schemeClr>
          </a:solidFill>
          <a:ln w="3175">
            <a:solidFill>
              <a:schemeClr val="accent1">
                <a:lumMod val="60000"/>
                <a:lumOff val="40000"/>
              </a:schemeClr>
            </a:solidFill>
            <a:round/>
            <a:headEnd/>
            <a:tailEnd/>
          </a:ln>
          <a:effectLst/>
        </p:spPr>
        <p:txBody>
          <a:bodyPr wrap="square" lIns="0" tIns="0" rIns="0" bIns="0" anchor="t"/>
          <a:lstStyle/>
          <a:p>
            <a:pPr marL="269875" marR="0" lvl="0" indent="-144145" algn="l" defTabSz="914400" rtl="0" eaLnBrk="1" fontAlgn="auto" latinLnBrk="0" hangingPunct="1">
              <a:lnSpc>
                <a:spcPct val="100000"/>
              </a:lnSpc>
              <a:spcBef>
                <a:spcPts val="200"/>
              </a:spcBef>
              <a:spcAft>
                <a:spcPts val="200"/>
              </a:spcAft>
              <a:buClrTx/>
              <a:buSzTx/>
              <a:buFont typeface="Wingdings" panose="05000000000000000000" pitchFamily="2" charset="2"/>
              <a:buChar char="§"/>
              <a:tabLst/>
              <a:defRPr/>
            </a:pPr>
            <a:r>
              <a:rPr kumimoji="0" lang="en-US" sz="900" b="1" i="0" u="none" strike="noStrike" kern="1200" cap="none" spc="0" normalizeH="0" baseline="0" noProof="0">
                <a:ln>
                  <a:noFill/>
                </a:ln>
                <a:effectLst/>
                <a:uLnTx/>
                <a:uFillTx/>
                <a:latin typeface="+mj-lt"/>
                <a:ea typeface="Calibri" panose="020F0502020204030204" pitchFamily="34" charset="0"/>
                <a:cs typeface="Times New Roman"/>
              </a:rPr>
              <a:t>Fine-tuned migration solution</a:t>
            </a:r>
            <a:endParaRPr lang="en-US">
              <a:cs typeface="Times New Roman"/>
            </a:endParaRPr>
          </a:p>
          <a:p>
            <a:pPr marL="269875" marR="0" lvl="0" indent="-144145" algn="l" defTabSz="914400" rtl="0" eaLnBrk="1" fontAlgn="auto" latinLnBrk="0" hangingPunct="1">
              <a:lnSpc>
                <a:spcPct val="100000"/>
              </a:lnSpc>
              <a:spcBef>
                <a:spcPts val="200"/>
              </a:spcBef>
              <a:spcAft>
                <a:spcPts val="200"/>
              </a:spcAft>
              <a:buClrTx/>
              <a:buSzTx/>
              <a:buFont typeface="Wingdings" panose="05000000000000000000" pitchFamily="2" charset="2"/>
              <a:buChar char="§"/>
              <a:tabLst/>
              <a:defRPr/>
            </a:pPr>
            <a:r>
              <a:rPr kumimoji="0" lang="en-US" sz="900" b="1" i="0" u="none" strike="noStrike" kern="1200" cap="none" spc="0" normalizeH="0" baseline="0" noProof="0">
                <a:ln>
                  <a:noFill/>
                </a:ln>
                <a:effectLst/>
                <a:uLnTx/>
                <a:uFillTx/>
                <a:latin typeface="+mj-lt"/>
                <a:ea typeface="Calibri" panose="020F0502020204030204" pitchFamily="34" charset="0"/>
                <a:cs typeface="Times New Roman"/>
              </a:rPr>
              <a:t>Identification of re-usable components</a:t>
            </a:r>
            <a:endParaRPr lang="en-US" sz="900" b="1" i="0" u="none" strike="noStrike" kern="1200" cap="none" spc="0" normalizeH="0" baseline="0" noProof="0">
              <a:ln>
                <a:noFill/>
              </a:ln>
              <a:effectLst/>
              <a:uLnTx/>
              <a:uFillTx/>
              <a:latin typeface="+mj-lt"/>
              <a:ea typeface="Calibri" panose="020F0502020204030204" pitchFamily="34" charset="0"/>
              <a:cs typeface="Times New Roman"/>
            </a:endParaRPr>
          </a:p>
          <a:p>
            <a:pPr marL="269875" indent="-144145">
              <a:spcBef>
                <a:spcPts val="200"/>
              </a:spcBef>
              <a:spcAft>
                <a:spcPts val="200"/>
              </a:spcAft>
              <a:buFont typeface="Wingdings" panose="05000000000000000000" pitchFamily="2" charset="2"/>
              <a:buChar char="§"/>
              <a:defRPr/>
            </a:pPr>
            <a:r>
              <a:rPr lang="en-US" sz="900" b="1">
                <a:latin typeface="+mj-lt"/>
                <a:ea typeface="Calibri" panose="020F0502020204030204" pitchFamily="34" charset="0"/>
                <a:cs typeface="Times New Roman"/>
              </a:rPr>
              <a:t>Refined project schedule and estimates </a:t>
            </a:r>
            <a:endParaRPr lang="en-US" sz="900" b="1">
              <a:latin typeface="+mj-lt"/>
              <a:ea typeface="Calibri" panose="020F0502020204030204" pitchFamily="34" charset="0"/>
              <a:cs typeface="Times New Roman" panose="02020603050405020304" pitchFamily="18" charset="0"/>
            </a:endParaRPr>
          </a:p>
          <a:p>
            <a:pPr marL="269875" indent="-144145">
              <a:spcBef>
                <a:spcPts val="200"/>
              </a:spcBef>
              <a:spcAft>
                <a:spcPts val="200"/>
              </a:spcAft>
              <a:buFont typeface="Wingdings" panose="05000000000000000000" pitchFamily="2" charset="2"/>
              <a:buChar char="§"/>
              <a:defRPr/>
            </a:pPr>
            <a:r>
              <a:rPr lang="en-US" sz="900" b="1">
                <a:latin typeface="+mj-lt"/>
                <a:ea typeface="Calibri" panose="020F0502020204030204" pitchFamily="34" charset="0"/>
                <a:cs typeface="Times New Roman"/>
              </a:rPr>
              <a:t>Finalize and freeze the application enhancement scope</a:t>
            </a:r>
          </a:p>
          <a:p>
            <a:pPr marL="269875" indent="-144145">
              <a:spcBef>
                <a:spcPts val="200"/>
              </a:spcBef>
              <a:spcAft>
                <a:spcPts val="200"/>
              </a:spcAft>
              <a:buFont typeface="Wingdings" panose="05000000000000000000" pitchFamily="2" charset="2"/>
              <a:buChar char="§"/>
              <a:defRPr/>
            </a:pPr>
            <a:r>
              <a:rPr lang="en-US" sz="900" b="1">
                <a:latin typeface="+mj-lt"/>
                <a:ea typeface="Calibri" panose="020F0502020204030204" pitchFamily="34" charset="0"/>
                <a:cs typeface="Times New Roman"/>
              </a:rPr>
              <a:t>Process automation scope</a:t>
            </a:r>
            <a:endParaRPr lang="en-US" sz="900" b="1">
              <a:latin typeface="+mj-lt"/>
              <a:ea typeface="Calibri" panose="020F0502020204030204" pitchFamily="34" charset="0"/>
              <a:cs typeface="Times New Roman" panose="02020603050405020304" pitchFamily="18" charset="0"/>
            </a:endParaRPr>
          </a:p>
        </p:txBody>
      </p:sp>
      <p:sp>
        <p:nvSpPr>
          <p:cNvPr id="67" name="Freeform 23">
            <a:extLst>
              <a:ext uri="{FF2B5EF4-FFF2-40B4-BE49-F238E27FC236}">
                <a16:creationId xmlns:a16="http://schemas.microsoft.com/office/drawing/2014/main" id="{75180654-A49E-4189-91B8-64E5A284DDF6}"/>
              </a:ext>
            </a:extLst>
          </p:cNvPr>
          <p:cNvSpPr/>
          <p:nvPr/>
        </p:nvSpPr>
        <p:spPr>
          <a:xfrm>
            <a:off x="7995435" y="1429940"/>
            <a:ext cx="1356943" cy="619844"/>
          </a:xfrm>
          <a:prstGeom prst="rect">
            <a:avLst/>
          </a:prstGeom>
          <a:solidFill>
            <a:schemeClr val="accent1"/>
          </a:solidFill>
          <a:ln w="19050">
            <a:noFill/>
          </a:ln>
          <a:effectLst/>
          <a:scene3d>
            <a:camera prst="orthographicFront">
              <a:rot lat="0" lon="0" rev="0"/>
            </a:camera>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spcFirstLastPara="0" vert="horz" wrap="square" lIns="29143" tIns="23428" rIns="29143" bIns="23428" numCol="1" spcCol="1270" anchor="ctr" anchorCtr="0">
            <a:noAutofit/>
          </a:bodyPr>
          <a:lstStyle/>
          <a:p>
            <a:pPr marL="0" marR="0" lvl="0" indent="0" algn="ctr" defTabSz="400050" rtl="0" eaLnBrk="1" fontAlgn="auto" latinLnBrk="0" hangingPunct="1">
              <a:lnSpc>
                <a:spcPct val="90000"/>
              </a:lnSpc>
              <a:spcBef>
                <a:spcPts val="0"/>
              </a:spcBef>
              <a:spcAft>
                <a:spcPct val="35000"/>
              </a:spcAft>
              <a:buClrTx/>
              <a:buSzTx/>
              <a:buFontTx/>
              <a:buNone/>
              <a:tabLst/>
              <a:defRPr/>
            </a:pPr>
            <a:r>
              <a:rPr lang="en-US" sz="1100" b="1" kern="0">
                <a:solidFill>
                  <a:prstClr val="white"/>
                </a:solidFill>
              </a:rPr>
              <a:t>Due Diligence</a:t>
            </a:r>
          </a:p>
          <a:p>
            <a:pPr marL="0" marR="0" lvl="0" indent="0" algn="ctr" defTabSz="400050" rtl="0" eaLnBrk="1" fontAlgn="auto" latinLnBrk="0" hangingPunct="1">
              <a:lnSpc>
                <a:spcPct val="90000"/>
              </a:lnSpc>
              <a:spcBef>
                <a:spcPts val="0"/>
              </a:spcBef>
              <a:spcAft>
                <a:spcPct val="35000"/>
              </a:spcAft>
              <a:buClrTx/>
              <a:buSzTx/>
              <a:buFontTx/>
              <a:buNone/>
              <a:tabLst/>
              <a:defRPr/>
            </a:pPr>
            <a:r>
              <a:rPr lang="en-US" sz="1100" b="1" kern="0">
                <a:solidFill>
                  <a:prstClr val="white"/>
                </a:solidFill>
              </a:rPr>
              <a:t>Final Submission</a:t>
            </a:r>
            <a:endParaRPr kumimoji="0" lang="en-US" sz="1100" b="1" i="0" u="none" strike="noStrike" kern="0" cap="none" spc="0" normalizeH="0" baseline="0" noProof="0">
              <a:ln>
                <a:noFill/>
              </a:ln>
              <a:solidFill>
                <a:prstClr val="white"/>
              </a:solidFill>
              <a:effectLst/>
              <a:uLnTx/>
              <a:uFillTx/>
              <a:ea typeface="+mn-ea"/>
              <a:cs typeface="+mn-cs"/>
            </a:endParaRPr>
          </a:p>
        </p:txBody>
      </p:sp>
      <p:sp>
        <p:nvSpPr>
          <p:cNvPr id="68" name="Freeform 23">
            <a:extLst>
              <a:ext uri="{FF2B5EF4-FFF2-40B4-BE49-F238E27FC236}">
                <a16:creationId xmlns:a16="http://schemas.microsoft.com/office/drawing/2014/main" id="{0DB5F0A8-53DF-472D-A689-569F583EFB1E}"/>
              </a:ext>
            </a:extLst>
          </p:cNvPr>
          <p:cNvSpPr/>
          <p:nvPr/>
        </p:nvSpPr>
        <p:spPr>
          <a:xfrm>
            <a:off x="5820013" y="1429940"/>
            <a:ext cx="2042821" cy="619844"/>
          </a:xfrm>
          <a:prstGeom prst="rect">
            <a:avLst/>
          </a:prstGeom>
          <a:solidFill>
            <a:schemeClr val="accent1"/>
          </a:solidFill>
          <a:ln w="19050">
            <a:noFill/>
          </a:ln>
          <a:effectLst/>
          <a:scene3d>
            <a:camera prst="orthographicFront">
              <a:rot lat="0" lon="0" rev="0"/>
            </a:camera>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spcFirstLastPara="0" vert="horz" wrap="square" lIns="29143" tIns="23428" rIns="29143" bIns="23428" numCol="1" spcCol="1270" anchor="ctr" anchorCtr="0">
            <a:noAutofit/>
          </a:bodyPr>
          <a:lstStyle/>
          <a:p>
            <a:pPr marL="0" marR="0" lvl="0" indent="0" algn="ctr" defTabSz="400050" rtl="0" eaLnBrk="1" fontAlgn="auto" latinLnBrk="0" hangingPunct="1">
              <a:lnSpc>
                <a:spcPct val="90000"/>
              </a:lnSpc>
              <a:spcBef>
                <a:spcPts val="0"/>
              </a:spcBef>
              <a:spcAft>
                <a:spcPct val="35000"/>
              </a:spcAft>
              <a:buClrTx/>
              <a:buSzTx/>
              <a:buFontTx/>
              <a:buNone/>
              <a:tabLst/>
              <a:defRPr/>
            </a:pPr>
            <a:r>
              <a:rPr lang="en-US" sz="1100" b="1" kern="0">
                <a:solidFill>
                  <a:prstClr val="white"/>
                </a:solidFill>
              </a:rPr>
              <a:t>Assimilation of knowledge components</a:t>
            </a:r>
            <a:endParaRPr kumimoji="0" lang="en-US" sz="1100" b="1" i="0" u="none" strike="noStrike" kern="0" cap="none" spc="0" normalizeH="0" baseline="0" noProof="0">
              <a:ln>
                <a:noFill/>
              </a:ln>
              <a:solidFill>
                <a:prstClr val="white"/>
              </a:solidFill>
              <a:effectLst/>
              <a:uLnTx/>
              <a:uFillTx/>
              <a:ea typeface="+mn-ea"/>
              <a:cs typeface="+mn-cs"/>
            </a:endParaRPr>
          </a:p>
        </p:txBody>
      </p:sp>
      <p:sp>
        <p:nvSpPr>
          <p:cNvPr id="69" name="Isosceles Triangle 68">
            <a:extLst>
              <a:ext uri="{FF2B5EF4-FFF2-40B4-BE49-F238E27FC236}">
                <a16:creationId xmlns:a16="http://schemas.microsoft.com/office/drawing/2014/main" id="{5C4A707D-BD08-471B-B942-B63389BADC86}"/>
              </a:ext>
            </a:extLst>
          </p:cNvPr>
          <p:cNvSpPr/>
          <p:nvPr/>
        </p:nvSpPr>
        <p:spPr>
          <a:xfrm rot="5400000">
            <a:off x="5643229" y="1596404"/>
            <a:ext cx="359884" cy="286916"/>
          </a:xfrm>
          <a:prstGeom prst="triangle">
            <a:avLst/>
          </a:prstGeom>
          <a:solidFill>
            <a:srgbClr val="92D050"/>
          </a:solidFill>
          <a:ln w="28575"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200"/>
          </a:p>
        </p:txBody>
      </p:sp>
      <p:sp>
        <p:nvSpPr>
          <p:cNvPr id="70" name="Isosceles Triangle 69">
            <a:extLst>
              <a:ext uri="{FF2B5EF4-FFF2-40B4-BE49-F238E27FC236}">
                <a16:creationId xmlns:a16="http://schemas.microsoft.com/office/drawing/2014/main" id="{EF8BEF99-D924-40AF-969E-CD355990B61B}"/>
              </a:ext>
            </a:extLst>
          </p:cNvPr>
          <p:cNvSpPr/>
          <p:nvPr/>
        </p:nvSpPr>
        <p:spPr>
          <a:xfrm rot="5400000">
            <a:off x="7771628" y="1596404"/>
            <a:ext cx="359884" cy="286916"/>
          </a:xfrm>
          <a:prstGeom prst="triangle">
            <a:avLst/>
          </a:prstGeom>
          <a:solidFill>
            <a:srgbClr val="92D050"/>
          </a:solidFill>
          <a:ln w="28575"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200"/>
          </a:p>
        </p:txBody>
      </p:sp>
      <p:sp>
        <p:nvSpPr>
          <p:cNvPr id="71" name="TextBox 70">
            <a:extLst>
              <a:ext uri="{FF2B5EF4-FFF2-40B4-BE49-F238E27FC236}">
                <a16:creationId xmlns:a16="http://schemas.microsoft.com/office/drawing/2014/main" id="{E474A581-2979-48A6-9582-B11EFAEC7CE2}"/>
              </a:ext>
            </a:extLst>
          </p:cNvPr>
          <p:cNvSpPr txBox="1"/>
          <p:nvPr/>
        </p:nvSpPr>
        <p:spPr>
          <a:xfrm>
            <a:off x="9644190" y="1821125"/>
            <a:ext cx="2222124" cy="276999"/>
          </a:xfrm>
          <a:prstGeom prst="rect">
            <a:avLst/>
          </a:prstGeom>
          <a:noFill/>
        </p:spPr>
        <p:txBody>
          <a:bodyPr wrap="square">
            <a:spAutoFit/>
          </a:bodyPr>
          <a:lstStyle/>
          <a:p>
            <a:pPr algn="ctr"/>
            <a:r>
              <a:rPr kumimoji="0" lang="en-US" sz="1200" b="1" i="1" u="none" strike="noStrike" kern="1200" cap="none" spc="0" normalizeH="0" baseline="0" noProof="0">
                <a:ln>
                  <a:noFill/>
                </a:ln>
                <a:effectLst/>
                <a:uLnTx/>
                <a:uFillTx/>
                <a:ea typeface="Calibri" panose="020F0502020204030204" pitchFamily="34" charset="0"/>
                <a:cs typeface="Times New Roman" panose="02020603050405020304" pitchFamily="18" charset="0"/>
              </a:rPr>
              <a:t>Dependencies on Manulife</a:t>
            </a:r>
            <a:endParaRPr lang="en-IN" sz="1200"/>
          </a:p>
        </p:txBody>
      </p:sp>
      <p:sp>
        <p:nvSpPr>
          <p:cNvPr id="40" name="Oval 39">
            <a:extLst>
              <a:ext uri="{FF2B5EF4-FFF2-40B4-BE49-F238E27FC236}">
                <a16:creationId xmlns:a16="http://schemas.microsoft.com/office/drawing/2014/main" id="{566D850E-6390-4081-8C36-5A767B6E024A}"/>
              </a:ext>
            </a:extLst>
          </p:cNvPr>
          <p:cNvSpPr/>
          <p:nvPr/>
        </p:nvSpPr>
        <p:spPr>
          <a:xfrm>
            <a:off x="4288293" y="1187869"/>
            <a:ext cx="179882" cy="169260"/>
          </a:xfrm>
          <a:prstGeom prst="ellipse">
            <a:avLst/>
          </a:pr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200"/>
          </a:p>
        </p:txBody>
      </p:sp>
      <p:sp>
        <p:nvSpPr>
          <p:cNvPr id="41" name="TextBox 40">
            <a:extLst>
              <a:ext uri="{FF2B5EF4-FFF2-40B4-BE49-F238E27FC236}">
                <a16:creationId xmlns:a16="http://schemas.microsoft.com/office/drawing/2014/main" id="{12267375-8CB1-445A-9998-D85779F9FF2D}"/>
              </a:ext>
            </a:extLst>
          </p:cNvPr>
          <p:cNvSpPr txBox="1"/>
          <p:nvPr/>
        </p:nvSpPr>
        <p:spPr>
          <a:xfrm>
            <a:off x="4020649" y="951192"/>
            <a:ext cx="677882" cy="214292"/>
          </a:xfrm>
          <a:prstGeom prst="rect">
            <a:avLst/>
          </a:prstGeom>
          <a:noFill/>
        </p:spPr>
        <p:txBody>
          <a:bodyPr wrap="square" lIns="0" tIns="0" rIns="0" bIns="0" rtlCol="0">
            <a:noAutofit/>
          </a:bodyPr>
          <a:lstStyle/>
          <a:p>
            <a:pPr algn="l"/>
            <a:r>
              <a:rPr lang="en-US" sz="1200" b="1">
                <a:latin typeface="+mj-lt"/>
              </a:rPr>
              <a:t>Week 5</a:t>
            </a:r>
            <a:endParaRPr lang="en-IN" sz="1200" b="1">
              <a:latin typeface="+mj-lt"/>
            </a:endParaRPr>
          </a:p>
        </p:txBody>
      </p:sp>
      <p:sp>
        <p:nvSpPr>
          <p:cNvPr id="42" name="Oval 41">
            <a:extLst>
              <a:ext uri="{FF2B5EF4-FFF2-40B4-BE49-F238E27FC236}">
                <a16:creationId xmlns:a16="http://schemas.microsoft.com/office/drawing/2014/main" id="{EB3B6B8E-8BC3-4C13-95C4-A417A008F5BD}"/>
              </a:ext>
            </a:extLst>
          </p:cNvPr>
          <p:cNvSpPr/>
          <p:nvPr/>
        </p:nvSpPr>
        <p:spPr>
          <a:xfrm>
            <a:off x="4948473" y="1180649"/>
            <a:ext cx="179882" cy="169260"/>
          </a:xfrm>
          <a:prstGeom prst="ellipse">
            <a:avLst/>
          </a:pr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200"/>
          </a:p>
        </p:txBody>
      </p:sp>
      <p:sp>
        <p:nvSpPr>
          <p:cNvPr id="43" name="TextBox 42">
            <a:extLst>
              <a:ext uri="{FF2B5EF4-FFF2-40B4-BE49-F238E27FC236}">
                <a16:creationId xmlns:a16="http://schemas.microsoft.com/office/drawing/2014/main" id="{30D1B916-6506-4D86-9E06-467AA3AFAE74}"/>
              </a:ext>
            </a:extLst>
          </p:cNvPr>
          <p:cNvSpPr txBox="1"/>
          <p:nvPr/>
        </p:nvSpPr>
        <p:spPr>
          <a:xfrm>
            <a:off x="4783415" y="951192"/>
            <a:ext cx="745670" cy="214292"/>
          </a:xfrm>
          <a:prstGeom prst="rect">
            <a:avLst/>
          </a:prstGeom>
          <a:noFill/>
        </p:spPr>
        <p:txBody>
          <a:bodyPr wrap="square" lIns="0" tIns="0" rIns="0" bIns="0" rtlCol="0">
            <a:noAutofit/>
          </a:bodyPr>
          <a:lstStyle/>
          <a:p>
            <a:pPr algn="l"/>
            <a:r>
              <a:rPr lang="en-US" sz="1200" b="1">
                <a:latin typeface="+mj-lt"/>
              </a:rPr>
              <a:t>Week 6</a:t>
            </a:r>
            <a:endParaRPr lang="en-IN" sz="1200" b="1">
              <a:latin typeface="+mj-lt"/>
            </a:endParaRPr>
          </a:p>
        </p:txBody>
      </p:sp>
    </p:spTree>
    <p:extLst>
      <p:ext uri="{BB962C8B-B14F-4D97-AF65-F5344CB8AC3E}">
        <p14:creationId xmlns:p14="http://schemas.microsoft.com/office/powerpoint/2010/main" val="33191880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D95142F-8AE5-412F-BB51-203C6B94AF53}"/>
              </a:ext>
            </a:extLst>
          </p:cNvPr>
          <p:cNvSpPr>
            <a:spLocks noGrp="1"/>
          </p:cNvSpPr>
          <p:nvPr>
            <p:ph type="title"/>
          </p:nvPr>
        </p:nvSpPr>
        <p:spPr/>
        <p:txBody>
          <a:bodyPr/>
          <a:lstStyle/>
          <a:p>
            <a:r>
              <a:rPr lang="en-US"/>
              <a:t>Due Diligence – SLX Critical Areas </a:t>
            </a:r>
            <a:endParaRPr lang="en-GB"/>
          </a:p>
        </p:txBody>
      </p:sp>
      <p:graphicFrame>
        <p:nvGraphicFramePr>
          <p:cNvPr id="3" name="Table 4">
            <a:extLst>
              <a:ext uri="{FF2B5EF4-FFF2-40B4-BE49-F238E27FC236}">
                <a16:creationId xmlns:a16="http://schemas.microsoft.com/office/drawing/2014/main" id="{6B317F0A-9174-4692-9E8C-DDA94DC2015E}"/>
              </a:ext>
            </a:extLst>
          </p:cNvPr>
          <p:cNvGraphicFramePr>
            <a:graphicFrameLocks noGrp="1"/>
          </p:cNvGraphicFramePr>
          <p:nvPr>
            <p:extLst>
              <p:ext uri="{D42A27DB-BD31-4B8C-83A1-F6EECF244321}">
                <p14:modId xmlns:p14="http://schemas.microsoft.com/office/powerpoint/2010/main" val="2290214513"/>
              </p:ext>
            </p:extLst>
          </p:nvPr>
        </p:nvGraphicFramePr>
        <p:xfrm>
          <a:off x="449384" y="810846"/>
          <a:ext cx="11240654" cy="5455920"/>
        </p:xfrm>
        <a:graphic>
          <a:graphicData uri="http://schemas.openxmlformats.org/drawingml/2006/table">
            <a:tbl>
              <a:tblPr firstRow="1" bandRow="1">
                <a:tableStyleId>{5C22544A-7EE6-4342-B048-85BDC9FD1C3A}</a:tableStyleId>
              </a:tblPr>
              <a:tblGrid>
                <a:gridCol w="11240654">
                  <a:extLst>
                    <a:ext uri="{9D8B030D-6E8A-4147-A177-3AD203B41FA5}">
                      <a16:colId xmlns:a16="http://schemas.microsoft.com/office/drawing/2014/main" val="4276845619"/>
                    </a:ext>
                  </a:extLst>
                </a:gridCol>
              </a:tblGrid>
              <a:tr h="329815">
                <a:tc>
                  <a:txBody>
                    <a:bodyPr/>
                    <a:lstStyle/>
                    <a:p>
                      <a:pPr algn="ctr"/>
                      <a:r>
                        <a:rPr lang="en-US" sz="1600" dirty="0"/>
                        <a:t>S</a:t>
                      </a:r>
                      <a:r>
                        <a:rPr lang="en-IN" sz="1600" dirty="0"/>
                        <a:t>ample due diligence questions</a:t>
                      </a:r>
                    </a:p>
                  </a:txBody>
                  <a:tcPr>
                    <a:solidFill>
                      <a:srgbClr val="0070C0"/>
                    </a:solidFill>
                  </a:tcPr>
                </a:tc>
                <a:extLst>
                  <a:ext uri="{0D108BD9-81ED-4DB2-BD59-A6C34878D82A}">
                    <a16:rowId xmlns:a16="http://schemas.microsoft.com/office/drawing/2014/main" val="3501307768"/>
                  </a:ext>
                </a:extLst>
              </a:tr>
              <a:tr h="4994343">
                <a:tc>
                  <a:txBody>
                    <a:bodyPr/>
                    <a:lstStyle/>
                    <a:p>
                      <a:pPr marL="228600" marR="0" lvl="0" indent="-228600" algn="l" rtl="0" eaLnBrk="1" fontAlgn="auto" latinLnBrk="0" hangingPunct="1">
                        <a:lnSpc>
                          <a:spcPct val="100000"/>
                        </a:lnSpc>
                        <a:spcBef>
                          <a:spcPts val="600"/>
                        </a:spcBef>
                        <a:spcAft>
                          <a:spcPts val="0"/>
                        </a:spcAft>
                        <a:buClrTx/>
                        <a:buSzTx/>
                        <a:buFont typeface="+mj-lt"/>
                        <a:buAutoNum type="arabicPeriod"/>
                      </a:pPr>
                      <a:r>
                        <a:rPr lang="en-IN" sz="1200" b="0" i="0" kern="1200" noProof="0" dirty="0">
                          <a:solidFill>
                            <a:schemeClr val="dk1"/>
                          </a:solidFill>
                          <a:effectLst/>
                          <a:latin typeface="+mn-lt"/>
                          <a:ea typeface="+mn-ea"/>
                          <a:cs typeface="+mn-cs"/>
                        </a:rPr>
                        <a:t>Manulife have any preference/</a:t>
                      </a:r>
                      <a:r>
                        <a:rPr lang="en-IN" sz="1200" b="1" i="0" kern="1200" noProof="0" dirty="0">
                          <a:solidFill>
                            <a:schemeClr val="accent1">
                              <a:lumMod val="75000"/>
                            </a:schemeClr>
                          </a:solidFill>
                          <a:effectLst/>
                          <a:latin typeface="+mn-lt"/>
                          <a:ea typeface="+mn-ea"/>
                          <a:cs typeface="+mn-cs"/>
                        </a:rPr>
                        <a:t>sequencing </a:t>
                      </a:r>
                      <a:r>
                        <a:rPr lang="en-IN" sz="1200" b="0" i="0" kern="1200" noProof="0" dirty="0">
                          <a:solidFill>
                            <a:schemeClr val="dk1"/>
                          </a:solidFill>
                          <a:effectLst/>
                          <a:latin typeface="+mn-lt"/>
                          <a:ea typeface="+mn-ea"/>
                          <a:cs typeface="+mn-cs"/>
                        </a:rPr>
                        <a:t>to be considered for implementing functionality in MPS? Estimations and schedule will have an impact if the phases 1-4 are not in the recommended order.</a:t>
                      </a:r>
                      <a:endParaRPr lang="en-IN" sz="1200" b="0" i="0" kern="1200" dirty="0">
                        <a:solidFill>
                          <a:schemeClr val="dk1"/>
                        </a:solidFill>
                        <a:effectLst/>
                        <a:latin typeface="+mn-lt"/>
                        <a:ea typeface="+mn-ea"/>
                        <a:cs typeface="+mn-cs"/>
                      </a:endParaRPr>
                    </a:p>
                    <a:p>
                      <a:pPr marL="228600" marR="0" lvl="0" indent="-228600" algn="l" defTabSz="1219170" rtl="0" eaLnBrk="1" fontAlgn="auto" latinLnBrk="0" hangingPunct="1">
                        <a:lnSpc>
                          <a:spcPct val="100000"/>
                        </a:lnSpc>
                        <a:spcBef>
                          <a:spcPts val="600"/>
                        </a:spcBef>
                        <a:spcAft>
                          <a:spcPts val="0"/>
                        </a:spcAft>
                        <a:buClrTx/>
                        <a:buSzTx/>
                        <a:buFont typeface="+mj-lt"/>
                        <a:buAutoNum type="arabicPeriod"/>
                        <a:tabLst/>
                        <a:defRPr/>
                      </a:pPr>
                      <a:r>
                        <a:rPr lang="en-IN" sz="1200" b="0" i="0" kern="1200" noProof="0" dirty="0">
                          <a:solidFill>
                            <a:schemeClr val="dk1"/>
                          </a:solidFill>
                          <a:effectLst/>
                          <a:latin typeface="+mn-lt"/>
                          <a:ea typeface="+mn-ea"/>
                          <a:cs typeface="+mn-cs"/>
                        </a:rPr>
                        <a:t>Is there any preference in data migration (Phased approach by Product, features, etc) ?</a:t>
                      </a:r>
                      <a:endParaRPr lang="en-IN" sz="1200" b="0" i="0" kern="1200" dirty="0">
                        <a:solidFill>
                          <a:schemeClr val="dk1"/>
                        </a:solidFill>
                        <a:effectLst/>
                        <a:latin typeface="+mn-lt"/>
                        <a:ea typeface="+mn-ea"/>
                        <a:cs typeface="+mn-cs"/>
                      </a:endParaRPr>
                    </a:p>
                    <a:p>
                      <a:pPr marL="228600" marR="0" lvl="0" indent="-228600" algn="l" rtl="0" eaLnBrk="1" fontAlgn="auto" latinLnBrk="0" hangingPunct="1">
                        <a:lnSpc>
                          <a:spcPct val="100000"/>
                        </a:lnSpc>
                        <a:spcBef>
                          <a:spcPts val="600"/>
                        </a:spcBef>
                        <a:spcAft>
                          <a:spcPts val="0"/>
                        </a:spcAft>
                        <a:buClrTx/>
                        <a:buSzTx/>
                        <a:buFont typeface="+mj-lt"/>
                        <a:buAutoNum type="arabicPeriod"/>
                      </a:pPr>
                      <a:r>
                        <a:rPr lang="en-IN" sz="1200" b="0" i="0" kern="1200" noProof="0" dirty="0">
                          <a:solidFill>
                            <a:schemeClr val="dk1"/>
                          </a:solidFill>
                          <a:effectLst/>
                          <a:latin typeface="+mn-lt"/>
                          <a:ea typeface="+mn-ea"/>
                          <a:cs typeface="+mn-cs"/>
                        </a:rPr>
                        <a:t>When will Manulife have the </a:t>
                      </a:r>
                      <a:r>
                        <a:rPr lang="en-IN" sz="1200" b="1" i="0" kern="1200" noProof="0" dirty="0">
                          <a:solidFill>
                            <a:schemeClr val="accent1">
                              <a:lumMod val="75000"/>
                            </a:schemeClr>
                          </a:solidFill>
                          <a:effectLst/>
                          <a:latin typeface="+mn-lt"/>
                          <a:ea typeface="+mn-ea"/>
                          <a:cs typeface="+mn-cs"/>
                        </a:rPr>
                        <a:t>Conversion/confirmation</a:t>
                      </a:r>
                      <a:r>
                        <a:rPr lang="en-IN" sz="1200" b="0" i="0" kern="1200" noProof="0" dirty="0">
                          <a:solidFill>
                            <a:schemeClr val="dk1"/>
                          </a:solidFill>
                          <a:effectLst/>
                          <a:latin typeface="+mn-lt"/>
                          <a:ea typeface="+mn-ea"/>
                          <a:cs typeface="+mn-cs"/>
                        </a:rPr>
                        <a:t> from client/plan sponsor to migrate into MPS product. </a:t>
                      </a:r>
                    </a:p>
                    <a:p>
                      <a:pPr marL="228600" marR="0" lvl="0" indent="-228600" algn="l" rtl="0" eaLnBrk="1" fontAlgn="auto" latinLnBrk="0" hangingPunct="1">
                        <a:lnSpc>
                          <a:spcPct val="100000"/>
                        </a:lnSpc>
                        <a:spcBef>
                          <a:spcPts val="600"/>
                        </a:spcBef>
                        <a:spcAft>
                          <a:spcPts val="0"/>
                        </a:spcAft>
                        <a:buClrTx/>
                        <a:buSzTx/>
                        <a:buFont typeface="+mj-lt"/>
                        <a:buAutoNum type="arabicPeriod"/>
                      </a:pPr>
                      <a:r>
                        <a:rPr lang="en-IN" sz="1200" b="0" i="0" kern="1200" noProof="0" dirty="0">
                          <a:solidFill>
                            <a:schemeClr val="dk1"/>
                          </a:solidFill>
                          <a:effectLst/>
                          <a:latin typeface="+mn-lt"/>
                          <a:ea typeface="+mn-ea"/>
                          <a:cs typeface="+mn-cs"/>
                        </a:rPr>
                        <a:t>Will SLX client/plan already exist in MPS? Do we need to </a:t>
                      </a:r>
                      <a:r>
                        <a:rPr lang="en-IN" sz="1200" b="1" i="0" kern="1200" noProof="0" dirty="0">
                          <a:solidFill>
                            <a:schemeClr val="accent1">
                              <a:lumMod val="75000"/>
                            </a:schemeClr>
                          </a:solidFill>
                          <a:effectLst/>
                          <a:latin typeface="+mn-lt"/>
                          <a:ea typeface="+mn-ea"/>
                          <a:cs typeface="+mn-cs"/>
                        </a:rPr>
                        <a:t>merge </a:t>
                      </a:r>
                      <a:r>
                        <a:rPr lang="en-IN" sz="1200" b="0" i="0" kern="1200" noProof="0" dirty="0">
                          <a:solidFill>
                            <a:schemeClr val="dk1"/>
                          </a:solidFill>
                          <a:effectLst/>
                          <a:latin typeface="+mn-lt"/>
                          <a:ea typeface="+mn-ea"/>
                          <a:cs typeface="+mn-cs"/>
                        </a:rPr>
                        <a:t>or </a:t>
                      </a:r>
                      <a:r>
                        <a:rPr lang="en-IN" sz="1200" b="1" i="0" kern="1200" noProof="0" dirty="0">
                          <a:solidFill>
                            <a:schemeClr val="accent1">
                              <a:lumMod val="75000"/>
                            </a:schemeClr>
                          </a:solidFill>
                          <a:effectLst/>
                          <a:latin typeface="+mn-lt"/>
                          <a:ea typeface="+mn-ea"/>
                          <a:cs typeface="+mn-cs"/>
                        </a:rPr>
                        <a:t>create</a:t>
                      </a:r>
                      <a:r>
                        <a:rPr lang="en-IN" sz="1200" b="0" i="0" kern="1200" noProof="0" dirty="0">
                          <a:solidFill>
                            <a:schemeClr val="dk1"/>
                          </a:solidFill>
                          <a:effectLst/>
                          <a:latin typeface="+mn-lt"/>
                          <a:ea typeface="+mn-ea"/>
                          <a:cs typeface="+mn-cs"/>
                        </a:rPr>
                        <a:t> second plan on MPS? </a:t>
                      </a:r>
                    </a:p>
                    <a:p>
                      <a:pPr marL="228600" marR="0" lvl="0" indent="-228600" algn="l" defTabSz="1219170" rtl="0" eaLnBrk="1" fontAlgn="auto" latinLnBrk="0" hangingPunct="1">
                        <a:lnSpc>
                          <a:spcPct val="100000"/>
                        </a:lnSpc>
                        <a:spcBef>
                          <a:spcPts val="600"/>
                        </a:spcBef>
                        <a:spcAft>
                          <a:spcPts val="0"/>
                        </a:spcAft>
                        <a:buClrTx/>
                        <a:buSzTx/>
                        <a:buFont typeface="+mj-lt"/>
                        <a:buAutoNum type="arabicPeriod"/>
                        <a:tabLst/>
                        <a:defRPr/>
                      </a:pPr>
                      <a:r>
                        <a:rPr lang="en-IN" sz="1200" b="0" i="0" kern="1200" noProof="0" dirty="0">
                          <a:solidFill>
                            <a:schemeClr val="dk1"/>
                          </a:solidFill>
                          <a:effectLst/>
                          <a:latin typeface="+mn-lt"/>
                          <a:ea typeface="+mn-ea"/>
                          <a:cs typeface="+mn-cs"/>
                        </a:rPr>
                        <a:t>Are there any application updates/enhancements to support </a:t>
                      </a:r>
                      <a:r>
                        <a:rPr lang="en-IN" sz="1200" b="1" i="0" kern="1200" noProof="0" dirty="0">
                          <a:solidFill>
                            <a:schemeClr val="accent1">
                              <a:lumMod val="75000"/>
                            </a:schemeClr>
                          </a:solidFill>
                          <a:effectLst/>
                          <a:latin typeface="+mn-lt"/>
                          <a:ea typeface="+mn-ea"/>
                          <a:cs typeface="+mn-cs"/>
                        </a:rPr>
                        <a:t>single view of multiple plans </a:t>
                      </a:r>
                      <a:r>
                        <a:rPr lang="en-IN" sz="1200" b="0" i="0" kern="1200" noProof="0" dirty="0">
                          <a:solidFill>
                            <a:schemeClr val="dk1"/>
                          </a:solidFill>
                          <a:effectLst/>
                          <a:latin typeface="+mn-lt"/>
                          <a:ea typeface="+mn-ea"/>
                          <a:cs typeface="+mn-cs"/>
                        </a:rPr>
                        <a:t>for same plan sponsor or participant ?</a:t>
                      </a:r>
                    </a:p>
                    <a:p>
                      <a:pPr marL="228600" marR="0" lvl="0" indent="-228600" algn="l" defTabSz="1219170" rtl="0" eaLnBrk="1" fontAlgn="auto" latinLnBrk="0" hangingPunct="1">
                        <a:lnSpc>
                          <a:spcPct val="100000"/>
                        </a:lnSpc>
                        <a:spcBef>
                          <a:spcPts val="600"/>
                        </a:spcBef>
                        <a:spcAft>
                          <a:spcPts val="0"/>
                        </a:spcAft>
                        <a:buClrTx/>
                        <a:buSzTx/>
                        <a:buFont typeface="+mj-lt"/>
                        <a:buAutoNum type="arabicPeriod"/>
                        <a:tabLst/>
                        <a:defRPr/>
                      </a:pPr>
                      <a:r>
                        <a:rPr lang="en-IN" sz="1200" b="0" i="0" kern="1200" noProof="0" dirty="0">
                          <a:solidFill>
                            <a:schemeClr val="dk1"/>
                          </a:solidFill>
                          <a:effectLst/>
                          <a:latin typeface="+mn-lt"/>
                          <a:ea typeface="+mn-ea"/>
                          <a:cs typeface="+mn-cs"/>
                        </a:rPr>
                        <a:t>SLX and MPS : application architecture :</a:t>
                      </a:r>
                    </a:p>
                    <a:p>
                      <a:pPr marL="837565" marR="0" lvl="1" indent="-228600" algn="l" defTabSz="1219170" rtl="0" eaLnBrk="1" fontAlgn="auto" latinLnBrk="0" hangingPunct="1">
                        <a:lnSpc>
                          <a:spcPct val="100000"/>
                        </a:lnSpc>
                        <a:spcBef>
                          <a:spcPts val="600"/>
                        </a:spcBef>
                        <a:spcAft>
                          <a:spcPts val="0"/>
                        </a:spcAft>
                        <a:buClrTx/>
                        <a:buSzTx/>
                        <a:buFont typeface="Wingdings"/>
                        <a:buChar char="q"/>
                        <a:tabLst/>
                        <a:defRPr/>
                      </a:pPr>
                      <a:r>
                        <a:rPr lang="en-IN" sz="1200" b="0" i="0" kern="1200" noProof="0" dirty="0">
                          <a:solidFill>
                            <a:schemeClr val="dk1"/>
                          </a:solidFill>
                          <a:effectLst/>
                          <a:latin typeface="+mn-lt"/>
                          <a:ea typeface="+mn-ea"/>
                          <a:cs typeface="+mn-cs"/>
                        </a:rPr>
                        <a:t>SLX Product to MPS Product mapping and SLX Product to </a:t>
                      </a:r>
                      <a:r>
                        <a:rPr lang="en-IN" sz="1200" b="1" i="0" kern="1200" noProof="0" dirty="0">
                          <a:solidFill>
                            <a:schemeClr val="accent1">
                              <a:lumMod val="75000"/>
                            </a:schemeClr>
                          </a:solidFill>
                          <a:effectLst/>
                          <a:latin typeface="+mn-lt"/>
                          <a:ea typeface="+mn-ea"/>
                          <a:cs typeface="+mn-cs"/>
                        </a:rPr>
                        <a:t>MPS Data, product &amp;  features</a:t>
                      </a:r>
                      <a:r>
                        <a:rPr lang="en-IN" sz="1200" b="0" i="0" kern="1200" noProof="0" dirty="0">
                          <a:solidFill>
                            <a:schemeClr val="dk1"/>
                          </a:solidFill>
                          <a:effectLst/>
                          <a:latin typeface="+mn-lt"/>
                          <a:ea typeface="+mn-ea"/>
                          <a:cs typeface="+mn-cs"/>
                        </a:rPr>
                        <a:t>.</a:t>
                      </a:r>
                      <a:endParaRPr lang="en-US" sz="1200" b="0" i="0" kern="1200" dirty="0">
                        <a:solidFill>
                          <a:schemeClr val="dk1"/>
                        </a:solidFill>
                        <a:effectLst/>
                        <a:latin typeface="+mn-lt"/>
                        <a:ea typeface="+mn-ea"/>
                        <a:cs typeface="+mn-cs"/>
                      </a:endParaRPr>
                    </a:p>
                    <a:p>
                      <a:pPr marL="228600" marR="0" lvl="0" indent="-228600" algn="l" defTabSz="1219170" rtl="0" eaLnBrk="1" fontAlgn="auto" latinLnBrk="0" hangingPunct="1">
                        <a:lnSpc>
                          <a:spcPct val="100000"/>
                        </a:lnSpc>
                        <a:spcBef>
                          <a:spcPts val="600"/>
                        </a:spcBef>
                        <a:spcAft>
                          <a:spcPts val="0"/>
                        </a:spcAft>
                        <a:buClrTx/>
                        <a:buSzTx/>
                        <a:buFont typeface="+mj-lt"/>
                        <a:buAutoNum type="arabicPeriod"/>
                        <a:tabLst/>
                        <a:defRPr/>
                      </a:pPr>
                      <a:r>
                        <a:rPr lang="en-IN" sz="1200" b="0" i="0" kern="1200" noProof="0" dirty="0">
                          <a:solidFill>
                            <a:schemeClr val="dk1"/>
                          </a:solidFill>
                          <a:effectLst/>
                          <a:latin typeface="+mn-lt"/>
                          <a:ea typeface="+mn-ea"/>
                          <a:cs typeface="+mn-cs"/>
                        </a:rPr>
                        <a:t>Mapping of SLX data fields in MPS system and mapping to business workflow. This will resolve any data mapping and data conversion issues.</a:t>
                      </a:r>
                    </a:p>
                    <a:p>
                      <a:pPr marL="228600" marR="0" lvl="0" indent="-228600" algn="l" defTabSz="1219170" rtl="0" eaLnBrk="1" fontAlgn="auto" latinLnBrk="0" hangingPunct="1">
                        <a:lnSpc>
                          <a:spcPct val="100000"/>
                        </a:lnSpc>
                        <a:spcBef>
                          <a:spcPts val="600"/>
                        </a:spcBef>
                        <a:spcAft>
                          <a:spcPts val="0"/>
                        </a:spcAft>
                        <a:buClrTx/>
                        <a:buSzTx/>
                        <a:buFont typeface="+mj-lt"/>
                        <a:buAutoNum type="arabicPeriod"/>
                        <a:tabLst/>
                        <a:defRPr/>
                      </a:pPr>
                      <a:r>
                        <a:rPr lang="en-IN" sz="1200" b="0" i="0" kern="1200" noProof="0" dirty="0">
                          <a:solidFill>
                            <a:schemeClr val="dk1"/>
                          </a:solidFill>
                          <a:effectLst/>
                          <a:latin typeface="+mn-lt"/>
                          <a:ea typeface="+mn-ea"/>
                          <a:cs typeface="+mn-cs"/>
                        </a:rPr>
                        <a:t>Can we leverage the SLX &amp; MPS </a:t>
                      </a:r>
                      <a:r>
                        <a:rPr lang="en-IN" sz="1200" b="1" i="0" kern="1200" noProof="0" dirty="0">
                          <a:solidFill>
                            <a:schemeClr val="accent1">
                              <a:lumMod val="75000"/>
                            </a:schemeClr>
                          </a:solidFill>
                          <a:effectLst/>
                          <a:latin typeface="+mn-lt"/>
                          <a:ea typeface="+mn-ea"/>
                          <a:cs typeface="+mn-cs"/>
                        </a:rPr>
                        <a:t>demo account</a:t>
                      </a:r>
                      <a:r>
                        <a:rPr lang="en-IN" sz="1200" b="0" i="0" kern="1200" noProof="0" dirty="0">
                          <a:solidFill>
                            <a:schemeClr val="dk1"/>
                          </a:solidFill>
                          <a:effectLst/>
                          <a:latin typeface="+mn-lt"/>
                          <a:ea typeface="+mn-ea"/>
                          <a:cs typeface="+mn-cs"/>
                        </a:rPr>
                        <a:t> for migration and </a:t>
                      </a:r>
                      <a:r>
                        <a:rPr lang="en-IN" sz="1200" b="1" i="0" kern="1200" noProof="0" dirty="0">
                          <a:solidFill>
                            <a:schemeClr val="accent1">
                              <a:lumMod val="75000"/>
                            </a:schemeClr>
                          </a:solidFill>
                          <a:effectLst/>
                          <a:latin typeface="+mn-lt"/>
                          <a:ea typeface="+mn-ea"/>
                          <a:cs typeface="+mn-cs"/>
                        </a:rPr>
                        <a:t>production validation testing</a:t>
                      </a:r>
                      <a:r>
                        <a:rPr lang="en-IN" sz="1200" b="0" i="0" kern="1200" noProof="0" dirty="0">
                          <a:solidFill>
                            <a:schemeClr val="dk1"/>
                          </a:solidFill>
                          <a:effectLst/>
                          <a:latin typeface="+mn-lt"/>
                          <a:ea typeface="+mn-ea"/>
                          <a:cs typeface="+mn-cs"/>
                        </a:rPr>
                        <a:t>, before migrating actual customer (for each product).</a:t>
                      </a:r>
                    </a:p>
                    <a:p>
                      <a:pPr marL="228600" marR="0" lvl="0" indent="-228600" algn="l" rtl="0" eaLnBrk="1" fontAlgn="auto" latinLnBrk="0" hangingPunct="1">
                        <a:lnSpc>
                          <a:spcPct val="100000"/>
                        </a:lnSpc>
                        <a:spcBef>
                          <a:spcPts val="600"/>
                        </a:spcBef>
                        <a:spcAft>
                          <a:spcPts val="0"/>
                        </a:spcAft>
                        <a:buClrTx/>
                        <a:buSzTx/>
                        <a:buFont typeface="+mj-lt"/>
                        <a:buAutoNum type="arabicPeriod"/>
                      </a:pPr>
                      <a:r>
                        <a:rPr lang="en-IN" sz="1200" b="0" i="0" kern="1200" noProof="0" dirty="0">
                          <a:solidFill>
                            <a:schemeClr val="dk1"/>
                          </a:solidFill>
                          <a:effectLst/>
                          <a:latin typeface="+mn-lt"/>
                          <a:ea typeface="+mn-ea"/>
                          <a:cs typeface="+mn-cs"/>
                        </a:rPr>
                        <a:t>Mapping of Up/downstream applications from MPS and any co-ordination with vendor required. </a:t>
                      </a:r>
                    </a:p>
                    <a:p>
                      <a:pPr marL="228600" marR="0" lvl="0" indent="-228600" algn="l" defTabSz="1219170" rtl="0" eaLnBrk="1" fontAlgn="auto" latinLnBrk="0" hangingPunct="1">
                        <a:lnSpc>
                          <a:spcPct val="100000"/>
                        </a:lnSpc>
                        <a:spcBef>
                          <a:spcPts val="600"/>
                        </a:spcBef>
                        <a:spcAft>
                          <a:spcPts val="0"/>
                        </a:spcAft>
                        <a:buClrTx/>
                        <a:buSzTx/>
                        <a:buFont typeface="+mj-lt"/>
                        <a:buAutoNum type="arabicPeriod"/>
                        <a:tabLst/>
                        <a:defRPr/>
                      </a:pPr>
                      <a:r>
                        <a:rPr lang="en-IN" sz="1200" b="0" i="0" kern="1200" noProof="0" dirty="0">
                          <a:solidFill>
                            <a:schemeClr val="dk1"/>
                          </a:solidFill>
                          <a:effectLst/>
                          <a:latin typeface="+mn-lt"/>
                          <a:ea typeface="+mn-ea"/>
                          <a:cs typeface="+mn-cs"/>
                        </a:rPr>
                        <a:t>Need to setup : Dev, QA and Stage environments with 25% of production volume.</a:t>
                      </a:r>
                    </a:p>
                    <a:p>
                      <a:pPr marL="228600" marR="0" lvl="0" indent="-228600" algn="l" defTabSz="1219170" rtl="0" eaLnBrk="1" fontAlgn="auto" latinLnBrk="0" hangingPunct="1">
                        <a:lnSpc>
                          <a:spcPct val="100000"/>
                        </a:lnSpc>
                        <a:spcBef>
                          <a:spcPts val="600"/>
                        </a:spcBef>
                        <a:spcAft>
                          <a:spcPts val="0"/>
                        </a:spcAft>
                        <a:buClrTx/>
                        <a:buSzTx/>
                        <a:buFont typeface="+mj-lt"/>
                        <a:buAutoNum type="arabicPeriod"/>
                        <a:tabLst/>
                        <a:defRPr/>
                      </a:pPr>
                      <a:r>
                        <a:rPr lang="en-IN" sz="1200" b="0" i="0" kern="1200" noProof="0" dirty="0">
                          <a:solidFill>
                            <a:schemeClr val="dk1"/>
                          </a:solidFill>
                          <a:effectLst/>
                          <a:latin typeface="+mn-lt"/>
                          <a:ea typeface="+mn-ea"/>
                          <a:cs typeface="+mn-cs"/>
                        </a:rPr>
                        <a:t>Need to setup (masked) production volume data in stage/test region for performance testing.</a:t>
                      </a:r>
                      <a:endParaRPr lang="en-IN" sz="1200" b="0" i="0" kern="1200" dirty="0">
                        <a:solidFill>
                          <a:schemeClr val="dk1"/>
                        </a:solidFill>
                        <a:effectLst/>
                        <a:latin typeface="+mn-lt"/>
                        <a:ea typeface="+mn-ea"/>
                        <a:cs typeface="+mn-cs"/>
                      </a:endParaRPr>
                    </a:p>
                    <a:p>
                      <a:pPr marL="228600" marR="0" lvl="0" indent="-228600" algn="l" rtl="0" eaLnBrk="1" fontAlgn="auto" latinLnBrk="0" hangingPunct="1">
                        <a:lnSpc>
                          <a:spcPct val="100000"/>
                        </a:lnSpc>
                        <a:spcBef>
                          <a:spcPts val="600"/>
                        </a:spcBef>
                        <a:spcAft>
                          <a:spcPts val="0"/>
                        </a:spcAft>
                        <a:buClrTx/>
                        <a:buSzTx/>
                        <a:buFont typeface="+mj-lt"/>
                        <a:buAutoNum type="arabicPeriod"/>
                      </a:pPr>
                      <a:r>
                        <a:rPr lang="en-IN" sz="1200" b="0" i="0" kern="1200" noProof="0" dirty="0">
                          <a:solidFill>
                            <a:schemeClr val="dk1"/>
                          </a:solidFill>
                          <a:effectLst/>
                          <a:latin typeface="+mn-lt"/>
                          <a:ea typeface="+mn-ea"/>
                          <a:cs typeface="+mn-cs"/>
                        </a:rPr>
                        <a:t>Do we have </a:t>
                      </a:r>
                      <a:r>
                        <a:rPr lang="en-IN" sz="1200" b="1" i="0" kern="1200" noProof="0" dirty="0">
                          <a:solidFill>
                            <a:schemeClr val="accent1">
                              <a:lumMod val="75000"/>
                            </a:schemeClr>
                          </a:solidFill>
                          <a:effectLst/>
                          <a:latin typeface="+mn-lt"/>
                          <a:ea typeface="+mn-ea"/>
                          <a:cs typeface="+mn-cs"/>
                        </a:rPr>
                        <a:t>masked test data</a:t>
                      </a:r>
                      <a:r>
                        <a:rPr lang="en-IN" sz="1200" b="0" i="0" kern="1200" noProof="0" dirty="0">
                          <a:solidFill>
                            <a:schemeClr val="dk1"/>
                          </a:solidFill>
                          <a:effectLst/>
                          <a:latin typeface="+mn-lt"/>
                          <a:ea typeface="+mn-ea"/>
                          <a:cs typeface="+mn-cs"/>
                        </a:rPr>
                        <a:t> available for on/offshore to work on? </a:t>
                      </a:r>
                      <a:endParaRPr lang="en-IN" sz="1200" b="0" i="0" kern="1200" dirty="0">
                        <a:solidFill>
                          <a:schemeClr val="dk1"/>
                        </a:solidFill>
                        <a:effectLst/>
                        <a:latin typeface="+mn-lt"/>
                        <a:ea typeface="+mn-ea"/>
                        <a:cs typeface="+mn-cs"/>
                      </a:endParaRPr>
                    </a:p>
                    <a:p>
                      <a:pPr marL="228600" marR="0" lvl="0" indent="-228600" algn="l" defTabSz="1219170" rtl="0" eaLnBrk="1" fontAlgn="auto" latinLnBrk="0" hangingPunct="1">
                        <a:lnSpc>
                          <a:spcPct val="100000"/>
                        </a:lnSpc>
                        <a:spcBef>
                          <a:spcPts val="600"/>
                        </a:spcBef>
                        <a:spcAft>
                          <a:spcPts val="0"/>
                        </a:spcAft>
                        <a:buClrTx/>
                        <a:buSzTx/>
                        <a:buFont typeface="+mj-lt"/>
                        <a:buAutoNum type="arabicPeriod"/>
                        <a:tabLst/>
                        <a:defRPr/>
                      </a:pPr>
                      <a:r>
                        <a:rPr lang="en-IN" sz="1200" b="0" i="0" kern="1200" noProof="0" dirty="0">
                          <a:solidFill>
                            <a:schemeClr val="dk1"/>
                          </a:solidFill>
                          <a:effectLst/>
                          <a:latin typeface="+mn-lt"/>
                          <a:ea typeface="+mn-ea"/>
                          <a:cs typeface="+mn-cs"/>
                        </a:rPr>
                        <a:t>Details of Regression, performance testing and application coverage</a:t>
                      </a:r>
                    </a:p>
                    <a:p>
                      <a:pPr marL="228600" marR="0" lvl="0" indent="-228600" algn="l" rtl="0" eaLnBrk="1" fontAlgn="auto" latinLnBrk="0" hangingPunct="1">
                        <a:lnSpc>
                          <a:spcPct val="100000"/>
                        </a:lnSpc>
                        <a:spcBef>
                          <a:spcPts val="600"/>
                        </a:spcBef>
                        <a:spcAft>
                          <a:spcPts val="0"/>
                        </a:spcAft>
                        <a:buClrTx/>
                        <a:buSzTx/>
                        <a:buFont typeface="+mj-lt"/>
                        <a:buAutoNum type="arabicPeriod"/>
                      </a:pPr>
                      <a:r>
                        <a:rPr lang="en-IN" sz="1200" b="0" i="0" kern="1200" noProof="0" dirty="0">
                          <a:solidFill>
                            <a:schemeClr val="dk1"/>
                          </a:solidFill>
                          <a:effectLst/>
                          <a:latin typeface="+mn-lt"/>
                          <a:ea typeface="+mn-ea"/>
                          <a:cs typeface="+mn-cs"/>
                        </a:rPr>
                        <a:t>Access any current challenge with </a:t>
                      </a:r>
                      <a:r>
                        <a:rPr lang="en-IN" sz="1200" b="1" i="0" kern="1200" noProof="0" dirty="0">
                          <a:solidFill>
                            <a:schemeClr val="accent1">
                              <a:lumMod val="75000"/>
                            </a:schemeClr>
                          </a:solidFill>
                          <a:effectLst/>
                          <a:latin typeface="+mn-lt"/>
                          <a:ea typeface="+mn-ea"/>
                          <a:cs typeface="+mn-cs"/>
                        </a:rPr>
                        <a:t>performance of MPS</a:t>
                      </a:r>
                      <a:r>
                        <a:rPr lang="en-IN" sz="1200" b="0" i="0" kern="1200" noProof="0" dirty="0">
                          <a:solidFill>
                            <a:schemeClr val="dk1"/>
                          </a:solidFill>
                          <a:effectLst/>
                          <a:latin typeface="+mn-lt"/>
                          <a:ea typeface="+mn-ea"/>
                          <a:cs typeface="+mn-cs"/>
                        </a:rPr>
                        <a:t> applications or databases? </a:t>
                      </a:r>
                    </a:p>
                    <a:p>
                      <a:pPr marL="228600" marR="0" lvl="0" indent="-228600" algn="l" defTabSz="1219170" rtl="0" eaLnBrk="1" fontAlgn="auto" latinLnBrk="0" hangingPunct="1">
                        <a:lnSpc>
                          <a:spcPct val="100000"/>
                        </a:lnSpc>
                        <a:spcBef>
                          <a:spcPts val="600"/>
                        </a:spcBef>
                        <a:spcAft>
                          <a:spcPts val="0"/>
                        </a:spcAft>
                        <a:buClrTx/>
                        <a:buSzTx/>
                        <a:buFont typeface="+mj-lt"/>
                        <a:buAutoNum type="arabicPeriod"/>
                        <a:tabLst/>
                        <a:defRPr/>
                      </a:pPr>
                      <a:r>
                        <a:rPr lang="en-IN" sz="1200" b="0" i="0" kern="1200" noProof="0" dirty="0">
                          <a:solidFill>
                            <a:schemeClr val="dk1"/>
                          </a:solidFill>
                          <a:effectLst/>
                          <a:latin typeface="+mn-lt"/>
                          <a:ea typeface="+mn-ea"/>
                          <a:cs typeface="+mn-cs"/>
                        </a:rPr>
                        <a:t>Access to SLX/MPS DB for detailed analysis or Detailed DB Architecture including ER relationship diagram , DB stats , DB objects , entities.</a:t>
                      </a:r>
                    </a:p>
                    <a:p>
                      <a:pPr marL="228600" marR="0" lvl="0" indent="-228600" algn="l" defTabSz="1219170" rtl="0" eaLnBrk="1" fontAlgn="auto" latinLnBrk="0" hangingPunct="1">
                        <a:lnSpc>
                          <a:spcPct val="100000"/>
                        </a:lnSpc>
                        <a:spcBef>
                          <a:spcPts val="600"/>
                        </a:spcBef>
                        <a:spcAft>
                          <a:spcPts val="0"/>
                        </a:spcAft>
                        <a:buClrTx/>
                        <a:buSzTx/>
                        <a:buFont typeface="+mj-lt"/>
                        <a:buAutoNum type="arabicPeriod"/>
                        <a:tabLst/>
                        <a:defRPr/>
                      </a:pPr>
                      <a:r>
                        <a:rPr lang="en-IN" sz="1200" b="0" i="0" kern="1200" noProof="0" dirty="0">
                          <a:solidFill>
                            <a:schemeClr val="dk1"/>
                          </a:solidFill>
                          <a:effectLst/>
                          <a:latin typeface="+mn-lt"/>
                          <a:ea typeface="+mn-ea"/>
                          <a:cs typeface="+mn-cs"/>
                        </a:rPr>
                        <a:t>Documentation/Knowledge on existing data flow tools currently used by Manulife - will be used for mapping and transformation exercise</a:t>
                      </a:r>
                    </a:p>
                    <a:p>
                      <a:pPr marL="228600" marR="0" lvl="0" indent="-228600" algn="l" defTabSz="1219170" rtl="0" eaLnBrk="1" fontAlgn="auto" latinLnBrk="0" hangingPunct="1">
                        <a:lnSpc>
                          <a:spcPct val="100000"/>
                        </a:lnSpc>
                        <a:spcBef>
                          <a:spcPts val="600"/>
                        </a:spcBef>
                        <a:spcAft>
                          <a:spcPts val="0"/>
                        </a:spcAft>
                        <a:buClrTx/>
                        <a:buSzTx/>
                        <a:buFont typeface="+mj-lt"/>
                        <a:buAutoNum type="arabicPeriod"/>
                        <a:tabLst/>
                        <a:defRPr/>
                      </a:pPr>
                      <a:r>
                        <a:rPr lang="en-IN" sz="1200" b="0" i="0" kern="1200" noProof="0" dirty="0">
                          <a:solidFill>
                            <a:schemeClr val="dk1"/>
                          </a:solidFill>
                          <a:effectLst/>
                          <a:latin typeface="+mn-lt"/>
                          <a:ea typeface="+mn-ea"/>
                          <a:cs typeface="+mn-cs"/>
                        </a:rPr>
                        <a:t>Collaboration with Manulife Business team for data categorization, finalizing the mapping source/target &amp; transformation rules for data migration</a:t>
                      </a:r>
                    </a:p>
                    <a:p>
                      <a:pPr marL="228600" marR="0" lvl="0" indent="-228600" algn="l" defTabSz="1219170" rtl="0" eaLnBrk="1" fontAlgn="auto" latinLnBrk="0" hangingPunct="1">
                        <a:lnSpc>
                          <a:spcPct val="100000"/>
                        </a:lnSpc>
                        <a:spcBef>
                          <a:spcPts val="600"/>
                        </a:spcBef>
                        <a:spcAft>
                          <a:spcPts val="0"/>
                        </a:spcAft>
                        <a:buClrTx/>
                        <a:buSzTx/>
                        <a:buFont typeface="+mj-lt"/>
                        <a:buAutoNum type="arabicPeriod"/>
                        <a:tabLst/>
                        <a:defRPr/>
                      </a:pPr>
                      <a:r>
                        <a:rPr lang="en-IN" sz="1200" b="0" i="0" kern="1200" noProof="0" dirty="0">
                          <a:solidFill>
                            <a:schemeClr val="dk1"/>
                          </a:solidFill>
                          <a:effectLst/>
                          <a:latin typeface="+mn-lt"/>
                          <a:ea typeface="+mn-ea"/>
                          <a:cs typeface="+mn-cs"/>
                        </a:rPr>
                        <a:t>Dedicated Staging Database and Applications pointing to Staging Database for data/application validation</a:t>
                      </a:r>
                    </a:p>
                  </a:txBody>
                  <a:tcPr>
                    <a:noFill/>
                  </a:tcPr>
                </a:tc>
                <a:extLst>
                  <a:ext uri="{0D108BD9-81ED-4DB2-BD59-A6C34878D82A}">
                    <a16:rowId xmlns:a16="http://schemas.microsoft.com/office/drawing/2014/main" val="2840815630"/>
                  </a:ext>
                </a:extLst>
              </a:tr>
            </a:tbl>
          </a:graphicData>
        </a:graphic>
      </p:graphicFrame>
    </p:spTree>
    <p:extLst>
      <p:ext uri="{BB962C8B-B14F-4D97-AF65-F5344CB8AC3E}">
        <p14:creationId xmlns:p14="http://schemas.microsoft.com/office/powerpoint/2010/main" val="21119283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844E067-AEF0-41F2-B21E-5691D0CE51CC}"/>
              </a:ext>
            </a:extLst>
          </p:cNvPr>
          <p:cNvSpPr>
            <a:spLocks noGrp="1"/>
          </p:cNvSpPr>
          <p:nvPr>
            <p:ph type="body" sz="quarter" idx="10"/>
          </p:nvPr>
        </p:nvSpPr>
        <p:spPr/>
        <p:txBody>
          <a:bodyPr/>
          <a:lstStyle/>
          <a:p>
            <a:r>
              <a:rPr lang="en-US"/>
              <a:t>Proposed Solution –</a:t>
            </a:r>
            <a:br>
              <a:rPr lang="en-US"/>
            </a:br>
            <a:r>
              <a:rPr lang="en-US"/>
              <a:t>Scope 1- Data Migration</a:t>
            </a:r>
            <a:endParaRPr lang="en-GB"/>
          </a:p>
        </p:txBody>
      </p:sp>
      <p:sp>
        <p:nvSpPr>
          <p:cNvPr id="5" name="Text Placeholder 4">
            <a:extLst>
              <a:ext uri="{FF2B5EF4-FFF2-40B4-BE49-F238E27FC236}">
                <a16:creationId xmlns:a16="http://schemas.microsoft.com/office/drawing/2014/main" id="{C4777912-8329-46FA-B030-816E79668A23}"/>
              </a:ext>
            </a:extLst>
          </p:cNvPr>
          <p:cNvSpPr txBox="1">
            <a:spLocks noGrp="1"/>
          </p:cNvSpPr>
          <p:nvPr>
            <p:ph type="body" sz="quarter" idx="16"/>
          </p:nvPr>
        </p:nvSpPr>
        <p:spPr bwMode="gray">
          <a:xfrm>
            <a:off x="434975" y="2538413"/>
            <a:ext cx="660400" cy="573087"/>
          </a:xfrm>
          <a:prstGeom prst="rect">
            <a:avLst/>
          </a:prstGeom>
        </p:spPr>
        <p:txBody>
          <a:bodyPr vert="horz" wrap="none" lIns="0" tIns="0" rIns="0" bIns="0" rtlCol="0" anchor="t">
            <a:spAutoFit/>
          </a:bodyPr>
          <a:lstStyle>
            <a:lvl1pPr marL="0" indent="0" algn="l" defTabSz="1219170" rtl="0" eaLnBrk="1" latinLnBrk="0" hangingPunct="1">
              <a:spcBef>
                <a:spcPts val="0"/>
              </a:spcBef>
              <a:spcAft>
                <a:spcPts val="533"/>
              </a:spcAft>
              <a:buClr>
                <a:schemeClr val="tx1"/>
              </a:buClr>
              <a:buSzPct val="100000"/>
              <a:buFont typeface="Arial" panose="020B0604020202020204" pitchFamily="34" charset="0"/>
              <a:buNone/>
              <a:defRPr sz="3733" kern="1200" baseline="0">
                <a:solidFill>
                  <a:schemeClr val="accent1"/>
                </a:solidFill>
                <a:latin typeface="+mj-lt"/>
                <a:ea typeface="Verdana" pitchFamily="34" charset="0"/>
                <a:cs typeface="Verdana" pitchFamily="34" charset="0"/>
              </a:defRPr>
            </a:lvl1pPr>
            <a:lvl2pPr marL="438901" indent="-219451" algn="l" defTabSz="1219170" rtl="0" eaLnBrk="1" latinLnBrk="0" hangingPunct="1">
              <a:spcBef>
                <a:spcPts val="0"/>
              </a:spcBef>
              <a:spcAft>
                <a:spcPts val="533"/>
              </a:spcAft>
              <a:buClr>
                <a:schemeClr val="tx1"/>
              </a:buClr>
              <a:buFont typeface="Arial" panose="020B0604020202020204" pitchFamily="34" charset="0"/>
              <a:buChar char="•"/>
              <a:defRPr sz="1600" kern="1200" baseline="0">
                <a:solidFill>
                  <a:schemeClr val="tx1"/>
                </a:solidFill>
                <a:latin typeface="Raleway Light" pitchFamily="2" charset="0"/>
                <a:ea typeface="Verdana" pitchFamily="34" charset="0"/>
                <a:cs typeface="Verdana" pitchFamily="34" charset="0"/>
              </a:defRPr>
            </a:lvl2pPr>
            <a:lvl3pPr marL="658352" indent="-219451" algn="l" defTabSz="1219170" rtl="0" eaLnBrk="1" latinLnBrk="0" hangingPunct="1">
              <a:spcBef>
                <a:spcPts val="0"/>
              </a:spcBef>
              <a:spcAft>
                <a:spcPts val="533"/>
              </a:spcAft>
              <a:buClr>
                <a:schemeClr val="tx1"/>
              </a:buClr>
              <a:buFont typeface="Arial" pitchFamily="34" charset="0"/>
              <a:buChar char="•"/>
              <a:defRPr sz="1467" kern="1200">
                <a:solidFill>
                  <a:schemeClr val="tx1"/>
                </a:solidFill>
                <a:latin typeface="Raleway Light" pitchFamily="2" charset="0"/>
                <a:ea typeface="Verdana" pitchFamily="34" charset="0"/>
                <a:cs typeface="Verdana" pitchFamily="34" charset="0"/>
              </a:defRPr>
            </a:lvl3pPr>
            <a:lvl4pPr marL="877802" indent="-219451" algn="l" defTabSz="1219170" rtl="0" eaLnBrk="1" latinLnBrk="0" hangingPunct="1">
              <a:spcBef>
                <a:spcPts val="0"/>
              </a:spcBef>
              <a:spcAft>
                <a:spcPts val="533"/>
              </a:spcAft>
              <a:buClr>
                <a:schemeClr val="tx1"/>
              </a:buClr>
              <a:buFont typeface="Arial" panose="020B0604020202020204" pitchFamily="34" charset="0"/>
              <a:buChar char="•"/>
              <a:defRPr sz="1333" kern="1200" baseline="0">
                <a:solidFill>
                  <a:schemeClr val="tx1"/>
                </a:solidFill>
                <a:latin typeface="+mn-lt"/>
                <a:ea typeface="Verdana" pitchFamily="34" charset="0"/>
                <a:cs typeface="Verdana" pitchFamily="34" charset="0"/>
              </a:defRPr>
            </a:lvl4pPr>
            <a:lvl5pPr marL="1799955" indent="-359991" algn="l" defTabSz="1219170" rtl="0" eaLnBrk="1" latinLnBrk="0" hangingPunct="1">
              <a:spcBef>
                <a:spcPct val="20000"/>
              </a:spcBef>
              <a:buClr>
                <a:schemeClr val="tx2"/>
              </a:buClr>
              <a:buFont typeface="Arial" pitchFamily="34" charset="0"/>
              <a:buChar char="»"/>
              <a:defRPr sz="2133" kern="1200">
                <a:solidFill>
                  <a:srgbClr val="FFFFFF"/>
                </a:solidFill>
                <a:latin typeface="Verdana" pitchFamily="34" charset="0"/>
                <a:ea typeface="Verdana" pitchFamily="34" charset="0"/>
                <a:cs typeface="Verdana"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r>
              <a:rPr lang="en-GB" sz="3700">
                <a:ea typeface="Verdana"/>
              </a:rPr>
              <a:t>04.</a:t>
            </a:r>
          </a:p>
        </p:txBody>
      </p:sp>
    </p:spTree>
    <p:extLst>
      <p:ext uri="{BB962C8B-B14F-4D97-AF65-F5344CB8AC3E}">
        <p14:creationId xmlns:p14="http://schemas.microsoft.com/office/powerpoint/2010/main" val="30014567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0C1A8D79-D3BB-4C9C-943F-D60D3D73CFD6}"/>
              </a:ext>
            </a:extLst>
          </p:cNvPr>
          <p:cNvGrpSpPr/>
          <p:nvPr/>
        </p:nvGrpSpPr>
        <p:grpSpPr>
          <a:xfrm>
            <a:off x="311150" y="1408261"/>
            <a:ext cx="11569700" cy="4486531"/>
            <a:chOff x="-128530" y="1236811"/>
            <a:chExt cx="12624540" cy="4895580"/>
          </a:xfrm>
        </p:grpSpPr>
        <p:grpSp>
          <p:nvGrpSpPr>
            <p:cNvPr id="27" name="Group 26">
              <a:extLst>
                <a:ext uri="{FF2B5EF4-FFF2-40B4-BE49-F238E27FC236}">
                  <a16:creationId xmlns:a16="http://schemas.microsoft.com/office/drawing/2014/main" id="{3AEE41FB-F859-4B4C-B716-EB6FF06BADEB}"/>
                </a:ext>
              </a:extLst>
            </p:cNvPr>
            <p:cNvGrpSpPr/>
            <p:nvPr/>
          </p:nvGrpSpPr>
          <p:grpSpPr>
            <a:xfrm>
              <a:off x="-128530" y="2257471"/>
              <a:ext cx="12624540" cy="2620198"/>
              <a:chOff x="-203946" y="2455438"/>
              <a:chExt cx="12624540" cy="2620198"/>
            </a:xfrm>
          </p:grpSpPr>
          <p:grpSp>
            <p:nvGrpSpPr>
              <p:cNvPr id="26" name="Group 25">
                <a:extLst>
                  <a:ext uri="{FF2B5EF4-FFF2-40B4-BE49-F238E27FC236}">
                    <a16:creationId xmlns:a16="http://schemas.microsoft.com/office/drawing/2014/main" id="{8F3D1EA8-D9A0-4217-9D48-AE5FFD511DD0}"/>
                  </a:ext>
                </a:extLst>
              </p:cNvPr>
              <p:cNvGrpSpPr/>
              <p:nvPr/>
            </p:nvGrpSpPr>
            <p:grpSpPr>
              <a:xfrm>
                <a:off x="-203946" y="2455438"/>
                <a:ext cx="12155166" cy="2620198"/>
                <a:chOff x="-336037" y="2546234"/>
                <a:chExt cx="13962860" cy="3075198"/>
              </a:xfrm>
            </p:grpSpPr>
            <p:pic>
              <p:nvPicPr>
                <p:cNvPr id="8" name="Picture 7" descr="Diagram&#10;&#10;Description automatically generated with medium confidence">
                  <a:extLst>
                    <a:ext uri="{FF2B5EF4-FFF2-40B4-BE49-F238E27FC236}">
                      <a16:creationId xmlns:a16="http://schemas.microsoft.com/office/drawing/2014/main" id="{6A3C690C-6884-4A75-A831-C886CA0BAC66}"/>
                    </a:ext>
                  </a:extLst>
                </p:cNvPr>
                <p:cNvPicPr>
                  <a:picLocks noChangeAspect="1"/>
                </p:cNvPicPr>
                <p:nvPr/>
              </p:nvPicPr>
              <p:blipFill>
                <a:blip r:embed="rId2" cstate="print">
                  <a:extLst>
                    <a:ext uri="{BEBA8EAE-BF5A-486C-A8C5-ECC9F3942E4B}">
                      <a14:imgProps xmlns:a14="http://schemas.microsoft.com/office/drawing/2010/main">
                        <a14:imgLayer r:embed="rId3">
                          <a14:imgEffect>
                            <a14:backgroundRemoval t="9524" b="91667" l="10000" r="90000">
                              <a14:foregroundMark x1="53000" y1="26786" x2="53000" y2="26786"/>
                              <a14:foregroundMark x1="66667" y1="18452" x2="66667" y2="18452"/>
                              <a14:foregroundMark x1="51667" y1="10714" x2="51667" y2="10714"/>
                              <a14:foregroundMark x1="38667" y1="18452" x2="38667" y2="18452"/>
                              <a14:foregroundMark x1="23667" y1="47619" x2="23667" y2="47619"/>
                              <a14:foregroundMark x1="25333" y1="38690" x2="25333" y2="38690"/>
                              <a14:foregroundMark x1="39667" y1="86310" x2="39667" y2="86310"/>
                              <a14:foregroundMark x1="36333" y1="87500" x2="36333" y2="87500"/>
                              <a14:foregroundMark x1="37333" y1="82143" x2="37333" y2="82143"/>
                              <a14:foregroundMark x1="51667" y1="90476" x2="51667" y2="90476"/>
                              <a14:foregroundMark x1="64333" y1="85119" x2="64333" y2="85119"/>
                              <a14:foregroundMark x1="62000" y1="91667" x2="62000" y2="91667"/>
                              <a14:foregroundMark x1="59667" y1="67857" x2="59667" y2="67857"/>
                              <a14:foregroundMark x1="54000" y1="51786" x2="54000" y2="51786"/>
                              <a14:foregroundMark x1="58000" y1="52976" x2="58000" y2="52976"/>
                            </a14:backgroundRemoval>
                          </a14:imgEffect>
                        </a14:imgLayer>
                      </a14:imgProps>
                    </a:ext>
                    <a:ext uri="{28A0092B-C50C-407E-A947-70E740481C1C}">
                      <a14:useLocalDpi xmlns:a14="http://schemas.microsoft.com/office/drawing/2010/main" val="0"/>
                    </a:ext>
                  </a:extLst>
                </a:blip>
                <a:stretch>
                  <a:fillRect/>
                </a:stretch>
              </p:blipFill>
              <p:spPr>
                <a:xfrm>
                  <a:off x="3313624" y="2618659"/>
                  <a:ext cx="1357256" cy="833805"/>
                </a:xfrm>
                <a:prstGeom prst="rect">
                  <a:avLst/>
                </a:prstGeom>
              </p:spPr>
            </p:pic>
            <p:sp>
              <p:nvSpPr>
                <p:cNvPr id="10" name="Arrow: Right 9">
                  <a:extLst>
                    <a:ext uri="{FF2B5EF4-FFF2-40B4-BE49-F238E27FC236}">
                      <a16:creationId xmlns:a16="http://schemas.microsoft.com/office/drawing/2014/main" id="{FB84B46E-9A73-4F5A-9680-DB3CF3CE1BE2}"/>
                    </a:ext>
                  </a:extLst>
                </p:cNvPr>
                <p:cNvSpPr/>
                <p:nvPr/>
              </p:nvSpPr>
              <p:spPr>
                <a:xfrm rot="19784710">
                  <a:off x="2611986" y="3237700"/>
                  <a:ext cx="684502" cy="393417"/>
                </a:xfrm>
                <a:prstGeom prst="rightArrow">
                  <a:avLst/>
                </a:pr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200"/>
                </a:p>
              </p:txBody>
            </p:sp>
            <p:sp>
              <p:nvSpPr>
                <p:cNvPr id="14" name="TextBox 13">
                  <a:extLst>
                    <a:ext uri="{FF2B5EF4-FFF2-40B4-BE49-F238E27FC236}">
                      <a16:creationId xmlns:a16="http://schemas.microsoft.com/office/drawing/2014/main" id="{C86652FD-70FD-4AC3-8357-C844CEC21831}"/>
                    </a:ext>
                  </a:extLst>
                </p:cNvPr>
                <p:cNvSpPr txBox="1"/>
                <p:nvPr/>
              </p:nvSpPr>
              <p:spPr>
                <a:xfrm>
                  <a:off x="3344610" y="3452757"/>
                  <a:ext cx="1491724" cy="284441"/>
                </a:xfrm>
                <a:prstGeom prst="rect">
                  <a:avLst/>
                </a:prstGeom>
                <a:noFill/>
              </p:spPr>
              <p:txBody>
                <a:bodyPr wrap="none" lIns="0" tIns="0" rIns="0" bIns="0" rtlCol="0">
                  <a:noAutofit/>
                </a:bodyPr>
                <a:lstStyle/>
                <a:p>
                  <a:pPr algn="ctr"/>
                  <a:r>
                    <a:rPr lang="en-US" sz="800"/>
                    <a:t>Enhanced In-House tools </a:t>
                  </a:r>
                </a:p>
                <a:p>
                  <a:pPr algn="ctr"/>
                  <a:r>
                    <a:rPr lang="en-US" sz="800"/>
                    <a:t>(BTP, Client Print Process, etc.,)</a:t>
                  </a:r>
                  <a:endParaRPr lang="en-IN" sz="800"/>
                </a:p>
              </p:txBody>
            </p:sp>
            <p:sp>
              <p:nvSpPr>
                <p:cNvPr id="67" name="Cylinder 66">
                  <a:extLst>
                    <a:ext uri="{FF2B5EF4-FFF2-40B4-BE49-F238E27FC236}">
                      <a16:creationId xmlns:a16="http://schemas.microsoft.com/office/drawing/2014/main" id="{7D4689A4-CB76-4DFE-A260-FBC14A79F23F}"/>
                    </a:ext>
                  </a:extLst>
                </p:cNvPr>
                <p:cNvSpPr/>
                <p:nvPr/>
              </p:nvSpPr>
              <p:spPr>
                <a:xfrm>
                  <a:off x="3611310" y="4410294"/>
                  <a:ext cx="861136" cy="614764"/>
                </a:xfrm>
                <a:prstGeom prst="can">
                  <a:avLst/>
                </a:prstGeom>
                <a:solidFill>
                  <a:schemeClr val="tx2">
                    <a:lumMod val="20000"/>
                    <a:lumOff val="80000"/>
                  </a:schemeClr>
                </a:solidFill>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a:solidFill>
                        <a:schemeClr val="tx1"/>
                      </a:solidFill>
                    </a:rPr>
                    <a:t>Excel or SQL SERVER DB</a:t>
                  </a:r>
                  <a:endParaRPr lang="en-IN" sz="700">
                    <a:solidFill>
                      <a:schemeClr val="tx1"/>
                    </a:solidFill>
                  </a:endParaRPr>
                </a:p>
              </p:txBody>
            </p:sp>
            <p:sp>
              <p:nvSpPr>
                <p:cNvPr id="69" name="TextBox 68">
                  <a:extLst>
                    <a:ext uri="{FF2B5EF4-FFF2-40B4-BE49-F238E27FC236}">
                      <a16:creationId xmlns:a16="http://schemas.microsoft.com/office/drawing/2014/main" id="{1A35044F-0FDB-49FD-940E-D0BCFBA12137}"/>
                    </a:ext>
                  </a:extLst>
                </p:cNvPr>
                <p:cNvSpPr txBox="1"/>
                <p:nvPr/>
              </p:nvSpPr>
              <p:spPr>
                <a:xfrm>
                  <a:off x="3275333" y="5077675"/>
                  <a:ext cx="1729682" cy="397344"/>
                </a:xfrm>
                <a:prstGeom prst="rect">
                  <a:avLst/>
                </a:prstGeom>
                <a:noFill/>
              </p:spPr>
              <p:txBody>
                <a:bodyPr wrap="square">
                  <a:spAutoFit/>
                </a:bodyPr>
                <a:lstStyle/>
                <a:p>
                  <a:pPr algn="ctr"/>
                  <a:r>
                    <a:rPr lang="en-IN" sz="800"/>
                    <a:t>Data Transformation &amp; Mapping DB</a:t>
                  </a:r>
                </a:p>
              </p:txBody>
            </p:sp>
            <p:sp>
              <p:nvSpPr>
                <p:cNvPr id="70" name="Arrow: Right 69">
                  <a:extLst>
                    <a:ext uri="{FF2B5EF4-FFF2-40B4-BE49-F238E27FC236}">
                      <a16:creationId xmlns:a16="http://schemas.microsoft.com/office/drawing/2014/main" id="{41998C2D-4C3E-49F0-A790-14D9F21BE8DC}"/>
                    </a:ext>
                  </a:extLst>
                </p:cNvPr>
                <p:cNvSpPr/>
                <p:nvPr/>
              </p:nvSpPr>
              <p:spPr>
                <a:xfrm rot="1205861">
                  <a:off x="2715283" y="4333682"/>
                  <a:ext cx="684502" cy="393417"/>
                </a:xfrm>
                <a:prstGeom prst="rightArrow">
                  <a:avLst/>
                </a:pr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200"/>
                </a:p>
              </p:txBody>
            </p:sp>
            <p:grpSp>
              <p:nvGrpSpPr>
                <p:cNvPr id="21" name="Group 20">
                  <a:extLst>
                    <a:ext uri="{FF2B5EF4-FFF2-40B4-BE49-F238E27FC236}">
                      <a16:creationId xmlns:a16="http://schemas.microsoft.com/office/drawing/2014/main" id="{22E85731-EBD3-4023-A4B5-F8AD022622D5}"/>
                    </a:ext>
                  </a:extLst>
                </p:cNvPr>
                <p:cNvGrpSpPr/>
                <p:nvPr/>
              </p:nvGrpSpPr>
              <p:grpSpPr>
                <a:xfrm>
                  <a:off x="7277491" y="3120661"/>
                  <a:ext cx="1729761" cy="1597015"/>
                  <a:chOff x="7065503" y="2601798"/>
                  <a:chExt cx="1729761" cy="1597015"/>
                </a:xfrm>
              </p:grpSpPr>
              <p:sp>
                <p:nvSpPr>
                  <p:cNvPr id="72" name="Cylinder 71">
                    <a:extLst>
                      <a:ext uri="{FF2B5EF4-FFF2-40B4-BE49-F238E27FC236}">
                        <a16:creationId xmlns:a16="http://schemas.microsoft.com/office/drawing/2014/main" id="{4E64929D-4055-4665-9963-211EDA8FFAC9}"/>
                      </a:ext>
                    </a:extLst>
                  </p:cNvPr>
                  <p:cNvSpPr/>
                  <p:nvPr/>
                </p:nvSpPr>
                <p:spPr>
                  <a:xfrm>
                    <a:off x="7177405" y="2676491"/>
                    <a:ext cx="1505958" cy="1415422"/>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a:p>
                  <a:p>
                    <a:pPr algn="ctr"/>
                    <a:r>
                      <a:rPr lang="en-US" sz="1600" b="1"/>
                      <a:t>Staging DB</a:t>
                    </a:r>
                  </a:p>
                  <a:p>
                    <a:pPr algn="ctr"/>
                    <a:r>
                      <a:rPr lang="en-US" sz="1000"/>
                      <a:t>(Transformed SLX data)</a:t>
                    </a:r>
                  </a:p>
                </p:txBody>
              </p:sp>
              <p:sp>
                <p:nvSpPr>
                  <p:cNvPr id="73" name="Rounded Rectangle 13">
                    <a:extLst>
                      <a:ext uri="{FF2B5EF4-FFF2-40B4-BE49-F238E27FC236}">
                        <a16:creationId xmlns:a16="http://schemas.microsoft.com/office/drawing/2014/main" id="{22D9C0FE-2A6C-40D8-85CE-6223DBE145CF}"/>
                      </a:ext>
                    </a:extLst>
                  </p:cNvPr>
                  <p:cNvSpPr/>
                  <p:nvPr/>
                </p:nvSpPr>
                <p:spPr>
                  <a:xfrm>
                    <a:off x="7065503" y="2601798"/>
                    <a:ext cx="1729761" cy="1597015"/>
                  </a:xfrm>
                  <a:prstGeom prst="round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Verdana"/>
                      <a:ea typeface="+mn-ea"/>
                      <a:cs typeface="+mn-cs"/>
                    </a:endParaRPr>
                  </a:p>
                </p:txBody>
              </p:sp>
            </p:grpSp>
            <p:sp>
              <p:nvSpPr>
                <p:cNvPr id="76" name="Arrow: Right 75">
                  <a:extLst>
                    <a:ext uri="{FF2B5EF4-FFF2-40B4-BE49-F238E27FC236}">
                      <a16:creationId xmlns:a16="http://schemas.microsoft.com/office/drawing/2014/main" id="{0CA312A2-54D3-4C4D-A908-414E737D716E}"/>
                    </a:ext>
                  </a:extLst>
                </p:cNvPr>
                <p:cNvSpPr/>
                <p:nvPr/>
              </p:nvSpPr>
              <p:spPr>
                <a:xfrm rot="20880426">
                  <a:off x="4771371" y="4459318"/>
                  <a:ext cx="684502" cy="393417"/>
                </a:xfrm>
                <a:prstGeom prst="rightArrow">
                  <a:avLst/>
                </a:pr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200"/>
                </a:p>
              </p:txBody>
            </p:sp>
            <p:grpSp>
              <p:nvGrpSpPr>
                <p:cNvPr id="22" name="Group 21">
                  <a:extLst>
                    <a:ext uri="{FF2B5EF4-FFF2-40B4-BE49-F238E27FC236}">
                      <a16:creationId xmlns:a16="http://schemas.microsoft.com/office/drawing/2014/main" id="{943EEF02-2928-4225-A46D-6C608060C6E7}"/>
                    </a:ext>
                  </a:extLst>
                </p:cNvPr>
                <p:cNvGrpSpPr/>
                <p:nvPr/>
              </p:nvGrpSpPr>
              <p:grpSpPr>
                <a:xfrm>
                  <a:off x="5323916" y="4059002"/>
                  <a:ext cx="1306861" cy="957032"/>
                  <a:chOff x="5366766" y="3479548"/>
                  <a:chExt cx="1306861" cy="957032"/>
                </a:xfrm>
              </p:grpSpPr>
              <p:pic>
                <p:nvPicPr>
                  <p:cNvPr id="75" name="Picture 74" descr="A picture containing shape&#10;&#10;Description automatically generated">
                    <a:extLst>
                      <a:ext uri="{FF2B5EF4-FFF2-40B4-BE49-F238E27FC236}">
                        <a16:creationId xmlns:a16="http://schemas.microsoft.com/office/drawing/2014/main" id="{775D66FB-6252-421D-8834-30C71DA2096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66766" y="3479548"/>
                    <a:ext cx="1306861" cy="757349"/>
                  </a:xfrm>
                  <a:prstGeom prst="rect">
                    <a:avLst/>
                  </a:prstGeom>
                </p:spPr>
              </p:pic>
              <p:pic>
                <p:nvPicPr>
                  <p:cNvPr id="93" name="Picture 92" descr="Graphical user interface, logo&#10;&#10;Description automatically generated">
                    <a:extLst>
                      <a:ext uri="{FF2B5EF4-FFF2-40B4-BE49-F238E27FC236}">
                        <a16:creationId xmlns:a16="http://schemas.microsoft.com/office/drawing/2014/main" id="{689E7A53-99DC-43FA-A066-FA3398C550B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68243" y="4087757"/>
                    <a:ext cx="1017437" cy="348823"/>
                  </a:xfrm>
                  <a:prstGeom prst="rect">
                    <a:avLst/>
                  </a:prstGeom>
                </p:spPr>
              </p:pic>
            </p:grpSp>
            <p:sp>
              <p:nvSpPr>
                <p:cNvPr id="101" name="Arrow: Right 100">
                  <a:extLst>
                    <a:ext uri="{FF2B5EF4-FFF2-40B4-BE49-F238E27FC236}">
                      <a16:creationId xmlns:a16="http://schemas.microsoft.com/office/drawing/2014/main" id="{E0AECA52-5E3B-4FBC-9960-D1945A1C07BB}"/>
                    </a:ext>
                  </a:extLst>
                </p:cNvPr>
                <p:cNvSpPr/>
                <p:nvPr/>
              </p:nvSpPr>
              <p:spPr>
                <a:xfrm rot="1883308">
                  <a:off x="5130374" y="3690086"/>
                  <a:ext cx="684502" cy="393417"/>
                </a:xfrm>
                <a:prstGeom prst="rightArrow">
                  <a:avLst/>
                </a:pr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200"/>
                </a:p>
              </p:txBody>
            </p:sp>
            <p:sp>
              <p:nvSpPr>
                <p:cNvPr id="103" name="Arrow: Right 102">
                  <a:extLst>
                    <a:ext uri="{FF2B5EF4-FFF2-40B4-BE49-F238E27FC236}">
                      <a16:creationId xmlns:a16="http://schemas.microsoft.com/office/drawing/2014/main" id="{FCCC8AF1-DF3B-4823-9659-542CAC776BE0}"/>
                    </a:ext>
                  </a:extLst>
                </p:cNvPr>
                <p:cNvSpPr/>
                <p:nvPr/>
              </p:nvSpPr>
              <p:spPr>
                <a:xfrm rot="606608">
                  <a:off x="4759059" y="3188633"/>
                  <a:ext cx="2176764" cy="206795"/>
                </a:xfrm>
                <a:prstGeom prst="rightArrow">
                  <a:avLst/>
                </a:pr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200"/>
                </a:p>
              </p:txBody>
            </p:sp>
            <p:sp>
              <p:nvSpPr>
                <p:cNvPr id="113" name="TextBox 112">
                  <a:extLst>
                    <a:ext uri="{FF2B5EF4-FFF2-40B4-BE49-F238E27FC236}">
                      <a16:creationId xmlns:a16="http://schemas.microsoft.com/office/drawing/2014/main" id="{55F2B146-BA14-405C-AE7A-07D16CCD5327}"/>
                    </a:ext>
                  </a:extLst>
                </p:cNvPr>
                <p:cNvSpPr txBox="1"/>
                <p:nvPr/>
              </p:nvSpPr>
              <p:spPr>
                <a:xfrm rot="1843370">
                  <a:off x="5239354" y="3582914"/>
                  <a:ext cx="585605" cy="166651"/>
                </a:xfrm>
                <a:prstGeom prst="rect">
                  <a:avLst/>
                </a:prstGeom>
                <a:noFill/>
              </p:spPr>
              <p:txBody>
                <a:bodyPr wrap="none" lIns="0" tIns="0" rIns="0" bIns="0" rtlCol="0">
                  <a:noAutofit/>
                </a:bodyPr>
                <a:lstStyle/>
                <a:p>
                  <a:pPr algn="ctr"/>
                  <a:r>
                    <a:rPr lang="en-US" sz="800"/>
                    <a:t>Feeds</a:t>
                  </a:r>
                  <a:endParaRPr lang="en-IN" sz="800"/>
                </a:p>
              </p:txBody>
            </p:sp>
            <p:sp>
              <p:nvSpPr>
                <p:cNvPr id="114" name="TextBox 113">
                  <a:extLst>
                    <a:ext uri="{FF2B5EF4-FFF2-40B4-BE49-F238E27FC236}">
                      <a16:creationId xmlns:a16="http://schemas.microsoft.com/office/drawing/2014/main" id="{C189BD7F-8B46-42E7-B2FB-8D4A3C137056}"/>
                    </a:ext>
                  </a:extLst>
                </p:cNvPr>
                <p:cNvSpPr txBox="1"/>
                <p:nvPr/>
              </p:nvSpPr>
              <p:spPr>
                <a:xfrm rot="559609">
                  <a:off x="5462111" y="3024545"/>
                  <a:ext cx="585606" cy="166651"/>
                </a:xfrm>
                <a:prstGeom prst="rect">
                  <a:avLst/>
                </a:prstGeom>
                <a:noFill/>
              </p:spPr>
              <p:txBody>
                <a:bodyPr wrap="none" lIns="0" tIns="0" rIns="0" bIns="0" rtlCol="0">
                  <a:noAutofit/>
                </a:bodyPr>
                <a:lstStyle/>
                <a:p>
                  <a:pPr algn="ctr"/>
                  <a:r>
                    <a:rPr lang="en-US" sz="800"/>
                    <a:t>Load staging</a:t>
                  </a:r>
                  <a:endParaRPr lang="en-IN" sz="800"/>
                </a:p>
              </p:txBody>
            </p:sp>
            <p:sp>
              <p:nvSpPr>
                <p:cNvPr id="115" name="Arrow: Right 114">
                  <a:extLst>
                    <a:ext uri="{FF2B5EF4-FFF2-40B4-BE49-F238E27FC236}">
                      <a16:creationId xmlns:a16="http://schemas.microsoft.com/office/drawing/2014/main" id="{9DDEB214-BCC2-4F65-AB53-C80AA2DBC4B0}"/>
                    </a:ext>
                  </a:extLst>
                </p:cNvPr>
                <p:cNvSpPr/>
                <p:nvPr/>
              </p:nvSpPr>
              <p:spPr>
                <a:xfrm>
                  <a:off x="6478465" y="4150535"/>
                  <a:ext cx="684502" cy="393417"/>
                </a:xfrm>
                <a:prstGeom prst="rightArrow">
                  <a:avLst/>
                </a:pr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200"/>
                </a:p>
              </p:txBody>
            </p:sp>
            <p:cxnSp>
              <p:nvCxnSpPr>
                <p:cNvPr id="117" name="Straight Connector 116">
                  <a:extLst>
                    <a:ext uri="{FF2B5EF4-FFF2-40B4-BE49-F238E27FC236}">
                      <a16:creationId xmlns:a16="http://schemas.microsoft.com/office/drawing/2014/main" id="{FD5E0460-6E6F-4A7B-9D25-D5F67DCDAF28}"/>
                    </a:ext>
                  </a:extLst>
                </p:cNvPr>
                <p:cNvCxnSpPr>
                  <a:cxnSpLocks/>
                </p:cNvCxnSpPr>
                <p:nvPr/>
              </p:nvCxnSpPr>
              <p:spPr>
                <a:xfrm flipV="1">
                  <a:off x="8082058" y="2579488"/>
                  <a:ext cx="0" cy="445529"/>
                </a:xfrm>
                <a:prstGeom prst="line">
                  <a:avLst/>
                </a:prstGeom>
                <a:ln>
                  <a:headEnd type="none" w="med" len="med"/>
                  <a:tailEnd type="arrow" w="med" len="med"/>
                </a:ln>
              </p:spPr>
              <p:style>
                <a:lnRef idx="2">
                  <a:schemeClr val="accent1"/>
                </a:lnRef>
                <a:fillRef idx="0">
                  <a:schemeClr val="accent1"/>
                </a:fillRef>
                <a:effectRef idx="1">
                  <a:schemeClr val="accent1"/>
                </a:effectRef>
                <a:fontRef idx="minor">
                  <a:schemeClr val="tx1"/>
                </a:fontRef>
              </p:style>
            </p:cxnSp>
            <p:sp>
              <p:nvSpPr>
                <p:cNvPr id="118" name="TextBox 117">
                  <a:extLst>
                    <a:ext uri="{FF2B5EF4-FFF2-40B4-BE49-F238E27FC236}">
                      <a16:creationId xmlns:a16="http://schemas.microsoft.com/office/drawing/2014/main" id="{E6913F39-54C8-481F-8638-54DEBDD5C2F1}"/>
                    </a:ext>
                  </a:extLst>
                </p:cNvPr>
                <p:cNvSpPr txBox="1"/>
                <p:nvPr/>
              </p:nvSpPr>
              <p:spPr>
                <a:xfrm>
                  <a:off x="6598862" y="2681725"/>
                  <a:ext cx="1357257" cy="349851"/>
                </a:xfrm>
                <a:prstGeom prst="rect">
                  <a:avLst/>
                </a:prstGeom>
                <a:noFill/>
              </p:spPr>
              <p:txBody>
                <a:bodyPr wrap="none" lIns="0" tIns="0" rIns="0" bIns="0" rtlCol="0">
                  <a:noAutofit/>
                </a:bodyPr>
                <a:lstStyle/>
                <a:p>
                  <a:pPr algn="r"/>
                  <a:r>
                    <a:rPr lang="en-IN" sz="800" b="1"/>
                    <a:t>Business </a:t>
                  </a:r>
                </a:p>
                <a:p>
                  <a:pPr algn="r"/>
                  <a:r>
                    <a:rPr lang="en-IN" sz="800" b="1"/>
                    <a:t>Acceptance Testing</a:t>
                  </a:r>
                </a:p>
              </p:txBody>
            </p:sp>
            <p:sp>
              <p:nvSpPr>
                <p:cNvPr id="124" name="Rounded Rectangle 13">
                  <a:extLst>
                    <a:ext uri="{FF2B5EF4-FFF2-40B4-BE49-F238E27FC236}">
                      <a16:creationId xmlns:a16="http://schemas.microsoft.com/office/drawing/2014/main" id="{4B6F85A7-8552-4987-988B-885542673A9B}"/>
                    </a:ext>
                  </a:extLst>
                </p:cNvPr>
                <p:cNvSpPr/>
                <p:nvPr/>
              </p:nvSpPr>
              <p:spPr>
                <a:xfrm>
                  <a:off x="22399" y="2733313"/>
                  <a:ext cx="2327835" cy="2639935"/>
                </a:xfrm>
                <a:prstGeom prst="round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Verdana"/>
                    <a:ea typeface="+mn-ea"/>
                    <a:cs typeface="+mn-cs"/>
                  </a:endParaRPr>
                </a:p>
              </p:txBody>
            </p:sp>
            <p:sp>
              <p:nvSpPr>
                <p:cNvPr id="125" name="Cylinder 124">
                  <a:extLst>
                    <a:ext uri="{FF2B5EF4-FFF2-40B4-BE49-F238E27FC236}">
                      <a16:creationId xmlns:a16="http://schemas.microsoft.com/office/drawing/2014/main" id="{BECB8451-81F1-421C-A18B-81B0ADF4BC24}"/>
                    </a:ext>
                  </a:extLst>
                </p:cNvPr>
                <p:cNvSpPr/>
                <p:nvPr/>
              </p:nvSpPr>
              <p:spPr>
                <a:xfrm>
                  <a:off x="162930" y="2845223"/>
                  <a:ext cx="2046774" cy="2356232"/>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Rectangle 125">
                  <a:extLst>
                    <a:ext uri="{FF2B5EF4-FFF2-40B4-BE49-F238E27FC236}">
                      <a16:creationId xmlns:a16="http://schemas.microsoft.com/office/drawing/2014/main" id="{2ADF19AA-0ED6-493B-957F-289E773F4998}"/>
                    </a:ext>
                  </a:extLst>
                </p:cNvPr>
                <p:cNvSpPr/>
                <p:nvPr/>
              </p:nvSpPr>
              <p:spPr>
                <a:xfrm>
                  <a:off x="483134" y="3415551"/>
                  <a:ext cx="1574713" cy="436761"/>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900"/>
                    <a:t>Client</a:t>
                  </a:r>
                  <a:r>
                    <a:rPr lang="en-US" sz="1150"/>
                    <a:t> </a:t>
                  </a:r>
                </a:p>
              </p:txBody>
            </p:sp>
            <p:sp>
              <p:nvSpPr>
                <p:cNvPr id="127" name="Rectangle 126">
                  <a:extLst>
                    <a:ext uri="{FF2B5EF4-FFF2-40B4-BE49-F238E27FC236}">
                      <a16:creationId xmlns:a16="http://schemas.microsoft.com/office/drawing/2014/main" id="{AD185553-D1C8-4C60-B507-00DEB342E74A}"/>
                    </a:ext>
                  </a:extLst>
                </p:cNvPr>
                <p:cNvSpPr/>
                <p:nvPr/>
              </p:nvSpPr>
              <p:spPr>
                <a:xfrm>
                  <a:off x="230085" y="3918827"/>
                  <a:ext cx="811997" cy="588846"/>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900"/>
                    <a:t>Member</a:t>
                  </a:r>
                </a:p>
              </p:txBody>
            </p:sp>
            <p:sp>
              <p:nvSpPr>
                <p:cNvPr id="128" name="Rectangle 127">
                  <a:extLst>
                    <a:ext uri="{FF2B5EF4-FFF2-40B4-BE49-F238E27FC236}">
                      <a16:creationId xmlns:a16="http://schemas.microsoft.com/office/drawing/2014/main" id="{B1BEBDAF-A312-47E9-8367-5C559476C4C2}"/>
                    </a:ext>
                  </a:extLst>
                </p:cNvPr>
                <p:cNvSpPr/>
                <p:nvPr/>
              </p:nvSpPr>
              <p:spPr>
                <a:xfrm>
                  <a:off x="1204764" y="3935697"/>
                  <a:ext cx="915515" cy="588846"/>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900"/>
                    <a:t>Financial Info</a:t>
                  </a:r>
                </a:p>
              </p:txBody>
            </p:sp>
            <p:sp>
              <p:nvSpPr>
                <p:cNvPr id="129" name="Rounded Rectangle 13">
                  <a:extLst>
                    <a:ext uri="{FF2B5EF4-FFF2-40B4-BE49-F238E27FC236}">
                      <a16:creationId xmlns:a16="http://schemas.microsoft.com/office/drawing/2014/main" id="{9B2495F2-C3DD-4FD8-BEB8-10DB5C387315}"/>
                    </a:ext>
                  </a:extLst>
                </p:cNvPr>
                <p:cNvSpPr/>
                <p:nvPr/>
              </p:nvSpPr>
              <p:spPr>
                <a:xfrm>
                  <a:off x="22399" y="2733313"/>
                  <a:ext cx="2327835" cy="2639935"/>
                </a:xfrm>
                <a:prstGeom prst="round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Verdana"/>
                    <a:ea typeface="+mn-ea"/>
                    <a:cs typeface="+mn-cs"/>
                  </a:endParaRPr>
                </a:p>
              </p:txBody>
            </p:sp>
            <p:sp>
              <p:nvSpPr>
                <p:cNvPr id="130" name="Rectangle 129">
                  <a:extLst>
                    <a:ext uri="{FF2B5EF4-FFF2-40B4-BE49-F238E27FC236}">
                      <a16:creationId xmlns:a16="http://schemas.microsoft.com/office/drawing/2014/main" id="{DEF617F1-1BDC-46CC-AC47-1BD561BF9DAA}"/>
                    </a:ext>
                  </a:extLst>
                </p:cNvPr>
                <p:cNvSpPr/>
                <p:nvPr/>
              </p:nvSpPr>
              <p:spPr>
                <a:xfrm>
                  <a:off x="408289" y="4584013"/>
                  <a:ext cx="1583089" cy="46477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150"/>
                    <a:t>Others </a:t>
                  </a:r>
                </a:p>
              </p:txBody>
            </p:sp>
            <p:sp>
              <p:nvSpPr>
                <p:cNvPr id="131" name="TextBox 130">
                  <a:extLst>
                    <a:ext uri="{FF2B5EF4-FFF2-40B4-BE49-F238E27FC236}">
                      <a16:creationId xmlns:a16="http://schemas.microsoft.com/office/drawing/2014/main" id="{CF2D5BC4-9039-4211-A06D-6656254CB4F1}"/>
                    </a:ext>
                  </a:extLst>
                </p:cNvPr>
                <p:cNvSpPr txBox="1"/>
                <p:nvPr/>
              </p:nvSpPr>
              <p:spPr>
                <a:xfrm>
                  <a:off x="-336037" y="2811026"/>
                  <a:ext cx="3014364" cy="430887"/>
                </a:xfrm>
                <a:prstGeom prst="rect">
                  <a:avLst/>
                </a:prstGeom>
                <a:noFill/>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100" b="1" i="1" u="none" strike="noStrike" kern="0" cap="none" spc="0" normalizeH="0" baseline="0" noProof="0">
                    <a:ln>
                      <a:noFill/>
                    </a:ln>
                    <a:solidFill>
                      <a:prstClr val="black"/>
                    </a:solidFill>
                    <a:effectLst/>
                    <a:uLnTx/>
                    <a:uFillTx/>
                    <a:latin typeface="Verdana"/>
                    <a:ea typeface="MS PGothic" panose="020B0600070205080204" pitchFamily="34" charset="-128"/>
                    <a:cs typeface="Arial" panose="020B0604020202020204" pitchFamily="34" charset="0"/>
                  </a:endParaRPr>
                </a:p>
                <a:p>
                  <a:pPr lvl="0" algn="ctr" eaLnBrk="0" fontAlgn="base" hangingPunct="0">
                    <a:spcBef>
                      <a:spcPct val="0"/>
                    </a:spcBef>
                    <a:spcAft>
                      <a:spcPct val="0"/>
                    </a:spcAft>
                    <a:defRPr/>
                  </a:pPr>
                  <a:r>
                    <a:rPr lang="en-US" sz="1100" b="1" i="1" kern="0">
                      <a:solidFill>
                        <a:prstClr val="black"/>
                      </a:solidFill>
                      <a:ea typeface="MS PGothic" panose="020B0600070205080204" pitchFamily="34" charset="-128"/>
                      <a:cs typeface="Arial" panose="020B0604020202020204" pitchFamily="34" charset="0"/>
                    </a:rPr>
                    <a:t>SLX</a:t>
                  </a:r>
                  <a:endParaRPr kumimoji="0" lang="en-US" sz="1100" b="1" i="1" u="none" strike="noStrike" kern="0" cap="none" spc="0" normalizeH="0" baseline="0" noProof="0">
                    <a:ln>
                      <a:noFill/>
                    </a:ln>
                    <a:solidFill>
                      <a:prstClr val="black"/>
                    </a:solidFill>
                    <a:effectLst/>
                    <a:uLnTx/>
                    <a:uFillTx/>
                    <a:latin typeface="Verdana"/>
                    <a:ea typeface="+mn-ea"/>
                    <a:cs typeface="Arial" charset="0"/>
                  </a:endParaRPr>
                </a:p>
              </p:txBody>
            </p:sp>
            <p:sp>
              <p:nvSpPr>
                <p:cNvPr id="132" name="Arrow: Right 131">
                  <a:extLst>
                    <a:ext uri="{FF2B5EF4-FFF2-40B4-BE49-F238E27FC236}">
                      <a16:creationId xmlns:a16="http://schemas.microsoft.com/office/drawing/2014/main" id="{9BB616AB-B5EF-4477-8777-D14D7CAE0674}"/>
                    </a:ext>
                  </a:extLst>
                </p:cNvPr>
                <p:cNvSpPr/>
                <p:nvPr/>
              </p:nvSpPr>
              <p:spPr>
                <a:xfrm>
                  <a:off x="9125866" y="3769049"/>
                  <a:ext cx="514137" cy="20296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3" name="Arrow: Right 132">
                  <a:extLst>
                    <a:ext uri="{FF2B5EF4-FFF2-40B4-BE49-F238E27FC236}">
                      <a16:creationId xmlns:a16="http://schemas.microsoft.com/office/drawing/2014/main" id="{F87B2E82-B297-4CB5-9BE2-A2E5DDD36F7D}"/>
                    </a:ext>
                  </a:extLst>
                </p:cNvPr>
                <p:cNvSpPr/>
                <p:nvPr/>
              </p:nvSpPr>
              <p:spPr>
                <a:xfrm>
                  <a:off x="10703357" y="3741775"/>
                  <a:ext cx="570160" cy="26475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4" name="Group 133">
                  <a:extLst>
                    <a:ext uri="{FF2B5EF4-FFF2-40B4-BE49-F238E27FC236}">
                      <a16:creationId xmlns:a16="http://schemas.microsoft.com/office/drawing/2014/main" id="{5DE826C9-CD64-4C48-9B5C-62BDDBB6D77C}"/>
                    </a:ext>
                  </a:extLst>
                </p:cNvPr>
                <p:cNvGrpSpPr/>
                <p:nvPr/>
              </p:nvGrpSpPr>
              <p:grpSpPr>
                <a:xfrm>
                  <a:off x="9282874" y="3307950"/>
                  <a:ext cx="1788442" cy="1149958"/>
                  <a:chOff x="7065530" y="3216943"/>
                  <a:chExt cx="1849870" cy="1271545"/>
                </a:xfrm>
              </p:grpSpPr>
              <p:pic>
                <p:nvPicPr>
                  <p:cNvPr id="135" name="Picture 134" descr="A picture containing shape&#10;&#10;Description automatically generated">
                    <a:extLst>
                      <a:ext uri="{FF2B5EF4-FFF2-40B4-BE49-F238E27FC236}">
                        <a16:creationId xmlns:a16="http://schemas.microsoft.com/office/drawing/2014/main" id="{D946EE15-F16D-4469-B4F1-5ADBC7F34ED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65530" y="3216943"/>
                    <a:ext cx="1849870" cy="1146017"/>
                  </a:xfrm>
                  <a:prstGeom prst="rect">
                    <a:avLst/>
                  </a:prstGeom>
                </p:spPr>
              </p:pic>
              <p:pic>
                <p:nvPicPr>
                  <p:cNvPr id="136" name="Picture 135" descr="Graphical user interface, logo&#10;&#10;Description automatically generated">
                    <a:extLst>
                      <a:ext uri="{FF2B5EF4-FFF2-40B4-BE49-F238E27FC236}">
                        <a16:creationId xmlns:a16="http://schemas.microsoft.com/office/drawing/2014/main" id="{82D45C7F-78C1-44CB-842E-20FE68DB146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97621" y="4102784"/>
                    <a:ext cx="1052383" cy="385704"/>
                  </a:xfrm>
                  <a:prstGeom prst="rect">
                    <a:avLst/>
                  </a:prstGeom>
                </p:spPr>
              </p:pic>
            </p:grpSp>
            <p:sp>
              <p:nvSpPr>
                <p:cNvPr id="137" name="TextBox 136">
                  <a:extLst>
                    <a:ext uri="{FF2B5EF4-FFF2-40B4-BE49-F238E27FC236}">
                      <a16:creationId xmlns:a16="http://schemas.microsoft.com/office/drawing/2014/main" id="{543F6511-A84D-4BDE-A124-C8157697787C}"/>
                    </a:ext>
                  </a:extLst>
                </p:cNvPr>
                <p:cNvSpPr txBox="1"/>
                <p:nvPr/>
              </p:nvSpPr>
              <p:spPr>
                <a:xfrm>
                  <a:off x="9460486" y="4433115"/>
                  <a:ext cx="1746677" cy="161863"/>
                </a:xfrm>
                <a:prstGeom prst="rect">
                  <a:avLst/>
                </a:prstGeom>
                <a:noFill/>
              </p:spPr>
              <p:txBody>
                <a:bodyPr wrap="none" lIns="0" tIns="0" rIns="0" bIns="0" rtlCol="0">
                  <a:noAutofit/>
                </a:bodyPr>
                <a:lstStyle/>
                <a:p>
                  <a:pPr algn="l"/>
                  <a:r>
                    <a:rPr lang="en-IN" sz="1000" b="1"/>
                    <a:t>Go-Live data to MPS</a:t>
                  </a:r>
                </a:p>
              </p:txBody>
            </p:sp>
            <p:sp>
              <p:nvSpPr>
                <p:cNvPr id="138" name="Cylinder 137">
                  <a:extLst>
                    <a:ext uri="{FF2B5EF4-FFF2-40B4-BE49-F238E27FC236}">
                      <a16:creationId xmlns:a16="http://schemas.microsoft.com/office/drawing/2014/main" id="{D2BD0803-DFED-4540-82FE-C72E0551B853}"/>
                    </a:ext>
                  </a:extLst>
                </p:cNvPr>
                <p:cNvSpPr/>
                <p:nvPr/>
              </p:nvSpPr>
              <p:spPr>
                <a:xfrm>
                  <a:off x="11439519" y="2658144"/>
                  <a:ext cx="2046774" cy="2356232"/>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9" name="Rectangle 138">
                  <a:extLst>
                    <a:ext uri="{FF2B5EF4-FFF2-40B4-BE49-F238E27FC236}">
                      <a16:creationId xmlns:a16="http://schemas.microsoft.com/office/drawing/2014/main" id="{C95D830B-5F33-4AC3-BB22-BD7AAC6963B1}"/>
                    </a:ext>
                  </a:extLst>
                </p:cNvPr>
                <p:cNvSpPr/>
                <p:nvPr/>
              </p:nvSpPr>
              <p:spPr>
                <a:xfrm>
                  <a:off x="11759723" y="3228472"/>
                  <a:ext cx="1574713" cy="436761"/>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900"/>
                    <a:t>Policy-Plan </a:t>
                  </a:r>
                </a:p>
              </p:txBody>
            </p:sp>
            <p:sp>
              <p:nvSpPr>
                <p:cNvPr id="140" name="Rectangle 139">
                  <a:extLst>
                    <a:ext uri="{FF2B5EF4-FFF2-40B4-BE49-F238E27FC236}">
                      <a16:creationId xmlns:a16="http://schemas.microsoft.com/office/drawing/2014/main" id="{3A5F6ED9-B933-45D0-99D1-6367F8941BDA}"/>
                    </a:ext>
                  </a:extLst>
                </p:cNvPr>
                <p:cNvSpPr/>
                <p:nvPr/>
              </p:nvSpPr>
              <p:spPr>
                <a:xfrm>
                  <a:off x="11506674" y="3731748"/>
                  <a:ext cx="811997" cy="360468"/>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800"/>
                    <a:t>Customer</a:t>
                  </a:r>
                </a:p>
              </p:txBody>
            </p:sp>
            <p:sp>
              <p:nvSpPr>
                <p:cNvPr id="142" name="Rectangle 141">
                  <a:extLst>
                    <a:ext uri="{FF2B5EF4-FFF2-40B4-BE49-F238E27FC236}">
                      <a16:creationId xmlns:a16="http://schemas.microsoft.com/office/drawing/2014/main" id="{69878FE7-2CEE-4DDA-BF55-7F773F3D2359}"/>
                    </a:ext>
                  </a:extLst>
                </p:cNvPr>
                <p:cNvSpPr/>
                <p:nvPr/>
              </p:nvSpPr>
              <p:spPr>
                <a:xfrm>
                  <a:off x="12481353" y="3748618"/>
                  <a:ext cx="915515" cy="360468"/>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900"/>
                    <a:t>Member</a:t>
                  </a:r>
                </a:p>
              </p:txBody>
            </p:sp>
            <p:sp>
              <p:nvSpPr>
                <p:cNvPr id="143" name="Rounded Rectangle 13">
                  <a:extLst>
                    <a:ext uri="{FF2B5EF4-FFF2-40B4-BE49-F238E27FC236}">
                      <a16:creationId xmlns:a16="http://schemas.microsoft.com/office/drawing/2014/main" id="{52720B50-322C-4C42-8D2A-CAC4E600F227}"/>
                    </a:ext>
                  </a:extLst>
                </p:cNvPr>
                <p:cNvSpPr/>
                <p:nvPr/>
              </p:nvSpPr>
              <p:spPr>
                <a:xfrm>
                  <a:off x="11298988" y="2546234"/>
                  <a:ext cx="2327835" cy="2639935"/>
                </a:xfrm>
                <a:prstGeom prst="round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Verdana"/>
                    <a:ea typeface="+mn-ea"/>
                    <a:cs typeface="+mn-cs"/>
                  </a:endParaRPr>
                </a:p>
              </p:txBody>
            </p:sp>
            <p:sp>
              <p:nvSpPr>
                <p:cNvPr id="145" name="Rectangle 144">
                  <a:extLst>
                    <a:ext uri="{FF2B5EF4-FFF2-40B4-BE49-F238E27FC236}">
                      <a16:creationId xmlns:a16="http://schemas.microsoft.com/office/drawing/2014/main" id="{9ABCE3A7-F4FE-41F4-80FD-BFD9BD7F5627}"/>
                    </a:ext>
                  </a:extLst>
                </p:cNvPr>
                <p:cNvSpPr/>
                <p:nvPr/>
              </p:nvSpPr>
              <p:spPr>
                <a:xfrm>
                  <a:off x="11479789" y="4173961"/>
                  <a:ext cx="811997" cy="360468"/>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900"/>
                    <a:t>Financial</a:t>
                  </a:r>
                </a:p>
              </p:txBody>
            </p:sp>
            <p:sp>
              <p:nvSpPr>
                <p:cNvPr id="146" name="Rectangle 145">
                  <a:extLst>
                    <a:ext uri="{FF2B5EF4-FFF2-40B4-BE49-F238E27FC236}">
                      <a16:creationId xmlns:a16="http://schemas.microsoft.com/office/drawing/2014/main" id="{A4813F2F-5A84-433B-A25E-65585FA3C42A}"/>
                    </a:ext>
                  </a:extLst>
                </p:cNvPr>
                <p:cNvSpPr/>
                <p:nvPr/>
              </p:nvSpPr>
              <p:spPr>
                <a:xfrm>
                  <a:off x="12454468" y="4190831"/>
                  <a:ext cx="915515" cy="360468"/>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900"/>
                    <a:t>Others</a:t>
                  </a:r>
                </a:p>
              </p:txBody>
            </p:sp>
            <p:pic>
              <p:nvPicPr>
                <p:cNvPr id="147" name="Picture 146">
                  <a:extLst>
                    <a:ext uri="{FF2B5EF4-FFF2-40B4-BE49-F238E27FC236}">
                      <a16:creationId xmlns:a16="http://schemas.microsoft.com/office/drawing/2014/main" id="{D8ACCE12-1E97-4503-8ADD-FA7838341CA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008028" y="4792369"/>
                  <a:ext cx="385288" cy="385289"/>
                </a:xfrm>
                <a:prstGeom prst="rect">
                  <a:avLst/>
                </a:prstGeom>
              </p:spPr>
            </p:pic>
            <p:pic>
              <p:nvPicPr>
                <p:cNvPr id="148" name="Picture 147">
                  <a:extLst>
                    <a:ext uri="{FF2B5EF4-FFF2-40B4-BE49-F238E27FC236}">
                      <a16:creationId xmlns:a16="http://schemas.microsoft.com/office/drawing/2014/main" id="{1C41F1E3-7279-4CDF-864B-58E035914A8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2354435" y="5236143"/>
                  <a:ext cx="385288" cy="385289"/>
                </a:xfrm>
                <a:prstGeom prst="rect">
                  <a:avLst/>
                </a:prstGeom>
              </p:spPr>
            </p:pic>
          </p:grpSp>
          <p:sp>
            <p:nvSpPr>
              <p:cNvPr id="144" name="TextBox 143">
                <a:extLst>
                  <a:ext uri="{FF2B5EF4-FFF2-40B4-BE49-F238E27FC236}">
                    <a16:creationId xmlns:a16="http://schemas.microsoft.com/office/drawing/2014/main" id="{AD0A9F86-05D3-44B7-8E61-5584909B2D3C}"/>
                  </a:ext>
                </a:extLst>
              </p:cNvPr>
              <p:cNvSpPr txBox="1"/>
              <p:nvPr/>
            </p:nvSpPr>
            <p:spPr>
              <a:xfrm>
                <a:off x="9406230" y="2507901"/>
                <a:ext cx="3014364" cy="389685"/>
              </a:xfrm>
              <a:prstGeom prst="rect">
                <a:avLst/>
              </a:prstGeom>
              <a:noFill/>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100" b="1" i="1" u="none" strike="noStrike" kern="0" cap="none" spc="0" normalizeH="0" baseline="0" noProof="0">
                  <a:ln>
                    <a:noFill/>
                  </a:ln>
                  <a:solidFill>
                    <a:prstClr val="black"/>
                  </a:solidFill>
                  <a:effectLst/>
                  <a:uLnTx/>
                  <a:uFillTx/>
                  <a:latin typeface="Verdana"/>
                  <a:ea typeface="MS PGothic" panose="020B0600070205080204" pitchFamily="34" charset="-128"/>
                  <a:cs typeface="Arial" panose="020B0604020202020204" pitchFamily="34" charset="0"/>
                </a:endParaRPr>
              </a:p>
              <a:p>
                <a:pPr lvl="0" algn="ctr" eaLnBrk="0" fontAlgn="base" hangingPunct="0">
                  <a:spcBef>
                    <a:spcPct val="0"/>
                  </a:spcBef>
                  <a:spcAft>
                    <a:spcPct val="0"/>
                  </a:spcAft>
                  <a:defRPr/>
                </a:pPr>
                <a:r>
                  <a:rPr lang="en-US" sz="1100" b="1" i="1" kern="0">
                    <a:solidFill>
                      <a:prstClr val="black"/>
                    </a:solidFill>
                    <a:ea typeface="MS PGothic" panose="020B0600070205080204" pitchFamily="34" charset="-128"/>
                    <a:cs typeface="Arial" panose="020B0604020202020204" pitchFamily="34" charset="0"/>
                  </a:rPr>
                  <a:t>MPS</a:t>
                </a:r>
                <a:endParaRPr kumimoji="0" lang="en-US" sz="1100" b="1" i="1" u="none" strike="noStrike" kern="0" cap="none" spc="0" normalizeH="0" baseline="0" noProof="0">
                  <a:ln>
                    <a:noFill/>
                  </a:ln>
                  <a:solidFill>
                    <a:prstClr val="black"/>
                  </a:solidFill>
                  <a:effectLst/>
                  <a:uLnTx/>
                  <a:uFillTx/>
                  <a:latin typeface="Verdana"/>
                  <a:ea typeface="+mn-ea"/>
                  <a:cs typeface="Arial" charset="0"/>
                </a:endParaRPr>
              </a:p>
            </p:txBody>
          </p:sp>
        </p:grpSp>
        <p:grpSp>
          <p:nvGrpSpPr>
            <p:cNvPr id="5" name="Group 4">
              <a:extLst>
                <a:ext uri="{FF2B5EF4-FFF2-40B4-BE49-F238E27FC236}">
                  <a16:creationId xmlns:a16="http://schemas.microsoft.com/office/drawing/2014/main" id="{943E8A04-FA61-4B60-93F2-51E9E268CB4D}"/>
                </a:ext>
              </a:extLst>
            </p:cNvPr>
            <p:cNvGrpSpPr/>
            <p:nvPr/>
          </p:nvGrpSpPr>
          <p:grpSpPr>
            <a:xfrm>
              <a:off x="77724" y="1236811"/>
              <a:ext cx="12104743" cy="4895580"/>
              <a:chOff x="77724" y="1236811"/>
              <a:chExt cx="12104743" cy="4895580"/>
            </a:xfrm>
          </p:grpSpPr>
          <p:grpSp>
            <p:nvGrpSpPr>
              <p:cNvPr id="4" name="Group 3">
                <a:extLst>
                  <a:ext uri="{FF2B5EF4-FFF2-40B4-BE49-F238E27FC236}">
                    <a16:creationId xmlns:a16="http://schemas.microsoft.com/office/drawing/2014/main" id="{48D87AEF-BEA0-4C61-B232-4F91BFA12A24}"/>
                  </a:ext>
                </a:extLst>
              </p:cNvPr>
              <p:cNvGrpSpPr/>
              <p:nvPr/>
            </p:nvGrpSpPr>
            <p:grpSpPr>
              <a:xfrm>
                <a:off x="77724" y="1236811"/>
                <a:ext cx="12104743" cy="398205"/>
                <a:chOff x="77724" y="1236811"/>
                <a:chExt cx="12104743" cy="398205"/>
              </a:xfrm>
            </p:grpSpPr>
            <p:graphicFrame>
              <p:nvGraphicFramePr>
                <p:cNvPr id="60" name="Diagram 59">
                  <a:extLst>
                    <a:ext uri="{FF2B5EF4-FFF2-40B4-BE49-F238E27FC236}">
                      <a16:creationId xmlns:a16="http://schemas.microsoft.com/office/drawing/2014/main" id="{28032141-62B8-4409-9E5F-335FFCCD4FB4}"/>
                    </a:ext>
                  </a:extLst>
                </p:cNvPr>
                <p:cNvGraphicFramePr/>
                <p:nvPr>
                  <p:extLst>
                    <p:ext uri="{D42A27DB-BD31-4B8C-83A1-F6EECF244321}">
                      <p14:modId xmlns:p14="http://schemas.microsoft.com/office/powerpoint/2010/main" val="1127743177"/>
                    </p:ext>
                  </p:extLst>
                </p:nvPr>
              </p:nvGraphicFramePr>
              <p:xfrm>
                <a:off x="1072481" y="1243192"/>
                <a:ext cx="1355387" cy="38157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nvGrpSpPr>
                <p:cNvPr id="97" name="Group 96">
                  <a:extLst>
                    <a:ext uri="{FF2B5EF4-FFF2-40B4-BE49-F238E27FC236}">
                      <a16:creationId xmlns:a16="http://schemas.microsoft.com/office/drawing/2014/main" id="{37AABEF2-AB99-4A33-90F8-DBAE3CDCE320}"/>
                    </a:ext>
                  </a:extLst>
                </p:cNvPr>
                <p:cNvGrpSpPr/>
                <p:nvPr/>
              </p:nvGrpSpPr>
              <p:grpSpPr>
                <a:xfrm>
                  <a:off x="2320738" y="1242753"/>
                  <a:ext cx="2243703" cy="385738"/>
                  <a:chOff x="2193" y="0"/>
                  <a:chExt cx="2243703" cy="203564"/>
                </a:xfrm>
              </p:grpSpPr>
              <p:sp>
                <p:nvSpPr>
                  <p:cNvPr id="98" name="Arrow: Chevron 97">
                    <a:extLst>
                      <a:ext uri="{FF2B5EF4-FFF2-40B4-BE49-F238E27FC236}">
                        <a16:creationId xmlns:a16="http://schemas.microsoft.com/office/drawing/2014/main" id="{A29BB2C4-D7CC-4B53-8CCD-99583B1237C9}"/>
                      </a:ext>
                    </a:extLst>
                  </p:cNvPr>
                  <p:cNvSpPr/>
                  <p:nvPr/>
                </p:nvSpPr>
                <p:spPr>
                  <a:xfrm>
                    <a:off x="2193" y="0"/>
                    <a:ext cx="2243703" cy="203564"/>
                  </a:xfrm>
                  <a:prstGeom prst="chevron">
                    <a:avLst/>
                  </a:prstGeom>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sp>
              <p:sp>
                <p:nvSpPr>
                  <p:cNvPr id="99" name="Arrow: Chevron 4">
                    <a:extLst>
                      <a:ext uri="{FF2B5EF4-FFF2-40B4-BE49-F238E27FC236}">
                        <a16:creationId xmlns:a16="http://schemas.microsoft.com/office/drawing/2014/main" id="{8025F1A1-D24B-4623-921E-E9ACCAD67BE2}"/>
                      </a:ext>
                    </a:extLst>
                  </p:cNvPr>
                  <p:cNvSpPr txBox="1"/>
                  <p:nvPr/>
                </p:nvSpPr>
                <p:spPr>
                  <a:xfrm>
                    <a:off x="132256" y="0"/>
                    <a:ext cx="2040139" cy="20356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IN" sz="1100" b="1" kern="1200"/>
                      <a:t>Tool Enhancement</a:t>
                    </a:r>
                  </a:p>
                </p:txBody>
              </p:sp>
            </p:grpSp>
            <p:grpSp>
              <p:nvGrpSpPr>
                <p:cNvPr id="100" name="Group 99">
                  <a:extLst>
                    <a:ext uri="{FF2B5EF4-FFF2-40B4-BE49-F238E27FC236}">
                      <a16:creationId xmlns:a16="http://schemas.microsoft.com/office/drawing/2014/main" id="{C1363B0B-B17F-4362-8624-9AC7D1325B0C}"/>
                    </a:ext>
                  </a:extLst>
                </p:cNvPr>
                <p:cNvGrpSpPr/>
                <p:nvPr/>
              </p:nvGrpSpPr>
              <p:grpSpPr>
                <a:xfrm>
                  <a:off x="6144264" y="1249278"/>
                  <a:ext cx="2243703" cy="385738"/>
                  <a:chOff x="2193" y="0"/>
                  <a:chExt cx="2243703" cy="203564"/>
                </a:xfrm>
              </p:grpSpPr>
              <p:sp>
                <p:nvSpPr>
                  <p:cNvPr id="104" name="Arrow: Chevron 103">
                    <a:extLst>
                      <a:ext uri="{FF2B5EF4-FFF2-40B4-BE49-F238E27FC236}">
                        <a16:creationId xmlns:a16="http://schemas.microsoft.com/office/drawing/2014/main" id="{DB29B7E2-35A2-4FE3-B597-604AF1F2EE0C}"/>
                      </a:ext>
                    </a:extLst>
                  </p:cNvPr>
                  <p:cNvSpPr/>
                  <p:nvPr/>
                </p:nvSpPr>
                <p:spPr>
                  <a:xfrm>
                    <a:off x="2193" y="0"/>
                    <a:ext cx="2243703" cy="203564"/>
                  </a:xfrm>
                  <a:prstGeom prst="chevron">
                    <a:avLst/>
                  </a:prstGeom>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sp>
              <p:sp>
                <p:nvSpPr>
                  <p:cNvPr id="105" name="Arrow: Chevron 4">
                    <a:extLst>
                      <a:ext uri="{FF2B5EF4-FFF2-40B4-BE49-F238E27FC236}">
                        <a16:creationId xmlns:a16="http://schemas.microsoft.com/office/drawing/2014/main" id="{5FB5C80A-B298-489B-ABAB-56E9994EB77E}"/>
                      </a:ext>
                    </a:extLst>
                  </p:cNvPr>
                  <p:cNvSpPr txBox="1"/>
                  <p:nvPr/>
                </p:nvSpPr>
                <p:spPr>
                  <a:xfrm>
                    <a:off x="103975" y="0"/>
                    <a:ext cx="2040139" cy="20356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IN" sz="1100" b="1" kern="1200"/>
                      <a:t>Data &amp; App Validation</a:t>
                    </a:r>
                  </a:p>
                </p:txBody>
              </p:sp>
            </p:grpSp>
            <p:grpSp>
              <p:nvGrpSpPr>
                <p:cNvPr id="106" name="Group 105">
                  <a:extLst>
                    <a:ext uri="{FF2B5EF4-FFF2-40B4-BE49-F238E27FC236}">
                      <a16:creationId xmlns:a16="http://schemas.microsoft.com/office/drawing/2014/main" id="{3A90273F-4739-46A8-99CA-0ABC61F2BA98}"/>
                    </a:ext>
                  </a:extLst>
                </p:cNvPr>
                <p:cNvGrpSpPr/>
                <p:nvPr/>
              </p:nvGrpSpPr>
              <p:grpSpPr>
                <a:xfrm>
                  <a:off x="8348780" y="1249201"/>
                  <a:ext cx="1777354" cy="385738"/>
                  <a:chOff x="2193" y="0"/>
                  <a:chExt cx="2243703" cy="203564"/>
                </a:xfrm>
              </p:grpSpPr>
              <p:sp>
                <p:nvSpPr>
                  <p:cNvPr id="107" name="Arrow: Chevron 106">
                    <a:extLst>
                      <a:ext uri="{FF2B5EF4-FFF2-40B4-BE49-F238E27FC236}">
                        <a16:creationId xmlns:a16="http://schemas.microsoft.com/office/drawing/2014/main" id="{3CC091EC-768C-4CD9-8713-9039F76BF1AF}"/>
                      </a:ext>
                    </a:extLst>
                  </p:cNvPr>
                  <p:cNvSpPr/>
                  <p:nvPr/>
                </p:nvSpPr>
                <p:spPr>
                  <a:xfrm>
                    <a:off x="2193" y="0"/>
                    <a:ext cx="2243703" cy="203564"/>
                  </a:xfrm>
                  <a:prstGeom prst="chevron">
                    <a:avLst/>
                  </a:prstGeom>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sp>
              <p:sp>
                <p:nvSpPr>
                  <p:cNvPr id="108" name="Arrow: Chevron 4">
                    <a:extLst>
                      <a:ext uri="{FF2B5EF4-FFF2-40B4-BE49-F238E27FC236}">
                        <a16:creationId xmlns:a16="http://schemas.microsoft.com/office/drawing/2014/main" id="{0A4187A9-F58A-45BA-9DD4-E4AB513AF82B}"/>
                      </a:ext>
                    </a:extLst>
                  </p:cNvPr>
                  <p:cNvSpPr txBox="1"/>
                  <p:nvPr/>
                </p:nvSpPr>
                <p:spPr>
                  <a:xfrm>
                    <a:off x="103975" y="0"/>
                    <a:ext cx="2040139" cy="20356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IN" sz="1100" b="1"/>
                      <a:t>Production Move</a:t>
                    </a:r>
                    <a:endParaRPr lang="en-IN" sz="1100" b="1" kern="1200"/>
                  </a:p>
                </p:txBody>
              </p:sp>
            </p:grpSp>
            <p:grpSp>
              <p:nvGrpSpPr>
                <p:cNvPr id="109" name="Group 108">
                  <a:extLst>
                    <a:ext uri="{FF2B5EF4-FFF2-40B4-BE49-F238E27FC236}">
                      <a16:creationId xmlns:a16="http://schemas.microsoft.com/office/drawing/2014/main" id="{4C4E7DE0-7E2B-4828-BBC8-21FCD8B9053F}"/>
                    </a:ext>
                  </a:extLst>
                </p:cNvPr>
                <p:cNvGrpSpPr/>
                <p:nvPr/>
              </p:nvGrpSpPr>
              <p:grpSpPr>
                <a:xfrm>
                  <a:off x="10073788" y="1246654"/>
                  <a:ext cx="2108679" cy="384827"/>
                  <a:chOff x="2193" y="0"/>
                  <a:chExt cx="2243703" cy="203564"/>
                </a:xfrm>
              </p:grpSpPr>
              <p:sp>
                <p:nvSpPr>
                  <p:cNvPr id="110" name="Arrow: Chevron 109">
                    <a:extLst>
                      <a:ext uri="{FF2B5EF4-FFF2-40B4-BE49-F238E27FC236}">
                        <a16:creationId xmlns:a16="http://schemas.microsoft.com/office/drawing/2014/main" id="{C2BDCACE-C40D-42A5-BD6B-18B960B7EF0D}"/>
                      </a:ext>
                    </a:extLst>
                  </p:cNvPr>
                  <p:cNvSpPr/>
                  <p:nvPr/>
                </p:nvSpPr>
                <p:spPr>
                  <a:xfrm>
                    <a:off x="2193" y="0"/>
                    <a:ext cx="2243703" cy="203564"/>
                  </a:xfrm>
                  <a:prstGeom prst="chevron">
                    <a:avLst/>
                  </a:prstGeom>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sp>
              <p:sp>
                <p:nvSpPr>
                  <p:cNvPr id="111" name="Arrow: Chevron 4">
                    <a:extLst>
                      <a:ext uri="{FF2B5EF4-FFF2-40B4-BE49-F238E27FC236}">
                        <a16:creationId xmlns:a16="http://schemas.microsoft.com/office/drawing/2014/main" id="{C9533A63-0D1A-4942-8B44-67EE33539E06}"/>
                      </a:ext>
                    </a:extLst>
                  </p:cNvPr>
                  <p:cNvSpPr txBox="1"/>
                  <p:nvPr/>
                </p:nvSpPr>
                <p:spPr>
                  <a:xfrm>
                    <a:off x="103975" y="0"/>
                    <a:ext cx="2040139" cy="20356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IN" sz="1100" b="1" kern="1200"/>
                      <a:t>Customer Notification</a:t>
                    </a:r>
                  </a:p>
                </p:txBody>
              </p:sp>
            </p:grpSp>
            <p:grpSp>
              <p:nvGrpSpPr>
                <p:cNvPr id="120" name="Group 119">
                  <a:extLst>
                    <a:ext uri="{FF2B5EF4-FFF2-40B4-BE49-F238E27FC236}">
                      <a16:creationId xmlns:a16="http://schemas.microsoft.com/office/drawing/2014/main" id="{3196AF26-14ED-4322-AE31-5DA7A47873A1}"/>
                    </a:ext>
                  </a:extLst>
                </p:cNvPr>
                <p:cNvGrpSpPr/>
                <p:nvPr/>
              </p:nvGrpSpPr>
              <p:grpSpPr>
                <a:xfrm>
                  <a:off x="4468667" y="1269069"/>
                  <a:ext cx="1735456" cy="365122"/>
                  <a:chOff x="2193" y="0"/>
                  <a:chExt cx="2243703" cy="203564"/>
                </a:xfrm>
              </p:grpSpPr>
              <p:sp>
                <p:nvSpPr>
                  <p:cNvPr id="121" name="Arrow: Chevron 120">
                    <a:extLst>
                      <a:ext uri="{FF2B5EF4-FFF2-40B4-BE49-F238E27FC236}">
                        <a16:creationId xmlns:a16="http://schemas.microsoft.com/office/drawing/2014/main" id="{057A7949-DEDD-4C57-8EEC-17DEAB07441F}"/>
                      </a:ext>
                    </a:extLst>
                  </p:cNvPr>
                  <p:cNvSpPr/>
                  <p:nvPr/>
                </p:nvSpPr>
                <p:spPr>
                  <a:xfrm>
                    <a:off x="2193" y="0"/>
                    <a:ext cx="2243703" cy="203564"/>
                  </a:xfrm>
                  <a:prstGeom prst="chevron">
                    <a:avLst/>
                  </a:prstGeom>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sp>
              <p:sp>
                <p:nvSpPr>
                  <p:cNvPr id="122" name="Arrow: Chevron 4">
                    <a:extLst>
                      <a:ext uri="{FF2B5EF4-FFF2-40B4-BE49-F238E27FC236}">
                        <a16:creationId xmlns:a16="http://schemas.microsoft.com/office/drawing/2014/main" id="{681B651B-94BE-46AE-B859-245C741949F0}"/>
                      </a:ext>
                    </a:extLst>
                  </p:cNvPr>
                  <p:cNvSpPr txBox="1"/>
                  <p:nvPr/>
                </p:nvSpPr>
                <p:spPr>
                  <a:xfrm>
                    <a:off x="103975" y="0"/>
                    <a:ext cx="2040139" cy="20356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IN" sz="1100" b="1" kern="1200"/>
                      <a:t>Mapping</a:t>
                    </a:r>
                  </a:p>
                </p:txBody>
              </p:sp>
            </p:grpSp>
            <p:graphicFrame>
              <p:nvGraphicFramePr>
                <p:cNvPr id="123" name="Diagram 122">
                  <a:extLst>
                    <a:ext uri="{FF2B5EF4-FFF2-40B4-BE49-F238E27FC236}">
                      <a16:creationId xmlns:a16="http://schemas.microsoft.com/office/drawing/2014/main" id="{14935426-C343-4AE4-9084-372AC0D736CD}"/>
                    </a:ext>
                  </a:extLst>
                </p:cNvPr>
                <p:cNvGraphicFramePr/>
                <p:nvPr>
                  <p:extLst>
                    <p:ext uri="{D42A27DB-BD31-4B8C-83A1-F6EECF244321}">
                      <p14:modId xmlns:p14="http://schemas.microsoft.com/office/powerpoint/2010/main" val="2879781407"/>
                    </p:ext>
                  </p:extLst>
                </p:nvPr>
              </p:nvGraphicFramePr>
              <p:xfrm>
                <a:off x="77724" y="1236811"/>
                <a:ext cx="1077904" cy="381572"/>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pSp>
          <p:cxnSp>
            <p:nvCxnSpPr>
              <p:cNvPr id="29" name="Connector: Elbow 28">
                <a:extLst>
                  <a:ext uri="{FF2B5EF4-FFF2-40B4-BE49-F238E27FC236}">
                    <a16:creationId xmlns:a16="http://schemas.microsoft.com/office/drawing/2014/main" id="{FC1FF5D0-A9BB-4E3F-9423-F7ED2E235CE2}"/>
                  </a:ext>
                </a:extLst>
              </p:cNvPr>
              <p:cNvCxnSpPr>
                <a:endCxn id="129" idx="2"/>
              </p:cNvCxnSpPr>
              <p:nvPr/>
            </p:nvCxnSpPr>
            <p:spPr>
              <a:xfrm rot="10800000" flipV="1">
                <a:off x="1196732" y="4280957"/>
                <a:ext cx="7777586" cy="385247"/>
              </a:xfrm>
              <a:prstGeom prst="bentConnector4">
                <a:avLst>
                  <a:gd name="adj1" fmla="val -26"/>
                  <a:gd name="adj2" fmla="val 193597"/>
                </a:avLst>
              </a:prstGeom>
              <a:ln>
                <a:tailEnd type="triangle"/>
              </a:ln>
            </p:spPr>
            <p:style>
              <a:lnRef idx="2">
                <a:schemeClr val="accent1"/>
              </a:lnRef>
              <a:fillRef idx="0">
                <a:schemeClr val="accent1"/>
              </a:fillRef>
              <a:effectRef idx="1">
                <a:schemeClr val="accent1"/>
              </a:effectRef>
              <a:fontRef idx="minor">
                <a:schemeClr val="tx1"/>
              </a:fontRef>
            </p:style>
          </p:cxnSp>
          <p:sp>
            <p:nvSpPr>
              <p:cNvPr id="151" name="TextBox 150">
                <a:extLst>
                  <a:ext uri="{FF2B5EF4-FFF2-40B4-BE49-F238E27FC236}">
                    <a16:creationId xmlns:a16="http://schemas.microsoft.com/office/drawing/2014/main" id="{030F436B-C81B-48C8-8CC8-8BEC6F1B1608}"/>
                  </a:ext>
                </a:extLst>
              </p:cNvPr>
              <p:cNvSpPr txBox="1"/>
              <p:nvPr/>
            </p:nvSpPr>
            <p:spPr>
              <a:xfrm>
                <a:off x="7492192" y="4775890"/>
                <a:ext cx="1505748" cy="215444"/>
              </a:xfrm>
              <a:prstGeom prst="rect">
                <a:avLst/>
              </a:prstGeom>
              <a:noFill/>
            </p:spPr>
            <p:txBody>
              <a:bodyPr wrap="square">
                <a:spAutoFit/>
              </a:bodyPr>
              <a:lstStyle/>
              <a:p>
                <a:pPr algn="ctr"/>
                <a:r>
                  <a:rPr lang="en-IN" sz="800"/>
                  <a:t>Closing the Plan in SLX</a:t>
                </a:r>
              </a:p>
            </p:txBody>
          </p:sp>
          <p:sp>
            <p:nvSpPr>
              <p:cNvPr id="152" name="Arrow: Left-Right 151">
                <a:extLst>
                  <a:ext uri="{FF2B5EF4-FFF2-40B4-BE49-F238E27FC236}">
                    <a16:creationId xmlns:a16="http://schemas.microsoft.com/office/drawing/2014/main" id="{8DA08901-3B27-49B4-847A-17077C454AD2}"/>
                  </a:ext>
                </a:extLst>
              </p:cNvPr>
              <p:cNvSpPr/>
              <p:nvPr/>
            </p:nvSpPr>
            <p:spPr>
              <a:xfrm>
                <a:off x="819605" y="5082020"/>
                <a:ext cx="10434769" cy="206074"/>
              </a:xfrm>
              <a:prstGeom prst="leftRightArrow">
                <a:avLst/>
              </a:prstGeom>
              <a:solidFill>
                <a:schemeClr val="bg1">
                  <a:lumMod val="85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IN" sz="800" b="1">
                  <a:solidFill>
                    <a:schemeClr val="bg1">
                      <a:lumMod val="50000"/>
                    </a:schemeClr>
                  </a:solidFill>
                </a:endParaRPr>
              </a:p>
            </p:txBody>
          </p:sp>
          <p:sp>
            <p:nvSpPr>
              <p:cNvPr id="153" name="TextBox 152">
                <a:extLst>
                  <a:ext uri="{FF2B5EF4-FFF2-40B4-BE49-F238E27FC236}">
                    <a16:creationId xmlns:a16="http://schemas.microsoft.com/office/drawing/2014/main" id="{53F37CD2-B286-45DC-9D54-20D4BE73979A}"/>
                  </a:ext>
                </a:extLst>
              </p:cNvPr>
              <p:cNvSpPr txBox="1"/>
              <p:nvPr/>
            </p:nvSpPr>
            <p:spPr>
              <a:xfrm>
                <a:off x="2938021" y="5221881"/>
                <a:ext cx="6315958" cy="253916"/>
              </a:xfrm>
              <a:prstGeom prst="rect">
                <a:avLst/>
              </a:prstGeom>
              <a:noFill/>
            </p:spPr>
            <p:txBody>
              <a:bodyPr wrap="square">
                <a:spAutoFit/>
              </a:bodyPr>
              <a:lstStyle/>
              <a:p>
                <a:pPr algn="ctr"/>
                <a:r>
                  <a:rPr lang="en-IN" sz="1050" b="1">
                    <a:solidFill>
                      <a:schemeClr val="bg1">
                        <a:lumMod val="50000"/>
                      </a:schemeClr>
                    </a:solidFill>
                  </a:rPr>
                  <a:t>KAFKA DATA INGESTION OR INFORMATICA FOR DATA SYNC</a:t>
                </a:r>
              </a:p>
            </p:txBody>
          </p:sp>
          <p:sp>
            <p:nvSpPr>
              <p:cNvPr id="154" name="Rectangle: Rounded Corners 153">
                <a:extLst>
                  <a:ext uri="{FF2B5EF4-FFF2-40B4-BE49-F238E27FC236}">
                    <a16:creationId xmlns:a16="http://schemas.microsoft.com/office/drawing/2014/main" id="{F62CE8B6-DB8B-42FD-A748-3F0ABFF259B6}"/>
                  </a:ext>
                </a:extLst>
              </p:cNvPr>
              <p:cNvSpPr/>
              <p:nvPr/>
            </p:nvSpPr>
            <p:spPr>
              <a:xfrm>
                <a:off x="103401" y="5605298"/>
                <a:ext cx="2327835" cy="460396"/>
              </a:xfrm>
              <a:prstGeom prst="roundRect">
                <a:avLst/>
              </a:prstGeom>
              <a:solidFill>
                <a:srgbClr val="002060"/>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b="1"/>
                  <a:t>SLX Data Environment</a:t>
                </a:r>
              </a:p>
            </p:txBody>
          </p:sp>
          <p:sp>
            <p:nvSpPr>
              <p:cNvPr id="155" name="Rectangle: Rounded Corners 154">
                <a:extLst>
                  <a:ext uri="{FF2B5EF4-FFF2-40B4-BE49-F238E27FC236}">
                    <a16:creationId xmlns:a16="http://schemas.microsoft.com/office/drawing/2014/main" id="{30AABDB0-F33D-4A9E-8C87-A8DF90B25959}"/>
                  </a:ext>
                </a:extLst>
              </p:cNvPr>
              <p:cNvSpPr/>
              <p:nvPr/>
            </p:nvSpPr>
            <p:spPr>
              <a:xfrm>
                <a:off x="9661205" y="5595557"/>
                <a:ext cx="2406448" cy="460396"/>
              </a:xfrm>
              <a:prstGeom prst="roundRect">
                <a:avLst/>
              </a:prstGeom>
              <a:solidFill>
                <a:srgbClr val="002060"/>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400" b="1"/>
                  <a:t>MPS Data Environment</a:t>
                </a:r>
              </a:p>
            </p:txBody>
          </p:sp>
          <p:pic>
            <p:nvPicPr>
              <p:cNvPr id="156" name="Picture 155">
                <a:extLst>
                  <a:ext uri="{FF2B5EF4-FFF2-40B4-BE49-F238E27FC236}">
                    <a16:creationId xmlns:a16="http://schemas.microsoft.com/office/drawing/2014/main" id="{56C9E2D3-2DCF-4635-9673-EC2BC63F3552}"/>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9021503" y="5570007"/>
                <a:ext cx="556817" cy="557375"/>
              </a:xfrm>
              <a:prstGeom prst="rect">
                <a:avLst/>
              </a:prstGeom>
            </p:spPr>
          </p:pic>
          <p:sp>
            <p:nvSpPr>
              <p:cNvPr id="157" name="Arrow: Right 156">
                <a:extLst>
                  <a:ext uri="{FF2B5EF4-FFF2-40B4-BE49-F238E27FC236}">
                    <a16:creationId xmlns:a16="http://schemas.microsoft.com/office/drawing/2014/main" id="{80021EFC-89F1-411F-8ABD-5E4D6E3C9B15}"/>
                  </a:ext>
                </a:extLst>
              </p:cNvPr>
              <p:cNvSpPr/>
              <p:nvPr/>
            </p:nvSpPr>
            <p:spPr>
              <a:xfrm>
                <a:off x="2552589" y="5608961"/>
                <a:ext cx="6318033" cy="52343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t>DATA MIGRATION (PHASE OR BULK)</a:t>
                </a:r>
              </a:p>
            </p:txBody>
          </p:sp>
          <p:pic>
            <p:nvPicPr>
              <p:cNvPr id="45" name="Picture 44" descr="Shape&#10;&#10;Description automatically generated with low confidence">
                <a:extLst>
                  <a:ext uri="{FF2B5EF4-FFF2-40B4-BE49-F238E27FC236}">
                    <a16:creationId xmlns:a16="http://schemas.microsoft.com/office/drawing/2014/main" id="{C72EDA49-0ED5-4343-B148-15E5EE218E71}"/>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6892114" y="1759657"/>
                <a:ext cx="617068" cy="617068"/>
              </a:xfrm>
              <a:prstGeom prst="rect">
                <a:avLst/>
              </a:prstGeom>
            </p:spPr>
          </p:pic>
          <p:sp>
            <p:nvSpPr>
              <p:cNvPr id="46" name="Arrow: Striped Right 45">
                <a:extLst>
                  <a:ext uri="{FF2B5EF4-FFF2-40B4-BE49-F238E27FC236}">
                    <a16:creationId xmlns:a16="http://schemas.microsoft.com/office/drawing/2014/main" id="{007D1F5C-508A-491F-AF15-43ABDA6A5ECB}"/>
                  </a:ext>
                </a:extLst>
              </p:cNvPr>
              <p:cNvSpPr/>
              <p:nvPr/>
            </p:nvSpPr>
            <p:spPr>
              <a:xfrm>
                <a:off x="3684918" y="1895404"/>
                <a:ext cx="3243675" cy="290078"/>
              </a:xfrm>
              <a:prstGeom prst="stripedRightArrow">
                <a:avLst/>
              </a:prstGeom>
              <a:noFill/>
              <a:ln w="3175" cap="flat" cmpd="sng" algn="ctr">
                <a:solidFill>
                  <a:schemeClr val="bg1">
                    <a:lumMod val="75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700">
                    <a:solidFill>
                      <a:schemeClr val="bg1">
                        <a:lumMod val="50000"/>
                      </a:schemeClr>
                    </a:solidFill>
                  </a:rPr>
                  <a:t>MPS APPLICATION ENCHANCEMENT FOR DATA MIGRATION</a:t>
                </a:r>
                <a:endParaRPr lang="en-IN" sz="700">
                  <a:solidFill>
                    <a:schemeClr val="bg1">
                      <a:lumMod val="50000"/>
                    </a:schemeClr>
                  </a:solidFill>
                </a:endParaRPr>
              </a:p>
            </p:txBody>
          </p:sp>
          <p:pic>
            <p:nvPicPr>
              <p:cNvPr id="49" name="Picture 48" descr="Icon&#10;&#10;Description automatically generated">
                <a:extLst>
                  <a:ext uri="{FF2B5EF4-FFF2-40B4-BE49-F238E27FC236}">
                    <a16:creationId xmlns:a16="http://schemas.microsoft.com/office/drawing/2014/main" id="{E4AA47AF-CE5F-47B6-B281-CD647173E65E}"/>
                  </a:ext>
                </a:extLst>
              </p:cNvPr>
              <p:cNvPicPr>
                <a:picLocks noChangeAspect="1"/>
              </p:cNvPicPr>
              <p:nvPr/>
            </p:nvPicPr>
            <p:blipFill>
              <a:blip r:embed="rId20" cstate="print">
                <a:extLst>
                  <a:ext uri="{BEBA8EAE-BF5A-486C-A8C5-ECC9F3942E4B}">
                    <a14:imgProps xmlns:a14="http://schemas.microsoft.com/office/drawing/2010/main">
                      <a14:imgLayer r:embed="rId21">
                        <a14:imgEffect>
                          <a14:backgroundRemoval t="10000" b="90000" l="10000" r="90000">
                            <a14:foregroundMark x1="34667" y1="58667" x2="34667" y2="58667"/>
                            <a14:foregroundMark x1="42222" y1="45333" x2="42222" y2="45333"/>
                          </a14:backgroundRemoval>
                        </a14:imgEffect>
                      </a14:imgLayer>
                    </a14:imgProps>
                  </a:ext>
                  <a:ext uri="{28A0092B-C50C-407E-A947-70E740481C1C}">
                    <a14:useLocalDpi xmlns:a14="http://schemas.microsoft.com/office/drawing/2010/main" val="0"/>
                  </a:ext>
                </a:extLst>
              </a:blip>
              <a:stretch>
                <a:fillRect/>
              </a:stretch>
            </p:blipFill>
            <p:spPr>
              <a:xfrm>
                <a:off x="7564298" y="1831470"/>
                <a:ext cx="504968" cy="504968"/>
              </a:xfrm>
              <a:prstGeom prst="rect">
                <a:avLst/>
              </a:prstGeom>
            </p:spPr>
          </p:pic>
          <p:cxnSp>
            <p:nvCxnSpPr>
              <p:cNvPr id="161" name="Straight Connector 160">
                <a:extLst>
                  <a:ext uri="{FF2B5EF4-FFF2-40B4-BE49-F238E27FC236}">
                    <a16:creationId xmlns:a16="http://schemas.microsoft.com/office/drawing/2014/main" id="{D9B32888-61CB-436A-8031-BB18B4D8A772}"/>
                  </a:ext>
                </a:extLst>
              </p:cNvPr>
              <p:cNvCxnSpPr>
                <a:cxnSpLocks/>
              </p:cNvCxnSpPr>
              <p:nvPr/>
            </p:nvCxnSpPr>
            <p:spPr>
              <a:xfrm flipV="1">
                <a:off x="7799587" y="2291091"/>
                <a:ext cx="0" cy="379609"/>
              </a:xfrm>
              <a:prstGeom prst="line">
                <a:avLst/>
              </a:prstGeom>
              <a:ln>
                <a:headEnd type="none" w="med" len="med"/>
                <a:tailEnd type="arrow" w="med" len="med"/>
              </a:ln>
            </p:spPr>
            <p:style>
              <a:lnRef idx="2">
                <a:schemeClr val="accent1"/>
              </a:lnRef>
              <a:fillRef idx="0">
                <a:schemeClr val="accent1"/>
              </a:fillRef>
              <a:effectRef idx="1">
                <a:schemeClr val="accent1"/>
              </a:effectRef>
              <a:fontRef idx="minor">
                <a:schemeClr val="tx1"/>
              </a:fontRef>
            </p:style>
          </p:cxnSp>
          <p:sp>
            <p:nvSpPr>
              <p:cNvPr id="165" name="TextBox 164">
                <a:extLst>
                  <a:ext uri="{FF2B5EF4-FFF2-40B4-BE49-F238E27FC236}">
                    <a16:creationId xmlns:a16="http://schemas.microsoft.com/office/drawing/2014/main" id="{895A56BE-D71F-440B-90F4-96236BAB67B3}"/>
                  </a:ext>
                </a:extLst>
              </p:cNvPr>
              <p:cNvSpPr txBox="1"/>
              <p:nvPr/>
            </p:nvSpPr>
            <p:spPr>
              <a:xfrm>
                <a:off x="7921925" y="2377494"/>
                <a:ext cx="755193" cy="151465"/>
              </a:xfrm>
              <a:prstGeom prst="rect">
                <a:avLst/>
              </a:prstGeom>
              <a:noFill/>
            </p:spPr>
            <p:txBody>
              <a:bodyPr wrap="none" lIns="0" tIns="0" rIns="0" bIns="0" rtlCol="0">
                <a:noAutofit/>
              </a:bodyPr>
              <a:lstStyle/>
              <a:p>
                <a:pPr algn="l"/>
                <a:r>
                  <a:rPr lang="en-IN" sz="800" b="1"/>
                  <a:t>Data </a:t>
                </a:r>
              </a:p>
              <a:p>
                <a:pPr algn="l"/>
                <a:r>
                  <a:rPr lang="en-IN" sz="800" b="1"/>
                  <a:t>Validation</a:t>
                </a:r>
              </a:p>
            </p:txBody>
          </p:sp>
        </p:grpSp>
      </p:grpSp>
      <p:sp>
        <p:nvSpPr>
          <p:cNvPr id="82" name="Text Placeholder 1">
            <a:extLst>
              <a:ext uri="{FF2B5EF4-FFF2-40B4-BE49-F238E27FC236}">
                <a16:creationId xmlns:a16="http://schemas.microsoft.com/office/drawing/2014/main" id="{873369FB-7552-43C7-A0CF-56A13FDC3BD5}"/>
              </a:ext>
            </a:extLst>
          </p:cNvPr>
          <p:cNvSpPr txBox="1">
            <a:spLocks/>
          </p:cNvSpPr>
          <p:nvPr/>
        </p:nvSpPr>
        <p:spPr bwMode="gray">
          <a:xfrm>
            <a:off x="426379" y="720386"/>
            <a:ext cx="11436096" cy="580529"/>
          </a:xfrm>
          <a:prstGeom prst="rect">
            <a:avLst/>
          </a:prstGeom>
        </p:spPr>
        <p:txBody>
          <a:bodyPr vert="horz" lIns="91440" tIns="45720" rIns="91440" bIns="45720" rtlCol="0">
            <a:noAutofit/>
          </a:bodyPr>
          <a:lstStyle>
            <a:lvl1pPr marL="0" indent="0" algn="l" defTabSz="1219170" rtl="0" eaLnBrk="1" latinLnBrk="0" hangingPunct="1">
              <a:spcBef>
                <a:spcPts val="0"/>
              </a:spcBef>
              <a:spcAft>
                <a:spcPts val="533"/>
              </a:spcAft>
              <a:buClr>
                <a:schemeClr val="tx1"/>
              </a:buClr>
              <a:buSzPct val="100000"/>
              <a:buFont typeface="Arial" panose="020B0604020202020204" pitchFamily="34" charset="0"/>
              <a:buNone/>
              <a:defRPr lang="en-US" sz="3200" b="1" kern="1200" baseline="0" dirty="0" smtClean="0">
                <a:solidFill>
                  <a:schemeClr val="tx1"/>
                </a:solidFill>
                <a:latin typeface="+mj-lt"/>
                <a:ea typeface="Verdana" pitchFamily="34" charset="0"/>
                <a:cs typeface="Verdana" pitchFamily="34" charset="0"/>
              </a:defRPr>
            </a:lvl1pPr>
            <a:lvl2pPr marL="0" indent="0" algn="l" defTabSz="1219170" rtl="0" eaLnBrk="1" latinLnBrk="0" hangingPunct="1">
              <a:spcBef>
                <a:spcPts val="0"/>
              </a:spcBef>
              <a:spcAft>
                <a:spcPts val="533"/>
              </a:spcAft>
              <a:buClr>
                <a:schemeClr val="tx1"/>
              </a:buClr>
              <a:buFont typeface="Arial" panose="020B0604020202020204" pitchFamily="34" charset="0"/>
              <a:buNone/>
              <a:defRPr lang="en-GB" sz="2400" kern="1200" baseline="0" dirty="0">
                <a:solidFill>
                  <a:schemeClr val="tx1"/>
                </a:solidFill>
                <a:latin typeface="+mj-lt"/>
                <a:ea typeface="Verdana" pitchFamily="34" charset="0"/>
                <a:cs typeface="Verdana" pitchFamily="34" charset="0"/>
              </a:defRPr>
            </a:lvl2pPr>
            <a:lvl3pPr marL="658352" indent="-219451" algn="l" defTabSz="1219170" rtl="0" eaLnBrk="1" latinLnBrk="0" hangingPunct="1">
              <a:spcBef>
                <a:spcPts val="0"/>
              </a:spcBef>
              <a:spcAft>
                <a:spcPts val="533"/>
              </a:spcAft>
              <a:buClr>
                <a:schemeClr val="tx1"/>
              </a:buClr>
              <a:buFont typeface="Arial" pitchFamily="34" charset="0"/>
              <a:buChar char="•"/>
              <a:defRPr sz="1467" kern="1200">
                <a:solidFill>
                  <a:schemeClr val="tx1"/>
                </a:solidFill>
                <a:latin typeface="Raleway Light" pitchFamily="2" charset="0"/>
                <a:ea typeface="Verdana" pitchFamily="34" charset="0"/>
                <a:cs typeface="Verdana" pitchFamily="34" charset="0"/>
              </a:defRPr>
            </a:lvl3pPr>
            <a:lvl4pPr marL="877802" indent="-219451" algn="l" defTabSz="1219170" rtl="0" eaLnBrk="1" latinLnBrk="0" hangingPunct="1">
              <a:spcBef>
                <a:spcPts val="0"/>
              </a:spcBef>
              <a:spcAft>
                <a:spcPts val="533"/>
              </a:spcAft>
              <a:buClr>
                <a:schemeClr val="tx1"/>
              </a:buClr>
              <a:buFont typeface="Arial" panose="020B0604020202020204" pitchFamily="34" charset="0"/>
              <a:buChar char="•"/>
              <a:defRPr sz="1333" kern="1200" baseline="0">
                <a:solidFill>
                  <a:schemeClr val="tx1"/>
                </a:solidFill>
                <a:latin typeface="+mn-lt"/>
                <a:ea typeface="Verdana" pitchFamily="34" charset="0"/>
                <a:cs typeface="Verdana" pitchFamily="34" charset="0"/>
              </a:defRPr>
            </a:lvl4pPr>
            <a:lvl5pPr marL="1799955" indent="-359991" algn="l" defTabSz="1219170" rtl="0" eaLnBrk="1" latinLnBrk="0" hangingPunct="1">
              <a:spcBef>
                <a:spcPct val="20000"/>
              </a:spcBef>
              <a:buClr>
                <a:schemeClr val="tx2"/>
              </a:buClr>
              <a:buFont typeface="Arial" pitchFamily="34" charset="0"/>
              <a:buChar char="»"/>
              <a:defRPr sz="2133" kern="1200">
                <a:solidFill>
                  <a:srgbClr val="FFFFFF"/>
                </a:solidFill>
                <a:latin typeface="Verdana" pitchFamily="34" charset="0"/>
                <a:ea typeface="Verdana" pitchFamily="34" charset="0"/>
                <a:cs typeface="Verdana"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r>
              <a:rPr lang="en-IN" sz="2133">
                <a:solidFill>
                  <a:srgbClr val="0596FF"/>
                </a:solidFill>
              </a:rPr>
              <a:t>With Informatica </a:t>
            </a:r>
          </a:p>
        </p:txBody>
      </p:sp>
      <p:sp>
        <p:nvSpPr>
          <p:cNvPr id="11" name="Title 7">
            <a:extLst>
              <a:ext uri="{FF2B5EF4-FFF2-40B4-BE49-F238E27FC236}">
                <a16:creationId xmlns:a16="http://schemas.microsoft.com/office/drawing/2014/main" id="{ACA97A05-472C-463C-A6B7-CAD98745C3AA}"/>
              </a:ext>
            </a:extLst>
          </p:cNvPr>
          <p:cNvSpPr txBox="1">
            <a:spLocks/>
          </p:cNvSpPr>
          <p:nvPr/>
        </p:nvSpPr>
        <p:spPr>
          <a:xfrm>
            <a:off x="303548" y="164637"/>
            <a:ext cx="11436096" cy="975360"/>
          </a:xfrm>
          <a:prstGeom prst="rect">
            <a:avLst/>
          </a:prstGeom>
        </p:spPr>
        <p:txBody>
          <a:bodyPr lIns="91440" tIns="45720" rIns="91440" bIns="45720" anchor="t"/>
          <a:lstStyle>
            <a:lvl1pPr algn="l" defTabSz="1219170" rtl="0" eaLnBrk="1" latinLnBrk="0" hangingPunct="1">
              <a:spcBef>
                <a:spcPct val="0"/>
              </a:spcBef>
              <a:buNone/>
              <a:defRPr sz="2667" b="1" kern="1200" baseline="0">
                <a:solidFill>
                  <a:schemeClr val="tx1"/>
                </a:solidFill>
                <a:latin typeface="Raleway SemiBold" pitchFamily="2" charset="0"/>
                <a:ea typeface="Verdana" pitchFamily="34" charset="0"/>
                <a:cs typeface="Raleway SemiBold" pitchFamily="2" charset="0"/>
              </a:defRPr>
            </a:lvl1pPr>
          </a:lstStyle>
          <a:p>
            <a:r>
              <a:rPr lang="en-IN" sz="2650" dirty="0">
                <a:latin typeface="Raleway SemiBold"/>
                <a:ea typeface="Verdana"/>
              </a:rPr>
              <a:t>Data Migration Solution – Option 1</a:t>
            </a:r>
            <a:endParaRPr lang="en-GB" sz="2650" dirty="0">
              <a:latin typeface="Raleway SemiBold"/>
              <a:ea typeface="Verdana"/>
            </a:endParaRPr>
          </a:p>
        </p:txBody>
      </p:sp>
    </p:spTree>
    <p:extLst>
      <p:ext uri="{BB962C8B-B14F-4D97-AF65-F5344CB8AC3E}">
        <p14:creationId xmlns:p14="http://schemas.microsoft.com/office/powerpoint/2010/main" val="4779558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lowchart: Alternate Process 6">
            <a:extLst>
              <a:ext uri="{FF2B5EF4-FFF2-40B4-BE49-F238E27FC236}">
                <a16:creationId xmlns:a16="http://schemas.microsoft.com/office/drawing/2014/main" id="{5A8C71D2-9E49-4D49-A153-F65DAF022F81}"/>
              </a:ext>
            </a:extLst>
          </p:cNvPr>
          <p:cNvSpPr/>
          <p:nvPr/>
        </p:nvSpPr>
        <p:spPr>
          <a:xfrm>
            <a:off x="9300955" y="1262081"/>
            <a:ext cx="2022309" cy="814153"/>
          </a:xfrm>
          <a:prstGeom prst="flowChartAlternateProcess">
            <a:avLst/>
          </a:prstGeom>
          <a:solidFill>
            <a:sysClr val="window" lastClr="FFFFFF"/>
          </a:solidFill>
          <a:ln w="25400" cap="flat" cmpd="sng" algn="ctr">
            <a:noFill/>
            <a:prstDash val="solid"/>
          </a:ln>
          <a:effectLst>
            <a:outerShdw blurRad="50800" dist="38100" dir="2700000" algn="tl" rotWithShape="0">
              <a:prstClr val="black">
                <a:alpha val="40000"/>
              </a:prstClr>
            </a:outerShdw>
          </a:effectLst>
        </p:spPr>
        <p:txBody>
          <a:bodyPr rot="0" spcFirstLastPara="0" vertOverflow="overflow" horzOverflow="overflow" vert="horz" wrap="square" lIns="68580" tIns="34290" rIns="68580" bIns="34290" numCol="1" spcCol="0" rtlCol="0" fromWordArt="0" anchor="b" anchorCtr="0" forceAA="0" compatLnSpc="1">
            <a:prstTxWarp prst="textNoShape">
              <a:avLst/>
            </a:prstTxWarp>
            <a:noAutofit/>
          </a:bodyPr>
          <a:lstStyle/>
          <a:p>
            <a:pPr algn="ctr" defTabSz="685800" fontAlgn="base">
              <a:spcBef>
                <a:spcPct val="0"/>
              </a:spcBef>
              <a:spcAft>
                <a:spcPct val="0"/>
              </a:spcAft>
              <a:defRPr/>
            </a:pPr>
            <a:endParaRPr lang="en-US" sz="1050" b="1" kern="0">
              <a:solidFill>
                <a:srgbClr val="000000"/>
              </a:solidFill>
              <a:latin typeface="Arial"/>
            </a:endParaRPr>
          </a:p>
        </p:txBody>
      </p:sp>
      <p:sp>
        <p:nvSpPr>
          <p:cNvPr id="28" name="TextBox 27">
            <a:extLst>
              <a:ext uri="{FF2B5EF4-FFF2-40B4-BE49-F238E27FC236}">
                <a16:creationId xmlns:a16="http://schemas.microsoft.com/office/drawing/2014/main" id="{D0179964-28EB-4945-B6ED-905243D33C3A}"/>
              </a:ext>
            </a:extLst>
          </p:cNvPr>
          <p:cNvSpPr txBox="1"/>
          <p:nvPr/>
        </p:nvSpPr>
        <p:spPr>
          <a:xfrm>
            <a:off x="475013" y="2570786"/>
            <a:ext cx="3152069" cy="2643801"/>
          </a:xfrm>
          <a:prstGeom prst="rect">
            <a:avLst/>
          </a:prstGeom>
          <a:noFill/>
        </p:spPr>
        <p:txBody>
          <a:bodyPr wrap="square" lIns="13716" tIns="13716" rIns="13716" bIns="13716" rtlCol="0" anchor="t">
            <a:spAutoFit/>
          </a:bodyPr>
          <a:lstStyle/>
          <a:p>
            <a:pPr defTabSz="685800" fontAlgn="base">
              <a:spcBef>
                <a:spcPct val="0"/>
              </a:spcBef>
              <a:spcAft>
                <a:spcPct val="0"/>
              </a:spcAft>
            </a:pPr>
            <a:r>
              <a:rPr lang="en-US" sz="1000" b="1" dirty="0">
                <a:solidFill>
                  <a:srgbClr val="0066A1"/>
                </a:solidFill>
                <a:cs typeface="Arial"/>
              </a:rPr>
              <a:t>Data Engineering</a:t>
            </a:r>
          </a:p>
          <a:p>
            <a:pPr defTabSz="685800" fontAlgn="base">
              <a:spcBef>
                <a:spcPct val="0"/>
              </a:spcBef>
              <a:spcAft>
                <a:spcPct val="0"/>
              </a:spcAft>
            </a:pPr>
            <a:endParaRPr lang="en-US" sz="1000" b="1" dirty="0">
              <a:solidFill>
                <a:srgbClr val="F26E01"/>
              </a:solidFill>
              <a:cs typeface="Arial" charset="0"/>
            </a:endParaRPr>
          </a:p>
          <a:p>
            <a:pPr marL="128270" indent="-128270" defTabSz="685800">
              <a:spcBef>
                <a:spcPts val="150"/>
              </a:spcBef>
              <a:buFont typeface="Wingdings" panose="05000000000000000000" pitchFamily="2" charset="2"/>
              <a:buChar char="§"/>
            </a:pPr>
            <a:r>
              <a:rPr lang="en-US" sz="1000" i="1" dirty="0"/>
              <a:t>Data grouping and classification</a:t>
            </a:r>
          </a:p>
          <a:p>
            <a:pPr marL="360045" lvl="1" indent="-171450" defTabSz="685800">
              <a:spcBef>
                <a:spcPts val="150"/>
              </a:spcBef>
              <a:buFont typeface="Arial" panose="020B0604020202020204" pitchFamily="34" charset="0"/>
              <a:buChar char="•"/>
            </a:pPr>
            <a:r>
              <a:rPr lang="en-US" sz="1000" i="1" dirty="0"/>
              <a:t>Products / Features mapping </a:t>
            </a:r>
          </a:p>
          <a:p>
            <a:pPr marL="360045" lvl="1" indent="-171450" defTabSz="685800">
              <a:spcBef>
                <a:spcPts val="150"/>
              </a:spcBef>
              <a:buFont typeface="Arial" panose="020B0604020202020204" pitchFamily="34" charset="0"/>
              <a:buChar char="•"/>
            </a:pPr>
            <a:r>
              <a:rPr lang="en-US" sz="1000" i="1" dirty="0"/>
              <a:t>Client Plan mapping</a:t>
            </a:r>
          </a:p>
          <a:p>
            <a:pPr marL="360045" lvl="1" indent="-171450" defTabSz="685800">
              <a:spcBef>
                <a:spcPts val="150"/>
              </a:spcBef>
              <a:buFont typeface="Arial" panose="020B0604020202020204" pitchFamily="34" charset="0"/>
              <a:buChar char="•"/>
            </a:pPr>
            <a:r>
              <a:rPr lang="en-US" sz="1000" i="1" dirty="0"/>
              <a:t>Plan group mapping from  SLX to MPS</a:t>
            </a:r>
          </a:p>
          <a:p>
            <a:pPr marL="360045" lvl="1" indent="-171450" defTabSz="685800">
              <a:spcBef>
                <a:spcPts val="150"/>
              </a:spcBef>
              <a:buFont typeface="Arial" panose="020B0604020202020204" pitchFamily="34" charset="0"/>
              <a:buChar char="•"/>
            </a:pPr>
            <a:r>
              <a:rPr lang="en-US" sz="1000" i="1" dirty="0"/>
              <a:t>DB plans from SLX to MPS</a:t>
            </a:r>
          </a:p>
          <a:p>
            <a:pPr marL="360045" lvl="1" indent="-171450" defTabSz="685800">
              <a:spcBef>
                <a:spcPts val="150"/>
              </a:spcBef>
              <a:buFont typeface="Arial" panose="020B0604020202020204" pitchFamily="34" charset="0"/>
              <a:buChar char="•"/>
            </a:pPr>
            <a:r>
              <a:rPr lang="en-US" sz="1000" i="1" dirty="0"/>
              <a:t>Member/Member Plan mapping</a:t>
            </a:r>
          </a:p>
          <a:p>
            <a:pPr marL="360045" lvl="1" indent="-171450" defTabSz="685800">
              <a:spcBef>
                <a:spcPts val="150"/>
              </a:spcBef>
              <a:buFont typeface="Arial" panose="020B0604020202020204" pitchFamily="34" charset="0"/>
              <a:buChar char="•"/>
            </a:pPr>
            <a:r>
              <a:rPr lang="en-US" sz="1000" i="1" dirty="0"/>
              <a:t>Financial calculations/modifications if any , mapping etc.</a:t>
            </a:r>
          </a:p>
          <a:p>
            <a:pPr marL="360045" lvl="1" indent="-171450" defTabSz="685800">
              <a:spcBef>
                <a:spcPts val="150"/>
              </a:spcBef>
              <a:buFont typeface="Arial" panose="020B0604020202020204" pitchFamily="34" charset="0"/>
              <a:buChar char="•"/>
            </a:pPr>
            <a:r>
              <a:rPr lang="en-US" sz="1000" i="1" dirty="0"/>
              <a:t>Investment/Fund Mapping</a:t>
            </a:r>
          </a:p>
          <a:p>
            <a:pPr marL="128270" indent="-128270" defTabSz="685800">
              <a:spcBef>
                <a:spcPts val="150"/>
              </a:spcBef>
              <a:buFont typeface="Wingdings" panose="05000000000000000000" pitchFamily="2" charset="2"/>
              <a:buChar char="§"/>
            </a:pPr>
            <a:r>
              <a:rPr lang="en-US" sz="1000" i="1" dirty="0"/>
              <a:t>Data assessment &amp; mapping</a:t>
            </a:r>
          </a:p>
          <a:p>
            <a:pPr marL="128270" indent="-128270" defTabSz="685800">
              <a:spcBef>
                <a:spcPts val="150"/>
              </a:spcBef>
              <a:buFont typeface="Wingdings" panose="05000000000000000000" pitchFamily="2" charset="2"/>
              <a:buChar char="§"/>
            </a:pPr>
            <a:r>
              <a:rPr lang="en-US" sz="1000" i="1" dirty="0"/>
              <a:t>Application Assessment</a:t>
            </a:r>
          </a:p>
          <a:p>
            <a:pPr marL="128270" indent="-128270" defTabSz="685800">
              <a:spcBef>
                <a:spcPts val="150"/>
              </a:spcBef>
              <a:buFont typeface="Wingdings" panose="05000000000000000000" pitchFamily="2" charset="2"/>
              <a:buChar char="§"/>
            </a:pPr>
            <a:r>
              <a:rPr lang="en-US" sz="1000" i="1" dirty="0"/>
              <a:t>Document known issues , scope, plan etc.,</a:t>
            </a:r>
          </a:p>
          <a:p>
            <a:pPr marL="128270" indent="-128270" defTabSz="685800">
              <a:spcBef>
                <a:spcPts val="150"/>
              </a:spcBef>
              <a:buFont typeface="Wingdings" panose="05000000000000000000" pitchFamily="2" charset="2"/>
              <a:buChar char="§"/>
            </a:pPr>
            <a:r>
              <a:rPr lang="en-US" sz="1000" i="1" dirty="0"/>
              <a:t>Create Migration Strategy</a:t>
            </a:r>
          </a:p>
        </p:txBody>
      </p:sp>
      <p:pic>
        <p:nvPicPr>
          <p:cNvPr id="31" name="Picture 30">
            <a:extLst>
              <a:ext uri="{FF2B5EF4-FFF2-40B4-BE49-F238E27FC236}">
                <a16:creationId xmlns:a16="http://schemas.microsoft.com/office/drawing/2014/main" id="{ED31E735-16B1-478A-9575-A0C28D9595A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21994" y="1323428"/>
            <a:ext cx="755697" cy="699455"/>
          </a:xfrm>
          <a:prstGeom prst="rect">
            <a:avLst/>
          </a:prstGeom>
        </p:spPr>
      </p:pic>
      <p:grpSp>
        <p:nvGrpSpPr>
          <p:cNvPr id="32" name="Group 31">
            <a:extLst>
              <a:ext uri="{FF2B5EF4-FFF2-40B4-BE49-F238E27FC236}">
                <a16:creationId xmlns:a16="http://schemas.microsoft.com/office/drawing/2014/main" id="{FDC1582D-D199-4390-B819-AE844C744E73}"/>
              </a:ext>
            </a:extLst>
          </p:cNvPr>
          <p:cNvGrpSpPr/>
          <p:nvPr/>
        </p:nvGrpSpPr>
        <p:grpSpPr>
          <a:xfrm>
            <a:off x="9582313" y="1525297"/>
            <a:ext cx="580099" cy="332573"/>
            <a:chOff x="2100799" y="2761018"/>
            <a:chExt cx="588798" cy="364703"/>
          </a:xfrm>
        </p:grpSpPr>
        <p:sp>
          <p:nvSpPr>
            <p:cNvPr id="33" name="Freeform 680">
              <a:extLst>
                <a:ext uri="{FF2B5EF4-FFF2-40B4-BE49-F238E27FC236}">
                  <a16:creationId xmlns:a16="http://schemas.microsoft.com/office/drawing/2014/main" id="{A2EE6B1B-B8C9-4EE3-9951-1C6C85301D32}"/>
                </a:ext>
              </a:extLst>
            </p:cNvPr>
            <p:cNvSpPr>
              <a:spLocks/>
            </p:cNvSpPr>
            <p:nvPr/>
          </p:nvSpPr>
          <p:spPr bwMode="auto">
            <a:xfrm>
              <a:off x="2100799" y="2761018"/>
              <a:ext cx="588798" cy="364703"/>
            </a:xfrm>
            <a:custGeom>
              <a:avLst/>
              <a:gdLst>
                <a:gd name="T0" fmla="*/ 426014 w 234"/>
                <a:gd name="T1" fmla="*/ 233528 h 147"/>
                <a:gd name="T2" fmla="*/ 426014 w 234"/>
                <a:gd name="T3" fmla="*/ 233528 h 147"/>
                <a:gd name="T4" fmla="*/ 422373 w 234"/>
                <a:gd name="T5" fmla="*/ 242442 h 147"/>
                <a:gd name="T6" fmla="*/ 416911 w 234"/>
                <a:gd name="T7" fmla="*/ 251355 h 147"/>
                <a:gd name="T8" fmla="*/ 409629 w 234"/>
                <a:gd name="T9" fmla="*/ 254920 h 147"/>
                <a:gd name="T10" fmla="*/ 404167 w 234"/>
                <a:gd name="T11" fmla="*/ 256703 h 147"/>
                <a:gd name="T12" fmla="*/ 387782 w 234"/>
                <a:gd name="T13" fmla="*/ 262051 h 147"/>
                <a:gd name="T14" fmla="*/ 367756 w 234"/>
                <a:gd name="T15" fmla="*/ 262051 h 147"/>
                <a:gd name="T16" fmla="*/ 367756 w 234"/>
                <a:gd name="T17" fmla="*/ 262051 h 147"/>
                <a:gd name="T18" fmla="*/ 61899 w 234"/>
                <a:gd name="T19" fmla="*/ 262051 h 147"/>
                <a:gd name="T20" fmla="*/ 61899 w 234"/>
                <a:gd name="T21" fmla="*/ 262051 h 147"/>
                <a:gd name="T22" fmla="*/ 41873 w 234"/>
                <a:gd name="T23" fmla="*/ 262051 h 147"/>
                <a:gd name="T24" fmla="*/ 21847 w 234"/>
                <a:gd name="T25" fmla="*/ 260268 h 147"/>
                <a:gd name="T26" fmla="*/ 14565 w 234"/>
                <a:gd name="T27" fmla="*/ 254920 h 147"/>
                <a:gd name="T28" fmla="*/ 9103 w 234"/>
                <a:gd name="T29" fmla="*/ 251355 h 147"/>
                <a:gd name="T30" fmla="*/ 3641 w 234"/>
                <a:gd name="T31" fmla="*/ 242442 h 147"/>
                <a:gd name="T32" fmla="*/ 0 w 234"/>
                <a:gd name="T33" fmla="*/ 233528 h 147"/>
                <a:gd name="T34" fmla="*/ 0 w 234"/>
                <a:gd name="T35" fmla="*/ 233528 h 147"/>
                <a:gd name="T36" fmla="*/ 367756 w 234"/>
                <a:gd name="T37" fmla="*/ 233528 h 147"/>
                <a:gd name="T38" fmla="*/ 367756 w 234"/>
                <a:gd name="T39" fmla="*/ 233528 h 147"/>
                <a:gd name="T40" fmla="*/ 376859 w 234"/>
                <a:gd name="T41" fmla="*/ 231746 h 147"/>
                <a:gd name="T42" fmla="*/ 382320 w 234"/>
                <a:gd name="T43" fmla="*/ 229963 h 147"/>
                <a:gd name="T44" fmla="*/ 385961 w 234"/>
                <a:gd name="T45" fmla="*/ 222832 h 147"/>
                <a:gd name="T46" fmla="*/ 385961 w 234"/>
                <a:gd name="T47" fmla="*/ 213919 h 147"/>
                <a:gd name="T48" fmla="*/ 385961 w 234"/>
                <a:gd name="T49" fmla="*/ 213919 h 147"/>
                <a:gd name="T50" fmla="*/ 385961 w 234"/>
                <a:gd name="T51" fmla="*/ 23175 h 147"/>
                <a:gd name="T52" fmla="*/ 385961 w 234"/>
                <a:gd name="T53" fmla="*/ 23175 h 147"/>
                <a:gd name="T54" fmla="*/ 385961 w 234"/>
                <a:gd name="T55" fmla="*/ 14261 h 147"/>
                <a:gd name="T56" fmla="*/ 384141 w 234"/>
                <a:gd name="T57" fmla="*/ 5348 h 147"/>
                <a:gd name="T58" fmla="*/ 376859 w 234"/>
                <a:gd name="T59" fmla="*/ 0 h 147"/>
                <a:gd name="T60" fmla="*/ 367756 w 234"/>
                <a:gd name="T61" fmla="*/ 0 h 147"/>
                <a:gd name="T62" fmla="*/ 367756 w 234"/>
                <a:gd name="T63" fmla="*/ 0 h 147"/>
                <a:gd name="T64" fmla="*/ 61899 w 234"/>
                <a:gd name="T65" fmla="*/ 0 h 147"/>
                <a:gd name="T66" fmla="*/ 61899 w 234"/>
                <a:gd name="T67" fmla="*/ 0 h 147"/>
                <a:gd name="T68" fmla="*/ 50976 w 234"/>
                <a:gd name="T69" fmla="*/ 0 h 147"/>
                <a:gd name="T70" fmla="*/ 38232 w 234"/>
                <a:gd name="T71" fmla="*/ 0 h 147"/>
                <a:gd name="T72" fmla="*/ 38232 w 234"/>
                <a:gd name="T73" fmla="*/ 0 h 147"/>
                <a:gd name="T74" fmla="*/ 38232 w 234"/>
                <a:gd name="T75" fmla="*/ 201441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34"/>
                <a:gd name="T115" fmla="*/ 0 h 147"/>
                <a:gd name="T116" fmla="*/ 234 w 234"/>
                <a:gd name="T117" fmla="*/ 147 h 14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34" h="147">
                  <a:moveTo>
                    <a:pt x="234" y="131"/>
                  </a:moveTo>
                  <a:lnTo>
                    <a:pt x="234" y="131"/>
                  </a:lnTo>
                  <a:lnTo>
                    <a:pt x="232" y="136"/>
                  </a:lnTo>
                  <a:lnTo>
                    <a:pt x="229" y="141"/>
                  </a:lnTo>
                  <a:lnTo>
                    <a:pt x="225" y="143"/>
                  </a:lnTo>
                  <a:lnTo>
                    <a:pt x="222" y="144"/>
                  </a:lnTo>
                  <a:lnTo>
                    <a:pt x="213" y="147"/>
                  </a:lnTo>
                  <a:lnTo>
                    <a:pt x="202" y="147"/>
                  </a:lnTo>
                  <a:lnTo>
                    <a:pt x="34" y="147"/>
                  </a:lnTo>
                  <a:lnTo>
                    <a:pt x="23" y="147"/>
                  </a:lnTo>
                  <a:lnTo>
                    <a:pt x="12" y="146"/>
                  </a:lnTo>
                  <a:lnTo>
                    <a:pt x="8" y="143"/>
                  </a:lnTo>
                  <a:lnTo>
                    <a:pt x="5" y="141"/>
                  </a:lnTo>
                  <a:lnTo>
                    <a:pt x="2" y="136"/>
                  </a:lnTo>
                  <a:lnTo>
                    <a:pt x="0" y="131"/>
                  </a:lnTo>
                  <a:lnTo>
                    <a:pt x="202" y="131"/>
                  </a:lnTo>
                  <a:lnTo>
                    <a:pt x="207" y="130"/>
                  </a:lnTo>
                  <a:lnTo>
                    <a:pt x="210" y="129"/>
                  </a:lnTo>
                  <a:lnTo>
                    <a:pt x="212" y="125"/>
                  </a:lnTo>
                  <a:lnTo>
                    <a:pt x="212" y="120"/>
                  </a:lnTo>
                  <a:lnTo>
                    <a:pt x="212" y="13"/>
                  </a:lnTo>
                  <a:lnTo>
                    <a:pt x="212" y="8"/>
                  </a:lnTo>
                  <a:lnTo>
                    <a:pt x="211" y="3"/>
                  </a:lnTo>
                  <a:lnTo>
                    <a:pt x="207" y="0"/>
                  </a:lnTo>
                  <a:lnTo>
                    <a:pt x="202" y="0"/>
                  </a:lnTo>
                  <a:lnTo>
                    <a:pt x="34" y="0"/>
                  </a:lnTo>
                  <a:lnTo>
                    <a:pt x="28" y="0"/>
                  </a:lnTo>
                  <a:lnTo>
                    <a:pt x="21" y="0"/>
                  </a:lnTo>
                  <a:lnTo>
                    <a:pt x="21" y="113"/>
                  </a:lnTo>
                </a:path>
              </a:pathLst>
            </a:custGeom>
            <a:noFill/>
            <a:ln w="12700">
              <a:solidFill>
                <a:srgbClr val="00573B"/>
              </a:solidFill>
              <a:prstDash val="solid"/>
              <a:round/>
              <a:headEnd/>
              <a:tailEnd/>
            </a:ln>
          </p:spPr>
          <p:txBody>
            <a:bodyPr/>
            <a:lstStyle/>
            <a:p>
              <a:pPr defTabSz="685800" fontAlgn="base">
                <a:spcBef>
                  <a:spcPct val="0"/>
                </a:spcBef>
                <a:spcAft>
                  <a:spcPct val="0"/>
                </a:spcAft>
                <a:defRPr/>
              </a:pPr>
              <a:endParaRPr lang="en-US" sz="1350" kern="0">
                <a:solidFill>
                  <a:srgbClr val="000000"/>
                </a:solidFill>
                <a:latin typeface="Arial"/>
                <a:cs typeface="Arial" charset="0"/>
              </a:endParaRPr>
            </a:p>
          </p:txBody>
        </p:sp>
        <p:grpSp>
          <p:nvGrpSpPr>
            <p:cNvPr id="34" name="Group 961">
              <a:extLst>
                <a:ext uri="{FF2B5EF4-FFF2-40B4-BE49-F238E27FC236}">
                  <a16:creationId xmlns:a16="http://schemas.microsoft.com/office/drawing/2014/main" id="{9A21BE70-8C74-4116-9E6B-DE21A12AB4EF}"/>
                </a:ext>
              </a:extLst>
            </p:cNvPr>
            <p:cNvGrpSpPr>
              <a:grpSpLocks/>
            </p:cNvGrpSpPr>
            <p:nvPr/>
          </p:nvGrpSpPr>
          <p:grpSpPr bwMode="auto">
            <a:xfrm>
              <a:off x="2229191" y="2779440"/>
              <a:ext cx="324588" cy="263833"/>
              <a:chOff x="5171650" y="1435962"/>
              <a:chExt cx="298886" cy="245150"/>
            </a:xfrm>
          </p:grpSpPr>
          <p:sp>
            <p:nvSpPr>
              <p:cNvPr id="35" name="Line 174">
                <a:extLst>
                  <a:ext uri="{FF2B5EF4-FFF2-40B4-BE49-F238E27FC236}">
                    <a16:creationId xmlns:a16="http://schemas.microsoft.com/office/drawing/2014/main" id="{BA534F30-936A-4CB1-AF83-FC753F14902A}"/>
                  </a:ext>
                </a:extLst>
              </p:cNvPr>
              <p:cNvSpPr>
                <a:spLocks noChangeShapeType="1"/>
              </p:cNvSpPr>
              <p:nvPr/>
            </p:nvSpPr>
            <p:spPr bwMode="auto">
              <a:xfrm>
                <a:off x="5252248" y="1472901"/>
                <a:ext cx="80598" cy="3359"/>
              </a:xfrm>
              <a:prstGeom prst="line">
                <a:avLst/>
              </a:prstGeom>
              <a:noFill/>
              <a:ln w="12700">
                <a:solidFill>
                  <a:srgbClr val="00573B"/>
                </a:solidFill>
                <a:round/>
                <a:headEnd/>
                <a:tailEnd/>
              </a:ln>
            </p:spPr>
            <p:txBody>
              <a:bodyPr/>
              <a:lstStyle/>
              <a:p>
                <a:pPr defTabSz="685800" fontAlgn="base">
                  <a:spcBef>
                    <a:spcPct val="0"/>
                  </a:spcBef>
                  <a:spcAft>
                    <a:spcPct val="0"/>
                  </a:spcAft>
                  <a:defRPr/>
                </a:pPr>
                <a:endParaRPr lang="en-US" sz="1350" kern="0">
                  <a:solidFill>
                    <a:srgbClr val="000000"/>
                  </a:solidFill>
                  <a:latin typeface="Arial"/>
                  <a:cs typeface="Arial" charset="0"/>
                </a:endParaRPr>
              </a:p>
            </p:txBody>
          </p:sp>
          <p:sp>
            <p:nvSpPr>
              <p:cNvPr id="36" name="Freeform 175">
                <a:extLst>
                  <a:ext uri="{FF2B5EF4-FFF2-40B4-BE49-F238E27FC236}">
                    <a16:creationId xmlns:a16="http://schemas.microsoft.com/office/drawing/2014/main" id="{29BB588A-0C66-47E2-8DBB-429BBC3F00A8}"/>
                  </a:ext>
                </a:extLst>
              </p:cNvPr>
              <p:cNvSpPr>
                <a:spLocks/>
              </p:cNvSpPr>
              <p:nvPr/>
            </p:nvSpPr>
            <p:spPr bwMode="auto">
              <a:xfrm>
                <a:off x="5339563" y="1435962"/>
                <a:ext cx="40299" cy="77240"/>
              </a:xfrm>
              <a:custGeom>
                <a:avLst/>
                <a:gdLst>
                  <a:gd name="T0" fmla="*/ 0 w 24"/>
                  <a:gd name="T1" fmla="*/ 0 h 47"/>
                  <a:gd name="T2" fmla="*/ 40299 w 24"/>
                  <a:gd name="T3" fmla="*/ 37798 h 47"/>
                  <a:gd name="T4" fmla="*/ 0 w 24"/>
                  <a:gd name="T5" fmla="*/ 77240 h 47"/>
                  <a:gd name="T6" fmla="*/ 0 60000 65536"/>
                  <a:gd name="T7" fmla="*/ 0 60000 65536"/>
                  <a:gd name="T8" fmla="*/ 0 60000 65536"/>
                  <a:gd name="T9" fmla="*/ 0 w 24"/>
                  <a:gd name="T10" fmla="*/ 0 h 47"/>
                  <a:gd name="T11" fmla="*/ 24 w 24"/>
                  <a:gd name="T12" fmla="*/ 47 h 47"/>
                </a:gdLst>
                <a:ahLst/>
                <a:cxnLst>
                  <a:cxn ang="T6">
                    <a:pos x="T0" y="T1"/>
                  </a:cxn>
                  <a:cxn ang="T7">
                    <a:pos x="T2" y="T3"/>
                  </a:cxn>
                  <a:cxn ang="T8">
                    <a:pos x="T4" y="T5"/>
                  </a:cxn>
                </a:cxnLst>
                <a:rect l="T9" t="T10" r="T11" b="T12"/>
                <a:pathLst>
                  <a:path w="24" h="47">
                    <a:moveTo>
                      <a:pt x="0" y="0"/>
                    </a:moveTo>
                    <a:lnTo>
                      <a:pt x="24" y="23"/>
                    </a:lnTo>
                    <a:lnTo>
                      <a:pt x="0" y="47"/>
                    </a:lnTo>
                  </a:path>
                </a:pathLst>
              </a:custGeom>
              <a:noFill/>
              <a:ln w="12700">
                <a:solidFill>
                  <a:srgbClr val="00573B"/>
                </a:solidFill>
                <a:prstDash val="solid"/>
                <a:round/>
                <a:headEnd/>
                <a:tailEnd/>
              </a:ln>
            </p:spPr>
            <p:txBody>
              <a:bodyPr/>
              <a:lstStyle/>
              <a:p>
                <a:pPr defTabSz="685800" fontAlgn="base">
                  <a:spcBef>
                    <a:spcPct val="0"/>
                  </a:spcBef>
                  <a:spcAft>
                    <a:spcPct val="0"/>
                  </a:spcAft>
                  <a:defRPr/>
                </a:pPr>
                <a:endParaRPr lang="en-US" sz="1350" kern="0">
                  <a:solidFill>
                    <a:srgbClr val="000000"/>
                  </a:solidFill>
                  <a:latin typeface="Arial"/>
                  <a:cs typeface="Arial" charset="0"/>
                </a:endParaRPr>
              </a:p>
            </p:txBody>
          </p:sp>
          <p:sp>
            <p:nvSpPr>
              <p:cNvPr id="37" name="Line 176">
                <a:extLst>
                  <a:ext uri="{FF2B5EF4-FFF2-40B4-BE49-F238E27FC236}">
                    <a16:creationId xmlns:a16="http://schemas.microsoft.com/office/drawing/2014/main" id="{88E5B710-6DF6-4AF0-9409-7DC17AD57C99}"/>
                  </a:ext>
                </a:extLst>
              </p:cNvPr>
              <p:cNvSpPr>
                <a:spLocks noChangeShapeType="1"/>
              </p:cNvSpPr>
              <p:nvPr/>
            </p:nvSpPr>
            <p:spPr bwMode="auto">
              <a:xfrm>
                <a:off x="5171650" y="1556857"/>
                <a:ext cx="83958" cy="3359"/>
              </a:xfrm>
              <a:prstGeom prst="line">
                <a:avLst/>
              </a:prstGeom>
              <a:noFill/>
              <a:ln w="12700">
                <a:solidFill>
                  <a:srgbClr val="00573B"/>
                </a:solidFill>
                <a:round/>
                <a:headEnd/>
                <a:tailEnd/>
              </a:ln>
            </p:spPr>
            <p:txBody>
              <a:bodyPr/>
              <a:lstStyle/>
              <a:p>
                <a:pPr defTabSz="685800" fontAlgn="base">
                  <a:spcBef>
                    <a:spcPct val="0"/>
                  </a:spcBef>
                  <a:spcAft>
                    <a:spcPct val="0"/>
                  </a:spcAft>
                  <a:defRPr/>
                </a:pPr>
                <a:endParaRPr lang="en-US" sz="1350" kern="0">
                  <a:solidFill>
                    <a:srgbClr val="000000"/>
                  </a:solidFill>
                  <a:latin typeface="Arial"/>
                  <a:cs typeface="Arial" charset="0"/>
                </a:endParaRPr>
              </a:p>
            </p:txBody>
          </p:sp>
          <p:sp>
            <p:nvSpPr>
              <p:cNvPr id="38" name="Freeform 177">
                <a:extLst>
                  <a:ext uri="{FF2B5EF4-FFF2-40B4-BE49-F238E27FC236}">
                    <a16:creationId xmlns:a16="http://schemas.microsoft.com/office/drawing/2014/main" id="{8345A606-95F3-4F61-9B1F-3B796C597E53}"/>
                  </a:ext>
                </a:extLst>
              </p:cNvPr>
              <p:cNvSpPr>
                <a:spLocks/>
              </p:cNvSpPr>
              <p:nvPr/>
            </p:nvSpPr>
            <p:spPr bwMode="auto">
              <a:xfrm>
                <a:off x="5262324" y="1519916"/>
                <a:ext cx="40299" cy="77240"/>
              </a:xfrm>
              <a:custGeom>
                <a:avLst/>
                <a:gdLst>
                  <a:gd name="T0" fmla="*/ 0 w 25"/>
                  <a:gd name="T1" fmla="*/ 0 h 48"/>
                  <a:gd name="T2" fmla="*/ 40299 w 25"/>
                  <a:gd name="T3" fmla="*/ 37011 h 48"/>
                  <a:gd name="T4" fmla="*/ 0 w 25"/>
                  <a:gd name="T5" fmla="*/ 77240 h 48"/>
                  <a:gd name="T6" fmla="*/ 0 60000 65536"/>
                  <a:gd name="T7" fmla="*/ 0 60000 65536"/>
                  <a:gd name="T8" fmla="*/ 0 60000 65536"/>
                  <a:gd name="T9" fmla="*/ 0 w 25"/>
                  <a:gd name="T10" fmla="*/ 0 h 48"/>
                  <a:gd name="T11" fmla="*/ 25 w 25"/>
                  <a:gd name="T12" fmla="*/ 48 h 48"/>
                </a:gdLst>
                <a:ahLst/>
                <a:cxnLst>
                  <a:cxn ang="T6">
                    <a:pos x="T0" y="T1"/>
                  </a:cxn>
                  <a:cxn ang="T7">
                    <a:pos x="T2" y="T3"/>
                  </a:cxn>
                  <a:cxn ang="T8">
                    <a:pos x="T4" y="T5"/>
                  </a:cxn>
                </a:cxnLst>
                <a:rect l="T9" t="T10" r="T11" b="T12"/>
                <a:pathLst>
                  <a:path w="25" h="48">
                    <a:moveTo>
                      <a:pt x="0" y="0"/>
                    </a:moveTo>
                    <a:lnTo>
                      <a:pt x="25" y="23"/>
                    </a:lnTo>
                    <a:lnTo>
                      <a:pt x="0" y="48"/>
                    </a:lnTo>
                  </a:path>
                </a:pathLst>
              </a:custGeom>
              <a:noFill/>
              <a:ln w="12700">
                <a:solidFill>
                  <a:srgbClr val="00573B"/>
                </a:solidFill>
                <a:prstDash val="solid"/>
                <a:round/>
                <a:headEnd/>
                <a:tailEnd/>
              </a:ln>
            </p:spPr>
            <p:txBody>
              <a:bodyPr/>
              <a:lstStyle/>
              <a:p>
                <a:pPr defTabSz="685800" fontAlgn="base">
                  <a:spcBef>
                    <a:spcPct val="0"/>
                  </a:spcBef>
                  <a:spcAft>
                    <a:spcPct val="0"/>
                  </a:spcAft>
                  <a:defRPr/>
                </a:pPr>
                <a:endParaRPr lang="en-US" sz="1350" kern="0">
                  <a:solidFill>
                    <a:srgbClr val="000000"/>
                  </a:solidFill>
                  <a:latin typeface="Arial"/>
                  <a:cs typeface="Arial" charset="0"/>
                </a:endParaRPr>
              </a:p>
            </p:txBody>
          </p:sp>
          <p:sp>
            <p:nvSpPr>
              <p:cNvPr id="39" name="Line 178">
                <a:extLst>
                  <a:ext uri="{FF2B5EF4-FFF2-40B4-BE49-F238E27FC236}">
                    <a16:creationId xmlns:a16="http://schemas.microsoft.com/office/drawing/2014/main" id="{013FDD30-B724-454A-AC82-6A24B0D98714}"/>
                  </a:ext>
                </a:extLst>
              </p:cNvPr>
              <p:cNvSpPr>
                <a:spLocks noChangeShapeType="1"/>
              </p:cNvSpPr>
              <p:nvPr/>
            </p:nvSpPr>
            <p:spPr bwMode="auto">
              <a:xfrm>
                <a:off x="5339563" y="1556857"/>
                <a:ext cx="83958" cy="3359"/>
              </a:xfrm>
              <a:prstGeom prst="line">
                <a:avLst/>
              </a:prstGeom>
              <a:noFill/>
              <a:ln w="12700">
                <a:solidFill>
                  <a:srgbClr val="00573B"/>
                </a:solidFill>
                <a:round/>
                <a:headEnd/>
                <a:tailEnd/>
              </a:ln>
            </p:spPr>
            <p:txBody>
              <a:bodyPr/>
              <a:lstStyle/>
              <a:p>
                <a:pPr defTabSz="685800" fontAlgn="base">
                  <a:spcBef>
                    <a:spcPct val="0"/>
                  </a:spcBef>
                  <a:spcAft>
                    <a:spcPct val="0"/>
                  </a:spcAft>
                  <a:defRPr/>
                </a:pPr>
                <a:endParaRPr lang="en-US" sz="1350" kern="0">
                  <a:solidFill>
                    <a:srgbClr val="000000"/>
                  </a:solidFill>
                  <a:latin typeface="Arial"/>
                  <a:cs typeface="Arial" charset="0"/>
                </a:endParaRPr>
              </a:p>
            </p:txBody>
          </p:sp>
          <p:sp>
            <p:nvSpPr>
              <p:cNvPr id="40" name="Freeform 179">
                <a:extLst>
                  <a:ext uri="{FF2B5EF4-FFF2-40B4-BE49-F238E27FC236}">
                    <a16:creationId xmlns:a16="http://schemas.microsoft.com/office/drawing/2014/main" id="{E66B60C8-8773-4C19-AEA3-41760E76A52F}"/>
                  </a:ext>
                </a:extLst>
              </p:cNvPr>
              <p:cNvSpPr>
                <a:spLocks/>
              </p:cNvSpPr>
              <p:nvPr/>
            </p:nvSpPr>
            <p:spPr bwMode="auto">
              <a:xfrm>
                <a:off x="5430237" y="1519916"/>
                <a:ext cx="40299" cy="77240"/>
              </a:xfrm>
              <a:custGeom>
                <a:avLst/>
                <a:gdLst>
                  <a:gd name="T0" fmla="*/ 0 w 25"/>
                  <a:gd name="T1" fmla="*/ 0 h 48"/>
                  <a:gd name="T2" fmla="*/ 40299 w 25"/>
                  <a:gd name="T3" fmla="*/ 37011 h 48"/>
                  <a:gd name="T4" fmla="*/ 0 w 25"/>
                  <a:gd name="T5" fmla="*/ 77240 h 48"/>
                  <a:gd name="T6" fmla="*/ 0 60000 65536"/>
                  <a:gd name="T7" fmla="*/ 0 60000 65536"/>
                  <a:gd name="T8" fmla="*/ 0 60000 65536"/>
                  <a:gd name="T9" fmla="*/ 0 w 25"/>
                  <a:gd name="T10" fmla="*/ 0 h 48"/>
                  <a:gd name="T11" fmla="*/ 25 w 25"/>
                  <a:gd name="T12" fmla="*/ 48 h 48"/>
                </a:gdLst>
                <a:ahLst/>
                <a:cxnLst>
                  <a:cxn ang="T6">
                    <a:pos x="T0" y="T1"/>
                  </a:cxn>
                  <a:cxn ang="T7">
                    <a:pos x="T2" y="T3"/>
                  </a:cxn>
                  <a:cxn ang="T8">
                    <a:pos x="T4" y="T5"/>
                  </a:cxn>
                </a:cxnLst>
                <a:rect l="T9" t="T10" r="T11" b="T12"/>
                <a:pathLst>
                  <a:path w="25" h="48">
                    <a:moveTo>
                      <a:pt x="0" y="0"/>
                    </a:moveTo>
                    <a:lnTo>
                      <a:pt x="25" y="23"/>
                    </a:lnTo>
                    <a:lnTo>
                      <a:pt x="0" y="48"/>
                    </a:lnTo>
                  </a:path>
                </a:pathLst>
              </a:custGeom>
              <a:noFill/>
              <a:ln w="12700">
                <a:solidFill>
                  <a:srgbClr val="00573B"/>
                </a:solidFill>
                <a:prstDash val="solid"/>
                <a:round/>
                <a:headEnd/>
                <a:tailEnd/>
              </a:ln>
            </p:spPr>
            <p:txBody>
              <a:bodyPr/>
              <a:lstStyle/>
              <a:p>
                <a:pPr defTabSz="685800" fontAlgn="base">
                  <a:spcBef>
                    <a:spcPct val="0"/>
                  </a:spcBef>
                  <a:spcAft>
                    <a:spcPct val="0"/>
                  </a:spcAft>
                  <a:defRPr/>
                </a:pPr>
                <a:endParaRPr lang="en-US" sz="1350" kern="0">
                  <a:solidFill>
                    <a:srgbClr val="000000"/>
                  </a:solidFill>
                  <a:latin typeface="Arial"/>
                  <a:cs typeface="Arial" charset="0"/>
                </a:endParaRPr>
              </a:p>
            </p:txBody>
          </p:sp>
          <p:sp>
            <p:nvSpPr>
              <p:cNvPr id="41" name="Line 180">
                <a:extLst>
                  <a:ext uri="{FF2B5EF4-FFF2-40B4-BE49-F238E27FC236}">
                    <a16:creationId xmlns:a16="http://schemas.microsoft.com/office/drawing/2014/main" id="{0E58053E-C923-46E1-BC2A-526E13F8513A}"/>
                  </a:ext>
                </a:extLst>
              </p:cNvPr>
              <p:cNvSpPr>
                <a:spLocks noChangeShapeType="1"/>
              </p:cNvSpPr>
              <p:nvPr/>
            </p:nvSpPr>
            <p:spPr bwMode="auto">
              <a:xfrm>
                <a:off x="5252248" y="1644170"/>
                <a:ext cx="80598" cy="3359"/>
              </a:xfrm>
              <a:prstGeom prst="line">
                <a:avLst/>
              </a:prstGeom>
              <a:noFill/>
              <a:ln w="12700">
                <a:solidFill>
                  <a:srgbClr val="00573B"/>
                </a:solidFill>
                <a:round/>
                <a:headEnd/>
                <a:tailEnd/>
              </a:ln>
            </p:spPr>
            <p:txBody>
              <a:bodyPr/>
              <a:lstStyle/>
              <a:p>
                <a:pPr defTabSz="685800" fontAlgn="base">
                  <a:spcBef>
                    <a:spcPct val="0"/>
                  </a:spcBef>
                  <a:spcAft>
                    <a:spcPct val="0"/>
                  </a:spcAft>
                  <a:defRPr/>
                </a:pPr>
                <a:endParaRPr lang="en-US" sz="1350" kern="0">
                  <a:solidFill>
                    <a:srgbClr val="000000"/>
                  </a:solidFill>
                  <a:latin typeface="Arial"/>
                  <a:cs typeface="Arial" charset="0"/>
                </a:endParaRPr>
              </a:p>
            </p:txBody>
          </p:sp>
          <p:sp>
            <p:nvSpPr>
              <p:cNvPr id="42" name="Freeform 181">
                <a:extLst>
                  <a:ext uri="{FF2B5EF4-FFF2-40B4-BE49-F238E27FC236}">
                    <a16:creationId xmlns:a16="http://schemas.microsoft.com/office/drawing/2014/main" id="{FA55D476-D5C0-4888-92E4-222D828FE1B5}"/>
                  </a:ext>
                </a:extLst>
              </p:cNvPr>
              <p:cNvSpPr>
                <a:spLocks/>
              </p:cNvSpPr>
              <p:nvPr/>
            </p:nvSpPr>
            <p:spPr bwMode="auto">
              <a:xfrm>
                <a:off x="5339563" y="1603872"/>
                <a:ext cx="40299" cy="77240"/>
              </a:xfrm>
              <a:custGeom>
                <a:avLst/>
                <a:gdLst>
                  <a:gd name="T0" fmla="*/ 0 w 24"/>
                  <a:gd name="T1" fmla="*/ 0 h 47"/>
                  <a:gd name="T2" fmla="*/ 40299 w 24"/>
                  <a:gd name="T3" fmla="*/ 39442 h 47"/>
                  <a:gd name="T4" fmla="*/ 0 w 24"/>
                  <a:gd name="T5" fmla="*/ 77240 h 47"/>
                  <a:gd name="T6" fmla="*/ 0 60000 65536"/>
                  <a:gd name="T7" fmla="*/ 0 60000 65536"/>
                  <a:gd name="T8" fmla="*/ 0 60000 65536"/>
                  <a:gd name="T9" fmla="*/ 0 w 24"/>
                  <a:gd name="T10" fmla="*/ 0 h 47"/>
                  <a:gd name="T11" fmla="*/ 24 w 24"/>
                  <a:gd name="T12" fmla="*/ 47 h 47"/>
                </a:gdLst>
                <a:ahLst/>
                <a:cxnLst>
                  <a:cxn ang="T6">
                    <a:pos x="T0" y="T1"/>
                  </a:cxn>
                  <a:cxn ang="T7">
                    <a:pos x="T2" y="T3"/>
                  </a:cxn>
                  <a:cxn ang="T8">
                    <a:pos x="T4" y="T5"/>
                  </a:cxn>
                </a:cxnLst>
                <a:rect l="T9" t="T10" r="T11" b="T12"/>
                <a:pathLst>
                  <a:path w="24" h="47">
                    <a:moveTo>
                      <a:pt x="0" y="0"/>
                    </a:moveTo>
                    <a:lnTo>
                      <a:pt x="24" y="24"/>
                    </a:lnTo>
                    <a:lnTo>
                      <a:pt x="0" y="47"/>
                    </a:lnTo>
                  </a:path>
                </a:pathLst>
              </a:custGeom>
              <a:noFill/>
              <a:ln w="12700">
                <a:solidFill>
                  <a:srgbClr val="00573B"/>
                </a:solidFill>
                <a:prstDash val="solid"/>
                <a:round/>
                <a:headEnd/>
                <a:tailEnd/>
              </a:ln>
            </p:spPr>
            <p:txBody>
              <a:bodyPr/>
              <a:lstStyle/>
              <a:p>
                <a:pPr defTabSz="685800" fontAlgn="base">
                  <a:spcBef>
                    <a:spcPct val="0"/>
                  </a:spcBef>
                  <a:spcAft>
                    <a:spcPct val="0"/>
                  </a:spcAft>
                  <a:defRPr/>
                </a:pPr>
                <a:endParaRPr lang="en-US" sz="1350" kern="0">
                  <a:solidFill>
                    <a:srgbClr val="000000"/>
                  </a:solidFill>
                  <a:latin typeface="Arial"/>
                  <a:cs typeface="Arial" charset="0"/>
                </a:endParaRPr>
              </a:p>
            </p:txBody>
          </p:sp>
        </p:grpSp>
      </p:grpSp>
      <p:sp>
        <p:nvSpPr>
          <p:cNvPr id="45" name="Flowchart: Alternate Process 44">
            <a:extLst>
              <a:ext uri="{FF2B5EF4-FFF2-40B4-BE49-F238E27FC236}">
                <a16:creationId xmlns:a16="http://schemas.microsoft.com/office/drawing/2014/main" id="{3DE337E2-2177-49FA-8751-52891C6E0AAD}"/>
              </a:ext>
            </a:extLst>
          </p:cNvPr>
          <p:cNvSpPr/>
          <p:nvPr/>
        </p:nvSpPr>
        <p:spPr>
          <a:xfrm>
            <a:off x="4950701" y="5313050"/>
            <a:ext cx="2350035" cy="946091"/>
          </a:xfrm>
          <a:prstGeom prst="flowChartAlternateProcess">
            <a:avLst/>
          </a:prstGeom>
          <a:solidFill>
            <a:srgbClr val="00573B"/>
          </a:solidFill>
          <a:ln w="25400" cap="flat" cmpd="sng" algn="ctr">
            <a:noFill/>
            <a:prstDash val="solid"/>
          </a:ln>
          <a:effectLst/>
        </p:spPr>
        <p:txBody>
          <a:bodyPr rtlCol="0" anchor="ctr"/>
          <a:lstStyle/>
          <a:p>
            <a:pPr algn="ctr" defTabSz="685800" fontAlgn="base">
              <a:spcBef>
                <a:spcPct val="0"/>
              </a:spcBef>
              <a:spcAft>
                <a:spcPct val="0"/>
              </a:spcAft>
              <a:defRPr/>
            </a:pPr>
            <a:endParaRPr lang="en-US" sz="1350" kern="0">
              <a:solidFill>
                <a:srgbClr val="FFFFFF"/>
              </a:solidFill>
              <a:latin typeface="Arial"/>
            </a:endParaRPr>
          </a:p>
        </p:txBody>
      </p:sp>
      <p:sp>
        <p:nvSpPr>
          <p:cNvPr id="46" name="Flowchart: Alternate Process 45">
            <a:extLst>
              <a:ext uri="{FF2B5EF4-FFF2-40B4-BE49-F238E27FC236}">
                <a16:creationId xmlns:a16="http://schemas.microsoft.com/office/drawing/2014/main" id="{F17FB8DD-DD5F-479D-991C-D3E7EA48B21E}"/>
              </a:ext>
            </a:extLst>
          </p:cNvPr>
          <p:cNvSpPr/>
          <p:nvPr/>
        </p:nvSpPr>
        <p:spPr>
          <a:xfrm>
            <a:off x="5114557" y="5379039"/>
            <a:ext cx="2022309" cy="814153"/>
          </a:xfrm>
          <a:prstGeom prst="flowChartAlternateProcess">
            <a:avLst/>
          </a:prstGeom>
          <a:solidFill>
            <a:sysClr val="window" lastClr="FFFFFF"/>
          </a:solidFill>
          <a:ln w="25400" cap="flat" cmpd="sng" algn="ctr">
            <a:noFill/>
            <a:prstDash val="solid"/>
          </a:ln>
          <a:effectLst>
            <a:outerShdw blurRad="50800" dist="38100" dir="2700000" algn="tl" rotWithShape="0">
              <a:prstClr val="black">
                <a:alpha val="40000"/>
              </a:prstClr>
            </a:outerShdw>
          </a:effectLst>
        </p:spPr>
        <p:txBody>
          <a:bodyPr rot="0" spcFirstLastPara="0" vertOverflow="overflow" horzOverflow="overflow" vert="horz" wrap="square" lIns="68580" tIns="34290" rIns="68580" bIns="34290" numCol="1" spcCol="0" rtlCol="0" fromWordArt="0" anchor="b" anchorCtr="0" forceAA="0" compatLnSpc="1">
            <a:prstTxWarp prst="textNoShape">
              <a:avLst/>
            </a:prstTxWarp>
            <a:noAutofit/>
          </a:bodyPr>
          <a:lstStyle/>
          <a:p>
            <a:pPr algn="ctr" defTabSz="685800" fontAlgn="base">
              <a:spcBef>
                <a:spcPct val="0"/>
              </a:spcBef>
              <a:spcAft>
                <a:spcPct val="0"/>
              </a:spcAft>
              <a:defRPr/>
            </a:pPr>
            <a:endParaRPr lang="en-US" sz="1050" b="1" kern="0">
              <a:solidFill>
                <a:srgbClr val="000000"/>
              </a:solidFill>
              <a:latin typeface="Arial"/>
            </a:endParaRPr>
          </a:p>
        </p:txBody>
      </p:sp>
      <p:sp>
        <p:nvSpPr>
          <p:cNvPr id="47" name="TextBox 46">
            <a:extLst>
              <a:ext uri="{FF2B5EF4-FFF2-40B4-BE49-F238E27FC236}">
                <a16:creationId xmlns:a16="http://schemas.microsoft.com/office/drawing/2014/main" id="{DE6AA563-4682-4172-A92D-DB7BC956D22E}"/>
              </a:ext>
            </a:extLst>
          </p:cNvPr>
          <p:cNvSpPr txBox="1"/>
          <p:nvPr/>
        </p:nvSpPr>
        <p:spPr>
          <a:xfrm>
            <a:off x="6629530" y="5380346"/>
            <a:ext cx="337742" cy="491087"/>
          </a:xfrm>
          <a:prstGeom prst="rect">
            <a:avLst/>
          </a:prstGeom>
          <a:noFill/>
        </p:spPr>
        <p:txBody>
          <a:bodyPr wrap="square" rtlCol="0">
            <a:spAutoFit/>
          </a:bodyPr>
          <a:lstStyle/>
          <a:p>
            <a:pPr defTabSz="685800" eaLnBrk="0" hangingPunct="0"/>
            <a:r>
              <a:rPr lang="en-US" b="1">
                <a:solidFill>
                  <a:srgbClr val="00B050"/>
                </a:solidFill>
                <a:latin typeface="Wingdings 2" pitchFamily="18" charset="2"/>
                <a:cs typeface="Arial" charset="0"/>
              </a:rPr>
              <a:t>P</a:t>
            </a:r>
          </a:p>
        </p:txBody>
      </p:sp>
      <p:sp>
        <p:nvSpPr>
          <p:cNvPr id="48" name="TextBox 47">
            <a:extLst>
              <a:ext uri="{FF2B5EF4-FFF2-40B4-BE49-F238E27FC236}">
                <a16:creationId xmlns:a16="http://schemas.microsoft.com/office/drawing/2014/main" id="{1A222C70-6E75-41C9-B5E5-65FC7BA8B9AA}"/>
              </a:ext>
            </a:extLst>
          </p:cNvPr>
          <p:cNvSpPr txBox="1"/>
          <p:nvPr/>
        </p:nvSpPr>
        <p:spPr>
          <a:xfrm>
            <a:off x="6629530" y="5561984"/>
            <a:ext cx="337742" cy="491087"/>
          </a:xfrm>
          <a:prstGeom prst="rect">
            <a:avLst/>
          </a:prstGeom>
          <a:noFill/>
        </p:spPr>
        <p:txBody>
          <a:bodyPr wrap="square" rtlCol="0">
            <a:spAutoFit/>
          </a:bodyPr>
          <a:lstStyle/>
          <a:p>
            <a:pPr defTabSz="685800" eaLnBrk="0" hangingPunct="0"/>
            <a:r>
              <a:rPr lang="en-US" b="1">
                <a:solidFill>
                  <a:srgbClr val="00B050"/>
                </a:solidFill>
                <a:latin typeface="Wingdings 2" pitchFamily="18" charset="2"/>
                <a:cs typeface="Arial" charset="0"/>
              </a:rPr>
              <a:t>P</a:t>
            </a:r>
          </a:p>
        </p:txBody>
      </p:sp>
      <p:sp>
        <p:nvSpPr>
          <p:cNvPr id="49" name="TextBox 48">
            <a:extLst>
              <a:ext uri="{FF2B5EF4-FFF2-40B4-BE49-F238E27FC236}">
                <a16:creationId xmlns:a16="http://schemas.microsoft.com/office/drawing/2014/main" id="{F997B290-9605-4D21-AF55-F6F7BE3BD11D}"/>
              </a:ext>
            </a:extLst>
          </p:cNvPr>
          <p:cNvSpPr txBox="1"/>
          <p:nvPr/>
        </p:nvSpPr>
        <p:spPr>
          <a:xfrm>
            <a:off x="6629530" y="5759919"/>
            <a:ext cx="337742" cy="491087"/>
          </a:xfrm>
          <a:prstGeom prst="rect">
            <a:avLst/>
          </a:prstGeom>
          <a:noFill/>
        </p:spPr>
        <p:txBody>
          <a:bodyPr wrap="square" rtlCol="0">
            <a:spAutoFit/>
          </a:bodyPr>
          <a:lstStyle/>
          <a:p>
            <a:pPr defTabSz="685800" eaLnBrk="0" hangingPunct="0"/>
            <a:r>
              <a:rPr lang="en-US" b="1">
                <a:solidFill>
                  <a:srgbClr val="00B050"/>
                </a:solidFill>
                <a:latin typeface="Wingdings 2" pitchFamily="18" charset="2"/>
                <a:cs typeface="Arial" charset="0"/>
              </a:rPr>
              <a:t>P</a:t>
            </a:r>
          </a:p>
        </p:txBody>
      </p:sp>
      <p:sp>
        <p:nvSpPr>
          <p:cNvPr id="51" name="Flowchart: Alternate Process 50">
            <a:extLst>
              <a:ext uri="{FF2B5EF4-FFF2-40B4-BE49-F238E27FC236}">
                <a16:creationId xmlns:a16="http://schemas.microsoft.com/office/drawing/2014/main" id="{68FE6DD2-D361-478A-801F-7E8BC81911CD}"/>
              </a:ext>
            </a:extLst>
          </p:cNvPr>
          <p:cNvSpPr/>
          <p:nvPr/>
        </p:nvSpPr>
        <p:spPr>
          <a:xfrm>
            <a:off x="931968" y="5301082"/>
            <a:ext cx="2350035" cy="946091"/>
          </a:xfrm>
          <a:prstGeom prst="flowChartAlternateProcess">
            <a:avLst/>
          </a:prstGeom>
          <a:solidFill>
            <a:srgbClr val="00573B"/>
          </a:solidFill>
          <a:ln w="25400" cap="flat" cmpd="sng" algn="ctr">
            <a:noFill/>
            <a:prstDash val="solid"/>
          </a:ln>
          <a:effectLst/>
        </p:spPr>
        <p:txBody>
          <a:bodyPr rtlCol="0" anchor="ctr"/>
          <a:lstStyle/>
          <a:p>
            <a:pPr algn="ctr" defTabSz="685800" fontAlgn="base">
              <a:spcBef>
                <a:spcPct val="0"/>
              </a:spcBef>
              <a:spcAft>
                <a:spcPct val="0"/>
              </a:spcAft>
              <a:defRPr/>
            </a:pPr>
            <a:endParaRPr lang="en-US" sz="1350" kern="0">
              <a:solidFill>
                <a:srgbClr val="FFFFFF"/>
              </a:solidFill>
              <a:latin typeface="Arial"/>
            </a:endParaRPr>
          </a:p>
        </p:txBody>
      </p:sp>
      <p:sp>
        <p:nvSpPr>
          <p:cNvPr id="52" name="Flowchart: Alternate Process 51">
            <a:extLst>
              <a:ext uri="{FF2B5EF4-FFF2-40B4-BE49-F238E27FC236}">
                <a16:creationId xmlns:a16="http://schemas.microsoft.com/office/drawing/2014/main" id="{7C8B0C9E-9195-498A-A632-872673AF04CD}"/>
              </a:ext>
            </a:extLst>
          </p:cNvPr>
          <p:cNvSpPr/>
          <p:nvPr/>
        </p:nvSpPr>
        <p:spPr>
          <a:xfrm>
            <a:off x="1095824" y="5367072"/>
            <a:ext cx="2022309" cy="814153"/>
          </a:xfrm>
          <a:prstGeom prst="flowChartAlternateProcess">
            <a:avLst/>
          </a:prstGeom>
          <a:solidFill>
            <a:sysClr val="window" lastClr="FFFFFF"/>
          </a:solidFill>
          <a:ln w="25400" cap="flat" cmpd="sng" algn="ctr">
            <a:noFill/>
            <a:prstDash val="solid"/>
          </a:ln>
          <a:effectLst>
            <a:outerShdw blurRad="50800" dist="38100" dir="2700000" algn="tl" rotWithShape="0">
              <a:prstClr val="black">
                <a:alpha val="40000"/>
              </a:prstClr>
            </a:outerShdw>
          </a:effectLst>
        </p:spPr>
        <p:txBody>
          <a:bodyPr rot="0" spcFirstLastPara="0" vertOverflow="overflow" horzOverflow="overflow" vert="horz" wrap="square" lIns="68580" tIns="34290" rIns="68580" bIns="34290" numCol="1" spcCol="0" rtlCol="0" fromWordArt="0" anchor="b" anchorCtr="0" forceAA="0" compatLnSpc="1">
            <a:prstTxWarp prst="textNoShape">
              <a:avLst/>
            </a:prstTxWarp>
            <a:noAutofit/>
          </a:bodyPr>
          <a:lstStyle/>
          <a:p>
            <a:pPr algn="ctr" defTabSz="685800" fontAlgn="base">
              <a:spcBef>
                <a:spcPct val="0"/>
              </a:spcBef>
              <a:spcAft>
                <a:spcPct val="0"/>
              </a:spcAft>
              <a:defRPr/>
            </a:pPr>
            <a:endParaRPr lang="en-US" sz="1050" b="1" kern="0">
              <a:solidFill>
                <a:srgbClr val="000000"/>
              </a:solidFill>
              <a:latin typeface="Arial"/>
            </a:endParaRPr>
          </a:p>
        </p:txBody>
      </p:sp>
      <p:pic>
        <p:nvPicPr>
          <p:cNvPr id="53" name="Picture 52">
            <a:extLst>
              <a:ext uri="{FF2B5EF4-FFF2-40B4-BE49-F238E27FC236}">
                <a16:creationId xmlns:a16="http://schemas.microsoft.com/office/drawing/2014/main" id="{3F7D83CC-A4E9-4CB3-8095-AA860F1AC3D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00514" y="5390649"/>
            <a:ext cx="985552" cy="780658"/>
          </a:xfrm>
          <a:prstGeom prst="rect">
            <a:avLst/>
          </a:prstGeom>
        </p:spPr>
      </p:pic>
      <p:sp>
        <p:nvSpPr>
          <p:cNvPr id="54" name="TextBox 53">
            <a:extLst>
              <a:ext uri="{FF2B5EF4-FFF2-40B4-BE49-F238E27FC236}">
                <a16:creationId xmlns:a16="http://schemas.microsoft.com/office/drawing/2014/main" id="{7AAA306C-ADC5-4505-8A77-4ECAB2996E1B}"/>
              </a:ext>
            </a:extLst>
          </p:cNvPr>
          <p:cNvSpPr txBox="1"/>
          <p:nvPr/>
        </p:nvSpPr>
        <p:spPr>
          <a:xfrm>
            <a:off x="1204802" y="5607103"/>
            <a:ext cx="685541" cy="405147"/>
          </a:xfrm>
          <a:prstGeom prst="rect">
            <a:avLst/>
          </a:prstGeom>
          <a:noFill/>
        </p:spPr>
        <p:txBody>
          <a:bodyPr wrap="square" lIns="13716" tIns="13716" rIns="13716" bIns="13716" rtlCol="0">
            <a:spAutoFit/>
          </a:bodyPr>
          <a:lstStyle/>
          <a:p>
            <a:pPr algn="ctr" defTabSz="685800" fontAlgn="base">
              <a:spcBef>
                <a:spcPct val="0"/>
              </a:spcBef>
              <a:spcAft>
                <a:spcPct val="0"/>
              </a:spcAft>
              <a:buClr>
                <a:srgbClr val="00573B"/>
              </a:buClr>
            </a:pPr>
            <a:r>
              <a:rPr lang="en-US" sz="900" b="1">
                <a:solidFill>
                  <a:srgbClr val="0066A1"/>
                </a:solidFill>
                <a:latin typeface="Arial"/>
                <a:cs typeface="Arial" charset="0"/>
              </a:rPr>
              <a:t>User Sign-off</a:t>
            </a:r>
          </a:p>
        </p:txBody>
      </p:sp>
      <p:grpSp>
        <p:nvGrpSpPr>
          <p:cNvPr id="55" name="Group 247">
            <a:extLst>
              <a:ext uri="{FF2B5EF4-FFF2-40B4-BE49-F238E27FC236}">
                <a16:creationId xmlns:a16="http://schemas.microsoft.com/office/drawing/2014/main" id="{2A87BF2A-BEE0-4D1B-9D09-D63125237F25}"/>
              </a:ext>
            </a:extLst>
          </p:cNvPr>
          <p:cNvGrpSpPr/>
          <p:nvPr/>
        </p:nvGrpSpPr>
        <p:grpSpPr>
          <a:xfrm>
            <a:off x="5317789" y="5561984"/>
            <a:ext cx="469588" cy="492476"/>
            <a:chOff x="8702676" y="-87313"/>
            <a:chExt cx="1087437" cy="1382714"/>
          </a:xfrm>
        </p:grpSpPr>
        <p:sp>
          <p:nvSpPr>
            <p:cNvPr id="56" name="Freeform 48">
              <a:extLst>
                <a:ext uri="{FF2B5EF4-FFF2-40B4-BE49-F238E27FC236}">
                  <a16:creationId xmlns:a16="http://schemas.microsoft.com/office/drawing/2014/main" id="{1E463012-1C40-4356-A69C-5A92C2E07120}"/>
                </a:ext>
              </a:extLst>
            </p:cNvPr>
            <p:cNvSpPr>
              <a:spLocks/>
            </p:cNvSpPr>
            <p:nvPr/>
          </p:nvSpPr>
          <p:spPr bwMode="auto">
            <a:xfrm>
              <a:off x="8702676" y="-87313"/>
              <a:ext cx="442913" cy="617538"/>
            </a:xfrm>
            <a:custGeom>
              <a:avLst/>
              <a:gdLst/>
              <a:ahLst/>
              <a:cxnLst>
                <a:cxn ang="0">
                  <a:pos x="118" y="125"/>
                </a:cxn>
                <a:cxn ang="0">
                  <a:pos x="74" y="70"/>
                </a:cxn>
                <a:cxn ang="0">
                  <a:pos x="91" y="36"/>
                </a:cxn>
                <a:cxn ang="0">
                  <a:pos x="61" y="0"/>
                </a:cxn>
                <a:cxn ang="0">
                  <a:pos x="31" y="36"/>
                </a:cxn>
                <a:cxn ang="0">
                  <a:pos x="47" y="70"/>
                </a:cxn>
                <a:cxn ang="0">
                  <a:pos x="0" y="165"/>
                </a:cxn>
              </a:cxnLst>
              <a:rect l="0" t="0" r="r" b="b"/>
              <a:pathLst>
                <a:path w="118" h="165">
                  <a:moveTo>
                    <a:pt x="118" y="125"/>
                  </a:moveTo>
                  <a:cubicBezTo>
                    <a:pt x="112" y="98"/>
                    <a:pt x="99" y="77"/>
                    <a:pt x="74" y="70"/>
                  </a:cubicBezTo>
                  <a:cubicBezTo>
                    <a:pt x="82" y="63"/>
                    <a:pt x="91" y="49"/>
                    <a:pt x="91" y="36"/>
                  </a:cubicBezTo>
                  <a:cubicBezTo>
                    <a:pt x="91" y="15"/>
                    <a:pt x="77" y="0"/>
                    <a:pt x="61" y="0"/>
                  </a:cubicBezTo>
                  <a:cubicBezTo>
                    <a:pt x="44" y="0"/>
                    <a:pt x="31" y="15"/>
                    <a:pt x="31" y="36"/>
                  </a:cubicBezTo>
                  <a:cubicBezTo>
                    <a:pt x="31" y="49"/>
                    <a:pt x="40" y="63"/>
                    <a:pt x="47" y="70"/>
                  </a:cubicBezTo>
                  <a:cubicBezTo>
                    <a:pt x="12" y="80"/>
                    <a:pt x="0" y="118"/>
                    <a:pt x="0" y="165"/>
                  </a:cubicBezTo>
                </a:path>
              </a:pathLst>
            </a:custGeom>
            <a:noFill/>
            <a:ln w="12700" cap="flat" cmpd="sng" algn="ctr">
              <a:solidFill>
                <a:srgbClr val="F26E01">
                  <a:shade val="95000"/>
                  <a:satMod val="105000"/>
                </a:srgbClr>
              </a:solidFill>
              <a:prstDash val="solid"/>
              <a:headEnd/>
              <a:tailEnd/>
            </a:ln>
            <a:effectLst/>
          </p:spPr>
          <p:txBody>
            <a:bodyPr vert="horz" wrap="square" lIns="68580" tIns="34290" rIns="68580" bIns="34290" numCol="1" anchor="t" anchorCtr="0" compatLnSpc="1">
              <a:prstTxWarp prst="textNoShape">
                <a:avLst/>
              </a:prstTxWarp>
            </a:bodyPr>
            <a:lstStyle/>
            <a:p>
              <a:pPr defTabSz="685800">
                <a:defRPr/>
              </a:pPr>
              <a:endParaRPr lang="en-US" sz="1350" kern="0">
                <a:solidFill>
                  <a:sysClr val="windowText" lastClr="000000"/>
                </a:solidFill>
                <a:latin typeface="Arial"/>
                <a:cs typeface="Arial" charset="0"/>
              </a:endParaRPr>
            </a:p>
          </p:txBody>
        </p:sp>
        <p:sp>
          <p:nvSpPr>
            <p:cNvPr id="57" name="Freeform 49">
              <a:extLst>
                <a:ext uri="{FF2B5EF4-FFF2-40B4-BE49-F238E27FC236}">
                  <a16:creationId xmlns:a16="http://schemas.microsoft.com/office/drawing/2014/main" id="{A068DEAD-0BD4-4212-BB28-783F60608390}"/>
                </a:ext>
              </a:extLst>
            </p:cNvPr>
            <p:cNvSpPr>
              <a:spLocks/>
            </p:cNvSpPr>
            <p:nvPr/>
          </p:nvSpPr>
          <p:spPr bwMode="auto">
            <a:xfrm>
              <a:off x="8834438" y="554037"/>
              <a:ext cx="201613" cy="1588"/>
            </a:xfrm>
            <a:custGeom>
              <a:avLst/>
              <a:gdLst/>
              <a:ahLst/>
              <a:cxnLst>
                <a:cxn ang="0">
                  <a:pos x="54" y="0"/>
                </a:cxn>
                <a:cxn ang="0">
                  <a:pos x="0" y="0"/>
                </a:cxn>
              </a:cxnLst>
              <a:rect l="0" t="0" r="r" b="b"/>
              <a:pathLst>
                <a:path w="54">
                  <a:moveTo>
                    <a:pt x="54" y="0"/>
                  </a:moveTo>
                  <a:cubicBezTo>
                    <a:pt x="37" y="0"/>
                    <a:pt x="17" y="0"/>
                    <a:pt x="0" y="0"/>
                  </a:cubicBezTo>
                </a:path>
              </a:pathLst>
            </a:custGeom>
            <a:noFill/>
            <a:ln w="12700" cap="flat" cmpd="sng" algn="ctr">
              <a:solidFill>
                <a:srgbClr val="F26E01">
                  <a:shade val="95000"/>
                  <a:satMod val="105000"/>
                </a:srgbClr>
              </a:solidFill>
              <a:prstDash val="solid"/>
              <a:headEnd/>
              <a:tailEnd/>
            </a:ln>
            <a:effectLst/>
          </p:spPr>
          <p:txBody>
            <a:bodyPr vert="horz" wrap="square" lIns="68580" tIns="34290" rIns="68580" bIns="34290" numCol="1" anchor="t" anchorCtr="0" compatLnSpc="1">
              <a:prstTxWarp prst="textNoShape">
                <a:avLst/>
              </a:prstTxWarp>
            </a:bodyPr>
            <a:lstStyle/>
            <a:p>
              <a:pPr defTabSz="685800">
                <a:defRPr/>
              </a:pPr>
              <a:endParaRPr lang="en-US" sz="1350" kern="0">
                <a:solidFill>
                  <a:sysClr val="windowText" lastClr="000000"/>
                </a:solidFill>
                <a:latin typeface="Arial"/>
                <a:cs typeface="Arial" charset="0"/>
              </a:endParaRPr>
            </a:p>
          </p:txBody>
        </p:sp>
        <p:sp>
          <p:nvSpPr>
            <p:cNvPr id="58" name="Freeform 50">
              <a:extLst>
                <a:ext uri="{FF2B5EF4-FFF2-40B4-BE49-F238E27FC236}">
                  <a16:creationId xmlns:a16="http://schemas.microsoft.com/office/drawing/2014/main" id="{4EDA0CB0-15BE-43EA-BE6A-92F361B095DE}"/>
                </a:ext>
              </a:extLst>
            </p:cNvPr>
            <p:cNvSpPr>
              <a:spLocks/>
            </p:cNvSpPr>
            <p:nvPr/>
          </p:nvSpPr>
          <p:spPr bwMode="auto">
            <a:xfrm>
              <a:off x="9336088" y="69850"/>
              <a:ext cx="454025" cy="765176"/>
            </a:xfrm>
            <a:custGeom>
              <a:avLst/>
              <a:gdLst/>
              <a:ahLst/>
              <a:cxnLst>
                <a:cxn ang="0">
                  <a:pos x="0" y="106"/>
                </a:cxn>
                <a:cxn ang="0">
                  <a:pos x="33" y="83"/>
                </a:cxn>
                <a:cxn ang="0">
                  <a:pos x="14" y="43"/>
                </a:cxn>
                <a:cxn ang="0">
                  <a:pos x="49" y="0"/>
                </a:cxn>
                <a:cxn ang="0">
                  <a:pos x="85" y="43"/>
                </a:cxn>
                <a:cxn ang="0">
                  <a:pos x="65" y="83"/>
                </a:cxn>
                <a:cxn ang="0">
                  <a:pos x="121" y="194"/>
                </a:cxn>
                <a:cxn ang="0">
                  <a:pos x="16" y="201"/>
                </a:cxn>
              </a:cxnLst>
              <a:rect l="0" t="0" r="r" b="b"/>
              <a:pathLst>
                <a:path w="121" h="204">
                  <a:moveTo>
                    <a:pt x="0" y="106"/>
                  </a:moveTo>
                  <a:cubicBezTo>
                    <a:pt x="8" y="95"/>
                    <a:pt x="19" y="87"/>
                    <a:pt x="33" y="83"/>
                  </a:cubicBezTo>
                  <a:cubicBezTo>
                    <a:pt x="25" y="74"/>
                    <a:pt x="14" y="58"/>
                    <a:pt x="14" y="43"/>
                  </a:cubicBezTo>
                  <a:cubicBezTo>
                    <a:pt x="14" y="18"/>
                    <a:pt x="30" y="0"/>
                    <a:pt x="49" y="0"/>
                  </a:cubicBezTo>
                  <a:cubicBezTo>
                    <a:pt x="69" y="0"/>
                    <a:pt x="85" y="18"/>
                    <a:pt x="85" y="43"/>
                  </a:cubicBezTo>
                  <a:cubicBezTo>
                    <a:pt x="85" y="58"/>
                    <a:pt x="74" y="74"/>
                    <a:pt x="65" y="83"/>
                  </a:cubicBezTo>
                  <a:cubicBezTo>
                    <a:pt x="107" y="95"/>
                    <a:pt x="121" y="140"/>
                    <a:pt x="121" y="194"/>
                  </a:cubicBezTo>
                  <a:cubicBezTo>
                    <a:pt x="121" y="201"/>
                    <a:pt x="59" y="204"/>
                    <a:pt x="16" y="201"/>
                  </a:cubicBezTo>
                </a:path>
              </a:pathLst>
            </a:custGeom>
            <a:noFill/>
            <a:ln w="12700" cap="flat" cmpd="sng" algn="ctr">
              <a:solidFill>
                <a:srgbClr val="F26E01">
                  <a:shade val="95000"/>
                  <a:satMod val="105000"/>
                </a:srgbClr>
              </a:solidFill>
              <a:prstDash val="solid"/>
              <a:headEnd/>
              <a:tailEnd/>
            </a:ln>
            <a:effectLst/>
          </p:spPr>
          <p:txBody>
            <a:bodyPr vert="horz" wrap="square" lIns="68580" tIns="34290" rIns="68580" bIns="34290" numCol="1" anchor="t" anchorCtr="0" compatLnSpc="1">
              <a:prstTxWarp prst="textNoShape">
                <a:avLst/>
              </a:prstTxWarp>
            </a:bodyPr>
            <a:lstStyle/>
            <a:p>
              <a:pPr defTabSz="685800">
                <a:defRPr/>
              </a:pPr>
              <a:endParaRPr lang="en-US" sz="1350" kern="0">
                <a:solidFill>
                  <a:sysClr val="windowText" lastClr="000000"/>
                </a:solidFill>
                <a:latin typeface="Arial"/>
                <a:cs typeface="Arial" charset="0"/>
              </a:endParaRPr>
            </a:p>
          </p:txBody>
        </p:sp>
        <p:sp>
          <p:nvSpPr>
            <p:cNvPr id="59" name="Freeform 51">
              <a:extLst>
                <a:ext uri="{FF2B5EF4-FFF2-40B4-BE49-F238E27FC236}">
                  <a16:creationId xmlns:a16="http://schemas.microsoft.com/office/drawing/2014/main" id="{D47BADA7-A1DD-4E4C-B182-B1D61E4ED977}"/>
                </a:ext>
              </a:extLst>
            </p:cNvPr>
            <p:cNvSpPr>
              <a:spLocks/>
            </p:cNvSpPr>
            <p:nvPr/>
          </p:nvSpPr>
          <p:spPr bwMode="auto">
            <a:xfrm>
              <a:off x="9036051" y="381000"/>
              <a:ext cx="109538" cy="173038"/>
            </a:xfrm>
            <a:custGeom>
              <a:avLst/>
              <a:gdLst/>
              <a:ahLst/>
              <a:cxnLst>
                <a:cxn ang="0">
                  <a:pos x="0" y="46"/>
                </a:cxn>
                <a:cxn ang="0">
                  <a:pos x="29" y="0"/>
                </a:cxn>
              </a:cxnLst>
              <a:rect l="0" t="0" r="r" b="b"/>
              <a:pathLst>
                <a:path w="29" h="46">
                  <a:moveTo>
                    <a:pt x="0" y="46"/>
                  </a:moveTo>
                  <a:cubicBezTo>
                    <a:pt x="1" y="23"/>
                    <a:pt x="13" y="6"/>
                    <a:pt x="29" y="0"/>
                  </a:cubicBezTo>
                </a:path>
              </a:pathLst>
            </a:custGeom>
            <a:noFill/>
            <a:ln w="12700" cap="flat" cmpd="sng" algn="ctr">
              <a:solidFill>
                <a:srgbClr val="F26E01">
                  <a:shade val="95000"/>
                  <a:satMod val="105000"/>
                </a:srgbClr>
              </a:solidFill>
              <a:prstDash val="solid"/>
              <a:headEnd/>
              <a:tailEnd/>
            </a:ln>
            <a:effectLst/>
          </p:spPr>
          <p:txBody>
            <a:bodyPr vert="horz" wrap="square" lIns="68580" tIns="34290" rIns="68580" bIns="34290" numCol="1" anchor="t" anchorCtr="0" compatLnSpc="1">
              <a:prstTxWarp prst="textNoShape">
                <a:avLst/>
              </a:prstTxWarp>
            </a:bodyPr>
            <a:lstStyle/>
            <a:p>
              <a:pPr defTabSz="685800">
                <a:defRPr/>
              </a:pPr>
              <a:endParaRPr lang="en-US" sz="1350" kern="0">
                <a:solidFill>
                  <a:sysClr val="windowText" lastClr="000000"/>
                </a:solidFill>
                <a:latin typeface="Arial"/>
                <a:cs typeface="Arial" charset="0"/>
              </a:endParaRPr>
            </a:p>
          </p:txBody>
        </p:sp>
        <p:sp>
          <p:nvSpPr>
            <p:cNvPr id="60" name="Freeform 52">
              <a:extLst>
                <a:ext uri="{FF2B5EF4-FFF2-40B4-BE49-F238E27FC236}">
                  <a16:creationId xmlns:a16="http://schemas.microsoft.com/office/drawing/2014/main" id="{AA4BE45A-3F8E-46E3-B175-1EE7AC1E8D00}"/>
                </a:ext>
              </a:extLst>
            </p:cNvPr>
            <p:cNvSpPr>
              <a:spLocks/>
            </p:cNvSpPr>
            <p:nvPr/>
          </p:nvSpPr>
          <p:spPr bwMode="auto">
            <a:xfrm>
              <a:off x="8870951" y="554037"/>
              <a:ext cx="252413" cy="700088"/>
            </a:xfrm>
            <a:custGeom>
              <a:avLst/>
              <a:gdLst/>
              <a:ahLst/>
              <a:cxnLst>
                <a:cxn ang="0">
                  <a:pos x="44" y="0"/>
                </a:cxn>
                <a:cxn ang="0">
                  <a:pos x="44" y="4"/>
                </a:cxn>
                <a:cxn ang="0">
                  <a:pos x="67" y="52"/>
                </a:cxn>
                <a:cxn ang="0">
                  <a:pos x="0" y="187"/>
                </a:cxn>
              </a:cxnLst>
              <a:rect l="0" t="0" r="r" b="b"/>
              <a:pathLst>
                <a:path w="67" h="187">
                  <a:moveTo>
                    <a:pt x="44" y="0"/>
                  </a:moveTo>
                  <a:cubicBezTo>
                    <a:pt x="44" y="1"/>
                    <a:pt x="44" y="3"/>
                    <a:pt x="44" y="4"/>
                  </a:cubicBezTo>
                  <a:cubicBezTo>
                    <a:pt x="44" y="22"/>
                    <a:pt x="57" y="41"/>
                    <a:pt x="67" y="52"/>
                  </a:cubicBezTo>
                  <a:cubicBezTo>
                    <a:pt x="17" y="66"/>
                    <a:pt x="0" y="121"/>
                    <a:pt x="0" y="187"/>
                  </a:cubicBezTo>
                </a:path>
              </a:pathLst>
            </a:custGeom>
            <a:noFill/>
            <a:ln w="12700" cap="flat" cmpd="sng" algn="ctr">
              <a:solidFill>
                <a:srgbClr val="F26E01">
                  <a:shade val="95000"/>
                  <a:satMod val="105000"/>
                </a:srgbClr>
              </a:solidFill>
              <a:prstDash val="solid"/>
              <a:headEnd/>
              <a:tailEnd/>
            </a:ln>
            <a:effectLst/>
          </p:spPr>
          <p:txBody>
            <a:bodyPr vert="horz" wrap="square" lIns="68580" tIns="34290" rIns="68580" bIns="34290" numCol="1" anchor="t" anchorCtr="0" compatLnSpc="1">
              <a:prstTxWarp prst="textNoShape">
                <a:avLst/>
              </a:prstTxWarp>
            </a:bodyPr>
            <a:lstStyle/>
            <a:p>
              <a:pPr defTabSz="685800">
                <a:defRPr/>
              </a:pPr>
              <a:endParaRPr lang="en-US" sz="1350" kern="0">
                <a:solidFill>
                  <a:sysClr val="windowText" lastClr="000000"/>
                </a:solidFill>
                <a:latin typeface="Arial"/>
                <a:cs typeface="Arial" charset="0"/>
              </a:endParaRPr>
            </a:p>
          </p:txBody>
        </p:sp>
        <p:sp>
          <p:nvSpPr>
            <p:cNvPr id="61" name="Freeform 53">
              <a:extLst>
                <a:ext uri="{FF2B5EF4-FFF2-40B4-BE49-F238E27FC236}">
                  <a16:creationId xmlns:a16="http://schemas.microsoft.com/office/drawing/2014/main" id="{0E89D7E0-3BEB-49E3-9D2E-40EDA81F2367}"/>
                </a:ext>
              </a:extLst>
            </p:cNvPr>
            <p:cNvSpPr>
              <a:spLocks/>
            </p:cNvSpPr>
            <p:nvPr/>
          </p:nvSpPr>
          <p:spPr bwMode="auto">
            <a:xfrm>
              <a:off x="9066213" y="823913"/>
              <a:ext cx="454025" cy="471488"/>
            </a:xfrm>
            <a:custGeom>
              <a:avLst/>
              <a:gdLst/>
              <a:ahLst/>
              <a:cxnLst>
                <a:cxn ang="0">
                  <a:pos x="88" y="0"/>
                </a:cxn>
                <a:cxn ang="0">
                  <a:pos x="121" y="115"/>
                </a:cxn>
                <a:cxn ang="0">
                  <a:pos x="0" y="124"/>
                </a:cxn>
              </a:cxnLst>
              <a:rect l="0" t="0" r="r" b="b"/>
              <a:pathLst>
                <a:path w="121" h="126">
                  <a:moveTo>
                    <a:pt x="88" y="0"/>
                  </a:moveTo>
                  <a:cubicBezTo>
                    <a:pt x="112" y="25"/>
                    <a:pt x="121" y="67"/>
                    <a:pt x="121" y="115"/>
                  </a:cubicBezTo>
                  <a:cubicBezTo>
                    <a:pt x="121" y="123"/>
                    <a:pt x="51" y="126"/>
                    <a:pt x="0" y="124"/>
                  </a:cubicBezTo>
                </a:path>
              </a:pathLst>
            </a:custGeom>
            <a:noFill/>
            <a:ln w="12700" cap="flat" cmpd="sng" algn="ctr">
              <a:solidFill>
                <a:srgbClr val="F26E01">
                  <a:shade val="95000"/>
                  <a:satMod val="105000"/>
                </a:srgbClr>
              </a:solidFill>
              <a:prstDash val="solid"/>
              <a:headEnd/>
              <a:tailEnd/>
            </a:ln>
            <a:effectLst/>
          </p:spPr>
          <p:txBody>
            <a:bodyPr vert="horz" wrap="square" lIns="68580" tIns="34290" rIns="68580" bIns="34290" numCol="1" anchor="t" anchorCtr="0" compatLnSpc="1">
              <a:prstTxWarp prst="textNoShape">
                <a:avLst/>
              </a:prstTxWarp>
            </a:bodyPr>
            <a:lstStyle/>
            <a:p>
              <a:pPr defTabSz="685800">
                <a:defRPr/>
              </a:pPr>
              <a:endParaRPr lang="en-US" sz="1350" kern="0">
                <a:solidFill>
                  <a:sysClr val="windowText" lastClr="000000"/>
                </a:solidFill>
                <a:latin typeface="Arial"/>
                <a:cs typeface="Arial" charset="0"/>
              </a:endParaRPr>
            </a:p>
          </p:txBody>
        </p:sp>
        <p:sp>
          <p:nvSpPr>
            <p:cNvPr id="62" name="Freeform 54">
              <a:extLst>
                <a:ext uri="{FF2B5EF4-FFF2-40B4-BE49-F238E27FC236}">
                  <a16:creationId xmlns:a16="http://schemas.microsoft.com/office/drawing/2014/main" id="{029B6586-82CB-4E1F-86CB-D9DE140FD710}"/>
                </a:ext>
              </a:extLst>
            </p:cNvPr>
            <p:cNvSpPr>
              <a:spLocks/>
            </p:cNvSpPr>
            <p:nvPr/>
          </p:nvSpPr>
          <p:spPr bwMode="auto">
            <a:xfrm>
              <a:off x="9145588" y="373062"/>
              <a:ext cx="190500" cy="93663"/>
            </a:xfrm>
            <a:custGeom>
              <a:avLst/>
              <a:gdLst/>
              <a:ahLst/>
              <a:cxnLst>
                <a:cxn ang="0">
                  <a:pos x="0" y="2"/>
                </a:cxn>
                <a:cxn ang="0">
                  <a:pos x="13" y="0"/>
                </a:cxn>
                <a:cxn ang="0">
                  <a:pos x="51" y="25"/>
                </a:cxn>
              </a:cxnLst>
              <a:rect l="0" t="0" r="r" b="b"/>
              <a:pathLst>
                <a:path w="51" h="25">
                  <a:moveTo>
                    <a:pt x="0" y="2"/>
                  </a:moveTo>
                  <a:cubicBezTo>
                    <a:pt x="4" y="1"/>
                    <a:pt x="9" y="0"/>
                    <a:pt x="13" y="0"/>
                  </a:cubicBezTo>
                  <a:cubicBezTo>
                    <a:pt x="29" y="0"/>
                    <a:pt x="43" y="10"/>
                    <a:pt x="51" y="25"/>
                  </a:cubicBezTo>
                </a:path>
              </a:pathLst>
            </a:custGeom>
            <a:noFill/>
            <a:ln w="12700" cap="flat" cmpd="sng" algn="ctr">
              <a:solidFill>
                <a:srgbClr val="F26E01">
                  <a:shade val="95000"/>
                  <a:satMod val="105000"/>
                </a:srgbClr>
              </a:solidFill>
              <a:prstDash val="solid"/>
              <a:headEnd/>
              <a:tailEnd/>
            </a:ln>
            <a:effectLst/>
          </p:spPr>
          <p:txBody>
            <a:bodyPr vert="horz" wrap="square" lIns="68580" tIns="34290" rIns="68580" bIns="34290" numCol="1" anchor="t" anchorCtr="0" compatLnSpc="1">
              <a:prstTxWarp prst="textNoShape">
                <a:avLst/>
              </a:prstTxWarp>
            </a:bodyPr>
            <a:lstStyle/>
            <a:p>
              <a:pPr defTabSz="685800">
                <a:defRPr/>
              </a:pPr>
              <a:endParaRPr lang="en-US" sz="1350" kern="0">
                <a:solidFill>
                  <a:sysClr val="windowText" lastClr="000000"/>
                </a:solidFill>
                <a:latin typeface="Arial"/>
                <a:cs typeface="Arial" charset="0"/>
              </a:endParaRPr>
            </a:p>
          </p:txBody>
        </p:sp>
        <p:sp>
          <p:nvSpPr>
            <p:cNvPr id="63" name="Freeform 55">
              <a:extLst>
                <a:ext uri="{FF2B5EF4-FFF2-40B4-BE49-F238E27FC236}">
                  <a16:creationId xmlns:a16="http://schemas.microsoft.com/office/drawing/2014/main" id="{DFC60375-554E-483E-874F-1A7B66010924}"/>
                </a:ext>
              </a:extLst>
            </p:cNvPr>
            <p:cNvSpPr>
              <a:spLocks/>
            </p:cNvSpPr>
            <p:nvPr/>
          </p:nvSpPr>
          <p:spPr bwMode="auto">
            <a:xfrm>
              <a:off x="9269413" y="466725"/>
              <a:ext cx="127000" cy="357188"/>
            </a:xfrm>
            <a:custGeom>
              <a:avLst/>
              <a:gdLst/>
              <a:ahLst/>
              <a:cxnLst>
                <a:cxn ang="0">
                  <a:pos x="18" y="0"/>
                </a:cxn>
                <a:cxn ang="0">
                  <a:pos x="23" y="27"/>
                </a:cxn>
                <a:cxn ang="0">
                  <a:pos x="0" y="75"/>
                </a:cxn>
                <a:cxn ang="0">
                  <a:pos x="34" y="95"/>
                </a:cxn>
              </a:cxnLst>
              <a:rect l="0" t="0" r="r" b="b"/>
              <a:pathLst>
                <a:path w="34" h="95">
                  <a:moveTo>
                    <a:pt x="18" y="0"/>
                  </a:moveTo>
                  <a:cubicBezTo>
                    <a:pt x="21" y="8"/>
                    <a:pt x="23" y="17"/>
                    <a:pt x="23" y="27"/>
                  </a:cubicBezTo>
                  <a:cubicBezTo>
                    <a:pt x="23" y="45"/>
                    <a:pt x="10" y="64"/>
                    <a:pt x="0" y="75"/>
                  </a:cubicBezTo>
                  <a:cubicBezTo>
                    <a:pt x="14" y="79"/>
                    <a:pt x="25" y="86"/>
                    <a:pt x="34" y="95"/>
                  </a:cubicBezTo>
                </a:path>
              </a:pathLst>
            </a:custGeom>
            <a:noFill/>
            <a:ln w="12700" cap="flat" cmpd="sng" algn="ctr">
              <a:solidFill>
                <a:srgbClr val="F26E01">
                  <a:shade val="95000"/>
                  <a:satMod val="105000"/>
                </a:srgbClr>
              </a:solidFill>
              <a:prstDash val="solid"/>
              <a:headEnd/>
              <a:tailEnd/>
            </a:ln>
            <a:effectLst/>
          </p:spPr>
          <p:txBody>
            <a:bodyPr vert="horz" wrap="square" lIns="68580" tIns="34290" rIns="68580" bIns="34290" numCol="1" anchor="t" anchorCtr="0" compatLnSpc="1">
              <a:prstTxWarp prst="textNoShape">
                <a:avLst/>
              </a:prstTxWarp>
            </a:bodyPr>
            <a:lstStyle/>
            <a:p>
              <a:pPr defTabSz="685800">
                <a:defRPr/>
              </a:pPr>
              <a:endParaRPr lang="en-US" sz="1350" kern="0">
                <a:solidFill>
                  <a:sysClr val="windowText" lastClr="000000"/>
                </a:solidFill>
                <a:latin typeface="Arial"/>
                <a:cs typeface="Arial" charset="0"/>
              </a:endParaRPr>
            </a:p>
          </p:txBody>
        </p:sp>
      </p:grpSp>
      <p:grpSp>
        <p:nvGrpSpPr>
          <p:cNvPr id="64" name="Group 63">
            <a:extLst>
              <a:ext uri="{FF2B5EF4-FFF2-40B4-BE49-F238E27FC236}">
                <a16:creationId xmlns:a16="http://schemas.microsoft.com/office/drawing/2014/main" id="{A1180092-C17A-4BED-869C-3188FC4D28EB}"/>
              </a:ext>
            </a:extLst>
          </p:cNvPr>
          <p:cNvGrpSpPr/>
          <p:nvPr/>
        </p:nvGrpSpPr>
        <p:grpSpPr>
          <a:xfrm>
            <a:off x="5929669" y="5642802"/>
            <a:ext cx="544995" cy="307684"/>
            <a:chOff x="5668197" y="4293096"/>
            <a:chExt cx="553168" cy="337409"/>
          </a:xfrm>
        </p:grpSpPr>
        <p:sp>
          <p:nvSpPr>
            <p:cNvPr id="65" name="Freeform 995">
              <a:extLst>
                <a:ext uri="{FF2B5EF4-FFF2-40B4-BE49-F238E27FC236}">
                  <a16:creationId xmlns:a16="http://schemas.microsoft.com/office/drawing/2014/main" id="{0D5BABC0-C147-4AB9-ACEC-89F7D04F4F00}"/>
                </a:ext>
              </a:extLst>
            </p:cNvPr>
            <p:cNvSpPr>
              <a:spLocks/>
            </p:cNvSpPr>
            <p:nvPr/>
          </p:nvSpPr>
          <p:spPr bwMode="auto">
            <a:xfrm>
              <a:off x="5668197" y="4293096"/>
              <a:ext cx="553168" cy="337409"/>
            </a:xfrm>
            <a:custGeom>
              <a:avLst/>
              <a:gdLst>
                <a:gd name="T0" fmla="*/ 158750 w 199"/>
                <a:gd name="T1" fmla="*/ 86603 h 123"/>
                <a:gd name="T2" fmla="*/ 158750 w 199"/>
                <a:gd name="T3" fmla="*/ 86603 h 123"/>
                <a:gd name="T4" fmla="*/ 157952 w 199"/>
                <a:gd name="T5" fmla="*/ 90540 h 123"/>
                <a:gd name="T6" fmla="*/ 157155 w 199"/>
                <a:gd name="T7" fmla="*/ 93689 h 123"/>
                <a:gd name="T8" fmla="*/ 152368 w 199"/>
                <a:gd name="T9" fmla="*/ 96051 h 123"/>
                <a:gd name="T10" fmla="*/ 148379 w 199"/>
                <a:gd name="T11" fmla="*/ 96838 h 123"/>
                <a:gd name="T12" fmla="*/ 9573 w 199"/>
                <a:gd name="T13" fmla="*/ 96838 h 123"/>
                <a:gd name="T14" fmla="*/ 6382 w 199"/>
                <a:gd name="T15" fmla="*/ 96051 h 123"/>
                <a:gd name="T16" fmla="*/ 3191 w 199"/>
                <a:gd name="T17" fmla="*/ 93689 h 123"/>
                <a:gd name="T18" fmla="*/ 0 w 199"/>
                <a:gd name="T19" fmla="*/ 90540 h 123"/>
                <a:gd name="T20" fmla="*/ 0 w 199"/>
                <a:gd name="T21" fmla="*/ 86603 h 123"/>
                <a:gd name="T22" fmla="*/ 144391 w 199"/>
                <a:gd name="T23" fmla="*/ 86603 h 123"/>
                <a:gd name="T24" fmla="*/ 144391 w 199"/>
                <a:gd name="T25" fmla="*/ 0 h 123"/>
                <a:gd name="T26" fmla="*/ 13562 w 199"/>
                <a:gd name="T27" fmla="*/ 0 h 123"/>
                <a:gd name="T28" fmla="*/ 13562 w 199"/>
                <a:gd name="T29" fmla="*/ 74794 h 1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9"/>
                <a:gd name="T46" fmla="*/ 0 h 123"/>
                <a:gd name="T47" fmla="*/ 199 w 199"/>
                <a:gd name="T48" fmla="*/ 123 h 1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9" h="123">
                  <a:moveTo>
                    <a:pt x="199" y="110"/>
                  </a:moveTo>
                  <a:lnTo>
                    <a:pt x="199" y="110"/>
                  </a:lnTo>
                  <a:lnTo>
                    <a:pt x="198" y="115"/>
                  </a:lnTo>
                  <a:lnTo>
                    <a:pt x="197" y="119"/>
                  </a:lnTo>
                  <a:lnTo>
                    <a:pt x="191" y="122"/>
                  </a:lnTo>
                  <a:lnTo>
                    <a:pt x="186" y="123"/>
                  </a:lnTo>
                  <a:lnTo>
                    <a:pt x="12" y="123"/>
                  </a:lnTo>
                  <a:lnTo>
                    <a:pt x="8" y="122"/>
                  </a:lnTo>
                  <a:lnTo>
                    <a:pt x="4" y="119"/>
                  </a:lnTo>
                  <a:lnTo>
                    <a:pt x="0" y="115"/>
                  </a:lnTo>
                  <a:lnTo>
                    <a:pt x="0" y="110"/>
                  </a:lnTo>
                  <a:lnTo>
                    <a:pt x="181" y="110"/>
                  </a:lnTo>
                  <a:lnTo>
                    <a:pt x="181" y="0"/>
                  </a:lnTo>
                  <a:lnTo>
                    <a:pt x="17" y="0"/>
                  </a:lnTo>
                  <a:lnTo>
                    <a:pt x="17" y="95"/>
                  </a:lnTo>
                </a:path>
              </a:pathLst>
            </a:custGeom>
            <a:noFill/>
            <a:ln w="12700">
              <a:solidFill>
                <a:srgbClr val="00573B"/>
              </a:solidFill>
              <a:prstDash val="solid"/>
              <a:round/>
              <a:headEnd/>
              <a:tailEnd/>
            </a:ln>
          </p:spPr>
          <p:txBody>
            <a:bodyPr/>
            <a:lstStyle/>
            <a:p>
              <a:pPr defTabSz="685800" fontAlgn="base">
                <a:spcBef>
                  <a:spcPct val="0"/>
                </a:spcBef>
                <a:spcAft>
                  <a:spcPct val="0"/>
                </a:spcAft>
                <a:defRPr/>
              </a:pPr>
              <a:endParaRPr lang="en-US" sz="1350" kern="0">
                <a:solidFill>
                  <a:srgbClr val="000000"/>
                </a:solidFill>
                <a:latin typeface="Arial"/>
                <a:cs typeface="Arial" charset="0"/>
              </a:endParaRPr>
            </a:p>
          </p:txBody>
        </p:sp>
        <p:grpSp>
          <p:nvGrpSpPr>
            <p:cNvPr id="66" name="Group 65">
              <a:extLst>
                <a:ext uri="{FF2B5EF4-FFF2-40B4-BE49-F238E27FC236}">
                  <a16:creationId xmlns:a16="http://schemas.microsoft.com/office/drawing/2014/main" id="{2278DD11-34D0-474C-8EA5-6B995746BD11}"/>
                </a:ext>
              </a:extLst>
            </p:cNvPr>
            <p:cNvGrpSpPr/>
            <p:nvPr/>
          </p:nvGrpSpPr>
          <p:grpSpPr>
            <a:xfrm>
              <a:off x="5831539" y="4320288"/>
              <a:ext cx="202550" cy="237059"/>
              <a:chOff x="4893326" y="4548888"/>
              <a:chExt cx="415210" cy="485951"/>
            </a:xfrm>
          </p:grpSpPr>
          <p:sp>
            <p:nvSpPr>
              <p:cNvPr id="67" name="Freeform 1432">
                <a:extLst>
                  <a:ext uri="{FF2B5EF4-FFF2-40B4-BE49-F238E27FC236}">
                    <a16:creationId xmlns:a16="http://schemas.microsoft.com/office/drawing/2014/main" id="{E83FE96F-D9CE-4458-A55D-693D9E0A0B06}"/>
                  </a:ext>
                </a:extLst>
              </p:cNvPr>
              <p:cNvSpPr>
                <a:spLocks/>
              </p:cNvSpPr>
              <p:nvPr/>
            </p:nvSpPr>
            <p:spPr bwMode="auto">
              <a:xfrm>
                <a:off x="4893326" y="4548888"/>
                <a:ext cx="278381" cy="231181"/>
              </a:xfrm>
              <a:custGeom>
                <a:avLst/>
                <a:gdLst>
                  <a:gd name="T0" fmla="*/ 44830 w 117"/>
                  <a:gd name="T1" fmla="*/ 61913 h 98"/>
                  <a:gd name="T2" fmla="*/ 0 w 117"/>
                  <a:gd name="T3" fmla="*/ 30956 h 98"/>
                  <a:gd name="T4" fmla="*/ 44830 w 117"/>
                  <a:gd name="T5" fmla="*/ 0 h 98"/>
                  <a:gd name="T6" fmla="*/ 44830 w 117"/>
                  <a:gd name="T7" fmla="*/ 17463 h 98"/>
                  <a:gd name="T8" fmla="*/ 44830 w 117"/>
                  <a:gd name="T9" fmla="*/ 17463 h 98"/>
                  <a:gd name="T10" fmla="*/ 61641 w 117"/>
                  <a:gd name="T11" fmla="*/ 17463 h 98"/>
                  <a:gd name="T12" fmla="*/ 61641 w 117"/>
                  <a:gd name="T13" fmla="*/ 17463 h 98"/>
                  <a:gd name="T14" fmla="*/ 66445 w 117"/>
                  <a:gd name="T15" fmla="*/ 17463 h 98"/>
                  <a:gd name="T16" fmla="*/ 72048 w 117"/>
                  <a:gd name="T17" fmla="*/ 19844 h 98"/>
                  <a:gd name="T18" fmla="*/ 76852 w 117"/>
                  <a:gd name="T19" fmla="*/ 21431 h 98"/>
                  <a:gd name="T20" fmla="*/ 82455 w 117"/>
                  <a:gd name="T21" fmla="*/ 24606 h 98"/>
                  <a:gd name="T22" fmla="*/ 87259 w 117"/>
                  <a:gd name="T23" fmla="*/ 28575 h 98"/>
                  <a:gd name="T24" fmla="*/ 91261 w 117"/>
                  <a:gd name="T25" fmla="*/ 34131 h 98"/>
                  <a:gd name="T26" fmla="*/ 92862 w 117"/>
                  <a:gd name="T27" fmla="*/ 39688 h 98"/>
                  <a:gd name="T28" fmla="*/ 93663 w 117"/>
                  <a:gd name="T29" fmla="*/ 46832 h 98"/>
                  <a:gd name="T30" fmla="*/ 93663 w 117"/>
                  <a:gd name="T31" fmla="*/ 46832 h 98"/>
                  <a:gd name="T32" fmla="*/ 93663 w 117"/>
                  <a:gd name="T33" fmla="*/ 52388 h 98"/>
                  <a:gd name="T34" fmla="*/ 92062 w 117"/>
                  <a:gd name="T35" fmla="*/ 57150 h 98"/>
                  <a:gd name="T36" fmla="*/ 89660 w 117"/>
                  <a:gd name="T37" fmla="*/ 61913 h 98"/>
                  <a:gd name="T38" fmla="*/ 87259 w 117"/>
                  <a:gd name="T39" fmla="*/ 66675 h 98"/>
                  <a:gd name="T40" fmla="*/ 80854 w 117"/>
                  <a:gd name="T41" fmla="*/ 74613 h 98"/>
                  <a:gd name="T42" fmla="*/ 78453 w 117"/>
                  <a:gd name="T43" fmla="*/ 76994 h 98"/>
                  <a:gd name="T44" fmla="*/ 75251 w 117"/>
                  <a:gd name="T45" fmla="*/ 77788 h 98"/>
                  <a:gd name="T46" fmla="*/ 75251 w 117"/>
                  <a:gd name="T47" fmla="*/ 77788 h 98"/>
                  <a:gd name="T48" fmla="*/ 76051 w 117"/>
                  <a:gd name="T49" fmla="*/ 68263 h 98"/>
                  <a:gd name="T50" fmla="*/ 76051 w 117"/>
                  <a:gd name="T51" fmla="*/ 56357 h 98"/>
                  <a:gd name="T52" fmla="*/ 76051 w 117"/>
                  <a:gd name="T53" fmla="*/ 56357 h 98"/>
                  <a:gd name="T54" fmla="*/ 75251 w 117"/>
                  <a:gd name="T55" fmla="*/ 53182 h 98"/>
                  <a:gd name="T56" fmla="*/ 73650 w 117"/>
                  <a:gd name="T57" fmla="*/ 49213 h 98"/>
                  <a:gd name="T58" fmla="*/ 71248 w 117"/>
                  <a:gd name="T59" fmla="*/ 47625 h 98"/>
                  <a:gd name="T60" fmla="*/ 68046 w 117"/>
                  <a:gd name="T61" fmla="*/ 46038 h 98"/>
                  <a:gd name="T62" fmla="*/ 64844 w 117"/>
                  <a:gd name="T63" fmla="*/ 44450 h 98"/>
                  <a:gd name="T64" fmla="*/ 59240 w 117"/>
                  <a:gd name="T65" fmla="*/ 43657 h 98"/>
                  <a:gd name="T66" fmla="*/ 44830 w 117"/>
                  <a:gd name="T67" fmla="*/ 43657 h 9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17"/>
                  <a:gd name="T103" fmla="*/ 0 h 98"/>
                  <a:gd name="T104" fmla="*/ 117 w 117"/>
                  <a:gd name="T105" fmla="*/ 98 h 9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17" h="98">
                    <a:moveTo>
                      <a:pt x="56" y="78"/>
                    </a:moveTo>
                    <a:lnTo>
                      <a:pt x="0" y="39"/>
                    </a:lnTo>
                    <a:lnTo>
                      <a:pt x="56" y="0"/>
                    </a:lnTo>
                    <a:lnTo>
                      <a:pt x="56" y="22"/>
                    </a:lnTo>
                    <a:lnTo>
                      <a:pt x="77" y="22"/>
                    </a:lnTo>
                    <a:lnTo>
                      <a:pt x="83" y="22"/>
                    </a:lnTo>
                    <a:lnTo>
                      <a:pt x="90" y="25"/>
                    </a:lnTo>
                    <a:lnTo>
                      <a:pt x="96" y="27"/>
                    </a:lnTo>
                    <a:lnTo>
                      <a:pt x="103" y="31"/>
                    </a:lnTo>
                    <a:lnTo>
                      <a:pt x="109" y="36"/>
                    </a:lnTo>
                    <a:lnTo>
                      <a:pt x="114" y="43"/>
                    </a:lnTo>
                    <a:lnTo>
                      <a:pt x="116" y="50"/>
                    </a:lnTo>
                    <a:lnTo>
                      <a:pt x="117" y="59"/>
                    </a:lnTo>
                    <a:lnTo>
                      <a:pt x="117" y="66"/>
                    </a:lnTo>
                    <a:lnTo>
                      <a:pt x="115" y="72"/>
                    </a:lnTo>
                    <a:lnTo>
                      <a:pt x="112" y="78"/>
                    </a:lnTo>
                    <a:lnTo>
                      <a:pt x="109" y="84"/>
                    </a:lnTo>
                    <a:lnTo>
                      <a:pt x="101" y="94"/>
                    </a:lnTo>
                    <a:lnTo>
                      <a:pt x="98" y="97"/>
                    </a:lnTo>
                    <a:lnTo>
                      <a:pt x="94" y="98"/>
                    </a:lnTo>
                    <a:lnTo>
                      <a:pt x="95" y="86"/>
                    </a:lnTo>
                    <a:lnTo>
                      <a:pt x="95" y="71"/>
                    </a:lnTo>
                    <a:lnTo>
                      <a:pt x="94" y="67"/>
                    </a:lnTo>
                    <a:lnTo>
                      <a:pt x="92" y="62"/>
                    </a:lnTo>
                    <a:lnTo>
                      <a:pt x="89" y="60"/>
                    </a:lnTo>
                    <a:lnTo>
                      <a:pt x="85" y="58"/>
                    </a:lnTo>
                    <a:lnTo>
                      <a:pt x="81" y="56"/>
                    </a:lnTo>
                    <a:lnTo>
                      <a:pt x="74" y="55"/>
                    </a:lnTo>
                    <a:lnTo>
                      <a:pt x="56" y="55"/>
                    </a:lnTo>
                  </a:path>
                </a:pathLst>
              </a:custGeom>
              <a:noFill/>
              <a:ln w="12700">
                <a:solidFill>
                  <a:srgbClr val="00573B"/>
                </a:solidFill>
                <a:prstDash val="solid"/>
                <a:round/>
                <a:headEnd/>
                <a:tailEnd/>
              </a:ln>
            </p:spPr>
            <p:txBody>
              <a:bodyPr/>
              <a:lstStyle/>
              <a:p>
                <a:pPr defTabSz="685800" fontAlgn="base">
                  <a:spcBef>
                    <a:spcPct val="0"/>
                  </a:spcBef>
                  <a:spcAft>
                    <a:spcPct val="0"/>
                  </a:spcAft>
                  <a:defRPr/>
                </a:pPr>
                <a:endParaRPr lang="en-US" sz="1350" kern="0">
                  <a:solidFill>
                    <a:srgbClr val="000000"/>
                  </a:solidFill>
                  <a:latin typeface="Arial"/>
                  <a:cs typeface="Arial" charset="0"/>
                </a:endParaRPr>
              </a:p>
            </p:txBody>
          </p:sp>
          <p:sp>
            <p:nvSpPr>
              <p:cNvPr id="68" name="Freeform 1433">
                <a:extLst>
                  <a:ext uri="{FF2B5EF4-FFF2-40B4-BE49-F238E27FC236}">
                    <a16:creationId xmlns:a16="http://schemas.microsoft.com/office/drawing/2014/main" id="{647306BD-92E6-431C-AA18-DC2F6470EA2E}"/>
                  </a:ext>
                </a:extLst>
              </p:cNvPr>
              <p:cNvSpPr>
                <a:spLocks/>
              </p:cNvSpPr>
              <p:nvPr/>
            </p:nvSpPr>
            <p:spPr bwMode="auto">
              <a:xfrm>
                <a:off x="5034875" y="4803658"/>
                <a:ext cx="273661" cy="231181"/>
              </a:xfrm>
              <a:custGeom>
                <a:avLst/>
                <a:gdLst>
                  <a:gd name="T0" fmla="*/ 48419 w 116"/>
                  <a:gd name="T1" fmla="*/ 15875 h 98"/>
                  <a:gd name="T2" fmla="*/ 92075 w 116"/>
                  <a:gd name="T3" fmla="*/ 46832 h 98"/>
                  <a:gd name="T4" fmla="*/ 48419 w 116"/>
                  <a:gd name="T5" fmla="*/ 77788 h 98"/>
                  <a:gd name="T6" fmla="*/ 48419 w 116"/>
                  <a:gd name="T7" fmla="*/ 60325 h 98"/>
                  <a:gd name="T8" fmla="*/ 48419 w 116"/>
                  <a:gd name="T9" fmla="*/ 60325 h 98"/>
                  <a:gd name="T10" fmla="*/ 30956 w 116"/>
                  <a:gd name="T11" fmla="*/ 60325 h 98"/>
                  <a:gd name="T12" fmla="*/ 30956 w 116"/>
                  <a:gd name="T13" fmla="*/ 60325 h 98"/>
                  <a:gd name="T14" fmla="*/ 26194 w 116"/>
                  <a:gd name="T15" fmla="*/ 59532 h 98"/>
                  <a:gd name="T16" fmla="*/ 21431 w 116"/>
                  <a:gd name="T17" fmla="*/ 58738 h 98"/>
                  <a:gd name="T18" fmla="*/ 16669 w 116"/>
                  <a:gd name="T19" fmla="*/ 57150 h 98"/>
                  <a:gd name="T20" fmla="*/ 10319 w 116"/>
                  <a:gd name="T21" fmla="*/ 53182 h 98"/>
                  <a:gd name="T22" fmla="*/ 6350 w 116"/>
                  <a:gd name="T23" fmla="*/ 49213 h 98"/>
                  <a:gd name="T24" fmla="*/ 2381 w 116"/>
                  <a:gd name="T25" fmla="*/ 44450 h 98"/>
                  <a:gd name="T26" fmla="*/ 0 w 116"/>
                  <a:gd name="T27" fmla="*/ 38100 h 98"/>
                  <a:gd name="T28" fmla="*/ 0 w 116"/>
                  <a:gd name="T29" fmla="*/ 31750 h 98"/>
                  <a:gd name="T30" fmla="*/ 0 w 116"/>
                  <a:gd name="T31" fmla="*/ 31750 h 98"/>
                  <a:gd name="T32" fmla="*/ 0 w 116"/>
                  <a:gd name="T33" fmla="*/ 26194 h 98"/>
                  <a:gd name="T34" fmla="*/ 1588 w 116"/>
                  <a:gd name="T35" fmla="*/ 19844 h 98"/>
                  <a:gd name="T36" fmla="*/ 3969 w 116"/>
                  <a:gd name="T37" fmla="*/ 15081 h 98"/>
                  <a:gd name="T38" fmla="*/ 6350 w 116"/>
                  <a:gd name="T39" fmla="*/ 10319 h 98"/>
                  <a:gd name="T40" fmla="*/ 12700 w 116"/>
                  <a:gd name="T41" fmla="*/ 3175 h 98"/>
                  <a:gd name="T42" fmla="*/ 15081 w 116"/>
                  <a:gd name="T43" fmla="*/ 1588 h 98"/>
                  <a:gd name="T44" fmla="*/ 17463 w 116"/>
                  <a:gd name="T45" fmla="*/ 0 h 98"/>
                  <a:gd name="T46" fmla="*/ 17463 w 116"/>
                  <a:gd name="T47" fmla="*/ 0 h 98"/>
                  <a:gd name="T48" fmla="*/ 17463 w 116"/>
                  <a:gd name="T49" fmla="*/ 9525 h 98"/>
                  <a:gd name="T50" fmla="*/ 17463 w 116"/>
                  <a:gd name="T51" fmla="*/ 20638 h 98"/>
                  <a:gd name="T52" fmla="*/ 17463 w 116"/>
                  <a:gd name="T53" fmla="*/ 20638 h 98"/>
                  <a:gd name="T54" fmla="*/ 18256 w 116"/>
                  <a:gd name="T55" fmla="*/ 23813 h 98"/>
                  <a:gd name="T56" fmla="*/ 19844 w 116"/>
                  <a:gd name="T57" fmla="*/ 27781 h 98"/>
                  <a:gd name="T58" fmla="*/ 22225 w 116"/>
                  <a:gd name="T59" fmla="*/ 29369 h 98"/>
                  <a:gd name="T60" fmla="*/ 25400 w 116"/>
                  <a:gd name="T61" fmla="*/ 31750 h 98"/>
                  <a:gd name="T62" fmla="*/ 28575 w 116"/>
                  <a:gd name="T63" fmla="*/ 33338 h 98"/>
                  <a:gd name="T64" fmla="*/ 34131 w 116"/>
                  <a:gd name="T65" fmla="*/ 33338 h 98"/>
                  <a:gd name="T66" fmla="*/ 48419 w 116"/>
                  <a:gd name="T67" fmla="*/ 33338 h 9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16"/>
                  <a:gd name="T103" fmla="*/ 0 h 98"/>
                  <a:gd name="T104" fmla="*/ 116 w 116"/>
                  <a:gd name="T105" fmla="*/ 98 h 9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16" h="98">
                    <a:moveTo>
                      <a:pt x="61" y="20"/>
                    </a:moveTo>
                    <a:lnTo>
                      <a:pt x="116" y="59"/>
                    </a:lnTo>
                    <a:lnTo>
                      <a:pt x="61" y="98"/>
                    </a:lnTo>
                    <a:lnTo>
                      <a:pt x="61" y="76"/>
                    </a:lnTo>
                    <a:lnTo>
                      <a:pt x="39" y="76"/>
                    </a:lnTo>
                    <a:lnTo>
                      <a:pt x="33" y="75"/>
                    </a:lnTo>
                    <a:lnTo>
                      <a:pt x="27" y="74"/>
                    </a:lnTo>
                    <a:lnTo>
                      <a:pt x="21" y="72"/>
                    </a:lnTo>
                    <a:lnTo>
                      <a:pt x="13" y="67"/>
                    </a:lnTo>
                    <a:lnTo>
                      <a:pt x="8" y="62"/>
                    </a:lnTo>
                    <a:lnTo>
                      <a:pt x="3" y="56"/>
                    </a:lnTo>
                    <a:lnTo>
                      <a:pt x="0" y="48"/>
                    </a:lnTo>
                    <a:lnTo>
                      <a:pt x="0" y="40"/>
                    </a:lnTo>
                    <a:lnTo>
                      <a:pt x="0" y="33"/>
                    </a:lnTo>
                    <a:lnTo>
                      <a:pt x="2" y="25"/>
                    </a:lnTo>
                    <a:lnTo>
                      <a:pt x="5" y="19"/>
                    </a:lnTo>
                    <a:lnTo>
                      <a:pt x="8" y="13"/>
                    </a:lnTo>
                    <a:lnTo>
                      <a:pt x="16" y="4"/>
                    </a:lnTo>
                    <a:lnTo>
                      <a:pt x="19" y="2"/>
                    </a:lnTo>
                    <a:lnTo>
                      <a:pt x="22" y="0"/>
                    </a:lnTo>
                    <a:lnTo>
                      <a:pt x="22" y="12"/>
                    </a:lnTo>
                    <a:lnTo>
                      <a:pt x="22" y="26"/>
                    </a:lnTo>
                    <a:lnTo>
                      <a:pt x="23" y="30"/>
                    </a:lnTo>
                    <a:lnTo>
                      <a:pt x="25" y="35"/>
                    </a:lnTo>
                    <a:lnTo>
                      <a:pt x="28" y="37"/>
                    </a:lnTo>
                    <a:lnTo>
                      <a:pt x="32" y="40"/>
                    </a:lnTo>
                    <a:lnTo>
                      <a:pt x="36" y="42"/>
                    </a:lnTo>
                    <a:lnTo>
                      <a:pt x="43" y="42"/>
                    </a:lnTo>
                    <a:lnTo>
                      <a:pt x="61" y="42"/>
                    </a:lnTo>
                  </a:path>
                </a:pathLst>
              </a:custGeom>
              <a:noFill/>
              <a:ln w="12700">
                <a:solidFill>
                  <a:srgbClr val="00573B"/>
                </a:solidFill>
                <a:prstDash val="solid"/>
                <a:round/>
                <a:headEnd/>
                <a:tailEnd/>
              </a:ln>
            </p:spPr>
            <p:txBody>
              <a:bodyPr/>
              <a:lstStyle/>
              <a:p>
                <a:pPr defTabSz="685800" fontAlgn="base">
                  <a:spcBef>
                    <a:spcPct val="0"/>
                  </a:spcBef>
                  <a:spcAft>
                    <a:spcPct val="0"/>
                  </a:spcAft>
                  <a:defRPr/>
                </a:pPr>
                <a:endParaRPr lang="en-US" sz="1350" kern="0">
                  <a:solidFill>
                    <a:srgbClr val="000000"/>
                  </a:solidFill>
                  <a:latin typeface="Arial"/>
                  <a:cs typeface="Arial" charset="0"/>
                </a:endParaRPr>
              </a:p>
            </p:txBody>
          </p:sp>
        </p:grpSp>
      </p:grpSp>
      <p:sp>
        <p:nvSpPr>
          <p:cNvPr id="69" name="Flowchart: Alternate Process 68">
            <a:extLst>
              <a:ext uri="{FF2B5EF4-FFF2-40B4-BE49-F238E27FC236}">
                <a16:creationId xmlns:a16="http://schemas.microsoft.com/office/drawing/2014/main" id="{4AAE16DA-61DC-4F91-B728-0DFCDF906EA7}"/>
              </a:ext>
            </a:extLst>
          </p:cNvPr>
          <p:cNvSpPr/>
          <p:nvPr/>
        </p:nvSpPr>
        <p:spPr>
          <a:xfrm>
            <a:off x="6512908" y="1284353"/>
            <a:ext cx="1861305" cy="817431"/>
          </a:xfrm>
          <a:prstGeom prst="flowChartAlternateProcess">
            <a:avLst/>
          </a:prstGeom>
          <a:solidFill>
            <a:sysClr val="window" lastClr="FFFFFF"/>
          </a:solidFill>
          <a:ln w="25400" cap="flat" cmpd="sng" algn="ctr">
            <a:noFill/>
            <a:prstDash val="solid"/>
          </a:ln>
          <a:effectLst>
            <a:outerShdw blurRad="50800" dist="38100" dir="2700000" algn="tl" rotWithShape="0">
              <a:prstClr val="black">
                <a:alpha val="40000"/>
              </a:prstClr>
            </a:outerShdw>
          </a:effectLst>
        </p:spPr>
        <p:txBody>
          <a:bodyPr rot="0" spcFirstLastPara="0" vertOverflow="overflow" horzOverflow="overflow" vert="horz" wrap="square" lIns="51435" tIns="25718" rIns="51435" bIns="25718" numCol="1" spcCol="0" rtlCol="0" fromWordArt="0" anchor="b" anchorCtr="0" forceAA="0" compatLnSpc="1">
            <a:prstTxWarp prst="textNoShape">
              <a:avLst/>
            </a:prstTxWarp>
            <a:noAutofit/>
          </a:bodyPr>
          <a:lstStyle/>
          <a:p>
            <a:pPr algn="ctr" defTabSz="685800" fontAlgn="base">
              <a:spcBef>
                <a:spcPct val="0"/>
              </a:spcBef>
              <a:spcAft>
                <a:spcPct val="0"/>
              </a:spcAft>
              <a:defRPr/>
            </a:pPr>
            <a:endParaRPr lang="en-US" sz="788" b="1" kern="0">
              <a:solidFill>
                <a:srgbClr val="000000"/>
              </a:solidFill>
              <a:latin typeface="Arial"/>
            </a:endParaRPr>
          </a:p>
        </p:txBody>
      </p:sp>
      <p:grpSp>
        <p:nvGrpSpPr>
          <p:cNvPr id="70" name="Group 626">
            <a:extLst>
              <a:ext uri="{FF2B5EF4-FFF2-40B4-BE49-F238E27FC236}">
                <a16:creationId xmlns:a16="http://schemas.microsoft.com/office/drawing/2014/main" id="{8C87F8F5-C69C-4919-B070-34C873B90B0F}"/>
              </a:ext>
            </a:extLst>
          </p:cNvPr>
          <p:cNvGrpSpPr/>
          <p:nvPr/>
        </p:nvGrpSpPr>
        <p:grpSpPr>
          <a:xfrm>
            <a:off x="6568164" y="1809204"/>
            <a:ext cx="284115" cy="250580"/>
            <a:chOff x="4095673" y="3381206"/>
            <a:chExt cx="300645" cy="262612"/>
          </a:xfrm>
        </p:grpSpPr>
        <p:sp>
          <p:nvSpPr>
            <p:cNvPr id="71" name="Freeform 804">
              <a:extLst>
                <a:ext uri="{FF2B5EF4-FFF2-40B4-BE49-F238E27FC236}">
                  <a16:creationId xmlns:a16="http://schemas.microsoft.com/office/drawing/2014/main" id="{2923A222-A6AD-4732-9B6E-55259AAF3AC6}"/>
                </a:ext>
              </a:extLst>
            </p:cNvPr>
            <p:cNvSpPr>
              <a:spLocks/>
            </p:cNvSpPr>
            <p:nvPr/>
          </p:nvSpPr>
          <p:spPr bwMode="auto">
            <a:xfrm>
              <a:off x="4095673" y="3491780"/>
              <a:ext cx="183152" cy="152038"/>
            </a:xfrm>
            <a:custGeom>
              <a:avLst/>
              <a:gdLst>
                <a:gd name="T0" fmla="*/ 0 w 107"/>
                <a:gd name="T1" fmla="*/ 69850 h 89"/>
                <a:gd name="T2" fmla="*/ 0 w 107"/>
                <a:gd name="T3" fmla="*/ 69850 h 89"/>
                <a:gd name="T4" fmla="*/ 0 w 107"/>
                <a:gd name="T5" fmla="*/ 69850 h 89"/>
                <a:gd name="T6" fmla="*/ 786 w 107"/>
                <a:gd name="T7" fmla="*/ 52584 h 89"/>
                <a:gd name="T8" fmla="*/ 1573 w 107"/>
                <a:gd name="T9" fmla="*/ 43951 h 89"/>
                <a:gd name="T10" fmla="*/ 3932 w 107"/>
                <a:gd name="T11" fmla="*/ 35317 h 89"/>
                <a:gd name="T12" fmla="*/ 7077 w 107"/>
                <a:gd name="T13" fmla="*/ 28254 h 89"/>
                <a:gd name="T14" fmla="*/ 11009 w 107"/>
                <a:gd name="T15" fmla="*/ 21190 h 89"/>
                <a:gd name="T16" fmla="*/ 15727 w 107"/>
                <a:gd name="T17" fmla="*/ 14912 h 89"/>
                <a:gd name="T18" fmla="*/ 22804 w 107"/>
                <a:gd name="T19" fmla="*/ 7848 h 89"/>
                <a:gd name="T20" fmla="*/ 22804 w 107"/>
                <a:gd name="T21" fmla="*/ 7848 h 89"/>
                <a:gd name="T22" fmla="*/ 29094 w 107"/>
                <a:gd name="T23" fmla="*/ 3924 h 89"/>
                <a:gd name="T24" fmla="*/ 36958 w 107"/>
                <a:gd name="T25" fmla="*/ 1570 h 89"/>
                <a:gd name="T26" fmla="*/ 45608 w 107"/>
                <a:gd name="T27" fmla="*/ 0 h 89"/>
                <a:gd name="T28" fmla="*/ 54257 w 107"/>
                <a:gd name="T29" fmla="*/ 1570 h 89"/>
                <a:gd name="T30" fmla="*/ 62121 w 107"/>
                <a:gd name="T31" fmla="*/ 2354 h 89"/>
                <a:gd name="T32" fmla="*/ 70770 w 107"/>
                <a:gd name="T33" fmla="*/ 4709 h 89"/>
                <a:gd name="T34" fmla="*/ 77061 w 107"/>
                <a:gd name="T35" fmla="*/ 8633 h 89"/>
                <a:gd name="T36" fmla="*/ 84138 w 107"/>
                <a:gd name="T37" fmla="*/ 14912 h 8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7"/>
                <a:gd name="T58" fmla="*/ 0 h 89"/>
                <a:gd name="T59" fmla="*/ 107 w 107"/>
                <a:gd name="T60" fmla="*/ 89 h 8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7" h="89">
                  <a:moveTo>
                    <a:pt x="0" y="89"/>
                  </a:moveTo>
                  <a:lnTo>
                    <a:pt x="0" y="89"/>
                  </a:lnTo>
                  <a:lnTo>
                    <a:pt x="1" y="67"/>
                  </a:lnTo>
                  <a:lnTo>
                    <a:pt x="2" y="56"/>
                  </a:lnTo>
                  <a:lnTo>
                    <a:pt x="5" y="45"/>
                  </a:lnTo>
                  <a:lnTo>
                    <a:pt x="9" y="36"/>
                  </a:lnTo>
                  <a:lnTo>
                    <a:pt x="14" y="27"/>
                  </a:lnTo>
                  <a:lnTo>
                    <a:pt x="20" y="19"/>
                  </a:lnTo>
                  <a:lnTo>
                    <a:pt x="29" y="10"/>
                  </a:lnTo>
                  <a:lnTo>
                    <a:pt x="37" y="5"/>
                  </a:lnTo>
                  <a:lnTo>
                    <a:pt x="47" y="2"/>
                  </a:lnTo>
                  <a:lnTo>
                    <a:pt x="58" y="0"/>
                  </a:lnTo>
                  <a:lnTo>
                    <a:pt x="69" y="2"/>
                  </a:lnTo>
                  <a:lnTo>
                    <a:pt x="79" y="3"/>
                  </a:lnTo>
                  <a:lnTo>
                    <a:pt x="90" y="6"/>
                  </a:lnTo>
                  <a:lnTo>
                    <a:pt x="98" y="11"/>
                  </a:lnTo>
                  <a:lnTo>
                    <a:pt x="107" y="19"/>
                  </a:lnTo>
                </a:path>
              </a:pathLst>
            </a:custGeom>
            <a:noFill/>
            <a:ln w="12700">
              <a:solidFill>
                <a:srgbClr val="00573B"/>
              </a:solidFill>
              <a:prstDash val="solid"/>
              <a:round/>
              <a:headEnd/>
              <a:tailEnd/>
            </a:ln>
          </p:spPr>
          <p:txBody>
            <a:bodyPr/>
            <a:lstStyle/>
            <a:p>
              <a:pPr defTabSz="685800" fontAlgn="base">
                <a:spcBef>
                  <a:spcPct val="0"/>
                </a:spcBef>
                <a:spcAft>
                  <a:spcPct val="0"/>
                </a:spcAft>
                <a:defRPr/>
              </a:pPr>
              <a:endParaRPr lang="en-US" sz="1350" kern="0">
                <a:solidFill>
                  <a:srgbClr val="000000"/>
                </a:solidFill>
                <a:latin typeface="Arial"/>
                <a:cs typeface="Arial" charset="0"/>
              </a:endParaRPr>
            </a:p>
          </p:txBody>
        </p:sp>
        <p:sp>
          <p:nvSpPr>
            <p:cNvPr id="72" name="Freeform 1499">
              <a:extLst>
                <a:ext uri="{FF2B5EF4-FFF2-40B4-BE49-F238E27FC236}">
                  <a16:creationId xmlns:a16="http://schemas.microsoft.com/office/drawing/2014/main" id="{310078A6-8FAD-497B-AD29-4C89A7BBD3B1}"/>
                </a:ext>
              </a:extLst>
            </p:cNvPr>
            <p:cNvSpPr>
              <a:spLocks/>
            </p:cNvSpPr>
            <p:nvPr/>
          </p:nvSpPr>
          <p:spPr bwMode="auto">
            <a:xfrm>
              <a:off x="4192432" y="3481412"/>
              <a:ext cx="203886" cy="162406"/>
            </a:xfrm>
            <a:custGeom>
              <a:avLst/>
              <a:gdLst>
                <a:gd name="T0" fmla="*/ 7938 w 118"/>
                <a:gd name="T1" fmla="*/ 72206 h 93"/>
                <a:gd name="T2" fmla="*/ 7938 w 118"/>
                <a:gd name="T3" fmla="*/ 72206 h 93"/>
                <a:gd name="T4" fmla="*/ 7938 w 118"/>
                <a:gd name="T5" fmla="*/ 72206 h 93"/>
                <a:gd name="T6" fmla="*/ 11113 w 118"/>
                <a:gd name="T7" fmla="*/ 73811 h 93"/>
                <a:gd name="T8" fmla="*/ 14288 w 118"/>
                <a:gd name="T9" fmla="*/ 74613 h 93"/>
                <a:gd name="T10" fmla="*/ 17463 w 118"/>
                <a:gd name="T11" fmla="*/ 74613 h 93"/>
                <a:gd name="T12" fmla="*/ 17463 w 118"/>
                <a:gd name="T13" fmla="*/ 74613 h 93"/>
                <a:gd name="T14" fmla="*/ 23813 w 118"/>
                <a:gd name="T15" fmla="*/ 74613 h 93"/>
                <a:gd name="T16" fmla="*/ 28575 w 118"/>
                <a:gd name="T17" fmla="*/ 73008 h 93"/>
                <a:gd name="T18" fmla="*/ 28575 w 118"/>
                <a:gd name="T19" fmla="*/ 73008 h 93"/>
                <a:gd name="T20" fmla="*/ 30956 w 118"/>
                <a:gd name="T21" fmla="*/ 72206 h 93"/>
                <a:gd name="T22" fmla="*/ 32544 w 118"/>
                <a:gd name="T23" fmla="*/ 69799 h 93"/>
                <a:gd name="T24" fmla="*/ 35719 w 118"/>
                <a:gd name="T25" fmla="*/ 64986 h 93"/>
                <a:gd name="T26" fmla="*/ 37306 w 118"/>
                <a:gd name="T27" fmla="*/ 60172 h 93"/>
                <a:gd name="T28" fmla="*/ 38894 w 118"/>
                <a:gd name="T29" fmla="*/ 55358 h 93"/>
                <a:gd name="T30" fmla="*/ 62707 w 118"/>
                <a:gd name="T31" fmla="*/ 36905 h 93"/>
                <a:gd name="T32" fmla="*/ 62707 w 118"/>
                <a:gd name="T33" fmla="*/ 36905 h 93"/>
                <a:gd name="T34" fmla="*/ 66675 w 118"/>
                <a:gd name="T35" fmla="*/ 37708 h 93"/>
                <a:gd name="T36" fmla="*/ 71438 w 118"/>
                <a:gd name="T37" fmla="*/ 38510 h 93"/>
                <a:gd name="T38" fmla="*/ 78582 w 118"/>
                <a:gd name="T39" fmla="*/ 39312 h 93"/>
                <a:gd name="T40" fmla="*/ 78582 w 118"/>
                <a:gd name="T41" fmla="*/ 39312 h 93"/>
                <a:gd name="T42" fmla="*/ 84138 w 118"/>
                <a:gd name="T43" fmla="*/ 36905 h 93"/>
                <a:gd name="T44" fmla="*/ 87313 w 118"/>
                <a:gd name="T45" fmla="*/ 33696 h 93"/>
                <a:gd name="T46" fmla="*/ 88900 w 118"/>
                <a:gd name="T47" fmla="*/ 32092 h 93"/>
                <a:gd name="T48" fmla="*/ 88900 w 118"/>
                <a:gd name="T49" fmla="*/ 32092 h 93"/>
                <a:gd name="T50" fmla="*/ 90488 w 118"/>
                <a:gd name="T51" fmla="*/ 28882 h 93"/>
                <a:gd name="T52" fmla="*/ 92075 w 118"/>
                <a:gd name="T53" fmla="*/ 24871 h 93"/>
                <a:gd name="T54" fmla="*/ 93663 w 118"/>
                <a:gd name="T55" fmla="*/ 17650 h 93"/>
                <a:gd name="T56" fmla="*/ 78582 w 118"/>
                <a:gd name="T57" fmla="*/ 26476 h 93"/>
                <a:gd name="T58" fmla="*/ 68263 w 118"/>
                <a:gd name="T59" fmla="*/ 12837 h 93"/>
                <a:gd name="T60" fmla="*/ 84932 w 118"/>
                <a:gd name="T61" fmla="*/ 3209 h 93"/>
                <a:gd name="T62" fmla="*/ 84932 w 118"/>
                <a:gd name="T63" fmla="*/ 3209 h 93"/>
                <a:gd name="T64" fmla="*/ 83344 w 118"/>
                <a:gd name="T65" fmla="*/ 2407 h 93"/>
                <a:gd name="T66" fmla="*/ 80169 w 118"/>
                <a:gd name="T67" fmla="*/ 1605 h 93"/>
                <a:gd name="T68" fmla="*/ 80169 w 118"/>
                <a:gd name="T69" fmla="*/ 1605 h 93"/>
                <a:gd name="T70" fmla="*/ 76994 w 118"/>
                <a:gd name="T71" fmla="*/ 0 h 93"/>
                <a:gd name="T72" fmla="*/ 72232 w 118"/>
                <a:gd name="T73" fmla="*/ 1605 h 93"/>
                <a:gd name="T74" fmla="*/ 67469 w 118"/>
                <a:gd name="T75" fmla="*/ 1605 h 93"/>
                <a:gd name="T76" fmla="*/ 62707 w 118"/>
                <a:gd name="T77" fmla="*/ 4011 h 93"/>
                <a:gd name="T78" fmla="*/ 62707 w 118"/>
                <a:gd name="T79" fmla="*/ 4011 h 93"/>
                <a:gd name="T80" fmla="*/ 58738 w 118"/>
                <a:gd name="T81" fmla="*/ 7221 h 93"/>
                <a:gd name="T82" fmla="*/ 56357 w 118"/>
                <a:gd name="T83" fmla="*/ 11232 h 93"/>
                <a:gd name="T84" fmla="*/ 54769 w 118"/>
                <a:gd name="T85" fmla="*/ 15244 h 93"/>
                <a:gd name="T86" fmla="*/ 53975 w 118"/>
                <a:gd name="T87" fmla="*/ 20860 h 93"/>
                <a:gd name="T88" fmla="*/ 30163 w 118"/>
                <a:gd name="T89" fmla="*/ 39312 h 93"/>
                <a:gd name="T90" fmla="*/ 30163 w 118"/>
                <a:gd name="T91" fmla="*/ 39312 h 93"/>
                <a:gd name="T92" fmla="*/ 24606 w 118"/>
                <a:gd name="T93" fmla="*/ 36905 h 93"/>
                <a:gd name="T94" fmla="*/ 19050 w 118"/>
                <a:gd name="T95" fmla="*/ 35301 h 93"/>
                <a:gd name="T96" fmla="*/ 14288 w 118"/>
                <a:gd name="T97" fmla="*/ 36905 h 93"/>
                <a:gd name="T98" fmla="*/ 9525 w 118"/>
                <a:gd name="T99" fmla="*/ 38510 h 93"/>
                <a:gd name="T100" fmla="*/ 9525 w 118"/>
                <a:gd name="T101" fmla="*/ 38510 h 93"/>
                <a:gd name="T102" fmla="*/ 4763 w 118"/>
                <a:gd name="T103" fmla="*/ 41719 h 93"/>
                <a:gd name="T104" fmla="*/ 1588 w 118"/>
                <a:gd name="T105" fmla="*/ 46533 h 93"/>
                <a:gd name="T106" fmla="*/ 0 w 118"/>
                <a:gd name="T107" fmla="*/ 51347 h 93"/>
                <a:gd name="T108" fmla="*/ 0 w 118"/>
                <a:gd name="T109" fmla="*/ 56963 h 93"/>
                <a:gd name="T110" fmla="*/ 15875 w 118"/>
                <a:gd name="T111" fmla="*/ 48137 h 93"/>
                <a:gd name="T112" fmla="*/ 24606 w 118"/>
                <a:gd name="T113" fmla="*/ 60974 h 9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18"/>
                <a:gd name="T172" fmla="*/ 0 h 93"/>
                <a:gd name="T173" fmla="*/ 118 w 118"/>
                <a:gd name="T174" fmla="*/ 93 h 9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18" h="93">
                  <a:moveTo>
                    <a:pt x="10" y="90"/>
                  </a:moveTo>
                  <a:lnTo>
                    <a:pt x="10" y="90"/>
                  </a:lnTo>
                  <a:lnTo>
                    <a:pt x="14" y="92"/>
                  </a:lnTo>
                  <a:lnTo>
                    <a:pt x="18" y="93"/>
                  </a:lnTo>
                  <a:lnTo>
                    <a:pt x="22" y="93"/>
                  </a:lnTo>
                  <a:lnTo>
                    <a:pt x="30" y="93"/>
                  </a:lnTo>
                  <a:lnTo>
                    <a:pt x="36" y="91"/>
                  </a:lnTo>
                  <a:lnTo>
                    <a:pt x="39" y="90"/>
                  </a:lnTo>
                  <a:lnTo>
                    <a:pt x="41" y="87"/>
                  </a:lnTo>
                  <a:lnTo>
                    <a:pt x="45" y="81"/>
                  </a:lnTo>
                  <a:lnTo>
                    <a:pt x="47" y="75"/>
                  </a:lnTo>
                  <a:lnTo>
                    <a:pt x="49" y="69"/>
                  </a:lnTo>
                  <a:lnTo>
                    <a:pt x="79" y="46"/>
                  </a:lnTo>
                  <a:lnTo>
                    <a:pt x="84" y="47"/>
                  </a:lnTo>
                  <a:lnTo>
                    <a:pt x="90" y="48"/>
                  </a:lnTo>
                  <a:lnTo>
                    <a:pt x="99" y="49"/>
                  </a:lnTo>
                  <a:lnTo>
                    <a:pt x="106" y="46"/>
                  </a:lnTo>
                  <a:lnTo>
                    <a:pt x="110" y="42"/>
                  </a:lnTo>
                  <a:lnTo>
                    <a:pt x="112" y="40"/>
                  </a:lnTo>
                  <a:lnTo>
                    <a:pt x="114" y="36"/>
                  </a:lnTo>
                  <a:lnTo>
                    <a:pt x="116" y="31"/>
                  </a:lnTo>
                  <a:lnTo>
                    <a:pt x="118" y="22"/>
                  </a:lnTo>
                  <a:lnTo>
                    <a:pt x="99" y="33"/>
                  </a:lnTo>
                  <a:lnTo>
                    <a:pt x="86" y="16"/>
                  </a:lnTo>
                  <a:lnTo>
                    <a:pt x="107" y="4"/>
                  </a:lnTo>
                  <a:lnTo>
                    <a:pt x="105" y="3"/>
                  </a:lnTo>
                  <a:lnTo>
                    <a:pt x="101" y="2"/>
                  </a:lnTo>
                  <a:lnTo>
                    <a:pt x="97" y="0"/>
                  </a:lnTo>
                  <a:lnTo>
                    <a:pt x="91" y="2"/>
                  </a:lnTo>
                  <a:lnTo>
                    <a:pt x="85" y="2"/>
                  </a:lnTo>
                  <a:lnTo>
                    <a:pt x="79" y="5"/>
                  </a:lnTo>
                  <a:lnTo>
                    <a:pt x="74" y="9"/>
                  </a:lnTo>
                  <a:lnTo>
                    <a:pt x="71" y="14"/>
                  </a:lnTo>
                  <a:lnTo>
                    <a:pt x="69" y="19"/>
                  </a:lnTo>
                  <a:lnTo>
                    <a:pt x="68" y="26"/>
                  </a:lnTo>
                  <a:lnTo>
                    <a:pt x="38" y="49"/>
                  </a:lnTo>
                  <a:lnTo>
                    <a:pt x="31" y="46"/>
                  </a:lnTo>
                  <a:lnTo>
                    <a:pt x="24" y="44"/>
                  </a:lnTo>
                  <a:lnTo>
                    <a:pt x="18" y="46"/>
                  </a:lnTo>
                  <a:lnTo>
                    <a:pt x="12" y="48"/>
                  </a:lnTo>
                  <a:lnTo>
                    <a:pt x="6" y="52"/>
                  </a:lnTo>
                  <a:lnTo>
                    <a:pt x="2" y="58"/>
                  </a:lnTo>
                  <a:lnTo>
                    <a:pt x="0" y="64"/>
                  </a:lnTo>
                  <a:lnTo>
                    <a:pt x="0" y="71"/>
                  </a:lnTo>
                  <a:lnTo>
                    <a:pt x="20" y="60"/>
                  </a:lnTo>
                  <a:lnTo>
                    <a:pt x="31" y="76"/>
                  </a:lnTo>
                </a:path>
              </a:pathLst>
            </a:custGeom>
            <a:noFill/>
            <a:ln w="12700">
              <a:solidFill>
                <a:srgbClr val="00573B"/>
              </a:solidFill>
              <a:prstDash val="solid"/>
              <a:round/>
              <a:headEnd/>
              <a:tailEnd/>
            </a:ln>
          </p:spPr>
          <p:txBody>
            <a:bodyPr/>
            <a:lstStyle/>
            <a:p>
              <a:pPr defTabSz="685800" fontAlgn="base">
                <a:spcBef>
                  <a:spcPct val="0"/>
                </a:spcBef>
                <a:spcAft>
                  <a:spcPct val="0"/>
                </a:spcAft>
                <a:defRPr/>
              </a:pPr>
              <a:endParaRPr lang="en-US" sz="1350" kern="0">
                <a:solidFill>
                  <a:srgbClr val="000000"/>
                </a:solidFill>
                <a:latin typeface="Arial"/>
                <a:cs typeface="Arial" charset="0"/>
              </a:endParaRPr>
            </a:p>
          </p:txBody>
        </p:sp>
        <p:sp>
          <p:nvSpPr>
            <p:cNvPr id="73" name="Freeform 1504">
              <a:extLst>
                <a:ext uri="{FF2B5EF4-FFF2-40B4-BE49-F238E27FC236}">
                  <a16:creationId xmlns:a16="http://schemas.microsoft.com/office/drawing/2014/main" id="{AEA8A3C7-FCC1-49D4-B052-7F25AE84AFD8}"/>
                </a:ext>
              </a:extLst>
            </p:cNvPr>
            <p:cNvSpPr>
              <a:spLocks/>
            </p:cNvSpPr>
            <p:nvPr/>
          </p:nvSpPr>
          <p:spPr bwMode="auto">
            <a:xfrm>
              <a:off x="4157875" y="3381206"/>
              <a:ext cx="93304" cy="103663"/>
            </a:xfrm>
            <a:custGeom>
              <a:avLst/>
              <a:gdLst>
                <a:gd name="T0" fmla="*/ 42863 w 54"/>
                <a:gd name="T1" fmla="*/ 23422 h 61"/>
                <a:gd name="T2" fmla="*/ 42863 w 54"/>
                <a:gd name="T3" fmla="*/ 23422 h 61"/>
                <a:gd name="T4" fmla="*/ 42863 w 54"/>
                <a:gd name="T5" fmla="*/ 28887 h 61"/>
                <a:gd name="T6" fmla="*/ 40482 w 54"/>
                <a:gd name="T7" fmla="*/ 32010 h 61"/>
                <a:gd name="T8" fmla="*/ 38894 w 54"/>
                <a:gd name="T9" fmla="*/ 37475 h 61"/>
                <a:gd name="T10" fmla="*/ 37307 w 54"/>
                <a:gd name="T11" fmla="*/ 39818 h 61"/>
                <a:gd name="T12" fmla="*/ 33338 w 54"/>
                <a:gd name="T13" fmla="*/ 42941 h 61"/>
                <a:gd name="T14" fmla="*/ 30163 w 54"/>
                <a:gd name="T15" fmla="*/ 45283 h 61"/>
                <a:gd name="T16" fmla="*/ 26194 w 54"/>
                <a:gd name="T17" fmla="*/ 46844 h 61"/>
                <a:gd name="T18" fmla="*/ 21432 w 54"/>
                <a:gd name="T19" fmla="*/ 47625 h 61"/>
                <a:gd name="T20" fmla="*/ 21432 w 54"/>
                <a:gd name="T21" fmla="*/ 47625 h 61"/>
                <a:gd name="T22" fmla="*/ 17463 w 54"/>
                <a:gd name="T23" fmla="*/ 46844 h 61"/>
                <a:gd name="T24" fmla="*/ 13494 w 54"/>
                <a:gd name="T25" fmla="*/ 45283 h 61"/>
                <a:gd name="T26" fmla="*/ 9525 w 54"/>
                <a:gd name="T27" fmla="*/ 42941 h 61"/>
                <a:gd name="T28" fmla="*/ 7144 w 54"/>
                <a:gd name="T29" fmla="*/ 39818 h 61"/>
                <a:gd name="T30" fmla="*/ 3969 w 54"/>
                <a:gd name="T31" fmla="*/ 37475 h 61"/>
                <a:gd name="T32" fmla="*/ 2381 w 54"/>
                <a:gd name="T33" fmla="*/ 32010 h 61"/>
                <a:gd name="T34" fmla="*/ 794 w 54"/>
                <a:gd name="T35" fmla="*/ 28887 h 61"/>
                <a:gd name="T36" fmla="*/ 0 w 54"/>
                <a:gd name="T37" fmla="*/ 23422 h 61"/>
                <a:gd name="T38" fmla="*/ 0 w 54"/>
                <a:gd name="T39" fmla="*/ 23422 h 61"/>
                <a:gd name="T40" fmla="*/ 794 w 54"/>
                <a:gd name="T41" fmla="*/ 18738 h 61"/>
                <a:gd name="T42" fmla="*/ 2381 w 54"/>
                <a:gd name="T43" fmla="*/ 14053 h 61"/>
                <a:gd name="T44" fmla="*/ 3969 w 54"/>
                <a:gd name="T45" fmla="*/ 10150 h 61"/>
                <a:gd name="T46" fmla="*/ 7144 w 54"/>
                <a:gd name="T47" fmla="*/ 6246 h 61"/>
                <a:gd name="T48" fmla="*/ 9525 w 54"/>
                <a:gd name="T49" fmla="*/ 3904 h 61"/>
                <a:gd name="T50" fmla="*/ 13494 w 54"/>
                <a:gd name="T51" fmla="*/ 1561 h 61"/>
                <a:gd name="T52" fmla="*/ 17463 w 54"/>
                <a:gd name="T53" fmla="*/ 0 h 61"/>
                <a:gd name="T54" fmla="*/ 21432 w 54"/>
                <a:gd name="T55" fmla="*/ 0 h 61"/>
                <a:gd name="T56" fmla="*/ 21432 w 54"/>
                <a:gd name="T57" fmla="*/ 0 h 61"/>
                <a:gd name="T58" fmla="*/ 26194 w 54"/>
                <a:gd name="T59" fmla="*/ 0 h 61"/>
                <a:gd name="T60" fmla="*/ 30163 w 54"/>
                <a:gd name="T61" fmla="*/ 1561 h 61"/>
                <a:gd name="T62" fmla="*/ 33338 w 54"/>
                <a:gd name="T63" fmla="*/ 3904 h 61"/>
                <a:gd name="T64" fmla="*/ 37307 w 54"/>
                <a:gd name="T65" fmla="*/ 6246 h 61"/>
                <a:gd name="T66" fmla="*/ 38894 w 54"/>
                <a:gd name="T67" fmla="*/ 10150 h 61"/>
                <a:gd name="T68" fmla="*/ 40482 w 54"/>
                <a:gd name="T69" fmla="*/ 14053 h 61"/>
                <a:gd name="T70" fmla="*/ 42863 w 54"/>
                <a:gd name="T71" fmla="*/ 18738 h 61"/>
                <a:gd name="T72" fmla="*/ 42863 w 54"/>
                <a:gd name="T73" fmla="*/ 23422 h 61"/>
                <a:gd name="T74" fmla="*/ 42863 w 54"/>
                <a:gd name="T75" fmla="*/ 23422 h 6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4"/>
                <a:gd name="T115" fmla="*/ 0 h 61"/>
                <a:gd name="T116" fmla="*/ 54 w 54"/>
                <a:gd name="T117" fmla="*/ 61 h 6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4" h="61">
                  <a:moveTo>
                    <a:pt x="54" y="30"/>
                  </a:moveTo>
                  <a:lnTo>
                    <a:pt x="54" y="30"/>
                  </a:lnTo>
                  <a:lnTo>
                    <a:pt x="54" y="37"/>
                  </a:lnTo>
                  <a:lnTo>
                    <a:pt x="51" y="41"/>
                  </a:lnTo>
                  <a:lnTo>
                    <a:pt x="49" y="48"/>
                  </a:lnTo>
                  <a:lnTo>
                    <a:pt x="47" y="51"/>
                  </a:lnTo>
                  <a:lnTo>
                    <a:pt x="42" y="55"/>
                  </a:lnTo>
                  <a:lnTo>
                    <a:pt x="38" y="58"/>
                  </a:lnTo>
                  <a:lnTo>
                    <a:pt x="33" y="60"/>
                  </a:lnTo>
                  <a:lnTo>
                    <a:pt x="27" y="61"/>
                  </a:lnTo>
                  <a:lnTo>
                    <a:pt x="22" y="60"/>
                  </a:lnTo>
                  <a:lnTo>
                    <a:pt x="17" y="58"/>
                  </a:lnTo>
                  <a:lnTo>
                    <a:pt x="12" y="55"/>
                  </a:lnTo>
                  <a:lnTo>
                    <a:pt x="9" y="51"/>
                  </a:lnTo>
                  <a:lnTo>
                    <a:pt x="5" y="48"/>
                  </a:lnTo>
                  <a:lnTo>
                    <a:pt x="3" y="41"/>
                  </a:lnTo>
                  <a:lnTo>
                    <a:pt x="1" y="37"/>
                  </a:lnTo>
                  <a:lnTo>
                    <a:pt x="0" y="30"/>
                  </a:lnTo>
                  <a:lnTo>
                    <a:pt x="1" y="24"/>
                  </a:lnTo>
                  <a:lnTo>
                    <a:pt x="3" y="18"/>
                  </a:lnTo>
                  <a:lnTo>
                    <a:pt x="5" y="13"/>
                  </a:lnTo>
                  <a:lnTo>
                    <a:pt x="9" y="8"/>
                  </a:lnTo>
                  <a:lnTo>
                    <a:pt x="12" y="5"/>
                  </a:lnTo>
                  <a:lnTo>
                    <a:pt x="17" y="2"/>
                  </a:lnTo>
                  <a:lnTo>
                    <a:pt x="22" y="0"/>
                  </a:lnTo>
                  <a:lnTo>
                    <a:pt x="27" y="0"/>
                  </a:lnTo>
                  <a:lnTo>
                    <a:pt x="33" y="0"/>
                  </a:lnTo>
                  <a:lnTo>
                    <a:pt x="38" y="2"/>
                  </a:lnTo>
                  <a:lnTo>
                    <a:pt x="42" y="5"/>
                  </a:lnTo>
                  <a:lnTo>
                    <a:pt x="47" y="8"/>
                  </a:lnTo>
                  <a:lnTo>
                    <a:pt x="49" y="13"/>
                  </a:lnTo>
                  <a:lnTo>
                    <a:pt x="51" y="18"/>
                  </a:lnTo>
                  <a:lnTo>
                    <a:pt x="54" y="24"/>
                  </a:lnTo>
                  <a:lnTo>
                    <a:pt x="54" y="30"/>
                  </a:lnTo>
                  <a:close/>
                </a:path>
              </a:pathLst>
            </a:custGeom>
            <a:noFill/>
            <a:ln w="12700">
              <a:solidFill>
                <a:srgbClr val="00573B"/>
              </a:solidFill>
              <a:prstDash val="solid"/>
              <a:round/>
              <a:headEnd/>
              <a:tailEnd/>
            </a:ln>
          </p:spPr>
          <p:txBody>
            <a:bodyPr/>
            <a:lstStyle/>
            <a:p>
              <a:pPr defTabSz="685800" fontAlgn="base">
                <a:spcBef>
                  <a:spcPct val="0"/>
                </a:spcBef>
                <a:spcAft>
                  <a:spcPct val="0"/>
                </a:spcAft>
                <a:defRPr/>
              </a:pPr>
              <a:endParaRPr lang="en-US" sz="1350" kern="0">
                <a:solidFill>
                  <a:srgbClr val="000000"/>
                </a:solidFill>
                <a:latin typeface="Arial"/>
                <a:cs typeface="Arial" charset="0"/>
              </a:endParaRPr>
            </a:p>
          </p:txBody>
        </p:sp>
      </p:grpSp>
      <p:pic>
        <p:nvPicPr>
          <p:cNvPr id="74" name="Picture 73">
            <a:extLst>
              <a:ext uri="{FF2B5EF4-FFF2-40B4-BE49-F238E27FC236}">
                <a16:creationId xmlns:a16="http://schemas.microsoft.com/office/drawing/2014/main" id="{DD516D20-7DE1-4664-87C1-DD1C45EA5BB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69509" y="1374761"/>
            <a:ext cx="590337" cy="598799"/>
          </a:xfrm>
          <a:prstGeom prst="rect">
            <a:avLst/>
          </a:prstGeom>
        </p:spPr>
      </p:pic>
      <p:grpSp>
        <p:nvGrpSpPr>
          <p:cNvPr id="75" name="Group 1023">
            <a:extLst>
              <a:ext uri="{FF2B5EF4-FFF2-40B4-BE49-F238E27FC236}">
                <a16:creationId xmlns:a16="http://schemas.microsoft.com/office/drawing/2014/main" id="{A345AD69-6295-4D5A-A135-ABFC2A185AA9}"/>
              </a:ext>
            </a:extLst>
          </p:cNvPr>
          <p:cNvGrpSpPr>
            <a:grpSpLocks/>
          </p:cNvGrpSpPr>
          <p:nvPr/>
        </p:nvGrpSpPr>
        <p:grpSpPr bwMode="auto">
          <a:xfrm>
            <a:off x="6894430" y="1472239"/>
            <a:ext cx="685625" cy="427809"/>
            <a:chOff x="705164" y="6469903"/>
            <a:chExt cx="392917" cy="245150"/>
          </a:xfrm>
        </p:grpSpPr>
        <p:sp>
          <p:nvSpPr>
            <p:cNvPr id="76" name="Freeform 40">
              <a:extLst>
                <a:ext uri="{FF2B5EF4-FFF2-40B4-BE49-F238E27FC236}">
                  <a16:creationId xmlns:a16="http://schemas.microsoft.com/office/drawing/2014/main" id="{E60E8C9C-87DA-423C-B6F8-AA3F958474EB}"/>
                </a:ext>
              </a:extLst>
            </p:cNvPr>
            <p:cNvSpPr>
              <a:spLocks/>
            </p:cNvSpPr>
            <p:nvPr/>
          </p:nvSpPr>
          <p:spPr bwMode="auto">
            <a:xfrm>
              <a:off x="802555" y="6479979"/>
              <a:ext cx="198138" cy="194776"/>
            </a:xfrm>
            <a:custGeom>
              <a:avLst/>
              <a:gdLst>
                <a:gd name="T0" fmla="*/ 146085 w 118"/>
                <a:gd name="T1" fmla="*/ 88992 h 116"/>
                <a:gd name="T2" fmla="*/ 154480 w 118"/>
                <a:gd name="T3" fmla="*/ 87313 h 116"/>
                <a:gd name="T4" fmla="*/ 177988 w 118"/>
                <a:gd name="T5" fmla="*/ 97388 h 116"/>
                <a:gd name="T6" fmla="*/ 169593 w 118"/>
                <a:gd name="T7" fmla="*/ 77239 h 116"/>
                <a:gd name="T8" fmla="*/ 194780 w 118"/>
                <a:gd name="T9" fmla="*/ 75560 h 116"/>
                <a:gd name="T10" fmla="*/ 179668 w 118"/>
                <a:gd name="T11" fmla="*/ 55410 h 116"/>
                <a:gd name="T12" fmla="*/ 179668 w 118"/>
                <a:gd name="T13" fmla="*/ 48694 h 116"/>
                <a:gd name="T14" fmla="*/ 191421 w 118"/>
                <a:gd name="T15" fmla="*/ 28545 h 116"/>
                <a:gd name="T16" fmla="*/ 171272 w 118"/>
                <a:gd name="T17" fmla="*/ 31903 h 116"/>
                <a:gd name="T18" fmla="*/ 172951 w 118"/>
                <a:gd name="T19" fmla="*/ 8396 h 116"/>
                <a:gd name="T20" fmla="*/ 151122 w 118"/>
                <a:gd name="T21" fmla="*/ 18470 h 116"/>
                <a:gd name="T22" fmla="*/ 144406 w 118"/>
                <a:gd name="T23" fmla="*/ 18470 h 116"/>
                <a:gd name="T24" fmla="*/ 125935 w 118"/>
                <a:gd name="T25" fmla="*/ 1679 h 116"/>
                <a:gd name="T26" fmla="*/ 125935 w 118"/>
                <a:gd name="T27" fmla="*/ 21828 h 116"/>
                <a:gd name="T28" fmla="*/ 104106 w 118"/>
                <a:gd name="T29" fmla="*/ 15112 h 116"/>
                <a:gd name="T30" fmla="*/ 110823 w 118"/>
                <a:gd name="T31" fmla="*/ 40298 h 116"/>
                <a:gd name="T32" fmla="*/ 107465 w 118"/>
                <a:gd name="T33" fmla="*/ 47015 h 116"/>
                <a:gd name="T34" fmla="*/ 88994 w 118"/>
                <a:gd name="T35" fmla="*/ 60448 h 116"/>
                <a:gd name="T36" fmla="*/ 110823 w 118"/>
                <a:gd name="T37" fmla="*/ 65485 h 116"/>
                <a:gd name="T38" fmla="*/ 99069 w 118"/>
                <a:gd name="T39" fmla="*/ 87313 h 116"/>
                <a:gd name="T40" fmla="*/ 124256 w 118"/>
                <a:gd name="T41" fmla="*/ 87313 h 116"/>
                <a:gd name="T42" fmla="*/ 114181 w 118"/>
                <a:gd name="T43" fmla="*/ 110821 h 116"/>
                <a:gd name="T44" fmla="*/ 115860 w 118"/>
                <a:gd name="T45" fmla="*/ 115858 h 116"/>
                <a:gd name="T46" fmla="*/ 134331 w 118"/>
                <a:gd name="T47" fmla="*/ 132649 h 116"/>
                <a:gd name="T48" fmla="*/ 115860 w 118"/>
                <a:gd name="T49" fmla="*/ 134328 h 116"/>
                <a:gd name="T50" fmla="*/ 129293 w 118"/>
                <a:gd name="T51" fmla="*/ 154478 h 116"/>
                <a:gd name="T52" fmla="*/ 105786 w 118"/>
                <a:gd name="T53" fmla="*/ 157836 h 116"/>
                <a:gd name="T54" fmla="*/ 99069 w 118"/>
                <a:gd name="T55" fmla="*/ 162873 h 116"/>
                <a:gd name="T56" fmla="*/ 95711 w 118"/>
                <a:gd name="T57" fmla="*/ 188060 h 116"/>
                <a:gd name="T58" fmla="*/ 83957 w 118"/>
                <a:gd name="T59" fmla="*/ 172948 h 116"/>
                <a:gd name="T60" fmla="*/ 73882 w 118"/>
                <a:gd name="T61" fmla="*/ 194776 h 116"/>
                <a:gd name="T62" fmla="*/ 58770 w 118"/>
                <a:gd name="T63" fmla="*/ 176306 h 116"/>
                <a:gd name="T64" fmla="*/ 50374 w 118"/>
                <a:gd name="T65" fmla="*/ 172948 h 116"/>
                <a:gd name="T66" fmla="*/ 28545 w 118"/>
                <a:gd name="T67" fmla="*/ 181343 h 116"/>
                <a:gd name="T68" fmla="*/ 36941 w 118"/>
                <a:gd name="T69" fmla="*/ 162873 h 116"/>
                <a:gd name="T70" fmla="*/ 11754 w 118"/>
                <a:gd name="T71" fmla="*/ 164552 h 116"/>
                <a:gd name="T72" fmla="*/ 20150 w 118"/>
                <a:gd name="T73" fmla="*/ 142724 h 116"/>
                <a:gd name="T74" fmla="*/ 18470 w 118"/>
                <a:gd name="T75" fmla="*/ 134328 h 116"/>
                <a:gd name="T76" fmla="*/ 0 w 118"/>
                <a:gd name="T77" fmla="*/ 120895 h 116"/>
                <a:gd name="T78" fmla="*/ 18470 w 118"/>
                <a:gd name="T79" fmla="*/ 115858 h 116"/>
                <a:gd name="T80" fmla="*/ 5037 w 118"/>
                <a:gd name="T81" fmla="*/ 97388 h 116"/>
                <a:gd name="T82" fmla="*/ 30224 w 118"/>
                <a:gd name="T83" fmla="*/ 94030 h 116"/>
                <a:gd name="T84" fmla="*/ 36941 w 118"/>
                <a:gd name="T85" fmla="*/ 87313 h 116"/>
                <a:gd name="T86" fmla="*/ 38620 w 118"/>
                <a:gd name="T87" fmla="*/ 65485 h 116"/>
                <a:gd name="T88" fmla="*/ 50374 w 118"/>
                <a:gd name="T89" fmla="*/ 78918 h 116"/>
                <a:gd name="T90" fmla="*/ 62128 w 118"/>
                <a:gd name="T91" fmla="*/ 58769 h 116"/>
                <a:gd name="T92" fmla="*/ 77240 w 118"/>
                <a:gd name="T93" fmla="*/ 77239 h 116"/>
                <a:gd name="T94" fmla="*/ 83957 w 118"/>
                <a:gd name="T95" fmla="*/ 78918 h 11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18"/>
                <a:gd name="T145" fmla="*/ 0 h 116"/>
                <a:gd name="T146" fmla="*/ 118 w 118"/>
                <a:gd name="T147" fmla="*/ 116 h 11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18" h="116">
                  <a:moveTo>
                    <a:pt x="84" y="64"/>
                  </a:moveTo>
                  <a:lnTo>
                    <a:pt x="87" y="53"/>
                  </a:lnTo>
                  <a:lnTo>
                    <a:pt x="92" y="52"/>
                  </a:lnTo>
                  <a:lnTo>
                    <a:pt x="100" y="62"/>
                  </a:lnTo>
                  <a:lnTo>
                    <a:pt x="106" y="58"/>
                  </a:lnTo>
                  <a:lnTo>
                    <a:pt x="101" y="46"/>
                  </a:lnTo>
                  <a:lnTo>
                    <a:pt x="103" y="44"/>
                  </a:lnTo>
                  <a:lnTo>
                    <a:pt x="116" y="45"/>
                  </a:lnTo>
                  <a:lnTo>
                    <a:pt x="118" y="39"/>
                  </a:lnTo>
                  <a:lnTo>
                    <a:pt x="107" y="33"/>
                  </a:lnTo>
                  <a:lnTo>
                    <a:pt x="107" y="29"/>
                  </a:lnTo>
                  <a:lnTo>
                    <a:pt x="117" y="23"/>
                  </a:lnTo>
                  <a:lnTo>
                    <a:pt x="114" y="17"/>
                  </a:lnTo>
                  <a:lnTo>
                    <a:pt x="102" y="19"/>
                  </a:lnTo>
                  <a:lnTo>
                    <a:pt x="100" y="17"/>
                  </a:lnTo>
                  <a:lnTo>
                    <a:pt x="103" y="5"/>
                  </a:lnTo>
                  <a:lnTo>
                    <a:pt x="98" y="2"/>
                  </a:lnTo>
                  <a:lnTo>
                    <a:pt x="90" y="11"/>
                  </a:lnTo>
                  <a:lnTo>
                    <a:pt x="86" y="11"/>
                  </a:lnTo>
                  <a:lnTo>
                    <a:pt x="81" y="0"/>
                  </a:lnTo>
                  <a:lnTo>
                    <a:pt x="75" y="1"/>
                  </a:lnTo>
                  <a:lnTo>
                    <a:pt x="75" y="13"/>
                  </a:lnTo>
                  <a:lnTo>
                    <a:pt x="73" y="16"/>
                  </a:lnTo>
                  <a:lnTo>
                    <a:pt x="62" y="9"/>
                  </a:lnTo>
                  <a:lnTo>
                    <a:pt x="58" y="14"/>
                  </a:lnTo>
                  <a:lnTo>
                    <a:pt x="66" y="24"/>
                  </a:lnTo>
                  <a:lnTo>
                    <a:pt x="64" y="28"/>
                  </a:lnTo>
                  <a:lnTo>
                    <a:pt x="52" y="30"/>
                  </a:lnTo>
                  <a:lnTo>
                    <a:pt x="53" y="36"/>
                  </a:lnTo>
                  <a:lnTo>
                    <a:pt x="66" y="39"/>
                  </a:lnTo>
                  <a:lnTo>
                    <a:pt x="67" y="42"/>
                  </a:lnTo>
                  <a:lnTo>
                    <a:pt x="59" y="52"/>
                  </a:lnTo>
                  <a:lnTo>
                    <a:pt x="63" y="56"/>
                  </a:lnTo>
                  <a:lnTo>
                    <a:pt x="74" y="52"/>
                  </a:lnTo>
                  <a:lnTo>
                    <a:pt x="77" y="58"/>
                  </a:lnTo>
                  <a:lnTo>
                    <a:pt x="68" y="66"/>
                  </a:lnTo>
                  <a:lnTo>
                    <a:pt x="69" y="69"/>
                  </a:lnTo>
                  <a:lnTo>
                    <a:pt x="80" y="72"/>
                  </a:lnTo>
                  <a:lnTo>
                    <a:pt x="80" y="79"/>
                  </a:lnTo>
                  <a:lnTo>
                    <a:pt x="69" y="80"/>
                  </a:lnTo>
                  <a:lnTo>
                    <a:pt x="68" y="85"/>
                  </a:lnTo>
                  <a:lnTo>
                    <a:pt x="77" y="92"/>
                  </a:lnTo>
                  <a:lnTo>
                    <a:pt x="74" y="98"/>
                  </a:lnTo>
                  <a:lnTo>
                    <a:pt x="63" y="94"/>
                  </a:lnTo>
                  <a:lnTo>
                    <a:pt x="59" y="97"/>
                  </a:lnTo>
                  <a:lnTo>
                    <a:pt x="63" y="108"/>
                  </a:lnTo>
                  <a:lnTo>
                    <a:pt x="57" y="112"/>
                  </a:lnTo>
                  <a:lnTo>
                    <a:pt x="50" y="103"/>
                  </a:lnTo>
                  <a:lnTo>
                    <a:pt x="46" y="105"/>
                  </a:lnTo>
                  <a:lnTo>
                    <a:pt x="44" y="116"/>
                  </a:lnTo>
                  <a:lnTo>
                    <a:pt x="37" y="116"/>
                  </a:lnTo>
                  <a:lnTo>
                    <a:pt x="35" y="105"/>
                  </a:lnTo>
                  <a:lnTo>
                    <a:pt x="30" y="103"/>
                  </a:lnTo>
                  <a:lnTo>
                    <a:pt x="23" y="112"/>
                  </a:lnTo>
                  <a:lnTo>
                    <a:pt x="17" y="108"/>
                  </a:lnTo>
                  <a:lnTo>
                    <a:pt x="22" y="97"/>
                  </a:lnTo>
                  <a:lnTo>
                    <a:pt x="18" y="94"/>
                  </a:lnTo>
                  <a:lnTo>
                    <a:pt x="7" y="98"/>
                  </a:lnTo>
                  <a:lnTo>
                    <a:pt x="3" y="92"/>
                  </a:lnTo>
                  <a:lnTo>
                    <a:pt x="12" y="85"/>
                  </a:lnTo>
                  <a:lnTo>
                    <a:pt x="11" y="80"/>
                  </a:lnTo>
                  <a:lnTo>
                    <a:pt x="0" y="79"/>
                  </a:lnTo>
                  <a:lnTo>
                    <a:pt x="0" y="72"/>
                  </a:lnTo>
                  <a:lnTo>
                    <a:pt x="11" y="69"/>
                  </a:lnTo>
                  <a:lnTo>
                    <a:pt x="12" y="66"/>
                  </a:lnTo>
                  <a:lnTo>
                    <a:pt x="3" y="58"/>
                  </a:lnTo>
                  <a:lnTo>
                    <a:pt x="7" y="52"/>
                  </a:lnTo>
                  <a:lnTo>
                    <a:pt x="18" y="56"/>
                  </a:lnTo>
                  <a:lnTo>
                    <a:pt x="22" y="52"/>
                  </a:lnTo>
                  <a:lnTo>
                    <a:pt x="17" y="41"/>
                  </a:lnTo>
                  <a:lnTo>
                    <a:pt x="23" y="39"/>
                  </a:lnTo>
                  <a:lnTo>
                    <a:pt x="30" y="47"/>
                  </a:lnTo>
                  <a:lnTo>
                    <a:pt x="35" y="46"/>
                  </a:lnTo>
                  <a:lnTo>
                    <a:pt x="37" y="35"/>
                  </a:lnTo>
                  <a:lnTo>
                    <a:pt x="44" y="35"/>
                  </a:lnTo>
                  <a:lnTo>
                    <a:pt x="46" y="46"/>
                  </a:lnTo>
                  <a:lnTo>
                    <a:pt x="50" y="47"/>
                  </a:lnTo>
                </a:path>
              </a:pathLst>
            </a:custGeom>
            <a:noFill/>
            <a:ln w="12700">
              <a:solidFill>
                <a:srgbClr val="00573B"/>
              </a:solidFill>
              <a:prstDash val="solid"/>
              <a:round/>
              <a:headEnd/>
              <a:tailEnd/>
            </a:ln>
          </p:spPr>
          <p:txBody>
            <a:bodyPr/>
            <a:lstStyle/>
            <a:p>
              <a:pPr defTabSz="685800" fontAlgn="base">
                <a:spcBef>
                  <a:spcPct val="0"/>
                </a:spcBef>
                <a:spcAft>
                  <a:spcPct val="0"/>
                </a:spcAft>
                <a:defRPr/>
              </a:pPr>
              <a:endParaRPr lang="en-US" sz="1350" kern="0">
                <a:solidFill>
                  <a:srgbClr val="000000"/>
                </a:solidFill>
                <a:latin typeface="Arial"/>
                <a:cs typeface="Arial" charset="0"/>
              </a:endParaRPr>
            </a:p>
          </p:txBody>
        </p:sp>
        <p:sp>
          <p:nvSpPr>
            <p:cNvPr id="77" name="Freeform 41">
              <a:extLst>
                <a:ext uri="{FF2B5EF4-FFF2-40B4-BE49-F238E27FC236}">
                  <a16:creationId xmlns:a16="http://schemas.microsoft.com/office/drawing/2014/main" id="{47EB0610-BEE6-4472-AFD8-1FA03FD34BBF}"/>
                </a:ext>
              </a:extLst>
            </p:cNvPr>
            <p:cNvSpPr>
              <a:spLocks/>
            </p:cNvSpPr>
            <p:nvPr/>
          </p:nvSpPr>
          <p:spPr bwMode="auto">
            <a:xfrm>
              <a:off x="849570" y="6587441"/>
              <a:ext cx="40299" cy="40298"/>
            </a:xfrm>
            <a:custGeom>
              <a:avLst/>
              <a:gdLst>
                <a:gd name="T0" fmla="*/ 40299 w 23"/>
                <a:gd name="T1" fmla="*/ 21025 h 23"/>
                <a:gd name="T2" fmla="*/ 40299 w 23"/>
                <a:gd name="T3" fmla="*/ 21025 h 23"/>
                <a:gd name="T4" fmla="*/ 38547 w 23"/>
                <a:gd name="T5" fmla="*/ 29785 h 23"/>
                <a:gd name="T6" fmla="*/ 33290 w 23"/>
                <a:gd name="T7" fmla="*/ 36794 h 23"/>
                <a:gd name="T8" fmla="*/ 28034 w 23"/>
                <a:gd name="T9" fmla="*/ 40298 h 23"/>
                <a:gd name="T10" fmla="*/ 19273 w 23"/>
                <a:gd name="T11" fmla="*/ 40298 h 23"/>
                <a:gd name="T12" fmla="*/ 19273 w 23"/>
                <a:gd name="T13" fmla="*/ 40298 h 23"/>
                <a:gd name="T14" fmla="*/ 10513 w 23"/>
                <a:gd name="T15" fmla="*/ 40298 h 23"/>
                <a:gd name="T16" fmla="*/ 3504 w 23"/>
                <a:gd name="T17" fmla="*/ 36794 h 23"/>
                <a:gd name="T18" fmla="*/ 0 w 23"/>
                <a:gd name="T19" fmla="*/ 29785 h 23"/>
                <a:gd name="T20" fmla="*/ 0 w 23"/>
                <a:gd name="T21" fmla="*/ 21025 h 23"/>
                <a:gd name="T22" fmla="*/ 0 w 23"/>
                <a:gd name="T23" fmla="*/ 21025 h 23"/>
                <a:gd name="T24" fmla="*/ 0 w 23"/>
                <a:gd name="T25" fmla="*/ 12265 h 23"/>
                <a:gd name="T26" fmla="*/ 3504 w 23"/>
                <a:gd name="T27" fmla="*/ 7008 h 23"/>
                <a:gd name="T28" fmla="*/ 10513 w 23"/>
                <a:gd name="T29" fmla="*/ 1752 h 23"/>
                <a:gd name="T30" fmla="*/ 19273 w 23"/>
                <a:gd name="T31" fmla="*/ 0 h 23"/>
                <a:gd name="T32" fmla="*/ 19273 w 23"/>
                <a:gd name="T33" fmla="*/ 0 h 23"/>
                <a:gd name="T34" fmla="*/ 28034 w 23"/>
                <a:gd name="T35" fmla="*/ 1752 h 23"/>
                <a:gd name="T36" fmla="*/ 33290 w 23"/>
                <a:gd name="T37" fmla="*/ 7008 h 23"/>
                <a:gd name="T38" fmla="*/ 38547 w 23"/>
                <a:gd name="T39" fmla="*/ 12265 h 23"/>
                <a:gd name="T40" fmla="*/ 40299 w 23"/>
                <a:gd name="T41" fmla="*/ 21025 h 23"/>
                <a:gd name="T42" fmla="*/ 40299 w 23"/>
                <a:gd name="T43" fmla="*/ 21025 h 23"/>
                <a:gd name="T44" fmla="*/ 40299 w 23"/>
                <a:gd name="T45" fmla="*/ 21025 h 2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3"/>
                <a:gd name="T70" fmla="*/ 0 h 23"/>
                <a:gd name="T71" fmla="*/ 23 w 23"/>
                <a:gd name="T72" fmla="*/ 23 h 2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3" h="23">
                  <a:moveTo>
                    <a:pt x="23" y="12"/>
                  </a:moveTo>
                  <a:lnTo>
                    <a:pt x="23" y="12"/>
                  </a:lnTo>
                  <a:lnTo>
                    <a:pt x="22" y="17"/>
                  </a:lnTo>
                  <a:lnTo>
                    <a:pt x="19" y="21"/>
                  </a:lnTo>
                  <a:lnTo>
                    <a:pt x="16" y="23"/>
                  </a:lnTo>
                  <a:lnTo>
                    <a:pt x="11" y="23"/>
                  </a:lnTo>
                  <a:lnTo>
                    <a:pt x="6" y="23"/>
                  </a:lnTo>
                  <a:lnTo>
                    <a:pt x="2" y="21"/>
                  </a:lnTo>
                  <a:lnTo>
                    <a:pt x="0" y="17"/>
                  </a:lnTo>
                  <a:lnTo>
                    <a:pt x="0" y="12"/>
                  </a:lnTo>
                  <a:lnTo>
                    <a:pt x="0" y="7"/>
                  </a:lnTo>
                  <a:lnTo>
                    <a:pt x="2" y="4"/>
                  </a:lnTo>
                  <a:lnTo>
                    <a:pt x="6" y="1"/>
                  </a:lnTo>
                  <a:lnTo>
                    <a:pt x="11" y="0"/>
                  </a:lnTo>
                  <a:lnTo>
                    <a:pt x="16" y="1"/>
                  </a:lnTo>
                  <a:lnTo>
                    <a:pt x="19" y="4"/>
                  </a:lnTo>
                  <a:lnTo>
                    <a:pt x="22" y="7"/>
                  </a:lnTo>
                  <a:lnTo>
                    <a:pt x="23" y="12"/>
                  </a:lnTo>
                  <a:close/>
                </a:path>
              </a:pathLst>
            </a:custGeom>
            <a:noFill/>
            <a:ln w="12700">
              <a:solidFill>
                <a:srgbClr val="00573B"/>
              </a:solidFill>
              <a:prstDash val="solid"/>
              <a:round/>
              <a:headEnd/>
              <a:tailEnd/>
            </a:ln>
          </p:spPr>
          <p:txBody>
            <a:bodyPr/>
            <a:lstStyle/>
            <a:p>
              <a:pPr defTabSz="685800" fontAlgn="base">
                <a:spcBef>
                  <a:spcPct val="0"/>
                </a:spcBef>
                <a:spcAft>
                  <a:spcPct val="0"/>
                </a:spcAft>
                <a:defRPr/>
              </a:pPr>
              <a:endParaRPr lang="en-US" sz="1350" kern="0">
                <a:solidFill>
                  <a:srgbClr val="000000"/>
                </a:solidFill>
                <a:latin typeface="Arial"/>
                <a:cs typeface="Arial" charset="0"/>
              </a:endParaRPr>
            </a:p>
          </p:txBody>
        </p:sp>
        <p:sp>
          <p:nvSpPr>
            <p:cNvPr id="78" name="Freeform 42">
              <a:extLst>
                <a:ext uri="{FF2B5EF4-FFF2-40B4-BE49-F238E27FC236}">
                  <a16:creationId xmlns:a16="http://schemas.microsoft.com/office/drawing/2014/main" id="{3AE6DC84-D891-4BEB-B580-2EB710BCD574}"/>
                </a:ext>
              </a:extLst>
            </p:cNvPr>
            <p:cNvSpPr>
              <a:spLocks/>
            </p:cNvSpPr>
            <p:nvPr/>
          </p:nvSpPr>
          <p:spPr bwMode="auto">
            <a:xfrm>
              <a:off x="926809" y="6516918"/>
              <a:ext cx="36942" cy="36941"/>
            </a:xfrm>
            <a:custGeom>
              <a:avLst/>
              <a:gdLst>
                <a:gd name="T0" fmla="*/ 36942 w 22"/>
                <a:gd name="T1" fmla="*/ 20318 h 20"/>
                <a:gd name="T2" fmla="*/ 36942 w 22"/>
                <a:gd name="T3" fmla="*/ 20318 h 20"/>
                <a:gd name="T4" fmla="*/ 35263 w 22"/>
                <a:gd name="T5" fmla="*/ 25859 h 20"/>
                <a:gd name="T6" fmla="*/ 30225 w 22"/>
                <a:gd name="T7" fmla="*/ 33247 h 20"/>
                <a:gd name="T8" fmla="*/ 26867 w 22"/>
                <a:gd name="T9" fmla="*/ 36941 h 20"/>
                <a:gd name="T10" fmla="*/ 18471 w 22"/>
                <a:gd name="T11" fmla="*/ 36941 h 20"/>
                <a:gd name="T12" fmla="*/ 18471 w 22"/>
                <a:gd name="T13" fmla="*/ 36941 h 20"/>
                <a:gd name="T14" fmla="*/ 11754 w 22"/>
                <a:gd name="T15" fmla="*/ 36941 h 20"/>
                <a:gd name="T16" fmla="*/ 6717 w 22"/>
                <a:gd name="T17" fmla="*/ 33247 h 20"/>
                <a:gd name="T18" fmla="*/ 1679 w 22"/>
                <a:gd name="T19" fmla="*/ 25859 h 20"/>
                <a:gd name="T20" fmla="*/ 0 w 22"/>
                <a:gd name="T21" fmla="*/ 20318 h 20"/>
                <a:gd name="T22" fmla="*/ 0 w 22"/>
                <a:gd name="T23" fmla="*/ 20318 h 20"/>
                <a:gd name="T24" fmla="*/ 1679 w 22"/>
                <a:gd name="T25" fmla="*/ 11082 h 20"/>
                <a:gd name="T26" fmla="*/ 6717 w 22"/>
                <a:gd name="T27" fmla="*/ 3694 h 20"/>
                <a:gd name="T28" fmla="*/ 11754 w 22"/>
                <a:gd name="T29" fmla="*/ 0 h 20"/>
                <a:gd name="T30" fmla="*/ 18471 w 22"/>
                <a:gd name="T31" fmla="*/ 0 h 20"/>
                <a:gd name="T32" fmla="*/ 18471 w 22"/>
                <a:gd name="T33" fmla="*/ 0 h 20"/>
                <a:gd name="T34" fmla="*/ 26867 w 22"/>
                <a:gd name="T35" fmla="*/ 0 h 20"/>
                <a:gd name="T36" fmla="*/ 30225 w 22"/>
                <a:gd name="T37" fmla="*/ 3694 h 20"/>
                <a:gd name="T38" fmla="*/ 35263 w 22"/>
                <a:gd name="T39" fmla="*/ 11082 h 20"/>
                <a:gd name="T40" fmla="*/ 36942 w 22"/>
                <a:gd name="T41" fmla="*/ 20318 h 20"/>
                <a:gd name="T42" fmla="*/ 36942 w 22"/>
                <a:gd name="T43" fmla="*/ 20318 h 20"/>
                <a:gd name="T44" fmla="*/ 36942 w 22"/>
                <a:gd name="T45" fmla="*/ 20318 h 2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2"/>
                <a:gd name="T70" fmla="*/ 0 h 20"/>
                <a:gd name="T71" fmla="*/ 22 w 22"/>
                <a:gd name="T72" fmla="*/ 20 h 2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2" h="20">
                  <a:moveTo>
                    <a:pt x="22" y="11"/>
                  </a:moveTo>
                  <a:lnTo>
                    <a:pt x="22" y="11"/>
                  </a:lnTo>
                  <a:lnTo>
                    <a:pt x="21" y="14"/>
                  </a:lnTo>
                  <a:lnTo>
                    <a:pt x="18" y="18"/>
                  </a:lnTo>
                  <a:lnTo>
                    <a:pt x="16" y="20"/>
                  </a:lnTo>
                  <a:lnTo>
                    <a:pt x="11" y="20"/>
                  </a:lnTo>
                  <a:lnTo>
                    <a:pt x="7" y="20"/>
                  </a:lnTo>
                  <a:lnTo>
                    <a:pt x="4" y="18"/>
                  </a:lnTo>
                  <a:lnTo>
                    <a:pt x="1" y="14"/>
                  </a:lnTo>
                  <a:lnTo>
                    <a:pt x="0" y="11"/>
                  </a:lnTo>
                  <a:lnTo>
                    <a:pt x="1" y="6"/>
                  </a:lnTo>
                  <a:lnTo>
                    <a:pt x="4" y="2"/>
                  </a:lnTo>
                  <a:lnTo>
                    <a:pt x="7" y="0"/>
                  </a:lnTo>
                  <a:lnTo>
                    <a:pt x="11" y="0"/>
                  </a:lnTo>
                  <a:lnTo>
                    <a:pt x="16" y="0"/>
                  </a:lnTo>
                  <a:lnTo>
                    <a:pt x="18" y="2"/>
                  </a:lnTo>
                  <a:lnTo>
                    <a:pt x="21" y="6"/>
                  </a:lnTo>
                  <a:lnTo>
                    <a:pt x="22" y="11"/>
                  </a:lnTo>
                  <a:close/>
                </a:path>
              </a:pathLst>
            </a:custGeom>
            <a:noFill/>
            <a:ln w="12700">
              <a:solidFill>
                <a:srgbClr val="00573B"/>
              </a:solidFill>
              <a:prstDash val="solid"/>
              <a:round/>
              <a:headEnd/>
              <a:tailEnd/>
            </a:ln>
          </p:spPr>
          <p:txBody>
            <a:bodyPr/>
            <a:lstStyle/>
            <a:p>
              <a:pPr defTabSz="685800" fontAlgn="base">
                <a:spcBef>
                  <a:spcPct val="0"/>
                </a:spcBef>
                <a:spcAft>
                  <a:spcPct val="0"/>
                </a:spcAft>
                <a:defRPr/>
              </a:pPr>
              <a:endParaRPr lang="en-US" sz="1350" kern="0">
                <a:solidFill>
                  <a:srgbClr val="000000"/>
                </a:solidFill>
                <a:latin typeface="Arial"/>
                <a:cs typeface="Arial" charset="0"/>
              </a:endParaRPr>
            </a:p>
          </p:txBody>
        </p:sp>
        <p:sp>
          <p:nvSpPr>
            <p:cNvPr id="79" name="Freeform 687">
              <a:extLst>
                <a:ext uri="{FF2B5EF4-FFF2-40B4-BE49-F238E27FC236}">
                  <a16:creationId xmlns:a16="http://schemas.microsoft.com/office/drawing/2014/main" id="{05AB8EC4-734A-4B05-9A54-A3DD356CB3F9}"/>
                </a:ext>
              </a:extLst>
            </p:cNvPr>
            <p:cNvSpPr>
              <a:spLocks/>
            </p:cNvSpPr>
            <p:nvPr/>
          </p:nvSpPr>
          <p:spPr bwMode="auto">
            <a:xfrm>
              <a:off x="705164" y="6469903"/>
              <a:ext cx="392917" cy="245150"/>
            </a:xfrm>
            <a:custGeom>
              <a:avLst/>
              <a:gdLst>
                <a:gd name="T0" fmla="*/ 392917 w 234"/>
                <a:gd name="T1" fmla="*/ 218284 h 146"/>
                <a:gd name="T2" fmla="*/ 392917 w 234"/>
                <a:gd name="T3" fmla="*/ 218284 h 146"/>
                <a:gd name="T4" fmla="*/ 389559 w 234"/>
                <a:gd name="T5" fmla="*/ 228359 h 146"/>
                <a:gd name="T6" fmla="*/ 382842 w 234"/>
                <a:gd name="T7" fmla="*/ 235075 h 146"/>
                <a:gd name="T8" fmla="*/ 377805 w 234"/>
                <a:gd name="T9" fmla="*/ 238434 h 146"/>
                <a:gd name="T10" fmla="*/ 371088 w 234"/>
                <a:gd name="T11" fmla="*/ 243471 h 146"/>
                <a:gd name="T12" fmla="*/ 355976 w 234"/>
                <a:gd name="T13" fmla="*/ 245150 h 146"/>
                <a:gd name="T14" fmla="*/ 337506 w 234"/>
                <a:gd name="T15" fmla="*/ 245150 h 146"/>
                <a:gd name="T16" fmla="*/ 337506 w 234"/>
                <a:gd name="T17" fmla="*/ 245150 h 146"/>
                <a:gd name="T18" fmla="*/ 55411 w 234"/>
                <a:gd name="T19" fmla="*/ 245150 h 146"/>
                <a:gd name="T20" fmla="*/ 55411 w 234"/>
                <a:gd name="T21" fmla="*/ 245150 h 146"/>
                <a:gd name="T22" fmla="*/ 36941 w 234"/>
                <a:gd name="T23" fmla="*/ 245150 h 146"/>
                <a:gd name="T24" fmla="*/ 20150 w 234"/>
                <a:gd name="T25" fmla="*/ 243471 h 146"/>
                <a:gd name="T26" fmla="*/ 11754 w 234"/>
                <a:gd name="T27" fmla="*/ 241792 h 146"/>
                <a:gd name="T28" fmla="*/ 6717 w 234"/>
                <a:gd name="T29" fmla="*/ 235075 h 146"/>
                <a:gd name="T30" fmla="*/ 1679 w 234"/>
                <a:gd name="T31" fmla="*/ 228359 h 146"/>
                <a:gd name="T32" fmla="*/ 0 w 234"/>
                <a:gd name="T33" fmla="*/ 218284 h 146"/>
                <a:gd name="T34" fmla="*/ 0 w 234"/>
                <a:gd name="T35" fmla="*/ 218284 h 146"/>
                <a:gd name="T36" fmla="*/ 340864 w 234"/>
                <a:gd name="T37" fmla="*/ 218284 h 146"/>
                <a:gd name="T38" fmla="*/ 340864 w 234"/>
                <a:gd name="T39" fmla="*/ 218284 h 146"/>
                <a:gd name="T40" fmla="*/ 345901 w 234"/>
                <a:gd name="T41" fmla="*/ 218284 h 146"/>
                <a:gd name="T42" fmla="*/ 352618 w 234"/>
                <a:gd name="T43" fmla="*/ 214926 h 146"/>
                <a:gd name="T44" fmla="*/ 354297 w 234"/>
                <a:gd name="T45" fmla="*/ 209889 h 146"/>
                <a:gd name="T46" fmla="*/ 355976 w 234"/>
                <a:gd name="T47" fmla="*/ 201493 h 146"/>
                <a:gd name="T48" fmla="*/ 355976 w 234"/>
                <a:gd name="T49" fmla="*/ 201493 h 146"/>
                <a:gd name="T50" fmla="*/ 355976 w 234"/>
                <a:gd name="T51" fmla="*/ 21828 h 146"/>
                <a:gd name="T52" fmla="*/ 355976 w 234"/>
                <a:gd name="T53" fmla="*/ 21828 h 146"/>
                <a:gd name="T54" fmla="*/ 355976 w 234"/>
                <a:gd name="T55" fmla="*/ 11754 h 146"/>
                <a:gd name="T56" fmla="*/ 352618 w 234"/>
                <a:gd name="T57" fmla="*/ 5037 h 146"/>
                <a:gd name="T58" fmla="*/ 347580 w 234"/>
                <a:gd name="T59" fmla="*/ 1679 h 146"/>
                <a:gd name="T60" fmla="*/ 337506 w 234"/>
                <a:gd name="T61" fmla="*/ 0 h 146"/>
                <a:gd name="T62" fmla="*/ 337506 w 234"/>
                <a:gd name="T63" fmla="*/ 0 h 146"/>
                <a:gd name="T64" fmla="*/ 57091 w 234"/>
                <a:gd name="T65" fmla="*/ 0 h 146"/>
                <a:gd name="T66" fmla="*/ 57091 w 234"/>
                <a:gd name="T67" fmla="*/ 0 h 146"/>
                <a:gd name="T68" fmla="*/ 45337 w 234"/>
                <a:gd name="T69" fmla="*/ 0 h 146"/>
                <a:gd name="T70" fmla="*/ 35262 w 234"/>
                <a:gd name="T71" fmla="*/ 0 h 146"/>
                <a:gd name="T72" fmla="*/ 35262 w 234"/>
                <a:gd name="T73" fmla="*/ 0 h 146"/>
                <a:gd name="T74" fmla="*/ 35262 w 234"/>
                <a:gd name="T75" fmla="*/ 188060 h 14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34"/>
                <a:gd name="T115" fmla="*/ 0 h 146"/>
                <a:gd name="T116" fmla="*/ 234 w 234"/>
                <a:gd name="T117" fmla="*/ 146 h 14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34" h="146">
                  <a:moveTo>
                    <a:pt x="234" y="130"/>
                  </a:moveTo>
                  <a:lnTo>
                    <a:pt x="234" y="130"/>
                  </a:lnTo>
                  <a:lnTo>
                    <a:pt x="232" y="136"/>
                  </a:lnTo>
                  <a:lnTo>
                    <a:pt x="228" y="140"/>
                  </a:lnTo>
                  <a:lnTo>
                    <a:pt x="225" y="142"/>
                  </a:lnTo>
                  <a:lnTo>
                    <a:pt x="221" y="145"/>
                  </a:lnTo>
                  <a:lnTo>
                    <a:pt x="212" y="146"/>
                  </a:lnTo>
                  <a:lnTo>
                    <a:pt x="201" y="146"/>
                  </a:lnTo>
                  <a:lnTo>
                    <a:pt x="33" y="146"/>
                  </a:lnTo>
                  <a:lnTo>
                    <a:pt x="22" y="146"/>
                  </a:lnTo>
                  <a:lnTo>
                    <a:pt x="12" y="145"/>
                  </a:lnTo>
                  <a:lnTo>
                    <a:pt x="7" y="144"/>
                  </a:lnTo>
                  <a:lnTo>
                    <a:pt x="4" y="140"/>
                  </a:lnTo>
                  <a:lnTo>
                    <a:pt x="1" y="136"/>
                  </a:lnTo>
                  <a:lnTo>
                    <a:pt x="0" y="130"/>
                  </a:lnTo>
                  <a:lnTo>
                    <a:pt x="203" y="130"/>
                  </a:lnTo>
                  <a:lnTo>
                    <a:pt x="206" y="130"/>
                  </a:lnTo>
                  <a:lnTo>
                    <a:pt x="210" y="128"/>
                  </a:lnTo>
                  <a:lnTo>
                    <a:pt x="211" y="125"/>
                  </a:lnTo>
                  <a:lnTo>
                    <a:pt x="212" y="120"/>
                  </a:lnTo>
                  <a:lnTo>
                    <a:pt x="212" y="13"/>
                  </a:lnTo>
                  <a:lnTo>
                    <a:pt x="212" y="7"/>
                  </a:lnTo>
                  <a:lnTo>
                    <a:pt x="210" y="3"/>
                  </a:lnTo>
                  <a:lnTo>
                    <a:pt x="207" y="1"/>
                  </a:lnTo>
                  <a:lnTo>
                    <a:pt x="201" y="0"/>
                  </a:lnTo>
                  <a:lnTo>
                    <a:pt x="34" y="0"/>
                  </a:lnTo>
                  <a:lnTo>
                    <a:pt x="27" y="0"/>
                  </a:lnTo>
                  <a:lnTo>
                    <a:pt x="21" y="0"/>
                  </a:lnTo>
                  <a:lnTo>
                    <a:pt x="21" y="112"/>
                  </a:lnTo>
                </a:path>
              </a:pathLst>
            </a:custGeom>
            <a:noFill/>
            <a:ln w="12700">
              <a:solidFill>
                <a:srgbClr val="00573B"/>
              </a:solidFill>
              <a:prstDash val="solid"/>
              <a:round/>
              <a:headEnd/>
              <a:tailEnd/>
            </a:ln>
          </p:spPr>
          <p:txBody>
            <a:bodyPr/>
            <a:lstStyle/>
            <a:p>
              <a:pPr defTabSz="685800" fontAlgn="base">
                <a:spcBef>
                  <a:spcPct val="0"/>
                </a:spcBef>
                <a:spcAft>
                  <a:spcPct val="0"/>
                </a:spcAft>
                <a:defRPr/>
              </a:pPr>
              <a:endParaRPr lang="en-US" sz="1350" kern="0">
                <a:solidFill>
                  <a:srgbClr val="000000"/>
                </a:solidFill>
                <a:latin typeface="Arial"/>
                <a:cs typeface="Arial" charset="0"/>
              </a:endParaRPr>
            </a:p>
          </p:txBody>
        </p:sp>
      </p:grpSp>
      <p:grpSp>
        <p:nvGrpSpPr>
          <p:cNvPr id="80" name="Group 79">
            <a:extLst>
              <a:ext uri="{FF2B5EF4-FFF2-40B4-BE49-F238E27FC236}">
                <a16:creationId xmlns:a16="http://schemas.microsoft.com/office/drawing/2014/main" id="{2CB4728D-91B8-44D6-A0F6-84199F9633C0}"/>
              </a:ext>
            </a:extLst>
          </p:cNvPr>
          <p:cNvGrpSpPr/>
          <p:nvPr/>
        </p:nvGrpSpPr>
        <p:grpSpPr>
          <a:xfrm>
            <a:off x="3543339" y="1284430"/>
            <a:ext cx="2022309" cy="814153"/>
            <a:chOff x="677091" y="1319356"/>
            <a:chExt cx="2022309" cy="814153"/>
          </a:xfrm>
        </p:grpSpPr>
        <p:sp>
          <p:nvSpPr>
            <p:cNvPr id="81" name="Rounded Rectangle 264">
              <a:extLst>
                <a:ext uri="{FF2B5EF4-FFF2-40B4-BE49-F238E27FC236}">
                  <a16:creationId xmlns:a16="http://schemas.microsoft.com/office/drawing/2014/main" id="{C170CCE0-3CA0-4809-94A6-28B5CBB3D591}"/>
                </a:ext>
              </a:extLst>
            </p:cNvPr>
            <p:cNvSpPr/>
            <p:nvPr/>
          </p:nvSpPr>
          <p:spPr>
            <a:xfrm>
              <a:off x="677091" y="1319356"/>
              <a:ext cx="2022309" cy="814153"/>
            </a:xfrm>
            <a:prstGeom prst="roundRect">
              <a:avLst/>
            </a:prstGeom>
            <a:solidFill>
              <a:sysClr val="window" lastClr="FFFFFF">
                <a:lumMod val="95000"/>
              </a:sysClr>
            </a:solidFill>
            <a:ln w="25400" cap="flat" cmpd="sng" algn="ctr">
              <a:noFill/>
              <a:prstDash val="solid"/>
            </a:ln>
            <a:effectLst>
              <a:outerShdw blurRad="50800" dist="38100" dir="2700000" algn="tl" rotWithShape="0">
                <a:prstClr val="black">
                  <a:alpha val="40000"/>
                </a:prstClr>
              </a:outerShdw>
            </a:effectLst>
          </p:spPr>
          <p:txBody>
            <a:bodyPr rtlCol="0" anchor="b"/>
            <a:lstStyle/>
            <a:p>
              <a:pPr algn="ctr" defTabSz="685800" fontAlgn="base">
                <a:spcBef>
                  <a:spcPct val="0"/>
                </a:spcBef>
                <a:spcAft>
                  <a:spcPct val="0"/>
                </a:spcAft>
                <a:defRPr/>
              </a:pPr>
              <a:endParaRPr lang="en-US" sz="1050" b="1" kern="0">
                <a:solidFill>
                  <a:srgbClr val="000000"/>
                </a:solidFill>
                <a:latin typeface="Arial"/>
              </a:endParaRPr>
            </a:p>
          </p:txBody>
        </p:sp>
        <p:grpSp>
          <p:nvGrpSpPr>
            <p:cNvPr id="82" name="Groupe 723">
              <a:extLst>
                <a:ext uri="{FF2B5EF4-FFF2-40B4-BE49-F238E27FC236}">
                  <a16:creationId xmlns:a16="http://schemas.microsoft.com/office/drawing/2014/main" id="{BF94CA50-62E7-46B6-A123-AB002B91BA65}"/>
                </a:ext>
              </a:extLst>
            </p:cNvPr>
            <p:cNvGrpSpPr/>
            <p:nvPr/>
          </p:nvGrpSpPr>
          <p:grpSpPr>
            <a:xfrm>
              <a:off x="1356332" y="1525639"/>
              <a:ext cx="667227" cy="404958"/>
              <a:chOff x="1735113" y="1331714"/>
              <a:chExt cx="366713" cy="265113"/>
            </a:xfrm>
          </p:grpSpPr>
          <p:sp>
            <p:nvSpPr>
              <p:cNvPr id="85" name="Freeform 282">
                <a:extLst>
                  <a:ext uri="{FF2B5EF4-FFF2-40B4-BE49-F238E27FC236}">
                    <a16:creationId xmlns:a16="http://schemas.microsoft.com/office/drawing/2014/main" id="{720928D7-54FA-494A-AC41-755471084C3C}"/>
                  </a:ext>
                </a:extLst>
              </p:cNvPr>
              <p:cNvSpPr>
                <a:spLocks/>
              </p:cNvSpPr>
              <p:nvPr/>
            </p:nvSpPr>
            <p:spPr bwMode="auto">
              <a:xfrm>
                <a:off x="1735113" y="1338064"/>
                <a:ext cx="215900" cy="217487"/>
              </a:xfrm>
              <a:custGeom>
                <a:avLst/>
                <a:gdLst/>
                <a:ahLst/>
                <a:cxnLst>
                  <a:cxn ang="0">
                    <a:pos x="53" y="118"/>
                  </a:cxn>
                  <a:cxn ang="0">
                    <a:pos x="61" y="133"/>
                  </a:cxn>
                  <a:cxn ang="0">
                    <a:pos x="62" y="136"/>
                  </a:cxn>
                  <a:cxn ang="0">
                    <a:pos x="63" y="137"/>
                  </a:cxn>
                  <a:cxn ang="0">
                    <a:pos x="65" y="137"/>
                  </a:cxn>
                  <a:cxn ang="0">
                    <a:pos x="82" y="136"/>
                  </a:cxn>
                  <a:cxn ang="0">
                    <a:pos x="85" y="134"/>
                  </a:cxn>
                  <a:cxn ang="0">
                    <a:pos x="85" y="117"/>
                  </a:cxn>
                  <a:cxn ang="0">
                    <a:pos x="100" y="125"/>
                  </a:cxn>
                  <a:cxn ang="0">
                    <a:pos x="103" y="127"/>
                  </a:cxn>
                  <a:cxn ang="0">
                    <a:pos x="105" y="125"/>
                  </a:cxn>
                  <a:cxn ang="0">
                    <a:pos x="119" y="114"/>
                  </a:cxn>
                  <a:cxn ang="0">
                    <a:pos x="120" y="112"/>
                  </a:cxn>
                  <a:cxn ang="0">
                    <a:pos x="110" y="98"/>
                  </a:cxn>
                  <a:cxn ang="0">
                    <a:pos x="127" y="96"/>
                  </a:cxn>
                  <a:cxn ang="0">
                    <a:pos x="130" y="95"/>
                  </a:cxn>
                  <a:cxn ang="0">
                    <a:pos x="132" y="93"/>
                  </a:cxn>
                  <a:cxn ang="0">
                    <a:pos x="136" y="75"/>
                  </a:cxn>
                  <a:cxn ang="0">
                    <a:pos x="136" y="72"/>
                  </a:cxn>
                  <a:cxn ang="0">
                    <a:pos x="119" y="67"/>
                  </a:cxn>
                  <a:cxn ang="0">
                    <a:pos x="132" y="56"/>
                  </a:cxn>
                  <a:cxn ang="0">
                    <a:pos x="134" y="53"/>
                  </a:cxn>
                  <a:cxn ang="0">
                    <a:pos x="134" y="51"/>
                  </a:cxn>
                  <a:cxn ang="0">
                    <a:pos x="127" y="34"/>
                  </a:cxn>
                  <a:cxn ang="0">
                    <a:pos x="124" y="32"/>
                  </a:cxn>
                  <a:cxn ang="0">
                    <a:pos x="108" y="38"/>
                  </a:cxn>
                  <a:cxn ang="0">
                    <a:pos x="111" y="20"/>
                  </a:cxn>
                  <a:cxn ang="0">
                    <a:pos x="113" y="18"/>
                  </a:cxn>
                  <a:cxn ang="0">
                    <a:pos x="110" y="15"/>
                  </a:cxn>
                  <a:cxn ang="0">
                    <a:pos x="95" y="6"/>
                  </a:cxn>
                  <a:cxn ang="0">
                    <a:pos x="90" y="8"/>
                  </a:cxn>
                  <a:cxn ang="0">
                    <a:pos x="76" y="19"/>
                  </a:cxn>
                  <a:cxn ang="0">
                    <a:pos x="75" y="4"/>
                  </a:cxn>
                  <a:cxn ang="0">
                    <a:pos x="73" y="1"/>
                  </a:cxn>
                  <a:cxn ang="0">
                    <a:pos x="53" y="3"/>
                  </a:cxn>
                  <a:cxn ang="0">
                    <a:pos x="51" y="4"/>
                  </a:cxn>
                  <a:cxn ang="0">
                    <a:pos x="51" y="22"/>
                  </a:cxn>
                  <a:cxn ang="0">
                    <a:pos x="35" y="11"/>
                  </a:cxn>
                  <a:cxn ang="0">
                    <a:pos x="33" y="10"/>
                  </a:cxn>
                  <a:cxn ang="0">
                    <a:pos x="16" y="24"/>
                  </a:cxn>
                  <a:cxn ang="0">
                    <a:pos x="15" y="27"/>
                  </a:cxn>
                  <a:cxn ang="0">
                    <a:pos x="16" y="29"/>
                  </a:cxn>
                  <a:cxn ang="0">
                    <a:pos x="23" y="44"/>
                  </a:cxn>
                  <a:cxn ang="0">
                    <a:pos x="9" y="42"/>
                  </a:cxn>
                  <a:cxn ang="0">
                    <a:pos x="6" y="42"/>
                  </a:cxn>
                  <a:cxn ang="0">
                    <a:pos x="0" y="62"/>
                  </a:cxn>
                  <a:cxn ang="0">
                    <a:pos x="0" y="66"/>
                  </a:cxn>
                  <a:cxn ang="0">
                    <a:pos x="2" y="67"/>
                  </a:cxn>
                  <a:cxn ang="0">
                    <a:pos x="18" y="76"/>
                  </a:cxn>
                  <a:cxn ang="0">
                    <a:pos x="4" y="81"/>
                  </a:cxn>
                  <a:cxn ang="0">
                    <a:pos x="2" y="86"/>
                  </a:cxn>
                  <a:cxn ang="0">
                    <a:pos x="9" y="104"/>
                  </a:cxn>
                  <a:cxn ang="0">
                    <a:pos x="11" y="105"/>
                  </a:cxn>
                  <a:cxn ang="0">
                    <a:pos x="28" y="100"/>
                  </a:cxn>
                  <a:cxn ang="0">
                    <a:pos x="24" y="117"/>
                  </a:cxn>
                </a:cxnLst>
                <a:rect l="0" t="0" r="r" b="b"/>
                <a:pathLst>
                  <a:path w="136" h="137">
                    <a:moveTo>
                      <a:pt x="46" y="131"/>
                    </a:moveTo>
                    <a:lnTo>
                      <a:pt x="53" y="118"/>
                    </a:lnTo>
                    <a:lnTo>
                      <a:pt x="59" y="119"/>
                    </a:lnTo>
                    <a:lnTo>
                      <a:pt x="61" y="133"/>
                    </a:lnTo>
                    <a:lnTo>
                      <a:pt x="61" y="133"/>
                    </a:lnTo>
                    <a:lnTo>
                      <a:pt x="62" y="136"/>
                    </a:lnTo>
                    <a:lnTo>
                      <a:pt x="62" y="136"/>
                    </a:lnTo>
                    <a:lnTo>
                      <a:pt x="63" y="137"/>
                    </a:lnTo>
                    <a:lnTo>
                      <a:pt x="63" y="137"/>
                    </a:lnTo>
                    <a:lnTo>
                      <a:pt x="65" y="137"/>
                    </a:lnTo>
                    <a:lnTo>
                      <a:pt x="82" y="136"/>
                    </a:lnTo>
                    <a:lnTo>
                      <a:pt x="82" y="136"/>
                    </a:lnTo>
                    <a:lnTo>
                      <a:pt x="85" y="134"/>
                    </a:lnTo>
                    <a:lnTo>
                      <a:pt x="85" y="134"/>
                    </a:lnTo>
                    <a:lnTo>
                      <a:pt x="86" y="131"/>
                    </a:lnTo>
                    <a:lnTo>
                      <a:pt x="85" y="117"/>
                    </a:lnTo>
                    <a:lnTo>
                      <a:pt x="90" y="114"/>
                    </a:lnTo>
                    <a:lnTo>
                      <a:pt x="100" y="125"/>
                    </a:lnTo>
                    <a:lnTo>
                      <a:pt x="100" y="125"/>
                    </a:lnTo>
                    <a:lnTo>
                      <a:pt x="103" y="127"/>
                    </a:lnTo>
                    <a:lnTo>
                      <a:pt x="103" y="127"/>
                    </a:lnTo>
                    <a:lnTo>
                      <a:pt x="105" y="125"/>
                    </a:lnTo>
                    <a:lnTo>
                      <a:pt x="119" y="114"/>
                    </a:lnTo>
                    <a:lnTo>
                      <a:pt x="119" y="114"/>
                    </a:lnTo>
                    <a:lnTo>
                      <a:pt x="120" y="112"/>
                    </a:lnTo>
                    <a:lnTo>
                      <a:pt x="120" y="112"/>
                    </a:lnTo>
                    <a:lnTo>
                      <a:pt x="119" y="109"/>
                    </a:lnTo>
                    <a:lnTo>
                      <a:pt x="110" y="98"/>
                    </a:lnTo>
                    <a:lnTo>
                      <a:pt x="113" y="93"/>
                    </a:lnTo>
                    <a:lnTo>
                      <a:pt x="127" y="96"/>
                    </a:lnTo>
                    <a:lnTo>
                      <a:pt x="127" y="96"/>
                    </a:lnTo>
                    <a:lnTo>
                      <a:pt x="130" y="95"/>
                    </a:lnTo>
                    <a:lnTo>
                      <a:pt x="130" y="95"/>
                    </a:lnTo>
                    <a:lnTo>
                      <a:pt x="132" y="93"/>
                    </a:lnTo>
                    <a:lnTo>
                      <a:pt x="136" y="75"/>
                    </a:lnTo>
                    <a:lnTo>
                      <a:pt x="136" y="75"/>
                    </a:lnTo>
                    <a:lnTo>
                      <a:pt x="136" y="72"/>
                    </a:lnTo>
                    <a:lnTo>
                      <a:pt x="136" y="72"/>
                    </a:lnTo>
                    <a:lnTo>
                      <a:pt x="133" y="71"/>
                    </a:lnTo>
                    <a:lnTo>
                      <a:pt x="119" y="67"/>
                    </a:lnTo>
                    <a:lnTo>
                      <a:pt x="118" y="62"/>
                    </a:lnTo>
                    <a:lnTo>
                      <a:pt x="132" y="56"/>
                    </a:lnTo>
                    <a:lnTo>
                      <a:pt x="132" y="56"/>
                    </a:lnTo>
                    <a:lnTo>
                      <a:pt x="134" y="53"/>
                    </a:lnTo>
                    <a:lnTo>
                      <a:pt x="134" y="53"/>
                    </a:lnTo>
                    <a:lnTo>
                      <a:pt x="134" y="51"/>
                    </a:lnTo>
                    <a:lnTo>
                      <a:pt x="127" y="34"/>
                    </a:lnTo>
                    <a:lnTo>
                      <a:pt x="127" y="34"/>
                    </a:lnTo>
                    <a:lnTo>
                      <a:pt x="124" y="32"/>
                    </a:lnTo>
                    <a:lnTo>
                      <a:pt x="124" y="32"/>
                    </a:lnTo>
                    <a:lnTo>
                      <a:pt x="122" y="32"/>
                    </a:lnTo>
                    <a:lnTo>
                      <a:pt x="108" y="38"/>
                    </a:lnTo>
                    <a:lnTo>
                      <a:pt x="104" y="33"/>
                    </a:lnTo>
                    <a:lnTo>
                      <a:pt x="111" y="20"/>
                    </a:lnTo>
                    <a:lnTo>
                      <a:pt x="111" y="20"/>
                    </a:lnTo>
                    <a:lnTo>
                      <a:pt x="113" y="18"/>
                    </a:lnTo>
                    <a:lnTo>
                      <a:pt x="113" y="18"/>
                    </a:lnTo>
                    <a:lnTo>
                      <a:pt x="110" y="15"/>
                    </a:lnTo>
                    <a:lnTo>
                      <a:pt x="95" y="6"/>
                    </a:lnTo>
                    <a:lnTo>
                      <a:pt x="95" y="6"/>
                    </a:lnTo>
                    <a:lnTo>
                      <a:pt x="92" y="6"/>
                    </a:lnTo>
                    <a:lnTo>
                      <a:pt x="90" y="8"/>
                    </a:lnTo>
                    <a:lnTo>
                      <a:pt x="82" y="20"/>
                    </a:lnTo>
                    <a:lnTo>
                      <a:pt x="76" y="19"/>
                    </a:lnTo>
                    <a:lnTo>
                      <a:pt x="75" y="4"/>
                    </a:lnTo>
                    <a:lnTo>
                      <a:pt x="75" y="4"/>
                    </a:lnTo>
                    <a:lnTo>
                      <a:pt x="73" y="1"/>
                    </a:lnTo>
                    <a:lnTo>
                      <a:pt x="73" y="1"/>
                    </a:lnTo>
                    <a:lnTo>
                      <a:pt x="71" y="0"/>
                    </a:lnTo>
                    <a:lnTo>
                      <a:pt x="53" y="3"/>
                    </a:lnTo>
                    <a:lnTo>
                      <a:pt x="53" y="3"/>
                    </a:lnTo>
                    <a:lnTo>
                      <a:pt x="51" y="4"/>
                    </a:lnTo>
                    <a:lnTo>
                      <a:pt x="49" y="6"/>
                    </a:lnTo>
                    <a:lnTo>
                      <a:pt x="51" y="22"/>
                    </a:lnTo>
                    <a:lnTo>
                      <a:pt x="46" y="23"/>
                    </a:lnTo>
                    <a:lnTo>
                      <a:pt x="35" y="11"/>
                    </a:lnTo>
                    <a:lnTo>
                      <a:pt x="35" y="11"/>
                    </a:lnTo>
                    <a:lnTo>
                      <a:pt x="33" y="10"/>
                    </a:lnTo>
                    <a:lnTo>
                      <a:pt x="30" y="11"/>
                    </a:lnTo>
                    <a:lnTo>
                      <a:pt x="16" y="24"/>
                    </a:lnTo>
                    <a:lnTo>
                      <a:pt x="16" y="24"/>
                    </a:lnTo>
                    <a:lnTo>
                      <a:pt x="15" y="27"/>
                    </a:lnTo>
                    <a:lnTo>
                      <a:pt x="15" y="27"/>
                    </a:lnTo>
                    <a:lnTo>
                      <a:pt x="16" y="29"/>
                    </a:lnTo>
                    <a:lnTo>
                      <a:pt x="25" y="41"/>
                    </a:lnTo>
                    <a:lnTo>
                      <a:pt x="23" y="44"/>
                    </a:lnTo>
                    <a:lnTo>
                      <a:pt x="9" y="42"/>
                    </a:lnTo>
                    <a:lnTo>
                      <a:pt x="9" y="42"/>
                    </a:lnTo>
                    <a:lnTo>
                      <a:pt x="6" y="42"/>
                    </a:lnTo>
                    <a:lnTo>
                      <a:pt x="6" y="42"/>
                    </a:lnTo>
                    <a:lnTo>
                      <a:pt x="4" y="44"/>
                    </a:lnTo>
                    <a:lnTo>
                      <a:pt x="0" y="62"/>
                    </a:lnTo>
                    <a:lnTo>
                      <a:pt x="0" y="62"/>
                    </a:lnTo>
                    <a:lnTo>
                      <a:pt x="0" y="66"/>
                    </a:lnTo>
                    <a:lnTo>
                      <a:pt x="0" y="66"/>
                    </a:lnTo>
                    <a:lnTo>
                      <a:pt x="2" y="67"/>
                    </a:lnTo>
                    <a:lnTo>
                      <a:pt x="16" y="70"/>
                    </a:lnTo>
                    <a:lnTo>
                      <a:pt x="18" y="76"/>
                    </a:lnTo>
                    <a:lnTo>
                      <a:pt x="4" y="81"/>
                    </a:lnTo>
                    <a:lnTo>
                      <a:pt x="4" y="81"/>
                    </a:lnTo>
                    <a:lnTo>
                      <a:pt x="2" y="84"/>
                    </a:lnTo>
                    <a:lnTo>
                      <a:pt x="2" y="86"/>
                    </a:lnTo>
                    <a:lnTo>
                      <a:pt x="9" y="104"/>
                    </a:lnTo>
                    <a:lnTo>
                      <a:pt x="9" y="104"/>
                    </a:lnTo>
                    <a:lnTo>
                      <a:pt x="11" y="105"/>
                    </a:lnTo>
                    <a:lnTo>
                      <a:pt x="11" y="105"/>
                    </a:lnTo>
                    <a:lnTo>
                      <a:pt x="14" y="105"/>
                    </a:lnTo>
                    <a:lnTo>
                      <a:pt x="28" y="100"/>
                    </a:lnTo>
                    <a:lnTo>
                      <a:pt x="32" y="104"/>
                    </a:lnTo>
                    <a:lnTo>
                      <a:pt x="24" y="117"/>
                    </a:lnTo>
                  </a:path>
                </a:pathLst>
              </a:custGeom>
              <a:noFill/>
              <a:ln w="19050">
                <a:solidFill>
                  <a:srgbClr val="00573B"/>
                </a:solidFill>
                <a:prstDash val="solid"/>
                <a:round/>
                <a:headEnd/>
                <a:tailEnd/>
              </a:ln>
            </p:spPr>
            <p:txBody>
              <a:bodyPr vert="horz" wrap="square" lIns="68580" tIns="34290" rIns="68580" bIns="34290" numCol="1" anchor="t" anchorCtr="0" compatLnSpc="1">
                <a:prstTxWarp prst="textNoShape">
                  <a:avLst/>
                </a:prstTxWarp>
              </a:bodyPr>
              <a:lstStyle/>
              <a:p>
                <a:pPr defTabSz="685800" fontAlgn="base">
                  <a:spcBef>
                    <a:spcPct val="0"/>
                  </a:spcBef>
                  <a:spcAft>
                    <a:spcPct val="0"/>
                  </a:spcAft>
                  <a:defRPr/>
                </a:pPr>
                <a:endParaRPr lang="en-US" sz="1350" kern="0">
                  <a:solidFill>
                    <a:srgbClr val="000000"/>
                  </a:solidFill>
                  <a:latin typeface="Arial"/>
                  <a:cs typeface="Arial" charset="0"/>
                </a:endParaRPr>
              </a:p>
            </p:txBody>
          </p:sp>
          <p:sp>
            <p:nvSpPr>
              <p:cNvPr id="86" name="Freeform 283">
                <a:extLst>
                  <a:ext uri="{FF2B5EF4-FFF2-40B4-BE49-F238E27FC236}">
                    <a16:creationId xmlns:a16="http://schemas.microsoft.com/office/drawing/2014/main" id="{01E937E3-BBE4-4352-8CC8-C7DE5393444C}"/>
                  </a:ext>
                </a:extLst>
              </p:cNvPr>
              <p:cNvSpPr>
                <a:spLocks/>
              </p:cNvSpPr>
              <p:nvPr/>
            </p:nvSpPr>
            <p:spPr bwMode="auto">
              <a:xfrm>
                <a:off x="1812901" y="1419027"/>
                <a:ext cx="58738" cy="57150"/>
              </a:xfrm>
              <a:custGeom>
                <a:avLst/>
                <a:gdLst/>
                <a:ahLst/>
                <a:cxnLst>
                  <a:cxn ang="0">
                    <a:pos x="37" y="21"/>
                  </a:cxn>
                  <a:cxn ang="0">
                    <a:pos x="37" y="21"/>
                  </a:cxn>
                  <a:cxn ang="0">
                    <a:pos x="33" y="29"/>
                  </a:cxn>
                  <a:cxn ang="0">
                    <a:pos x="28" y="34"/>
                  </a:cxn>
                  <a:cxn ang="0">
                    <a:pos x="22" y="36"/>
                  </a:cxn>
                  <a:cxn ang="0">
                    <a:pos x="14" y="36"/>
                  </a:cxn>
                  <a:cxn ang="0">
                    <a:pos x="14" y="36"/>
                  </a:cxn>
                  <a:cxn ang="0">
                    <a:pos x="8" y="33"/>
                  </a:cxn>
                  <a:cxn ang="0">
                    <a:pos x="3" y="28"/>
                  </a:cxn>
                  <a:cxn ang="0">
                    <a:pos x="0" y="21"/>
                  </a:cxn>
                  <a:cxn ang="0">
                    <a:pos x="0" y="14"/>
                  </a:cxn>
                  <a:cxn ang="0">
                    <a:pos x="0" y="14"/>
                  </a:cxn>
                  <a:cxn ang="0">
                    <a:pos x="4" y="7"/>
                  </a:cxn>
                  <a:cxn ang="0">
                    <a:pos x="9" y="2"/>
                  </a:cxn>
                  <a:cxn ang="0">
                    <a:pos x="16" y="0"/>
                  </a:cxn>
                  <a:cxn ang="0">
                    <a:pos x="23" y="0"/>
                  </a:cxn>
                  <a:cxn ang="0">
                    <a:pos x="23" y="0"/>
                  </a:cxn>
                  <a:cxn ang="0">
                    <a:pos x="29" y="2"/>
                  </a:cxn>
                  <a:cxn ang="0">
                    <a:pos x="35" y="7"/>
                  </a:cxn>
                  <a:cxn ang="0">
                    <a:pos x="37" y="15"/>
                  </a:cxn>
                  <a:cxn ang="0">
                    <a:pos x="37" y="21"/>
                  </a:cxn>
                  <a:cxn ang="0">
                    <a:pos x="37" y="21"/>
                  </a:cxn>
                </a:cxnLst>
                <a:rect l="0" t="0" r="r" b="b"/>
                <a:pathLst>
                  <a:path w="37" h="36">
                    <a:moveTo>
                      <a:pt x="37" y="21"/>
                    </a:moveTo>
                    <a:lnTo>
                      <a:pt x="37" y="21"/>
                    </a:lnTo>
                    <a:lnTo>
                      <a:pt x="33" y="29"/>
                    </a:lnTo>
                    <a:lnTo>
                      <a:pt x="28" y="34"/>
                    </a:lnTo>
                    <a:lnTo>
                      <a:pt x="22" y="36"/>
                    </a:lnTo>
                    <a:lnTo>
                      <a:pt x="14" y="36"/>
                    </a:lnTo>
                    <a:lnTo>
                      <a:pt x="14" y="36"/>
                    </a:lnTo>
                    <a:lnTo>
                      <a:pt x="8" y="33"/>
                    </a:lnTo>
                    <a:lnTo>
                      <a:pt x="3" y="28"/>
                    </a:lnTo>
                    <a:lnTo>
                      <a:pt x="0" y="21"/>
                    </a:lnTo>
                    <a:lnTo>
                      <a:pt x="0" y="14"/>
                    </a:lnTo>
                    <a:lnTo>
                      <a:pt x="0" y="14"/>
                    </a:lnTo>
                    <a:lnTo>
                      <a:pt x="4" y="7"/>
                    </a:lnTo>
                    <a:lnTo>
                      <a:pt x="9" y="2"/>
                    </a:lnTo>
                    <a:lnTo>
                      <a:pt x="16" y="0"/>
                    </a:lnTo>
                    <a:lnTo>
                      <a:pt x="23" y="0"/>
                    </a:lnTo>
                    <a:lnTo>
                      <a:pt x="23" y="0"/>
                    </a:lnTo>
                    <a:lnTo>
                      <a:pt x="29" y="2"/>
                    </a:lnTo>
                    <a:lnTo>
                      <a:pt x="35" y="7"/>
                    </a:lnTo>
                    <a:lnTo>
                      <a:pt x="37" y="15"/>
                    </a:lnTo>
                    <a:lnTo>
                      <a:pt x="37" y="21"/>
                    </a:lnTo>
                    <a:lnTo>
                      <a:pt x="37" y="21"/>
                    </a:lnTo>
                  </a:path>
                </a:pathLst>
              </a:custGeom>
              <a:noFill/>
              <a:ln w="19050">
                <a:solidFill>
                  <a:srgbClr val="00573B"/>
                </a:solidFill>
                <a:prstDash val="solid"/>
                <a:round/>
                <a:headEnd/>
                <a:tailEnd/>
              </a:ln>
            </p:spPr>
            <p:txBody>
              <a:bodyPr vert="horz" wrap="square" lIns="68580" tIns="34290" rIns="68580" bIns="34290" numCol="1" anchor="t" anchorCtr="0" compatLnSpc="1">
                <a:prstTxWarp prst="textNoShape">
                  <a:avLst/>
                </a:prstTxWarp>
              </a:bodyPr>
              <a:lstStyle/>
              <a:p>
                <a:pPr defTabSz="685800" fontAlgn="base">
                  <a:spcBef>
                    <a:spcPct val="0"/>
                  </a:spcBef>
                  <a:spcAft>
                    <a:spcPct val="0"/>
                  </a:spcAft>
                  <a:defRPr/>
                </a:pPr>
                <a:endParaRPr lang="en-US" sz="1350" kern="0">
                  <a:solidFill>
                    <a:srgbClr val="000000"/>
                  </a:solidFill>
                  <a:latin typeface="Arial"/>
                  <a:cs typeface="Arial" charset="0"/>
                </a:endParaRPr>
              </a:p>
            </p:txBody>
          </p:sp>
          <p:sp>
            <p:nvSpPr>
              <p:cNvPr id="87" name="Freeform 284">
                <a:extLst>
                  <a:ext uri="{FF2B5EF4-FFF2-40B4-BE49-F238E27FC236}">
                    <a16:creationId xmlns:a16="http://schemas.microsoft.com/office/drawing/2014/main" id="{779C5F09-CCE8-4EA5-B889-EBC27A7144BF}"/>
                  </a:ext>
                </a:extLst>
              </p:cNvPr>
              <p:cNvSpPr>
                <a:spLocks noEditPoints="1"/>
              </p:cNvSpPr>
              <p:nvPr/>
            </p:nvSpPr>
            <p:spPr bwMode="auto">
              <a:xfrm>
                <a:off x="1951013" y="1331714"/>
                <a:ext cx="150813" cy="153987"/>
              </a:xfrm>
              <a:custGeom>
                <a:avLst/>
                <a:gdLst/>
                <a:ahLst/>
                <a:cxnLst>
                  <a:cxn ang="0">
                    <a:pos x="84" y="76"/>
                  </a:cxn>
                  <a:cxn ang="0">
                    <a:pos x="89" y="67"/>
                  </a:cxn>
                  <a:cxn ang="0">
                    <a:pos x="91" y="67"/>
                  </a:cxn>
                  <a:cxn ang="0">
                    <a:pos x="95" y="52"/>
                  </a:cxn>
                  <a:cxn ang="0">
                    <a:pos x="93" y="50"/>
                  </a:cxn>
                  <a:cxn ang="0">
                    <a:pos x="92" y="38"/>
                  </a:cxn>
                  <a:cxn ang="0">
                    <a:pos x="93" y="37"/>
                  </a:cxn>
                  <a:cxn ang="0">
                    <a:pos x="88" y="23"/>
                  </a:cxn>
                  <a:cxn ang="0">
                    <a:pos x="76" y="27"/>
                  </a:cxn>
                  <a:cxn ang="0">
                    <a:pos x="78" y="14"/>
                  </a:cxn>
                  <a:cxn ang="0">
                    <a:pos x="77" y="10"/>
                  </a:cxn>
                  <a:cxn ang="0">
                    <a:pos x="63" y="4"/>
                  </a:cxn>
                  <a:cxn ang="0">
                    <a:pos x="53" y="13"/>
                  </a:cxn>
                  <a:cxn ang="0">
                    <a:pos x="50" y="2"/>
                  </a:cxn>
                  <a:cxn ang="0">
                    <a:pos x="35" y="2"/>
                  </a:cxn>
                  <a:cxn ang="0">
                    <a:pos x="34" y="5"/>
                  </a:cxn>
                  <a:cxn ang="0">
                    <a:pos x="24" y="9"/>
                  </a:cxn>
                  <a:cxn ang="0">
                    <a:pos x="22" y="8"/>
                  </a:cxn>
                  <a:cxn ang="0">
                    <a:pos x="10" y="18"/>
                  </a:cxn>
                  <a:cxn ang="0">
                    <a:pos x="10" y="22"/>
                  </a:cxn>
                  <a:cxn ang="0">
                    <a:pos x="5" y="31"/>
                  </a:cxn>
                  <a:cxn ang="0">
                    <a:pos x="2" y="32"/>
                  </a:cxn>
                  <a:cxn ang="0">
                    <a:pos x="0" y="47"/>
                  </a:cxn>
                  <a:cxn ang="0">
                    <a:pos x="11" y="51"/>
                  </a:cxn>
                  <a:cxn ang="0">
                    <a:pos x="2" y="59"/>
                  </a:cxn>
                  <a:cxn ang="0">
                    <a:pos x="6" y="74"/>
                  </a:cxn>
                  <a:cxn ang="0">
                    <a:pos x="7" y="75"/>
                  </a:cxn>
                  <a:cxn ang="0">
                    <a:pos x="21" y="74"/>
                  </a:cxn>
                  <a:cxn ang="0">
                    <a:pos x="16" y="85"/>
                  </a:cxn>
                  <a:cxn ang="0">
                    <a:pos x="17" y="86"/>
                  </a:cxn>
                  <a:cxn ang="0">
                    <a:pos x="29" y="94"/>
                  </a:cxn>
                  <a:cxn ang="0">
                    <a:pos x="32" y="93"/>
                  </a:cxn>
                  <a:cxn ang="0">
                    <a:pos x="43" y="95"/>
                  </a:cxn>
                  <a:cxn ang="0">
                    <a:pos x="44" y="97"/>
                  </a:cxn>
                  <a:cxn ang="0">
                    <a:pos x="58" y="95"/>
                  </a:cxn>
                  <a:cxn ang="0">
                    <a:pos x="60" y="93"/>
                  </a:cxn>
                  <a:cxn ang="0">
                    <a:pos x="70" y="89"/>
                  </a:cxn>
                  <a:cxn ang="0">
                    <a:pos x="72" y="89"/>
                  </a:cxn>
                  <a:cxn ang="0">
                    <a:pos x="83" y="80"/>
                  </a:cxn>
                  <a:cxn ang="0">
                    <a:pos x="55" y="59"/>
                  </a:cxn>
                  <a:cxn ang="0">
                    <a:pos x="46" y="62"/>
                  </a:cxn>
                  <a:cxn ang="0">
                    <a:pos x="38" y="57"/>
                  </a:cxn>
                  <a:cxn ang="0">
                    <a:pos x="35" y="43"/>
                  </a:cxn>
                  <a:cxn ang="0">
                    <a:pos x="43" y="37"/>
                  </a:cxn>
                  <a:cxn ang="0">
                    <a:pos x="57" y="40"/>
                  </a:cxn>
                  <a:cxn ang="0">
                    <a:pos x="60" y="50"/>
                  </a:cxn>
                  <a:cxn ang="0">
                    <a:pos x="55" y="59"/>
                  </a:cxn>
                </a:cxnLst>
                <a:rect l="0" t="0" r="r" b="b"/>
                <a:pathLst>
                  <a:path w="95" h="97">
                    <a:moveTo>
                      <a:pt x="84" y="78"/>
                    </a:moveTo>
                    <a:lnTo>
                      <a:pt x="84" y="78"/>
                    </a:lnTo>
                    <a:lnTo>
                      <a:pt x="84" y="76"/>
                    </a:lnTo>
                    <a:lnTo>
                      <a:pt x="77" y="69"/>
                    </a:lnTo>
                    <a:lnTo>
                      <a:pt x="79" y="65"/>
                    </a:lnTo>
                    <a:lnTo>
                      <a:pt x="89" y="67"/>
                    </a:lnTo>
                    <a:lnTo>
                      <a:pt x="89" y="67"/>
                    </a:lnTo>
                    <a:lnTo>
                      <a:pt x="91" y="67"/>
                    </a:lnTo>
                    <a:lnTo>
                      <a:pt x="91" y="67"/>
                    </a:lnTo>
                    <a:lnTo>
                      <a:pt x="92" y="65"/>
                    </a:lnTo>
                    <a:lnTo>
                      <a:pt x="95" y="52"/>
                    </a:lnTo>
                    <a:lnTo>
                      <a:pt x="95" y="52"/>
                    </a:lnTo>
                    <a:lnTo>
                      <a:pt x="95" y="51"/>
                    </a:lnTo>
                    <a:lnTo>
                      <a:pt x="95" y="51"/>
                    </a:lnTo>
                    <a:lnTo>
                      <a:pt x="93" y="50"/>
                    </a:lnTo>
                    <a:lnTo>
                      <a:pt x="83" y="47"/>
                    </a:lnTo>
                    <a:lnTo>
                      <a:pt x="82" y="43"/>
                    </a:lnTo>
                    <a:lnTo>
                      <a:pt x="92" y="38"/>
                    </a:lnTo>
                    <a:lnTo>
                      <a:pt x="92" y="38"/>
                    </a:lnTo>
                    <a:lnTo>
                      <a:pt x="93" y="37"/>
                    </a:lnTo>
                    <a:lnTo>
                      <a:pt x="93" y="37"/>
                    </a:lnTo>
                    <a:lnTo>
                      <a:pt x="93" y="36"/>
                    </a:lnTo>
                    <a:lnTo>
                      <a:pt x="88" y="23"/>
                    </a:lnTo>
                    <a:lnTo>
                      <a:pt x="88" y="23"/>
                    </a:lnTo>
                    <a:lnTo>
                      <a:pt x="87" y="22"/>
                    </a:lnTo>
                    <a:lnTo>
                      <a:pt x="84" y="22"/>
                    </a:lnTo>
                    <a:lnTo>
                      <a:pt x="76" y="27"/>
                    </a:lnTo>
                    <a:lnTo>
                      <a:pt x="73" y="23"/>
                    </a:lnTo>
                    <a:lnTo>
                      <a:pt x="78" y="14"/>
                    </a:lnTo>
                    <a:lnTo>
                      <a:pt x="78" y="14"/>
                    </a:lnTo>
                    <a:lnTo>
                      <a:pt x="78" y="13"/>
                    </a:lnTo>
                    <a:lnTo>
                      <a:pt x="78" y="13"/>
                    </a:lnTo>
                    <a:lnTo>
                      <a:pt x="77" y="10"/>
                    </a:lnTo>
                    <a:lnTo>
                      <a:pt x="65" y="4"/>
                    </a:lnTo>
                    <a:lnTo>
                      <a:pt x="65" y="4"/>
                    </a:lnTo>
                    <a:lnTo>
                      <a:pt x="63" y="4"/>
                    </a:lnTo>
                    <a:lnTo>
                      <a:pt x="62" y="5"/>
                    </a:lnTo>
                    <a:lnTo>
                      <a:pt x="57" y="14"/>
                    </a:lnTo>
                    <a:lnTo>
                      <a:pt x="53" y="13"/>
                    </a:lnTo>
                    <a:lnTo>
                      <a:pt x="51" y="3"/>
                    </a:lnTo>
                    <a:lnTo>
                      <a:pt x="51" y="3"/>
                    </a:lnTo>
                    <a:lnTo>
                      <a:pt x="50" y="2"/>
                    </a:lnTo>
                    <a:lnTo>
                      <a:pt x="49" y="0"/>
                    </a:lnTo>
                    <a:lnTo>
                      <a:pt x="35" y="2"/>
                    </a:lnTo>
                    <a:lnTo>
                      <a:pt x="35" y="2"/>
                    </a:lnTo>
                    <a:lnTo>
                      <a:pt x="34" y="3"/>
                    </a:lnTo>
                    <a:lnTo>
                      <a:pt x="34" y="3"/>
                    </a:lnTo>
                    <a:lnTo>
                      <a:pt x="34" y="5"/>
                    </a:lnTo>
                    <a:lnTo>
                      <a:pt x="34" y="15"/>
                    </a:lnTo>
                    <a:lnTo>
                      <a:pt x="31" y="17"/>
                    </a:lnTo>
                    <a:lnTo>
                      <a:pt x="24" y="9"/>
                    </a:lnTo>
                    <a:lnTo>
                      <a:pt x="24" y="9"/>
                    </a:lnTo>
                    <a:lnTo>
                      <a:pt x="22" y="8"/>
                    </a:lnTo>
                    <a:lnTo>
                      <a:pt x="22" y="8"/>
                    </a:lnTo>
                    <a:lnTo>
                      <a:pt x="20" y="9"/>
                    </a:lnTo>
                    <a:lnTo>
                      <a:pt x="10" y="18"/>
                    </a:lnTo>
                    <a:lnTo>
                      <a:pt x="10" y="18"/>
                    </a:lnTo>
                    <a:lnTo>
                      <a:pt x="10" y="19"/>
                    </a:lnTo>
                    <a:lnTo>
                      <a:pt x="10" y="19"/>
                    </a:lnTo>
                    <a:lnTo>
                      <a:pt x="10" y="22"/>
                    </a:lnTo>
                    <a:lnTo>
                      <a:pt x="17" y="29"/>
                    </a:lnTo>
                    <a:lnTo>
                      <a:pt x="15" y="32"/>
                    </a:lnTo>
                    <a:lnTo>
                      <a:pt x="5" y="31"/>
                    </a:lnTo>
                    <a:lnTo>
                      <a:pt x="5" y="31"/>
                    </a:lnTo>
                    <a:lnTo>
                      <a:pt x="3" y="31"/>
                    </a:lnTo>
                    <a:lnTo>
                      <a:pt x="2" y="32"/>
                    </a:lnTo>
                    <a:lnTo>
                      <a:pt x="0" y="45"/>
                    </a:lnTo>
                    <a:lnTo>
                      <a:pt x="0" y="45"/>
                    </a:lnTo>
                    <a:lnTo>
                      <a:pt x="0" y="47"/>
                    </a:lnTo>
                    <a:lnTo>
                      <a:pt x="0" y="47"/>
                    </a:lnTo>
                    <a:lnTo>
                      <a:pt x="1" y="48"/>
                    </a:lnTo>
                    <a:lnTo>
                      <a:pt x="11" y="51"/>
                    </a:lnTo>
                    <a:lnTo>
                      <a:pt x="11" y="55"/>
                    </a:lnTo>
                    <a:lnTo>
                      <a:pt x="2" y="59"/>
                    </a:lnTo>
                    <a:lnTo>
                      <a:pt x="2" y="59"/>
                    </a:lnTo>
                    <a:lnTo>
                      <a:pt x="1" y="60"/>
                    </a:lnTo>
                    <a:lnTo>
                      <a:pt x="1" y="62"/>
                    </a:lnTo>
                    <a:lnTo>
                      <a:pt x="6" y="74"/>
                    </a:lnTo>
                    <a:lnTo>
                      <a:pt x="6" y="74"/>
                    </a:lnTo>
                    <a:lnTo>
                      <a:pt x="7" y="75"/>
                    </a:lnTo>
                    <a:lnTo>
                      <a:pt x="7" y="75"/>
                    </a:lnTo>
                    <a:lnTo>
                      <a:pt x="10" y="75"/>
                    </a:lnTo>
                    <a:lnTo>
                      <a:pt x="19" y="71"/>
                    </a:lnTo>
                    <a:lnTo>
                      <a:pt x="21" y="74"/>
                    </a:lnTo>
                    <a:lnTo>
                      <a:pt x="16" y="84"/>
                    </a:lnTo>
                    <a:lnTo>
                      <a:pt x="16" y="84"/>
                    </a:lnTo>
                    <a:lnTo>
                      <a:pt x="16" y="85"/>
                    </a:lnTo>
                    <a:lnTo>
                      <a:pt x="16" y="85"/>
                    </a:lnTo>
                    <a:lnTo>
                      <a:pt x="17" y="86"/>
                    </a:lnTo>
                    <a:lnTo>
                      <a:pt x="17" y="86"/>
                    </a:lnTo>
                    <a:lnTo>
                      <a:pt x="17" y="86"/>
                    </a:lnTo>
                    <a:lnTo>
                      <a:pt x="29" y="94"/>
                    </a:lnTo>
                    <a:lnTo>
                      <a:pt x="29" y="94"/>
                    </a:lnTo>
                    <a:lnTo>
                      <a:pt x="31" y="94"/>
                    </a:lnTo>
                    <a:lnTo>
                      <a:pt x="31" y="94"/>
                    </a:lnTo>
                    <a:lnTo>
                      <a:pt x="32" y="93"/>
                    </a:lnTo>
                    <a:lnTo>
                      <a:pt x="38" y="84"/>
                    </a:lnTo>
                    <a:lnTo>
                      <a:pt x="41" y="84"/>
                    </a:lnTo>
                    <a:lnTo>
                      <a:pt x="43" y="95"/>
                    </a:lnTo>
                    <a:lnTo>
                      <a:pt x="43" y="95"/>
                    </a:lnTo>
                    <a:lnTo>
                      <a:pt x="44" y="97"/>
                    </a:lnTo>
                    <a:lnTo>
                      <a:pt x="44" y="97"/>
                    </a:lnTo>
                    <a:lnTo>
                      <a:pt x="45" y="97"/>
                    </a:lnTo>
                    <a:lnTo>
                      <a:pt x="58" y="95"/>
                    </a:lnTo>
                    <a:lnTo>
                      <a:pt x="58" y="95"/>
                    </a:lnTo>
                    <a:lnTo>
                      <a:pt x="60" y="95"/>
                    </a:lnTo>
                    <a:lnTo>
                      <a:pt x="60" y="95"/>
                    </a:lnTo>
                    <a:lnTo>
                      <a:pt x="60" y="93"/>
                    </a:lnTo>
                    <a:lnTo>
                      <a:pt x="59" y="83"/>
                    </a:lnTo>
                    <a:lnTo>
                      <a:pt x="63" y="81"/>
                    </a:lnTo>
                    <a:lnTo>
                      <a:pt x="70" y="89"/>
                    </a:lnTo>
                    <a:lnTo>
                      <a:pt x="70" y="89"/>
                    </a:lnTo>
                    <a:lnTo>
                      <a:pt x="72" y="89"/>
                    </a:lnTo>
                    <a:lnTo>
                      <a:pt x="72" y="89"/>
                    </a:lnTo>
                    <a:lnTo>
                      <a:pt x="74" y="89"/>
                    </a:lnTo>
                    <a:lnTo>
                      <a:pt x="83" y="80"/>
                    </a:lnTo>
                    <a:lnTo>
                      <a:pt x="83" y="80"/>
                    </a:lnTo>
                    <a:lnTo>
                      <a:pt x="84" y="78"/>
                    </a:lnTo>
                    <a:lnTo>
                      <a:pt x="84" y="78"/>
                    </a:lnTo>
                    <a:close/>
                    <a:moveTo>
                      <a:pt x="55" y="59"/>
                    </a:moveTo>
                    <a:lnTo>
                      <a:pt x="55" y="59"/>
                    </a:lnTo>
                    <a:lnTo>
                      <a:pt x="51" y="61"/>
                    </a:lnTo>
                    <a:lnTo>
                      <a:pt x="46" y="62"/>
                    </a:lnTo>
                    <a:lnTo>
                      <a:pt x="41" y="61"/>
                    </a:lnTo>
                    <a:lnTo>
                      <a:pt x="38" y="57"/>
                    </a:lnTo>
                    <a:lnTo>
                      <a:pt x="38" y="57"/>
                    </a:lnTo>
                    <a:lnTo>
                      <a:pt x="35" y="53"/>
                    </a:lnTo>
                    <a:lnTo>
                      <a:pt x="34" y="48"/>
                    </a:lnTo>
                    <a:lnTo>
                      <a:pt x="35" y="43"/>
                    </a:lnTo>
                    <a:lnTo>
                      <a:pt x="39" y="40"/>
                    </a:lnTo>
                    <a:lnTo>
                      <a:pt x="39" y="40"/>
                    </a:lnTo>
                    <a:lnTo>
                      <a:pt x="43" y="37"/>
                    </a:lnTo>
                    <a:lnTo>
                      <a:pt x="48" y="36"/>
                    </a:lnTo>
                    <a:lnTo>
                      <a:pt x="53" y="37"/>
                    </a:lnTo>
                    <a:lnTo>
                      <a:pt x="57" y="40"/>
                    </a:lnTo>
                    <a:lnTo>
                      <a:pt x="57" y="40"/>
                    </a:lnTo>
                    <a:lnTo>
                      <a:pt x="59" y="45"/>
                    </a:lnTo>
                    <a:lnTo>
                      <a:pt x="60" y="50"/>
                    </a:lnTo>
                    <a:lnTo>
                      <a:pt x="59" y="55"/>
                    </a:lnTo>
                    <a:lnTo>
                      <a:pt x="55" y="59"/>
                    </a:lnTo>
                    <a:lnTo>
                      <a:pt x="55" y="59"/>
                    </a:lnTo>
                    <a:close/>
                  </a:path>
                </a:pathLst>
              </a:custGeom>
              <a:noFill/>
              <a:ln w="19050">
                <a:solidFill>
                  <a:srgbClr val="00573B"/>
                </a:solidFill>
                <a:prstDash val="solid"/>
                <a:round/>
                <a:headEnd/>
                <a:tailEnd/>
              </a:ln>
            </p:spPr>
            <p:txBody>
              <a:bodyPr vert="horz" wrap="square" lIns="68580" tIns="34290" rIns="68580" bIns="34290" numCol="1" anchor="t" anchorCtr="0" compatLnSpc="1">
                <a:prstTxWarp prst="textNoShape">
                  <a:avLst/>
                </a:prstTxWarp>
              </a:bodyPr>
              <a:lstStyle/>
              <a:p>
                <a:pPr defTabSz="685800" fontAlgn="base">
                  <a:spcBef>
                    <a:spcPct val="0"/>
                  </a:spcBef>
                  <a:spcAft>
                    <a:spcPct val="0"/>
                  </a:spcAft>
                  <a:defRPr/>
                </a:pPr>
                <a:endParaRPr lang="en-US" sz="1350" kern="0">
                  <a:solidFill>
                    <a:srgbClr val="000000"/>
                  </a:solidFill>
                  <a:latin typeface="Arial"/>
                  <a:cs typeface="Arial" charset="0"/>
                </a:endParaRPr>
              </a:p>
            </p:txBody>
          </p:sp>
          <p:sp>
            <p:nvSpPr>
              <p:cNvPr id="88" name="Freeform 285">
                <a:extLst>
                  <a:ext uri="{FF2B5EF4-FFF2-40B4-BE49-F238E27FC236}">
                    <a16:creationId xmlns:a16="http://schemas.microsoft.com/office/drawing/2014/main" id="{2C42DA18-B574-4F46-AB66-7DCD9AC2612F}"/>
                  </a:ext>
                </a:extLst>
              </p:cNvPr>
              <p:cNvSpPr>
                <a:spLocks noEditPoints="1"/>
              </p:cNvSpPr>
              <p:nvPr/>
            </p:nvSpPr>
            <p:spPr bwMode="auto">
              <a:xfrm>
                <a:off x="1925613" y="1482527"/>
                <a:ext cx="115888" cy="114300"/>
              </a:xfrm>
              <a:custGeom>
                <a:avLst/>
                <a:gdLst/>
                <a:ahLst/>
                <a:cxnLst>
                  <a:cxn ang="0">
                    <a:pos x="65" y="56"/>
                  </a:cxn>
                  <a:cxn ang="0">
                    <a:pos x="69" y="50"/>
                  </a:cxn>
                  <a:cxn ang="0">
                    <a:pos x="70" y="50"/>
                  </a:cxn>
                  <a:cxn ang="0">
                    <a:pos x="73" y="38"/>
                  </a:cxn>
                  <a:cxn ang="0">
                    <a:pos x="71" y="36"/>
                  </a:cxn>
                  <a:cxn ang="0">
                    <a:pos x="70" y="28"/>
                  </a:cxn>
                  <a:cxn ang="0">
                    <a:pos x="71" y="27"/>
                  </a:cxn>
                  <a:cxn ang="0">
                    <a:pos x="67" y="17"/>
                  </a:cxn>
                  <a:cxn ang="0">
                    <a:pos x="57" y="19"/>
                  </a:cxn>
                  <a:cxn ang="0">
                    <a:pos x="60" y="10"/>
                  </a:cxn>
                  <a:cxn ang="0">
                    <a:pos x="59" y="8"/>
                  </a:cxn>
                  <a:cxn ang="0">
                    <a:pos x="48" y="3"/>
                  </a:cxn>
                  <a:cxn ang="0">
                    <a:pos x="41" y="9"/>
                  </a:cxn>
                  <a:cxn ang="0">
                    <a:pos x="38" y="0"/>
                  </a:cxn>
                  <a:cxn ang="0">
                    <a:pos x="28" y="2"/>
                  </a:cxn>
                  <a:cxn ang="0">
                    <a:pos x="26" y="4"/>
                  </a:cxn>
                  <a:cxn ang="0">
                    <a:pos x="19" y="7"/>
                  </a:cxn>
                  <a:cxn ang="0">
                    <a:pos x="18" y="7"/>
                  </a:cxn>
                  <a:cxn ang="0">
                    <a:pos x="9" y="13"/>
                  </a:cxn>
                  <a:cxn ang="0">
                    <a:pos x="9" y="17"/>
                  </a:cxn>
                  <a:cxn ang="0">
                    <a:pos x="5" y="23"/>
                  </a:cxn>
                  <a:cxn ang="0">
                    <a:pos x="3" y="24"/>
                  </a:cxn>
                  <a:cxn ang="0">
                    <a:pos x="2" y="36"/>
                  </a:cxn>
                  <a:cxn ang="0">
                    <a:pos x="10" y="38"/>
                  </a:cxn>
                  <a:cxn ang="0">
                    <a:pos x="3" y="45"/>
                  </a:cxn>
                  <a:cxn ang="0">
                    <a:pos x="7" y="56"/>
                  </a:cxn>
                  <a:cxn ang="0">
                    <a:pos x="8" y="56"/>
                  </a:cxn>
                  <a:cxn ang="0">
                    <a:pos x="18" y="56"/>
                  </a:cxn>
                  <a:cxn ang="0">
                    <a:pos x="14" y="64"/>
                  </a:cxn>
                  <a:cxn ang="0">
                    <a:pos x="14" y="65"/>
                  </a:cxn>
                  <a:cxn ang="0">
                    <a:pos x="23" y="70"/>
                  </a:cxn>
                  <a:cxn ang="0">
                    <a:pos x="26" y="69"/>
                  </a:cxn>
                  <a:cxn ang="0">
                    <a:pos x="35" y="70"/>
                  </a:cxn>
                  <a:cxn ang="0">
                    <a:pos x="35" y="72"/>
                  </a:cxn>
                  <a:cxn ang="0">
                    <a:pos x="46" y="71"/>
                  </a:cxn>
                  <a:cxn ang="0">
                    <a:pos x="47" y="69"/>
                  </a:cxn>
                  <a:cxn ang="0">
                    <a:pos x="55" y="66"/>
                  </a:cxn>
                  <a:cxn ang="0">
                    <a:pos x="56" y="66"/>
                  </a:cxn>
                  <a:cxn ang="0">
                    <a:pos x="65" y="59"/>
                  </a:cxn>
                  <a:cxn ang="0">
                    <a:pos x="43" y="43"/>
                  </a:cxn>
                  <a:cxn ang="0">
                    <a:pos x="37" y="46"/>
                  </a:cxn>
                  <a:cxn ang="0">
                    <a:pos x="29" y="43"/>
                  </a:cxn>
                  <a:cxn ang="0">
                    <a:pos x="28" y="32"/>
                  </a:cxn>
                  <a:cxn ang="0">
                    <a:pos x="33" y="27"/>
                  </a:cxn>
                  <a:cxn ang="0">
                    <a:pos x="43" y="29"/>
                  </a:cxn>
                  <a:cxn ang="0">
                    <a:pos x="46" y="37"/>
                  </a:cxn>
                  <a:cxn ang="0">
                    <a:pos x="43" y="43"/>
                  </a:cxn>
                </a:cxnLst>
                <a:rect l="0" t="0" r="r" b="b"/>
                <a:pathLst>
                  <a:path w="73" h="72">
                    <a:moveTo>
                      <a:pt x="65" y="57"/>
                    </a:moveTo>
                    <a:lnTo>
                      <a:pt x="65" y="57"/>
                    </a:lnTo>
                    <a:lnTo>
                      <a:pt x="65" y="56"/>
                    </a:lnTo>
                    <a:lnTo>
                      <a:pt x="60" y="51"/>
                    </a:lnTo>
                    <a:lnTo>
                      <a:pt x="61" y="48"/>
                    </a:lnTo>
                    <a:lnTo>
                      <a:pt x="69" y="50"/>
                    </a:lnTo>
                    <a:lnTo>
                      <a:pt x="69" y="50"/>
                    </a:lnTo>
                    <a:lnTo>
                      <a:pt x="70" y="50"/>
                    </a:lnTo>
                    <a:lnTo>
                      <a:pt x="70" y="50"/>
                    </a:lnTo>
                    <a:lnTo>
                      <a:pt x="71" y="48"/>
                    </a:lnTo>
                    <a:lnTo>
                      <a:pt x="73" y="38"/>
                    </a:lnTo>
                    <a:lnTo>
                      <a:pt x="73" y="38"/>
                    </a:lnTo>
                    <a:lnTo>
                      <a:pt x="73" y="37"/>
                    </a:lnTo>
                    <a:lnTo>
                      <a:pt x="73" y="37"/>
                    </a:lnTo>
                    <a:lnTo>
                      <a:pt x="71" y="36"/>
                    </a:lnTo>
                    <a:lnTo>
                      <a:pt x="64" y="34"/>
                    </a:lnTo>
                    <a:lnTo>
                      <a:pt x="64" y="32"/>
                    </a:lnTo>
                    <a:lnTo>
                      <a:pt x="70" y="28"/>
                    </a:lnTo>
                    <a:lnTo>
                      <a:pt x="70" y="28"/>
                    </a:lnTo>
                    <a:lnTo>
                      <a:pt x="71" y="27"/>
                    </a:lnTo>
                    <a:lnTo>
                      <a:pt x="71" y="27"/>
                    </a:lnTo>
                    <a:lnTo>
                      <a:pt x="71" y="26"/>
                    </a:lnTo>
                    <a:lnTo>
                      <a:pt x="67" y="17"/>
                    </a:lnTo>
                    <a:lnTo>
                      <a:pt x="67" y="17"/>
                    </a:lnTo>
                    <a:lnTo>
                      <a:pt x="66" y="15"/>
                    </a:lnTo>
                    <a:lnTo>
                      <a:pt x="65" y="15"/>
                    </a:lnTo>
                    <a:lnTo>
                      <a:pt x="57" y="19"/>
                    </a:lnTo>
                    <a:lnTo>
                      <a:pt x="56" y="17"/>
                    </a:lnTo>
                    <a:lnTo>
                      <a:pt x="60" y="10"/>
                    </a:lnTo>
                    <a:lnTo>
                      <a:pt x="60" y="10"/>
                    </a:lnTo>
                    <a:lnTo>
                      <a:pt x="60" y="9"/>
                    </a:lnTo>
                    <a:lnTo>
                      <a:pt x="60" y="9"/>
                    </a:lnTo>
                    <a:lnTo>
                      <a:pt x="59" y="8"/>
                    </a:lnTo>
                    <a:lnTo>
                      <a:pt x="50" y="3"/>
                    </a:lnTo>
                    <a:lnTo>
                      <a:pt x="50" y="3"/>
                    </a:lnTo>
                    <a:lnTo>
                      <a:pt x="48" y="3"/>
                    </a:lnTo>
                    <a:lnTo>
                      <a:pt x="47" y="4"/>
                    </a:lnTo>
                    <a:lnTo>
                      <a:pt x="43" y="10"/>
                    </a:lnTo>
                    <a:lnTo>
                      <a:pt x="41" y="9"/>
                    </a:lnTo>
                    <a:lnTo>
                      <a:pt x="40" y="2"/>
                    </a:lnTo>
                    <a:lnTo>
                      <a:pt x="40" y="2"/>
                    </a:lnTo>
                    <a:lnTo>
                      <a:pt x="38" y="0"/>
                    </a:lnTo>
                    <a:lnTo>
                      <a:pt x="37" y="0"/>
                    </a:lnTo>
                    <a:lnTo>
                      <a:pt x="28" y="2"/>
                    </a:lnTo>
                    <a:lnTo>
                      <a:pt x="28" y="2"/>
                    </a:lnTo>
                    <a:lnTo>
                      <a:pt x="27" y="2"/>
                    </a:lnTo>
                    <a:lnTo>
                      <a:pt x="27" y="2"/>
                    </a:lnTo>
                    <a:lnTo>
                      <a:pt x="26" y="4"/>
                    </a:lnTo>
                    <a:lnTo>
                      <a:pt x="27" y="12"/>
                    </a:lnTo>
                    <a:lnTo>
                      <a:pt x="24" y="13"/>
                    </a:lnTo>
                    <a:lnTo>
                      <a:pt x="19" y="7"/>
                    </a:lnTo>
                    <a:lnTo>
                      <a:pt x="19" y="7"/>
                    </a:lnTo>
                    <a:lnTo>
                      <a:pt x="18" y="7"/>
                    </a:lnTo>
                    <a:lnTo>
                      <a:pt x="18" y="7"/>
                    </a:lnTo>
                    <a:lnTo>
                      <a:pt x="16" y="7"/>
                    </a:lnTo>
                    <a:lnTo>
                      <a:pt x="9" y="13"/>
                    </a:lnTo>
                    <a:lnTo>
                      <a:pt x="9" y="13"/>
                    </a:lnTo>
                    <a:lnTo>
                      <a:pt x="8" y="14"/>
                    </a:lnTo>
                    <a:lnTo>
                      <a:pt x="8" y="14"/>
                    </a:lnTo>
                    <a:lnTo>
                      <a:pt x="9" y="17"/>
                    </a:lnTo>
                    <a:lnTo>
                      <a:pt x="14" y="22"/>
                    </a:lnTo>
                    <a:lnTo>
                      <a:pt x="13" y="24"/>
                    </a:lnTo>
                    <a:lnTo>
                      <a:pt x="5" y="23"/>
                    </a:lnTo>
                    <a:lnTo>
                      <a:pt x="5" y="23"/>
                    </a:lnTo>
                    <a:lnTo>
                      <a:pt x="4" y="23"/>
                    </a:lnTo>
                    <a:lnTo>
                      <a:pt x="3" y="24"/>
                    </a:lnTo>
                    <a:lnTo>
                      <a:pt x="0" y="34"/>
                    </a:lnTo>
                    <a:lnTo>
                      <a:pt x="0" y="34"/>
                    </a:lnTo>
                    <a:lnTo>
                      <a:pt x="2" y="36"/>
                    </a:lnTo>
                    <a:lnTo>
                      <a:pt x="2" y="36"/>
                    </a:lnTo>
                    <a:lnTo>
                      <a:pt x="3" y="36"/>
                    </a:lnTo>
                    <a:lnTo>
                      <a:pt x="10" y="38"/>
                    </a:lnTo>
                    <a:lnTo>
                      <a:pt x="10" y="41"/>
                    </a:lnTo>
                    <a:lnTo>
                      <a:pt x="3" y="45"/>
                    </a:lnTo>
                    <a:lnTo>
                      <a:pt x="3" y="45"/>
                    </a:lnTo>
                    <a:lnTo>
                      <a:pt x="2" y="45"/>
                    </a:lnTo>
                    <a:lnTo>
                      <a:pt x="3" y="47"/>
                    </a:lnTo>
                    <a:lnTo>
                      <a:pt x="7" y="56"/>
                    </a:lnTo>
                    <a:lnTo>
                      <a:pt x="7" y="56"/>
                    </a:lnTo>
                    <a:lnTo>
                      <a:pt x="8" y="56"/>
                    </a:lnTo>
                    <a:lnTo>
                      <a:pt x="8" y="56"/>
                    </a:lnTo>
                    <a:lnTo>
                      <a:pt x="9" y="56"/>
                    </a:lnTo>
                    <a:lnTo>
                      <a:pt x="16" y="53"/>
                    </a:lnTo>
                    <a:lnTo>
                      <a:pt x="18" y="56"/>
                    </a:lnTo>
                    <a:lnTo>
                      <a:pt x="14" y="62"/>
                    </a:lnTo>
                    <a:lnTo>
                      <a:pt x="14" y="62"/>
                    </a:lnTo>
                    <a:lnTo>
                      <a:pt x="14" y="64"/>
                    </a:lnTo>
                    <a:lnTo>
                      <a:pt x="14" y="64"/>
                    </a:lnTo>
                    <a:lnTo>
                      <a:pt x="14" y="65"/>
                    </a:lnTo>
                    <a:lnTo>
                      <a:pt x="14" y="65"/>
                    </a:lnTo>
                    <a:lnTo>
                      <a:pt x="16" y="65"/>
                    </a:lnTo>
                    <a:lnTo>
                      <a:pt x="23" y="70"/>
                    </a:lnTo>
                    <a:lnTo>
                      <a:pt x="23" y="70"/>
                    </a:lnTo>
                    <a:lnTo>
                      <a:pt x="26" y="70"/>
                    </a:lnTo>
                    <a:lnTo>
                      <a:pt x="26" y="70"/>
                    </a:lnTo>
                    <a:lnTo>
                      <a:pt x="26" y="69"/>
                    </a:lnTo>
                    <a:lnTo>
                      <a:pt x="29" y="62"/>
                    </a:lnTo>
                    <a:lnTo>
                      <a:pt x="33" y="62"/>
                    </a:lnTo>
                    <a:lnTo>
                      <a:pt x="35" y="70"/>
                    </a:lnTo>
                    <a:lnTo>
                      <a:pt x="35" y="70"/>
                    </a:lnTo>
                    <a:lnTo>
                      <a:pt x="35" y="72"/>
                    </a:lnTo>
                    <a:lnTo>
                      <a:pt x="35" y="72"/>
                    </a:lnTo>
                    <a:lnTo>
                      <a:pt x="36" y="72"/>
                    </a:lnTo>
                    <a:lnTo>
                      <a:pt x="46" y="71"/>
                    </a:lnTo>
                    <a:lnTo>
                      <a:pt x="46" y="71"/>
                    </a:lnTo>
                    <a:lnTo>
                      <a:pt x="47" y="70"/>
                    </a:lnTo>
                    <a:lnTo>
                      <a:pt x="47" y="70"/>
                    </a:lnTo>
                    <a:lnTo>
                      <a:pt x="47" y="69"/>
                    </a:lnTo>
                    <a:lnTo>
                      <a:pt x="46" y="61"/>
                    </a:lnTo>
                    <a:lnTo>
                      <a:pt x="50" y="60"/>
                    </a:lnTo>
                    <a:lnTo>
                      <a:pt x="55" y="66"/>
                    </a:lnTo>
                    <a:lnTo>
                      <a:pt x="55" y="66"/>
                    </a:lnTo>
                    <a:lnTo>
                      <a:pt x="56" y="66"/>
                    </a:lnTo>
                    <a:lnTo>
                      <a:pt x="56" y="66"/>
                    </a:lnTo>
                    <a:lnTo>
                      <a:pt x="57" y="66"/>
                    </a:lnTo>
                    <a:lnTo>
                      <a:pt x="65" y="59"/>
                    </a:lnTo>
                    <a:lnTo>
                      <a:pt x="65" y="59"/>
                    </a:lnTo>
                    <a:lnTo>
                      <a:pt x="65" y="57"/>
                    </a:lnTo>
                    <a:lnTo>
                      <a:pt x="65" y="57"/>
                    </a:lnTo>
                    <a:close/>
                    <a:moveTo>
                      <a:pt x="43" y="43"/>
                    </a:moveTo>
                    <a:lnTo>
                      <a:pt x="43" y="43"/>
                    </a:lnTo>
                    <a:lnTo>
                      <a:pt x="40" y="46"/>
                    </a:lnTo>
                    <a:lnTo>
                      <a:pt x="37" y="46"/>
                    </a:lnTo>
                    <a:lnTo>
                      <a:pt x="33" y="45"/>
                    </a:lnTo>
                    <a:lnTo>
                      <a:pt x="29" y="43"/>
                    </a:lnTo>
                    <a:lnTo>
                      <a:pt x="29" y="43"/>
                    </a:lnTo>
                    <a:lnTo>
                      <a:pt x="28" y="40"/>
                    </a:lnTo>
                    <a:lnTo>
                      <a:pt x="27" y="36"/>
                    </a:lnTo>
                    <a:lnTo>
                      <a:pt x="28" y="32"/>
                    </a:lnTo>
                    <a:lnTo>
                      <a:pt x="31" y="29"/>
                    </a:lnTo>
                    <a:lnTo>
                      <a:pt x="31" y="29"/>
                    </a:lnTo>
                    <a:lnTo>
                      <a:pt x="33" y="27"/>
                    </a:lnTo>
                    <a:lnTo>
                      <a:pt x="37" y="27"/>
                    </a:lnTo>
                    <a:lnTo>
                      <a:pt x="41" y="27"/>
                    </a:lnTo>
                    <a:lnTo>
                      <a:pt x="43" y="29"/>
                    </a:lnTo>
                    <a:lnTo>
                      <a:pt x="43" y="29"/>
                    </a:lnTo>
                    <a:lnTo>
                      <a:pt x="46" y="33"/>
                    </a:lnTo>
                    <a:lnTo>
                      <a:pt x="46" y="37"/>
                    </a:lnTo>
                    <a:lnTo>
                      <a:pt x="46" y="40"/>
                    </a:lnTo>
                    <a:lnTo>
                      <a:pt x="43" y="43"/>
                    </a:lnTo>
                    <a:lnTo>
                      <a:pt x="43" y="43"/>
                    </a:lnTo>
                    <a:close/>
                  </a:path>
                </a:pathLst>
              </a:custGeom>
              <a:noFill/>
              <a:ln w="19050">
                <a:solidFill>
                  <a:srgbClr val="00573B"/>
                </a:solidFill>
                <a:prstDash val="solid"/>
                <a:round/>
                <a:headEnd/>
                <a:tailEnd/>
              </a:ln>
            </p:spPr>
            <p:txBody>
              <a:bodyPr vert="horz" wrap="square" lIns="68580" tIns="34290" rIns="68580" bIns="34290" numCol="1" anchor="t" anchorCtr="0" compatLnSpc="1">
                <a:prstTxWarp prst="textNoShape">
                  <a:avLst/>
                </a:prstTxWarp>
              </a:bodyPr>
              <a:lstStyle/>
              <a:p>
                <a:pPr defTabSz="685800" fontAlgn="base">
                  <a:spcBef>
                    <a:spcPct val="0"/>
                  </a:spcBef>
                  <a:spcAft>
                    <a:spcPct val="0"/>
                  </a:spcAft>
                  <a:defRPr/>
                </a:pPr>
                <a:endParaRPr lang="en-US" sz="1350" kern="0">
                  <a:solidFill>
                    <a:srgbClr val="000000"/>
                  </a:solidFill>
                  <a:latin typeface="Arial"/>
                  <a:cs typeface="Arial" charset="0"/>
                </a:endParaRPr>
              </a:p>
            </p:txBody>
          </p:sp>
        </p:grpSp>
        <p:pic>
          <p:nvPicPr>
            <p:cNvPr id="83" name="Picture 82">
              <a:extLst>
                <a:ext uri="{FF2B5EF4-FFF2-40B4-BE49-F238E27FC236}">
                  <a16:creationId xmlns:a16="http://schemas.microsoft.com/office/drawing/2014/main" id="{44FF3248-1524-4953-9C77-D110EFA47B1F}"/>
                </a:ext>
              </a:extLst>
            </p:cNvPr>
            <p:cNvPicPr>
              <a:picLocks noChangeAspect="1"/>
            </p:cNvPicPr>
            <p:nvPr/>
          </p:nvPicPr>
          <p:blipFill>
            <a:blip r:embed="rId5" cstate="email">
              <a:duotone>
                <a:srgbClr val="F26E01">
                  <a:shade val="45000"/>
                  <a:satMod val="135000"/>
                </a:srgbClr>
                <a:prstClr val="white"/>
              </a:duotone>
              <a:extLst>
                <a:ext uri="{28A0092B-C50C-407E-A947-70E740481C1C}">
                  <a14:useLocalDpi xmlns:a14="http://schemas.microsoft.com/office/drawing/2010/main"/>
                </a:ext>
              </a:extLst>
            </a:blip>
            <a:stretch>
              <a:fillRect/>
            </a:stretch>
          </p:blipFill>
          <p:spPr>
            <a:xfrm>
              <a:off x="2127705" y="1533064"/>
              <a:ext cx="521819" cy="40421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84" name="Picture 83">
              <a:extLst>
                <a:ext uri="{FF2B5EF4-FFF2-40B4-BE49-F238E27FC236}">
                  <a16:creationId xmlns:a16="http://schemas.microsoft.com/office/drawing/2014/main" id="{971A4D81-708F-4742-A011-9CC8FDA0811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29456" y="1516126"/>
              <a:ext cx="423418" cy="391905"/>
            </a:xfrm>
            <a:prstGeom prst="rect">
              <a:avLst/>
            </a:prstGeom>
          </p:spPr>
        </p:pic>
      </p:grpSp>
      <p:grpSp>
        <p:nvGrpSpPr>
          <p:cNvPr id="92" name="Group 91">
            <a:extLst>
              <a:ext uri="{FF2B5EF4-FFF2-40B4-BE49-F238E27FC236}">
                <a16:creationId xmlns:a16="http://schemas.microsoft.com/office/drawing/2014/main" id="{988E4789-8F60-43E1-B07D-2430D6A0A9D0}"/>
              </a:ext>
            </a:extLst>
          </p:cNvPr>
          <p:cNvGrpSpPr/>
          <p:nvPr/>
        </p:nvGrpSpPr>
        <p:grpSpPr>
          <a:xfrm>
            <a:off x="9322427" y="5327332"/>
            <a:ext cx="2172308" cy="926159"/>
            <a:chOff x="4703188" y="5105334"/>
            <a:chExt cx="2204886" cy="1015634"/>
          </a:xfrm>
        </p:grpSpPr>
        <p:sp>
          <p:nvSpPr>
            <p:cNvPr id="93" name="Flowchart: Alternate Process 92">
              <a:extLst>
                <a:ext uri="{FF2B5EF4-FFF2-40B4-BE49-F238E27FC236}">
                  <a16:creationId xmlns:a16="http://schemas.microsoft.com/office/drawing/2014/main" id="{ED05A09B-CAD1-4EDA-9BA7-BAB51A643A92}"/>
                </a:ext>
              </a:extLst>
            </p:cNvPr>
            <p:cNvSpPr/>
            <p:nvPr/>
          </p:nvSpPr>
          <p:spPr>
            <a:xfrm>
              <a:off x="4703188" y="5105334"/>
              <a:ext cx="2204886" cy="1015634"/>
            </a:xfrm>
            <a:prstGeom prst="flowChartAlternateProcess">
              <a:avLst/>
            </a:prstGeom>
            <a:solidFill>
              <a:srgbClr val="00573B"/>
            </a:solidFill>
            <a:ln w="25400" cap="flat" cmpd="sng" algn="ctr">
              <a:noFill/>
              <a:prstDash val="solid"/>
            </a:ln>
            <a:effectLst/>
          </p:spPr>
          <p:txBody>
            <a:bodyPr rtlCol="0" anchor="ctr"/>
            <a:lstStyle/>
            <a:p>
              <a:pPr algn="ctr" defTabSz="685800" fontAlgn="base">
                <a:spcBef>
                  <a:spcPct val="0"/>
                </a:spcBef>
                <a:spcAft>
                  <a:spcPct val="0"/>
                </a:spcAft>
                <a:defRPr/>
              </a:pPr>
              <a:endParaRPr lang="en-US" sz="1350" kern="0">
                <a:solidFill>
                  <a:srgbClr val="FFFFFF"/>
                </a:solidFill>
                <a:latin typeface="Arial"/>
              </a:endParaRPr>
            </a:p>
          </p:txBody>
        </p:sp>
        <p:sp>
          <p:nvSpPr>
            <p:cNvPr id="94" name="Flowchart: Alternate Process 93">
              <a:extLst>
                <a:ext uri="{FF2B5EF4-FFF2-40B4-BE49-F238E27FC236}">
                  <a16:creationId xmlns:a16="http://schemas.microsoft.com/office/drawing/2014/main" id="{469FCFEE-CC42-48BC-9288-EA310C0251FB}"/>
                </a:ext>
              </a:extLst>
            </p:cNvPr>
            <p:cNvSpPr/>
            <p:nvPr/>
          </p:nvSpPr>
          <p:spPr>
            <a:xfrm>
              <a:off x="4837445" y="5178658"/>
              <a:ext cx="1897401" cy="873997"/>
            </a:xfrm>
            <a:prstGeom prst="flowChartAlternateProcess">
              <a:avLst/>
            </a:prstGeom>
            <a:solidFill>
              <a:sysClr val="window" lastClr="FFFFFF"/>
            </a:solidFill>
            <a:ln w="25400" cap="flat" cmpd="sng" algn="ctr">
              <a:noFill/>
              <a:prstDash val="solid"/>
            </a:ln>
            <a:effectLst>
              <a:outerShdw blurRad="50800" dist="38100" dir="2700000" algn="tl" rotWithShape="0">
                <a:prstClr val="black">
                  <a:alpha val="40000"/>
                </a:prstClr>
              </a:outerShdw>
            </a:effectLst>
          </p:spPr>
          <p:txBody>
            <a:bodyPr rot="0" spcFirstLastPara="0" vertOverflow="overflow" horzOverflow="overflow" vert="horz" wrap="square" lIns="51435" tIns="25718" rIns="51435" bIns="25718" numCol="1" spcCol="0" rtlCol="0" fromWordArt="0" anchor="b" anchorCtr="0" forceAA="0" compatLnSpc="1">
              <a:prstTxWarp prst="textNoShape">
                <a:avLst/>
              </a:prstTxWarp>
              <a:noAutofit/>
            </a:bodyPr>
            <a:lstStyle/>
            <a:p>
              <a:pPr algn="ctr" defTabSz="685800" fontAlgn="base">
                <a:spcBef>
                  <a:spcPct val="0"/>
                </a:spcBef>
                <a:spcAft>
                  <a:spcPct val="0"/>
                </a:spcAft>
                <a:defRPr/>
              </a:pPr>
              <a:endParaRPr lang="en-US" sz="788" b="1" kern="0">
                <a:solidFill>
                  <a:srgbClr val="000000"/>
                </a:solidFill>
                <a:latin typeface="Arial"/>
              </a:endParaRPr>
            </a:p>
          </p:txBody>
        </p:sp>
        <p:pic>
          <p:nvPicPr>
            <p:cNvPr id="95" name="Picture 94">
              <a:extLst>
                <a:ext uri="{FF2B5EF4-FFF2-40B4-BE49-F238E27FC236}">
                  <a16:creationId xmlns:a16="http://schemas.microsoft.com/office/drawing/2014/main" id="{C6E8BC2E-8CC7-40AD-9A46-767E03466E16}"/>
                </a:ext>
              </a:extLst>
            </p:cNvPr>
            <p:cNvPicPr/>
            <p:nvPr/>
          </p:nvPicPr>
          <p:blipFill rotWithShape="1">
            <a:blip r:embed="rId7"/>
            <a:srcRect l="46328" t="42969" r="27266" b="34765"/>
            <a:stretch/>
          </p:blipFill>
          <p:spPr bwMode="auto">
            <a:xfrm>
              <a:off x="5096751" y="5180216"/>
              <a:ext cx="1324984" cy="844139"/>
            </a:xfrm>
            <a:prstGeom prst="rect">
              <a:avLst/>
            </a:prstGeom>
            <a:ln>
              <a:noFill/>
            </a:ln>
            <a:extLst>
              <a:ext uri="{53640926-AAD7-44D8-BBD7-CCE9431645EC}">
                <a14:shadowObscured xmlns:a14="http://schemas.microsoft.com/office/drawing/2010/main"/>
              </a:ext>
            </a:extLst>
          </p:spPr>
        </p:pic>
      </p:grpSp>
      <p:sp>
        <p:nvSpPr>
          <p:cNvPr id="96" name="TextBox 95">
            <a:extLst>
              <a:ext uri="{FF2B5EF4-FFF2-40B4-BE49-F238E27FC236}">
                <a16:creationId xmlns:a16="http://schemas.microsoft.com/office/drawing/2014/main" id="{DD068CBB-1245-4A84-BFA3-F1810FF6C520}"/>
              </a:ext>
            </a:extLst>
          </p:cNvPr>
          <p:cNvSpPr txBox="1"/>
          <p:nvPr/>
        </p:nvSpPr>
        <p:spPr>
          <a:xfrm>
            <a:off x="3394361" y="2568811"/>
            <a:ext cx="2724924" cy="2746393"/>
          </a:xfrm>
          <a:prstGeom prst="rect">
            <a:avLst/>
          </a:prstGeom>
          <a:noFill/>
        </p:spPr>
        <p:txBody>
          <a:bodyPr wrap="square" lIns="13716" tIns="13716" rIns="13716" bIns="13716" rtlCol="0" anchor="t">
            <a:spAutoFit/>
          </a:bodyPr>
          <a:lstStyle/>
          <a:p>
            <a:pPr defTabSz="685800" fontAlgn="base">
              <a:spcBef>
                <a:spcPct val="0"/>
              </a:spcBef>
              <a:spcAft>
                <a:spcPct val="0"/>
              </a:spcAft>
            </a:pPr>
            <a:r>
              <a:rPr lang="en-US" sz="1000" b="1">
                <a:solidFill>
                  <a:srgbClr val="0066A1"/>
                </a:solidFill>
                <a:cs typeface="Arial"/>
              </a:rPr>
              <a:t>ETL Design &amp; Build</a:t>
            </a:r>
          </a:p>
          <a:p>
            <a:pPr defTabSz="685800" fontAlgn="base">
              <a:spcBef>
                <a:spcPct val="0"/>
              </a:spcBef>
              <a:spcAft>
                <a:spcPct val="0"/>
              </a:spcAft>
            </a:pPr>
            <a:endParaRPr lang="en-US" sz="1000" b="1">
              <a:solidFill>
                <a:srgbClr val="F26E01"/>
              </a:solidFill>
              <a:cs typeface="Arial" charset="0"/>
            </a:endParaRPr>
          </a:p>
          <a:p>
            <a:pPr marL="128270" indent="-128270" defTabSz="685800">
              <a:spcBef>
                <a:spcPts val="150"/>
              </a:spcBef>
              <a:buFont typeface="Wingdings" panose="05000000000000000000" pitchFamily="2" charset="2"/>
              <a:buChar char="§"/>
            </a:pPr>
            <a:r>
              <a:rPr lang="en-US" sz="1000" i="1"/>
              <a:t>Identify tools for Migration</a:t>
            </a:r>
            <a:endParaRPr lang="en-US" sz="1000" i="1">
              <a:ea typeface="Verdana"/>
            </a:endParaRPr>
          </a:p>
          <a:p>
            <a:pPr marL="128270" indent="-128270" defTabSz="685800">
              <a:spcBef>
                <a:spcPts val="150"/>
              </a:spcBef>
              <a:buFont typeface="Wingdings" panose="05000000000000000000" pitchFamily="2" charset="2"/>
              <a:buChar char="§"/>
            </a:pPr>
            <a:r>
              <a:rPr lang="en-US" sz="1000" i="1"/>
              <a:t>Refine high level design</a:t>
            </a:r>
            <a:endParaRPr lang="en-US" sz="1000" i="1">
              <a:ea typeface="Verdana"/>
            </a:endParaRPr>
          </a:p>
          <a:p>
            <a:pPr marL="128270" indent="-128270" defTabSz="685800">
              <a:spcBef>
                <a:spcPts val="150"/>
              </a:spcBef>
              <a:buFont typeface="Wingdings" panose="05000000000000000000" pitchFamily="2" charset="2"/>
              <a:buChar char="§"/>
            </a:pPr>
            <a:r>
              <a:rPr lang="en-US" sz="1000" i="1"/>
              <a:t>Create high level acceptance plan</a:t>
            </a:r>
            <a:endParaRPr lang="en-US" sz="1000" i="1">
              <a:ea typeface="Verdana"/>
            </a:endParaRPr>
          </a:p>
          <a:p>
            <a:pPr marL="128270" indent="-128270" defTabSz="685800">
              <a:spcBef>
                <a:spcPts val="150"/>
              </a:spcBef>
              <a:buFont typeface="Wingdings" panose="05000000000000000000" pitchFamily="2" charset="2"/>
              <a:buChar char="§"/>
            </a:pPr>
            <a:r>
              <a:rPr lang="en-US" sz="1000" i="1"/>
              <a:t>Create testing strategy</a:t>
            </a:r>
            <a:endParaRPr lang="en-US" sz="1000" i="1">
              <a:ea typeface="Verdana"/>
            </a:endParaRPr>
          </a:p>
          <a:p>
            <a:pPr marL="128270" indent="-128270" defTabSz="685800">
              <a:spcBef>
                <a:spcPts val="150"/>
              </a:spcBef>
              <a:buFont typeface="Wingdings" panose="05000000000000000000" pitchFamily="2" charset="2"/>
              <a:buChar char="§"/>
            </a:pPr>
            <a:r>
              <a:rPr lang="en-US" sz="1000" i="1"/>
              <a:t>Design data Migration as a separate thread</a:t>
            </a:r>
            <a:endParaRPr lang="en-US" sz="1000" i="1">
              <a:ea typeface="Verdana"/>
            </a:endParaRPr>
          </a:p>
          <a:p>
            <a:pPr marL="128270" indent="-128270" defTabSz="685800">
              <a:spcBef>
                <a:spcPts val="150"/>
              </a:spcBef>
              <a:buFont typeface="Wingdings" panose="05000000000000000000" pitchFamily="2" charset="2"/>
              <a:buChar char="§"/>
            </a:pPr>
            <a:r>
              <a:rPr lang="en-US" sz="1000" i="1"/>
              <a:t>Make use of existing process like BTP, Plan Group Name process, Client Print Process, Member non-financial process, Financial process developed by Manulife</a:t>
            </a:r>
            <a:endParaRPr lang="en-US" sz="1000" i="1">
              <a:ea typeface="Verdana"/>
            </a:endParaRPr>
          </a:p>
          <a:p>
            <a:pPr marL="128270" indent="-128270" defTabSz="685800">
              <a:spcBef>
                <a:spcPts val="150"/>
              </a:spcBef>
              <a:buFont typeface="Wingdings" panose="05000000000000000000" pitchFamily="2" charset="2"/>
              <a:buChar char="§"/>
            </a:pPr>
            <a:r>
              <a:rPr lang="en-US" sz="1000" i="1"/>
              <a:t>Build transformation rules in ETL Tool</a:t>
            </a:r>
            <a:endParaRPr lang="en-US" sz="1000" i="1">
              <a:ea typeface="Verdana"/>
            </a:endParaRPr>
          </a:p>
          <a:p>
            <a:pPr marL="128270" indent="-128270" defTabSz="685800">
              <a:spcBef>
                <a:spcPts val="150"/>
              </a:spcBef>
              <a:buFont typeface="Wingdings" panose="05000000000000000000" pitchFamily="2" charset="2"/>
              <a:buChar char="§"/>
            </a:pPr>
            <a:r>
              <a:rPr lang="en-US" sz="1000" i="1"/>
              <a:t>Create staging Database with MPS skeleton</a:t>
            </a:r>
            <a:endParaRPr lang="en-US" sz="1000" i="1">
              <a:ea typeface="Verdana"/>
            </a:endParaRPr>
          </a:p>
          <a:p>
            <a:pPr marL="128270" indent="-128270" defTabSz="685800">
              <a:spcBef>
                <a:spcPts val="150"/>
              </a:spcBef>
              <a:buFont typeface="Wingdings" panose="05000000000000000000" pitchFamily="2" charset="2"/>
              <a:buChar char="§"/>
            </a:pPr>
            <a:r>
              <a:rPr lang="en-US" sz="1000" i="1"/>
              <a:t>Create flags for data ready for Migration</a:t>
            </a:r>
            <a:endParaRPr lang="en-US" sz="1000" i="1">
              <a:ea typeface="Verdana"/>
            </a:endParaRPr>
          </a:p>
          <a:p>
            <a:pPr marL="128270" indent="-128270" defTabSz="685800">
              <a:spcBef>
                <a:spcPts val="150"/>
              </a:spcBef>
              <a:buFont typeface="Wingdings" panose="05000000000000000000" pitchFamily="2" charset="2"/>
              <a:buChar char="§"/>
            </a:pPr>
            <a:r>
              <a:rPr lang="en-US" sz="1000" i="1"/>
              <a:t>Preparing reports for data readiness and migration statistics</a:t>
            </a:r>
            <a:endParaRPr lang="en-US" sz="1000" i="1">
              <a:ea typeface="Verdana"/>
            </a:endParaRPr>
          </a:p>
        </p:txBody>
      </p:sp>
      <p:sp>
        <p:nvSpPr>
          <p:cNvPr id="97" name="TextBox 96">
            <a:extLst>
              <a:ext uri="{FF2B5EF4-FFF2-40B4-BE49-F238E27FC236}">
                <a16:creationId xmlns:a16="http://schemas.microsoft.com/office/drawing/2014/main" id="{57EDE098-1F25-4519-AAB0-487AD756898D}"/>
              </a:ext>
            </a:extLst>
          </p:cNvPr>
          <p:cNvSpPr txBox="1"/>
          <p:nvPr/>
        </p:nvSpPr>
        <p:spPr>
          <a:xfrm>
            <a:off x="6289954" y="2566833"/>
            <a:ext cx="2393719" cy="2207784"/>
          </a:xfrm>
          <a:prstGeom prst="rect">
            <a:avLst/>
          </a:prstGeom>
          <a:noFill/>
        </p:spPr>
        <p:txBody>
          <a:bodyPr wrap="square" lIns="13716" tIns="13716" rIns="13716" bIns="13716" rtlCol="0">
            <a:spAutoFit/>
          </a:bodyPr>
          <a:lstStyle/>
          <a:p>
            <a:pPr defTabSz="685800" fontAlgn="base">
              <a:spcBef>
                <a:spcPct val="0"/>
              </a:spcBef>
              <a:spcAft>
                <a:spcPct val="0"/>
              </a:spcAft>
            </a:pPr>
            <a:r>
              <a:rPr lang="en-US" sz="1000" b="1">
                <a:solidFill>
                  <a:srgbClr val="0066A1"/>
                </a:solidFill>
                <a:cs typeface="Arial" charset="0"/>
              </a:rPr>
              <a:t>Staging data validation</a:t>
            </a:r>
          </a:p>
          <a:p>
            <a:pPr defTabSz="685800" fontAlgn="base">
              <a:spcBef>
                <a:spcPct val="0"/>
              </a:spcBef>
              <a:spcAft>
                <a:spcPct val="0"/>
              </a:spcAft>
            </a:pPr>
            <a:endParaRPr lang="en-US" sz="1000" b="1">
              <a:solidFill>
                <a:srgbClr val="F26E01"/>
              </a:solidFill>
              <a:cs typeface="Arial" charset="0"/>
            </a:endParaRPr>
          </a:p>
          <a:p>
            <a:pPr marL="128588" indent="-128588" defTabSz="685800">
              <a:spcBef>
                <a:spcPts val="150"/>
              </a:spcBef>
              <a:buFont typeface="Wingdings" panose="05000000000000000000" pitchFamily="2" charset="2"/>
              <a:buChar char="§"/>
            </a:pPr>
            <a:r>
              <a:rPr lang="en-US" sz="1000" i="1">
                <a:solidFill>
                  <a:prstClr val="black"/>
                </a:solidFill>
              </a:rPr>
              <a:t>Apply DB enhancements if needed for data Migration  </a:t>
            </a:r>
          </a:p>
          <a:p>
            <a:pPr marL="128588" indent="-128588" defTabSz="685800">
              <a:spcBef>
                <a:spcPts val="150"/>
              </a:spcBef>
              <a:buFont typeface="Wingdings" panose="05000000000000000000" pitchFamily="2" charset="2"/>
              <a:buChar char="§"/>
            </a:pPr>
            <a:r>
              <a:rPr lang="en-US" sz="1000" i="1">
                <a:solidFill>
                  <a:prstClr val="black"/>
                </a:solidFill>
              </a:rPr>
              <a:t>Data validation and reporting </a:t>
            </a:r>
          </a:p>
          <a:p>
            <a:pPr marL="128588" indent="-128588" defTabSz="685800">
              <a:spcBef>
                <a:spcPts val="150"/>
              </a:spcBef>
              <a:buFont typeface="Wingdings" panose="05000000000000000000" pitchFamily="2" charset="2"/>
              <a:buChar char="§"/>
            </a:pPr>
            <a:r>
              <a:rPr lang="en-US" sz="1000" i="1">
                <a:solidFill>
                  <a:prstClr val="black"/>
                </a:solidFill>
              </a:rPr>
              <a:t>Application validation for migration data on Staging Database</a:t>
            </a:r>
          </a:p>
          <a:p>
            <a:pPr marL="128588" indent="-128588" defTabSz="685800">
              <a:spcBef>
                <a:spcPts val="150"/>
              </a:spcBef>
              <a:buFont typeface="Wingdings" panose="05000000000000000000" pitchFamily="2" charset="2"/>
              <a:buChar char="§"/>
            </a:pPr>
            <a:r>
              <a:rPr lang="en-US" sz="1000" i="1">
                <a:solidFill>
                  <a:prstClr val="black"/>
                </a:solidFill>
              </a:rPr>
              <a:t>Business Acceptance Testing</a:t>
            </a:r>
          </a:p>
          <a:p>
            <a:pPr marL="128588" indent="-128588" defTabSz="685800">
              <a:spcBef>
                <a:spcPts val="150"/>
              </a:spcBef>
              <a:buFont typeface="Wingdings" panose="05000000000000000000" pitchFamily="2" charset="2"/>
              <a:buChar char="§"/>
            </a:pPr>
            <a:r>
              <a:rPr lang="en-US" sz="1000" i="1">
                <a:solidFill>
                  <a:prstClr val="black"/>
                </a:solidFill>
              </a:rPr>
              <a:t>Flag set for completed validation data </a:t>
            </a:r>
          </a:p>
          <a:p>
            <a:pPr marL="128588" indent="-128588" defTabSz="685800">
              <a:spcBef>
                <a:spcPts val="150"/>
              </a:spcBef>
              <a:buFont typeface="Wingdings" panose="05000000000000000000" pitchFamily="2" charset="2"/>
              <a:buChar char="§"/>
            </a:pPr>
            <a:r>
              <a:rPr lang="en-US" sz="1000" i="1">
                <a:solidFill>
                  <a:prstClr val="black"/>
                </a:solidFill>
              </a:rPr>
              <a:t>Application enhancement testing on the migration data</a:t>
            </a:r>
          </a:p>
          <a:p>
            <a:pPr marL="128588" indent="-128588" defTabSz="685800">
              <a:spcBef>
                <a:spcPts val="150"/>
              </a:spcBef>
              <a:buFont typeface="Wingdings" panose="05000000000000000000" pitchFamily="2" charset="2"/>
              <a:buChar char="§"/>
            </a:pPr>
            <a:r>
              <a:rPr lang="en-US" sz="1000" i="1">
                <a:solidFill>
                  <a:prstClr val="black"/>
                </a:solidFill>
              </a:rPr>
              <a:t>Confirmation of data movement to MPS platform</a:t>
            </a:r>
          </a:p>
        </p:txBody>
      </p:sp>
      <p:sp>
        <p:nvSpPr>
          <p:cNvPr id="98" name="TextBox 97">
            <a:extLst>
              <a:ext uri="{FF2B5EF4-FFF2-40B4-BE49-F238E27FC236}">
                <a16:creationId xmlns:a16="http://schemas.microsoft.com/office/drawing/2014/main" id="{1CA1F406-546F-4972-90AB-9905CFB618B6}"/>
              </a:ext>
            </a:extLst>
          </p:cNvPr>
          <p:cNvSpPr txBox="1"/>
          <p:nvPr/>
        </p:nvSpPr>
        <p:spPr>
          <a:xfrm>
            <a:off x="9043477" y="2565861"/>
            <a:ext cx="2721635" cy="2053896"/>
          </a:xfrm>
          <a:prstGeom prst="rect">
            <a:avLst/>
          </a:prstGeom>
          <a:noFill/>
        </p:spPr>
        <p:txBody>
          <a:bodyPr wrap="square" lIns="13716" tIns="13716" rIns="13716" bIns="13716" rtlCol="0">
            <a:spAutoFit/>
          </a:bodyPr>
          <a:lstStyle/>
          <a:p>
            <a:pPr defTabSz="685800" fontAlgn="base">
              <a:spcBef>
                <a:spcPct val="0"/>
              </a:spcBef>
              <a:spcAft>
                <a:spcPct val="0"/>
              </a:spcAft>
            </a:pPr>
            <a:r>
              <a:rPr lang="en-US" sz="1000" b="1">
                <a:solidFill>
                  <a:srgbClr val="0066A1"/>
                </a:solidFill>
                <a:cs typeface="Arial" charset="0"/>
              </a:rPr>
              <a:t>Production Movement</a:t>
            </a:r>
          </a:p>
          <a:p>
            <a:pPr defTabSz="685800" fontAlgn="base">
              <a:spcBef>
                <a:spcPct val="0"/>
              </a:spcBef>
              <a:spcAft>
                <a:spcPct val="0"/>
              </a:spcAft>
            </a:pPr>
            <a:endParaRPr lang="en-US" sz="1000" b="1">
              <a:solidFill>
                <a:srgbClr val="F26E01"/>
              </a:solidFill>
              <a:cs typeface="Arial" charset="0"/>
            </a:endParaRPr>
          </a:p>
          <a:p>
            <a:pPr marL="128588" indent="-128588" defTabSz="685800">
              <a:spcBef>
                <a:spcPts val="150"/>
              </a:spcBef>
              <a:buFont typeface="Wingdings" panose="05000000000000000000" pitchFamily="2" charset="2"/>
              <a:buChar char="§"/>
            </a:pPr>
            <a:r>
              <a:rPr lang="en-US" sz="1000" i="1">
                <a:solidFill>
                  <a:prstClr val="black"/>
                </a:solidFill>
              </a:rPr>
              <a:t>Identify the production movement window</a:t>
            </a:r>
          </a:p>
          <a:p>
            <a:pPr marL="128588" indent="-128588" defTabSz="685800">
              <a:spcBef>
                <a:spcPts val="150"/>
              </a:spcBef>
              <a:buFont typeface="Wingdings" panose="05000000000000000000" pitchFamily="2" charset="2"/>
              <a:buChar char="§"/>
            </a:pPr>
            <a:r>
              <a:rPr lang="en-US" sz="1000" i="1">
                <a:solidFill>
                  <a:prstClr val="black"/>
                </a:solidFill>
              </a:rPr>
              <a:t>Plan for outages if any</a:t>
            </a:r>
          </a:p>
          <a:p>
            <a:pPr marL="128588" indent="-128588" defTabSz="685800">
              <a:spcBef>
                <a:spcPts val="150"/>
              </a:spcBef>
              <a:buFont typeface="Wingdings" panose="05000000000000000000" pitchFamily="2" charset="2"/>
              <a:buChar char="§"/>
            </a:pPr>
            <a:r>
              <a:rPr lang="en-US" sz="1000" i="1">
                <a:solidFill>
                  <a:prstClr val="black"/>
                </a:solidFill>
              </a:rPr>
              <a:t>Movement of confirmed data from Staging database to MPS platform</a:t>
            </a:r>
          </a:p>
          <a:p>
            <a:pPr marL="128588" indent="-128588" defTabSz="685800">
              <a:spcBef>
                <a:spcPts val="150"/>
              </a:spcBef>
              <a:buFont typeface="Wingdings" panose="05000000000000000000" pitchFamily="2" charset="2"/>
              <a:buChar char="§"/>
            </a:pPr>
            <a:r>
              <a:rPr lang="en-US" sz="1000" i="1">
                <a:solidFill>
                  <a:prstClr val="black"/>
                </a:solidFill>
              </a:rPr>
              <a:t>Application/DB Code deployment  as part of application enhancement </a:t>
            </a:r>
          </a:p>
          <a:p>
            <a:pPr marL="128588" indent="-128588" defTabSz="685800">
              <a:spcBef>
                <a:spcPts val="150"/>
              </a:spcBef>
              <a:buFont typeface="Wingdings" panose="05000000000000000000" pitchFamily="2" charset="2"/>
              <a:buChar char="§"/>
            </a:pPr>
            <a:r>
              <a:rPr lang="en-US" sz="1000" i="1">
                <a:solidFill>
                  <a:prstClr val="black"/>
                </a:solidFill>
              </a:rPr>
              <a:t>Live Testing and decision confirmation </a:t>
            </a:r>
          </a:p>
          <a:p>
            <a:pPr marL="128588" indent="-128588" defTabSz="685800">
              <a:spcBef>
                <a:spcPts val="150"/>
              </a:spcBef>
              <a:buFont typeface="Wingdings" panose="05000000000000000000" pitchFamily="2" charset="2"/>
              <a:buChar char="§"/>
            </a:pPr>
            <a:r>
              <a:rPr lang="en-US" sz="1000" i="1">
                <a:solidFill>
                  <a:prstClr val="black"/>
                </a:solidFill>
              </a:rPr>
              <a:t>Enable rollback flag for migrated data</a:t>
            </a:r>
          </a:p>
          <a:p>
            <a:pPr marL="128588" indent="-128588" defTabSz="685800">
              <a:spcBef>
                <a:spcPts val="150"/>
              </a:spcBef>
              <a:buFont typeface="Wingdings" panose="05000000000000000000" pitchFamily="2" charset="2"/>
              <a:buChar char="§"/>
            </a:pPr>
            <a:r>
              <a:rPr lang="en-US" sz="1000" i="1">
                <a:solidFill>
                  <a:prstClr val="black"/>
                </a:solidFill>
              </a:rPr>
              <a:t>Rollback flag to sync data from MPS to SLX and vice versa if any</a:t>
            </a:r>
          </a:p>
        </p:txBody>
      </p:sp>
      <p:grpSp>
        <p:nvGrpSpPr>
          <p:cNvPr id="99" name="Group 98">
            <a:extLst>
              <a:ext uri="{FF2B5EF4-FFF2-40B4-BE49-F238E27FC236}">
                <a16:creationId xmlns:a16="http://schemas.microsoft.com/office/drawing/2014/main" id="{F7405DA1-FA7C-4067-9E04-F9BD21138E51}"/>
              </a:ext>
            </a:extLst>
          </p:cNvPr>
          <p:cNvGrpSpPr/>
          <p:nvPr/>
        </p:nvGrpSpPr>
        <p:grpSpPr>
          <a:xfrm>
            <a:off x="596909" y="1279065"/>
            <a:ext cx="2022309" cy="814153"/>
            <a:chOff x="596909" y="1330581"/>
            <a:chExt cx="2022309" cy="814153"/>
          </a:xfrm>
        </p:grpSpPr>
        <p:grpSp>
          <p:nvGrpSpPr>
            <p:cNvPr id="100" name="Group 99">
              <a:extLst>
                <a:ext uri="{FF2B5EF4-FFF2-40B4-BE49-F238E27FC236}">
                  <a16:creationId xmlns:a16="http://schemas.microsoft.com/office/drawing/2014/main" id="{5F88D66A-49F6-4D03-A286-87B396B6C091}"/>
                </a:ext>
              </a:extLst>
            </p:cNvPr>
            <p:cNvGrpSpPr/>
            <p:nvPr/>
          </p:nvGrpSpPr>
          <p:grpSpPr>
            <a:xfrm>
              <a:off x="596909" y="1330581"/>
              <a:ext cx="2022309" cy="814153"/>
              <a:chOff x="3564553" y="1319356"/>
              <a:chExt cx="2022309" cy="814153"/>
            </a:xfrm>
          </p:grpSpPr>
          <p:sp>
            <p:nvSpPr>
              <p:cNvPr id="102" name="Flowchart: Alternate Process 101">
                <a:extLst>
                  <a:ext uri="{FF2B5EF4-FFF2-40B4-BE49-F238E27FC236}">
                    <a16:creationId xmlns:a16="http://schemas.microsoft.com/office/drawing/2014/main" id="{F5E8DB69-5575-42E6-BD27-E96B28B17A43}"/>
                  </a:ext>
                </a:extLst>
              </p:cNvPr>
              <p:cNvSpPr/>
              <p:nvPr/>
            </p:nvSpPr>
            <p:spPr>
              <a:xfrm>
                <a:off x="3564553" y="1319356"/>
                <a:ext cx="2022309" cy="814153"/>
              </a:xfrm>
              <a:prstGeom prst="flowChartAlternateProcess">
                <a:avLst/>
              </a:prstGeom>
              <a:solidFill>
                <a:sysClr val="window" lastClr="FFFFFF">
                  <a:lumMod val="95000"/>
                </a:sysClr>
              </a:solidFill>
              <a:ln w="25400" cap="flat" cmpd="sng" algn="ctr">
                <a:noFill/>
                <a:prstDash val="solid"/>
              </a:ln>
              <a:effectLst>
                <a:outerShdw blurRad="50800" dist="38100" dir="2700000" algn="tl" rotWithShape="0">
                  <a:prstClr val="black">
                    <a:alpha val="40000"/>
                  </a:prstClr>
                </a:outerShdw>
              </a:effectLst>
            </p:spPr>
            <p:txBody>
              <a:bodyPr rot="0" spcFirstLastPara="0" vertOverflow="overflow" horzOverflow="overflow" vert="horz" wrap="square" lIns="68580" tIns="34290" rIns="68580" bIns="34290" numCol="1" spcCol="0" rtlCol="0" fromWordArt="0" anchor="b" anchorCtr="0" forceAA="0" compatLnSpc="1">
                <a:prstTxWarp prst="textNoShape">
                  <a:avLst/>
                </a:prstTxWarp>
                <a:noAutofit/>
              </a:bodyPr>
              <a:lstStyle/>
              <a:p>
                <a:pPr algn="ctr" defTabSz="685800" fontAlgn="base">
                  <a:spcBef>
                    <a:spcPct val="0"/>
                  </a:spcBef>
                  <a:spcAft>
                    <a:spcPct val="0"/>
                  </a:spcAft>
                  <a:defRPr/>
                </a:pPr>
                <a:endParaRPr lang="en-US" sz="1050" b="1" kern="0">
                  <a:solidFill>
                    <a:srgbClr val="000000"/>
                  </a:solidFill>
                  <a:latin typeface="Arial"/>
                </a:endParaRPr>
              </a:p>
            </p:txBody>
          </p:sp>
          <p:grpSp>
            <p:nvGrpSpPr>
              <p:cNvPr id="103" name="Groupe 597">
                <a:extLst>
                  <a:ext uri="{FF2B5EF4-FFF2-40B4-BE49-F238E27FC236}">
                    <a16:creationId xmlns:a16="http://schemas.microsoft.com/office/drawing/2014/main" id="{959396DC-811B-4DD6-8A1C-CD431F58C881}"/>
                  </a:ext>
                </a:extLst>
              </p:cNvPr>
              <p:cNvGrpSpPr/>
              <p:nvPr/>
            </p:nvGrpSpPr>
            <p:grpSpPr>
              <a:xfrm>
                <a:off x="4156478" y="1835840"/>
                <a:ext cx="738484" cy="282885"/>
                <a:chOff x="4376714" y="2104827"/>
                <a:chExt cx="376238" cy="171450"/>
              </a:xfrm>
            </p:grpSpPr>
            <p:sp>
              <p:nvSpPr>
                <p:cNvPr id="105" name="Freeform 760">
                  <a:extLst>
                    <a:ext uri="{FF2B5EF4-FFF2-40B4-BE49-F238E27FC236}">
                      <a16:creationId xmlns:a16="http://schemas.microsoft.com/office/drawing/2014/main" id="{715E66CB-081D-41A7-AF28-7B05E1C9A145}"/>
                    </a:ext>
                  </a:extLst>
                </p:cNvPr>
                <p:cNvSpPr>
                  <a:spLocks/>
                </p:cNvSpPr>
                <p:nvPr/>
              </p:nvSpPr>
              <p:spPr bwMode="auto">
                <a:xfrm>
                  <a:off x="4376714" y="2104827"/>
                  <a:ext cx="125413" cy="171450"/>
                </a:xfrm>
                <a:custGeom>
                  <a:avLst/>
                  <a:gdLst/>
                  <a:ahLst/>
                  <a:cxnLst>
                    <a:cxn ang="0">
                      <a:pos x="79" y="108"/>
                    </a:cxn>
                    <a:cxn ang="0">
                      <a:pos x="79" y="108"/>
                    </a:cxn>
                    <a:cxn ang="0">
                      <a:pos x="78" y="96"/>
                    </a:cxn>
                    <a:cxn ang="0">
                      <a:pos x="77" y="86"/>
                    </a:cxn>
                    <a:cxn ang="0">
                      <a:pos x="76" y="76"/>
                    </a:cxn>
                    <a:cxn ang="0">
                      <a:pos x="72" y="67"/>
                    </a:cxn>
                    <a:cxn ang="0">
                      <a:pos x="68" y="59"/>
                    </a:cxn>
                    <a:cxn ang="0">
                      <a:pos x="63" y="53"/>
                    </a:cxn>
                    <a:cxn ang="0">
                      <a:pos x="57" y="49"/>
                    </a:cxn>
                    <a:cxn ang="0">
                      <a:pos x="48" y="45"/>
                    </a:cxn>
                    <a:cxn ang="0">
                      <a:pos x="48" y="45"/>
                    </a:cxn>
                    <a:cxn ang="0">
                      <a:pos x="52" y="42"/>
                    </a:cxn>
                    <a:cxn ang="0">
                      <a:pos x="55" y="37"/>
                    </a:cxn>
                    <a:cxn ang="0">
                      <a:pos x="58" y="30"/>
                    </a:cxn>
                    <a:cxn ang="0">
                      <a:pos x="59" y="24"/>
                    </a:cxn>
                    <a:cxn ang="0">
                      <a:pos x="59" y="24"/>
                    </a:cxn>
                    <a:cxn ang="0">
                      <a:pos x="59" y="19"/>
                    </a:cxn>
                    <a:cxn ang="0">
                      <a:pos x="58" y="14"/>
                    </a:cxn>
                    <a:cxn ang="0">
                      <a:pos x="55" y="10"/>
                    </a:cxn>
                    <a:cxn ang="0">
                      <a:pos x="53" y="6"/>
                    </a:cxn>
                    <a:cxn ang="0">
                      <a:pos x="50" y="4"/>
                    </a:cxn>
                    <a:cxn ang="0">
                      <a:pos x="48" y="1"/>
                    </a:cxn>
                    <a:cxn ang="0">
                      <a:pos x="44" y="0"/>
                    </a:cxn>
                    <a:cxn ang="0">
                      <a:pos x="40" y="0"/>
                    </a:cxn>
                    <a:cxn ang="0">
                      <a:pos x="40" y="0"/>
                    </a:cxn>
                    <a:cxn ang="0">
                      <a:pos x="35" y="0"/>
                    </a:cxn>
                    <a:cxn ang="0">
                      <a:pos x="33" y="1"/>
                    </a:cxn>
                    <a:cxn ang="0">
                      <a:pos x="29" y="4"/>
                    </a:cxn>
                    <a:cxn ang="0">
                      <a:pos x="26" y="6"/>
                    </a:cxn>
                    <a:cxn ang="0">
                      <a:pos x="24" y="10"/>
                    </a:cxn>
                    <a:cxn ang="0">
                      <a:pos x="21" y="14"/>
                    </a:cxn>
                    <a:cxn ang="0">
                      <a:pos x="20" y="19"/>
                    </a:cxn>
                    <a:cxn ang="0">
                      <a:pos x="20" y="24"/>
                    </a:cxn>
                    <a:cxn ang="0">
                      <a:pos x="20" y="24"/>
                    </a:cxn>
                    <a:cxn ang="0">
                      <a:pos x="21" y="30"/>
                    </a:cxn>
                    <a:cxn ang="0">
                      <a:pos x="24" y="37"/>
                    </a:cxn>
                    <a:cxn ang="0">
                      <a:pos x="27" y="42"/>
                    </a:cxn>
                    <a:cxn ang="0">
                      <a:pos x="31" y="45"/>
                    </a:cxn>
                    <a:cxn ang="0">
                      <a:pos x="31" y="45"/>
                    </a:cxn>
                    <a:cxn ang="0">
                      <a:pos x="22" y="49"/>
                    </a:cxn>
                    <a:cxn ang="0">
                      <a:pos x="16" y="53"/>
                    </a:cxn>
                    <a:cxn ang="0">
                      <a:pos x="11" y="59"/>
                    </a:cxn>
                    <a:cxn ang="0">
                      <a:pos x="7" y="67"/>
                    </a:cxn>
                    <a:cxn ang="0">
                      <a:pos x="3" y="76"/>
                    </a:cxn>
                    <a:cxn ang="0">
                      <a:pos x="2" y="86"/>
                    </a:cxn>
                    <a:cxn ang="0">
                      <a:pos x="1" y="96"/>
                    </a:cxn>
                    <a:cxn ang="0">
                      <a:pos x="0" y="108"/>
                    </a:cxn>
                  </a:cxnLst>
                  <a:rect l="0" t="0" r="r" b="b"/>
                  <a:pathLst>
                    <a:path w="79" h="108">
                      <a:moveTo>
                        <a:pt x="79" y="108"/>
                      </a:moveTo>
                      <a:lnTo>
                        <a:pt x="79" y="108"/>
                      </a:lnTo>
                      <a:lnTo>
                        <a:pt x="78" y="96"/>
                      </a:lnTo>
                      <a:lnTo>
                        <a:pt x="77" y="86"/>
                      </a:lnTo>
                      <a:lnTo>
                        <a:pt x="76" y="76"/>
                      </a:lnTo>
                      <a:lnTo>
                        <a:pt x="72" y="67"/>
                      </a:lnTo>
                      <a:lnTo>
                        <a:pt x="68" y="59"/>
                      </a:lnTo>
                      <a:lnTo>
                        <a:pt x="63" y="53"/>
                      </a:lnTo>
                      <a:lnTo>
                        <a:pt x="57" y="49"/>
                      </a:lnTo>
                      <a:lnTo>
                        <a:pt x="48" y="45"/>
                      </a:lnTo>
                      <a:lnTo>
                        <a:pt x="48" y="45"/>
                      </a:lnTo>
                      <a:lnTo>
                        <a:pt x="52" y="42"/>
                      </a:lnTo>
                      <a:lnTo>
                        <a:pt x="55" y="37"/>
                      </a:lnTo>
                      <a:lnTo>
                        <a:pt x="58" y="30"/>
                      </a:lnTo>
                      <a:lnTo>
                        <a:pt x="59" y="24"/>
                      </a:lnTo>
                      <a:lnTo>
                        <a:pt x="59" y="24"/>
                      </a:lnTo>
                      <a:lnTo>
                        <a:pt x="59" y="19"/>
                      </a:lnTo>
                      <a:lnTo>
                        <a:pt x="58" y="14"/>
                      </a:lnTo>
                      <a:lnTo>
                        <a:pt x="55" y="10"/>
                      </a:lnTo>
                      <a:lnTo>
                        <a:pt x="53" y="6"/>
                      </a:lnTo>
                      <a:lnTo>
                        <a:pt x="50" y="4"/>
                      </a:lnTo>
                      <a:lnTo>
                        <a:pt x="48" y="1"/>
                      </a:lnTo>
                      <a:lnTo>
                        <a:pt x="44" y="0"/>
                      </a:lnTo>
                      <a:lnTo>
                        <a:pt x="40" y="0"/>
                      </a:lnTo>
                      <a:lnTo>
                        <a:pt x="40" y="0"/>
                      </a:lnTo>
                      <a:lnTo>
                        <a:pt x="35" y="0"/>
                      </a:lnTo>
                      <a:lnTo>
                        <a:pt x="33" y="1"/>
                      </a:lnTo>
                      <a:lnTo>
                        <a:pt x="29" y="4"/>
                      </a:lnTo>
                      <a:lnTo>
                        <a:pt x="26" y="6"/>
                      </a:lnTo>
                      <a:lnTo>
                        <a:pt x="24" y="10"/>
                      </a:lnTo>
                      <a:lnTo>
                        <a:pt x="21" y="14"/>
                      </a:lnTo>
                      <a:lnTo>
                        <a:pt x="20" y="19"/>
                      </a:lnTo>
                      <a:lnTo>
                        <a:pt x="20" y="24"/>
                      </a:lnTo>
                      <a:lnTo>
                        <a:pt x="20" y="24"/>
                      </a:lnTo>
                      <a:lnTo>
                        <a:pt x="21" y="30"/>
                      </a:lnTo>
                      <a:lnTo>
                        <a:pt x="24" y="37"/>
                      </a:lnTo>
                      <a:lnTo>
                        <a:pt x="27" y="42"/>
                      </a:lnTo>
                      <a:lnTo>
                        <a:pt x="31" y="45"/>
                      </a:lnTo>
                      <a:lnTo>
                        <a:pt x="31" y="45"/>
                      </a:lnTo>
                      <a:lnTo>
                        <a:pt x="22" y="49"/>
                      </a:lnTo>
                      <a:lnTo>
                        <a:pt x="16" y="53"/>
                      </a:lnTo>
                      <a:lnTo>
                        <a:pt x="11" y="59"/>
                      </a:lnTo>
                      <a:lnTo>
                        <a:pt x="7" y="67"/>
                      </a:lnTo>
                      <a:lnTo>
                        <a:pt x="3" y="76"/>
                      </a:lnTo>
                      <a:lnTo>
                        <a:pt x="2" y="86"/>
                      </a:lnTo>
                      <a:lnTo>
                        <a:pt x="1" y="96"/>
                      </a:lnTo>
                      <a:lnTo>
                        <a:pt x="0" y="108"/>
                      </a:lnTo>
                    </a:path>
                  </a:pathLst>
                </a:custGeom>
                <a:noFill/>
                <a:ln w="19050">
                  <a:solidFill>
                    <a:srgbClr val="F26E01"/>
                  </a:solidFill>
                  <a:prstDash val="solid"/>
                  <a:round/>
                  <a:headEnd/>
                  <a:tailEnd/>
                </a:ln>
              </p:spPr>
              <p:txBody>
                <a:bodyPr vert="horz" wrap="square" lIns="68580" tIns="34290" rIns="68580" bIns="34290" numCol="1" anchor="t" anchorCtr="0" compatLnSpc="1">
                  <a:prstTxWarp prst="textNoShape">
                    <a:avLst/>
                  </a:prstTxWarp>
                </a:bodyPr>
                <a:lstStyle/>
                <a:p>
                  <a:pPr defTabSz="685800" fontAlgn="base">
                    <a:spcBef>
                      <a:spcPct val="0"/>
                    </a:spcBef>
                    <a:spcAft>
                      <a:spcPct val="0"/>
                    </a:spcAft>
                    <a:defRPr/>
                  </a:pPr>
                  <a:endParaRPr lang="en-US" sz="1350" kern="0">
                    <a:solidFill>
                      <a:srgbClr val="000000"/>
                    </a:solidFill>
                    <a:latin typeface="Arial"/>
                    <a:cs typeface="Arial" charset="0"/>
                  </a:endParaRPr>
                </a:p>
              </p:txBody>
            </p:sp>
            <p:sp>
              <p:nvSpPr>
                <p:cNvPr id="106" name="Freeform 761">
                  <a:extLst>
                    <a:ext uri="{FF2B5EF4-FFF2-40B4-BE49-F238E27FC236}">
                      <a16:creationId xmlns:a16="http://schemas.microsoft.com/office/drawing/2014/main" id="{CC366112-A20A-4CA4-B3FF-2E974A09F069}"/>
                    </a:ext>
                  </a:extLst>
                </p:cNvPr>
                <p:cNvSpPr>
                  <a:spLocks/>
                </p:cNvSpPr>
                <p:nvPr/>
              </p:nvSpPr>
              <p:spPr bwMode="auto">
                <a:xfrm>
                  <a:off x="4502126" y="2104827"/>
                  <a:ext cx="125413" cy="171450"/>
                </a:xfrm>
                <a:custGeom>
                  <a:avLst/>
                  <a:gdLst/>
                  <a:ahLst/>
                  <a:cxnLst>
                    <a:cxn ang="0">
                      <a:pos x="79" y="108"/>
                    </a:cxn>
                    <a:cxn ang="0">
                      <a:pos x="79" y="108"/>
                    </a:cxn>
                    <a:cxn ang="0">
                      <a:pos x="79" y="96"/>
                    </a:cxn>
                    <a:cxn ang="0">
                      <a:pos x="78" y="86"/>
                    </a:cxn>
                    <a:cxn ang="0">
                      <a:pos x="75" y="76"/>
                    </a:cxn>
                    <a:cxn ang="0">
                      <a:pos x="73" y="67"/>
                    </a:cxn>
                    <a:cxn ang="0">
                      <a:pos x="68" y="59"/>
                    </a:cxn>
                    <a:cxn ang="0">
                      <a:pos x="62" y="53"/>
                    </a:cxn>
                    <a:cxn ang="0">
                      <a:pos x="56" y="49"/>
                    </a:cxn>
                    <a:cxn ang="0">
                      <a:pos x="49" y="45"/>
                    </a:cxn>
                    <a:cxn ang="0">
                      <a:pos x="49" y="45"/>
                    </a:cxn>
                    <a:cxn ang="0">
                      <a:pos x="52" y="42"/>
                    </a:cxn>
                    <a:cxn ang="0">
                      <a:pos x="55" y="37"/>
                    </a:cxn>
                    <a:cxn ang="0">
                      <a:pos x="57" y="30"/>
                    </a:cxn>
                    <a:cxn ang="0">
                      <a:pos x="59" y="24"/>
                    </a:cxn>
                    <a:cxn ang="0">
                      <a:pos x="59" y="24"/>
                    </a:cxn>
                    <a:cxn ang="0">
                      <a:pos x="59" y="19"/>
                    </a:cxn>
                    <a:cxn ang="0">
                      <a:pos x="57" y="14"/>
                    </a:cxn>
                    <a:cxn ang="0">
                      <a:pos x="56" y="10"/>
                    </a:cxn>
                    <a:cxn ang="0">
                      <a:pos x="54" y="6"/>
                    </a:cxn>
                    <a:cxn ang="0">
                      <a:pos x="50" y="4"/>
                    </a:cxn>
                    <a:cxn ang="0">
                      <a:pos x="47" y="1"/>
                    </a:cxn>
                    <a:cxn ang="0">
                      <a:pos x="43" y="0"/>
                    </a:cxn>
                    <a:cxn ang="0">
                      <a:pos x="40" y="0"/>
                    </a:cxn>
                    <a:cxn ang="0">
                      <a:pos x="40" y="0"/>
                    </a:cxn>
                    <a:cxn ang="0">
                      <a:pos x="36" y="0"/>
                    </a:cxn>
                    <a:cxn ang="0">
                      <a:pos x="32" y="1"/>
                    </a:cxn>
                    <a:cxn ang="0">
                      <a:pos x="28" y="4"/>
                    </a:cxn>
                    <a:cxn ang="0">
                      <a:pos x="26" y="6"/>
                    </a:cxn>
                    <a:cxn ang="0">
                      <a:pos x="23" y="10"/>
                    </a:cxn>
                    <a:cxn ang="0">
                      <a:pos x="22" y="14"/>
                    </a:cxn>
                    <a:cxn ang="0">
                      <a:pos x="21" y="19"/>
                    </a:cxn>
                    <a:cxn ang="0">
                      <a:pos x="19" y="24"/>
                    </a:cxn>
                    <a:cxn ang="0">
                      <a:pos x="19" y="24"/>
                    </a:cxn>
                    <a:cxn ang="0">
                      <a:pos x="21" y="30"/>
                    </a:cxn>
                    <a:cxn ang="0">
                      <a:pos x="23" y="37"/>
                    </a:cxn>
                    <a:cxn ang="0">
                      <a:pos x="27" y="42"/>
                    </a:cxn>
                    <a:cxn ang="0">
                      <a:pos x="31" y="45"/>
                    </a:cxn>
                    <a:cxn ang="0">
                      <a:pos x="31" y="45"/>
                    </a:cxn>
                    <a:cxn ang="0">
                      <a:pos x="23" y="49"/>
                    </a:cxn>
                    <a:cxn ang="0">
                      <a:pos x="16" y="53"/>
                    </a:cxn>
                    <a:cxn ang="0">
                      <a:pos x="11" y="59"/>
                    </a:cxn>
                    <a:cxn ang="0">
                      <a:pos x="7" y="67"/>
                    </a:cxn>
                    <a:cxn ang="0">
                      <a:pos x="4" y="76"/>
                    </a:cxn>
                    <a:cxn ang="0">
                      <a:pos x="2" y="86"/>
                    </a:cxn>
                    <a:cxn ang="0">
                      <a:pos x="0" y="96"/>
                    </a:cxn>
                    <a:cxn ang="0">
                      <a:pos x="0" y="108"/>
                    </a:cxn>
                  </a:cxnLst>
                  <a:rect l="0" t="0" r="r" b="b"/>
                  <a:pathLst>
                    <a:path w="79" h="108">
                      <a:moveTo>
                        <a:pt x="79" y="108"/>
                      </a:moveTo>
                      <a:lnTo>
                        <a:pt x="79" y="108"/>
                      </a:lnTo>
                      <a:lnTo>
                        <a:pt x="79" y="96"/>
                      </a:lnTo>
                      <a:lnTo>
                        <a:pt x="78" y="86"/>
                      </a:lnTo>
                      <a:lnTo>
                        <a:pt x="75" y="76"/>
                      </a:lnTo>
                      <a:lnTo>
                        <a:pt x="73" y="67"/>
                      </a:lnTo>
                      <a:lnTo>
                        <a:pt x="68" y="59"/>
                      </a:lnTo>
                      <a:lnTo>
                        <a:pt x="62" y="53"/>
                      </a:lnTo>
                      <a:lnTo>
                        <a:pt x="56" y="49"/>
                      </a:lnTo>
                      <a:lnTo>
                        <a:pt x="49" y="45"/>
                      </a:lnTo>
                      <a:lnTo>
                        <a:pt x="49" y="45"/>
                      </a:lnTo>
                      <a:lnTo>
                        <a:pt x="52" y="42"/>
                      </a:lnTo>
                      <a:lnTo>
                        <a:pt x="55" y="37"/>
                      </a:lnTo>
                      <a:lnTo>
                        <a:pt x="57" y="30"/>
                      </a:lnTo>
                      <a:lnTo>
                        <a:pt x="59" y="24"/>
                      </a:lnTo>
                      <a:lnTo>
                        <a:pt x="59" y="24"/>
                      </a:lnTo>
                      <a:lnTo>
                        <a:pt x="59" y="19"/>
                      </a:lnTo>
                      <a:lnTo>
                        <a:pt x="57" y="14"/>
                      </a:lnTo>
                      <a:lnTo>
                        <a:pt x="56" y="10"/>
                      </a:lnTo>
                      <a:lnTo>
                        <a:pt x="54" y="6"/>
                      </a:lnTo>
                      <a:lnTo>
                        <a:pt x="50" y="4"/>
                      </a:lnTo>
                      <a:lnTo>
                        <a:pt x="47" y="1"/>
                      </a:lnTo>
                      <a:lnTo>
                        <a:pt x="43" y="0"/>
                      </a:lnTo>
                      <a:lnTo>
                        <a:pt x="40" y="0"/>
                      </a:lnTo>
                      <a:lnTo>
                        <a:pt x="40" y="0"/>
                      </a:lnTo>
                      <a:lnTo>
                        <a:pt x="36" y="0"/>
                      </a:lnTo>
                      <a:lnTo>
                        <a:pt x="32" y="1"/>
                      </a:lnTo>
                      <a:lnTo>
                        <a:pt x="28" y="4"/>
                      </a:lnTo>
                      <a:lnTo>
                        <a:pt x="26" y="6"/>
                      </a:lnTo>
                      <a:lnTo>
                        <a:pt x="23" y="10"/>
                      </a:lnTo>
                      <a:lnTo>
                        <a:pt x="22" y="14"/>
                      </a:lnTo>
                      <a:lnTo>
                        <a:pt x="21" y="19"/>
                      </a:lnTo>
                      <a:lnTo>
                        <a:pt x="19" y="24"/>
                      </a:lnTo>
                      <a:lnTo>
                        <a:pt x="19" y="24"/>
                      </a:lnTo>
                      <a:lnTo>
                        <a:pt x="21" y="30"/>
                      </a:lnTo>
                      <a:lnTo>
                        <a:pt x="23" y="37"/>
                      </a:lnTo>
                      <a:lnTo>
                        <a:pt x="27" y="42"/>
                      </a:lnTo>
                      <a:lnTo>
                        <a:pt x="31" y="45"/>
                      </a:lnTo>
                      <a:lnTo>
                        <a:pt x="31" y="45"/>
                      </a:lnTo>
                      <a:lnTo>
                        <a:pt x="23" y="49"/>
                      </a:lnTo>
                      <a:lnTo>
                        <a:pt x="16" y="53"/>
                      </a:lnTo>
                      <a:lnTo>
                        <a:pt x="11" y="59"/>
                      </a:lnTo>
                      <a:lnTo>
                        <a:pt x="7" y="67"/>
                      </a:lnTo>
                      <a:lnTo>
                        <a:pt x="4" y="76"/>
                      </a:lnTo>
                      <a:lnTo>
                        <a:pt x="2" y="86"/>
                      </a:lnTo>
                      <a:lnTo>
                        <a:pt x="0" y="96"/>
                      </a:lnTo>
                      <a:lnTo>
                        <a:pt x="0" y="108"/>
                      </a:lnTo>
                    </a:path>
                  </a:pathLst>
                </a:custGeom>
                <a:noFill/>
                <a:ln w="19050">
                  <a:solidFill>
                    <a:srgbClr val="F26E01"/>
                  </a:solidFill>
                  <a:prstDash val="solid"/>
                  <a:round/>
                  <a:headEnd/>
                  <a:tailEnd/>
                </a:ln>
              </p:spPr>
              <p:txBody>
                <a:bodyPr vert="horz" wrap="square" lIns="68580" tIns="34290" rIns="68580" bIns="34290" numCol="1" anchor="t" anchorCtr="0" compatLnSpc="1">
                  <a:prstTxWarp prst="textNoShape">
                    <a:avLst/>
                  </a:prstTxWarp>
                </a:bodyPr>
                <a:lstStyle/>
                <a:p>
                  <a:pPr defTabSz="685800" fontAlgn="base">
                    <a:spcBef>
                      <a:spcPct val="0"/>
                    </a:spcBef>
                    <a:spcAft>
                      <a:spcPct val="0"/>
                    </a:spcAft>
                    <a:defRPr/>
                  </a:pPr>
                  <a:endParaRPr lang="en-US" sz="1350" kern="0">
                    <a:solidFill>
                      <a:srgbClr val="000000"/>
                    </a:solidFill>
                    <a:latin typeface="Arial"/>
                    <a:cs typeface="Arial" charset="0"/>
                  </a:endParaRPr>
                </a:p>
              </p:txBody>
            </p:sp>
            <p:sp>
              <p:nvSpPr>
                <p:cNvPr id="107" name="Freeform 762">
                  <a:extLst>
                    <a:ext uri="{FF2B5EF4-FFF2-40B4-BE49-F238E27FC236}">
                      <a16:creationId xmlns:a16="http://schemas.microsoft.com/office/drawing/2014/main" id="{79D4CDBD-3ADC-4BE5-A2CD-A128E6EA1F7D}"/>
                    </a:ext>
                  </a:extLst>
                </p:cNvPr>
                <p:cNvSpPr>
                  <a:spLocks/>
                </p:cNvSpPr>
                <p:nvPr/>
              </p:nvSpPr>
              <p:spPr bwMode="auto">
                <a:xfrm>
                  <a:off x="4627539" y="2104827"/>
                  <a:ext cx="125413" cy="171450"/>
                </a:xfrm>
                <a:custGeom>
                  <a:avLst/>
                  <a:gdLst/>
                  <a:ahLst/>
                  <a:cxnLst>
                    <a:cxn ang="0">
                      <a:pos x="79" y="108"/>
                    </a:cxn>
                    <a:cxn ang="0">
                      <a:pos x="79" y="108"/>
                    </a:cxn>
                    <a:cxn ang="0">
                      <a:pos x="79" y="96"/>
                    </a:cxn>
                    <a:cxn ang="0">
                      <a:pos x="77" y="86"/>
                    </a:cxn>
                    <a:cxn ang="0">
                      <a:pos x="75" y="76"/>
                    </a:cxn>
                    <a:cxn ang="0">
                      <a:pos x="72" y="67"/>
                    </a:cxn>
                    <a:cxn ang="0">
                      <a:pos x="68" y="59"/>
                    </a:cxn>
                    <a:cxn ang="0">
                      <a:pos x="63" y="53"/>
                    </a:cxn>
                    <a:cxn ang="0">
                      <a:pos x="56" y="49"/>
                    </a:cxn>
                    <a:cxn ang="0">
                      <a:pos x="48" y="45"/>
                    </a:cxn>
                    <a:cxn ang="0">
                      <a:pos x="48" y="45"/>
                    </a:cxn>
                    <a:cxn ang="0">
                      <a:pos x="52" y="42"/>
                    </a:cxn>
                    <a:cxn ang="0">
                      <a:pos x="56" y="37"/>
                    </a:cxn>
                    <a:cxn ang="0">
                      <a:pos x="58" y="30"/>
                    </a:cxn>
                    <a:cxn ang="0">
                      <a:pos x="59" y="24"/>
                    </a:cxn>
                    <a:cxn ang="0">
                      <a:pos x="59" y="24"/>
                    </a:cxn>
                    <a:cxn ang="0">
                      <a:pos x="58" y="19"/>
                    </a:cxn>
                    <a:cxn ang="0">
                      <a:pos x="57" y="14"/>
                    </a:cxn>
                    <a:cxn ang="0">
                      <a:pos x="56" y="10"/>
                    </a:cxn>
                    <a:cxn ang="0">
                      <a:pos x="53" y="6"/>
                    </a:cxn>
                    <a:cxn ang="0">
                      <a:pos x="51" y="4"/>
                    </a:cxn>
                    <a:cxn ang="0">
                      <a:pos x="47" y="1"/>
                    </a:cxn>
                    <a:cxn ang="0">
                      <a:pos x="43" y="0"/>
                    </a:cxn>
                    <a:cxn ang="0">
                      <a:pos x="39" y="0"/>
                    </a:cxn>
                    <a:cxn ang="0">
                      <a:pos x="39" y="0"/>
                    </a:cxn>
                    <a:cxn ang="0">
                      <a:pos x="35" y="0"/>
                    </a:cxn>
                    <a:cxn ang="0">
                      <a:pos x="32" y="1"/>
                    </a:cxn>
                    <a:cxn ang="0">
                      <a:pos x="29" y="4"/>
                    </a:cxn>
                    <a:cxn ang="0">
                      <a:pos x="25" y="6"/>
                    </a:cxn>
                    <a:cxn ang="0">
                      <a:pos x="23" y="10"/>
                    </a:cxn>
                    <a:cxn ang="0">
                      <a:pos x="21" y="14"/>
                    </a:cxn>
                    <a:cxn ang="0">
                      <a:pos x="20" y="19"/>
                    </a:cxn>
                    <a:cxn ang="0">
                      <a:pos x="20" y="24"/>
                    </a:cxn>
                    <a:cxn ang="0">
                      <a:pos x="20" y="24"/>
                    </a:cxn>
                    <a:cxn ang="0">
                      <a:pos x="21" y="30"/>
                    </a:cxn>
                    <a:cxn ang="0">
                      <a:pos x="24" y="37"/>
                    </a:cxn>
                    <a:cxn ang="0">
                      <a:pos x="27" y="42"/>
                    </a:cxn>
                    <a:cxn ang="0">
                      <a:pos x="30" y="45"/>
                    </a:cxn>
                    <a:cxn ang="0">
                      <a:pos x="30" y="45"/>
                    </a:cxn>
                    <a:cxn ang="0">
                      <a:pos x="23" y="49"/>
                    </a:cxn>
                    <a:cxn ang="0">
                      <a:pos x="16" y="53"/>
                    </a:cxn>
                    <a:cxn ang="0">
                      <a:pos x="11" y="59"/>
                    </a:cxn>
                    <a:cxn ang="0">
                      <a:pos x="6" y="67"/>
                    </a:cxn>
                    <a:cxn ang="0">
                      <a:pos x="4" y="76"/>
                    </a:cxn>
                    <a:cxn ang="0">
                      <a:pos x="1" y="86"/>
                    </a:cxn>
                    <a:cxn ang="0">
                      <a:pos x="0" y="96"/>
                    </a:cxn>
                    <a:cxn ang="0">
                      <a:pos x="0" y="108"/>
                    </a:cxn>
                  </a:cxnLst>
                  <a:rect l="0" t="0" r="r" b="b"/>
                  <a:pathLst>
                    <a:path w="79" h="108">
                      <a:moveTo>
                        <a:pt x="79" y="108"/>
                      </a:moveTo>
                      <a:lnTo>
                        <a:pt x="79" y="108"/>
                      </a:lnTo>
                      <a:lnTo>
                        <a:pt x="79" y="96"/>
                      </a:lnTo>
                      <a:lnTo>
                        <a:pt x="77" y="86"/>
                      </a:lnTo>
                      <a:lnTo>
                        <a:pt x="75" y="76"/>
                      </a:lnTo>
                      <a:lnTo>
                        <a:pt x="72" y="67"/>
                      </a:lnTo>
                      <a:lnTo>
                        <a:pt x="68" y="59"/>
                      </a:lnTo>
                      <a:lnTo>
                        <a:pt x="63" y="53"/>
                      </a:lnTo>
                      <a:lnTo>
                        <a:pt x="56" y="49"/>
                      </a:lnTo>
                      <a:lnTo>
                        <a:pt x="48" y="45"/>
                      </a:lnTo>
                      <a:lnTo>
                        <a:pt x="48" y="45"/>
                      </a:lnTo>
                      <a:lnTo>
                        <a:pt x="52" y="42"/>
                      </a:lnTo>
                      <a:lnTo>
                        <a:pt x="56" y="37"/>
                      </a:lnTo>
                      <a:lnTo>
                        <a:pt x="58" y="30"/>
                      </a:lnTo>
                      <a:lnTo>
                        <a:pt x="59" y="24"/>
                      </a:lnTo>
                      <a:lnTo>
                        <a:pt x="59" y="24"/>
                      </a:lnTo>
                      <a:lnTo>
                        <a:pt x="58" y="19"/>
                      </a:lnTo>
                      <a:lnTo>
                        <a:pt x="57" y="14"/>
                      </a:lnTo>
                      <a:lnTo>
                        <a:pt x="56" y="10"/>
                      </a:lnTo>
                      <a:lnTo>
                        <a:pt x="53" y="6"/>
                      </a:lnTo>
                      <a:lnTo>
                        <a:pt x="51" y="4"/>
                      </a:lnTo>
                      <a:lnTo>
                        <a:pt x="47" y="1"/>
                      </a:lnTo>
                      <a:lnTo>
                        <a:pt x="43" y="0"/>
                      </a:lnTo>
                      <a:lnTo>
                        <a:pt x="39" y="0"/>
                      </a:lnTo>
                      <a:lnTo>
                        <a:pt x="39" y="0"/>
                      </a:lnTo>
                      <a:lnTo>
                        <a:pt x="35" y="0"/>
                      </a:lnTo>
                      <a:lnTo>
                        <a:pt x="32" y="1"/>
                      </a:lnTo>
                      <a:lnTo>
                        <a:pt x="29" y="4"/>
                      </a:lnTo>
                      <a:lnTo>
                        <a:pt x="25" y="6"/>
                      </a:lnTo>
                      <a:lnTo>
                        <a:pt x="23" y="10"/>
                      </a:lnTo>
                      <a:lnTo>
                        <a:pt x="21" y="14"/>
                      </a:lnTo>
                      <a:lnTo>
                        <a:pt x="20" y="19"/>
                      </a:lnTo>
                      <a:lnTo>
                        <a:pt x="20" y="24"/>
                      </a:lnTo>
                      <a:lnTo>
                        <a:pt x="20" y="24"/>
                      </a:lnTo>
                      <a:lnTo>
                        <a:pt x="21" y="30"/>
                      </a:lnTo>
                      <a:lnTo>
                        <a:pt x="24" y="37"/>
                      </a:lnTo>
                      <a:lnTo>
                        <a:pt x="27" y="42"/>
                      </a:lnTo>
                      <a:lnTo>
                        <a:pt x="30" y="45"/>
                      </a:lnTo>
                      <a:lnTo>
                        <a:pt x="30" y="45"/>
                      </a:lnTo>
                      <a:lnTo>
                        <a:pt x="23" y="49"/>
                      </a:lnTo>
                      <a:lnTo>
                        <a:pt x="16" y="53"/>
                      </a:lnTo>
                      <a:lnTo>
                        <a:pt x="11" y="59"/>
                      </a:lnTo>
                      <a:lnTo>
                        <a:pt x="6" y="67"/>
                      </a:lnTo>
                      <a:lnTo>
                        <a:pt x="4" y="76"/>
                      </a:lnTo>
                      <a:lnTo>
                        <a:pt x="1" y="86"/>
                      </a:lnTo>
                      <a:lnTo>
                        <a:pt x="0" y="96"/>
                      </a:lnTo>
                      <a:lnTo>
                        <a:pt x="0" y="108"/>
                      </a:lnTo>
                    </a:path>
                  </a:pathLst>
                </a:custGeom>
                <a:noFill/>
                <a:ln w="19050">
                  <a:solidFill>
                    <a:srgbClr val="F26E01"/>
                  </a:solidFill>
                  <a:prstDash val="solid"/>
                  <a:round/>
                  <a:headEnd/>
                  <a:tailEnd/>
                </a:ln>
              </p:spPr>
              <p:txBody>
                <a:bodyPr vert="horz" wrap="square" lIns="68580" tIns="34290" rIns="68580" bIns="34290" numCol="1" anchor="t" anchorCtr="0" compatLnSpc="1">
                  <a:prstTxWarp prst="textNoShape">
                    <a:avLst/>
                  </a:prstTxWarp>
                </a:bodyPr>
                <a:lstStyle/>
                <a:p>
                  <a:pPr defTabSz="685800" fontAlgn="base">
                    <a:spcBef>
                      <a:spcPct val="0"/>
                    </a:spcBef>
                    <a:spcAft>
                      <a:spcPct val="0"/>
                    </a:spcAft>
                    <a:defRPr/>
                  </a:pPr>
                  <a:endParaRPr lang="en-US" sz="1350" kern="0">
                    <a:solidFill>
                      <a:srgbClr val="000000"/>
                    </a:solidFill>
                    <a:latin typeface="Arial"/>
                    <a:cs typeface="Arial" charset="0"/>
                  </a:endParaRPr>
                </a:p>
              </p:txBody>
            </p:sp>
          </p:grpSp>
          <p:pic>
            <p:nvPicPr>
              <p:cNvPr id="104" name="Picture 103">
                <a:extLst>
                  <a:ext uri="{FF2B5EF4-FFF2-40B4-BE49-F238E27FC236}">
                    <a16:creationId xmlns:a16="http://schemas.microsoft.com/office/drawing/2014/main" id="{0D199981-A7D3-484E-87EA-4623DAA2DF3F}"/>
                  </a:ext>
                </a:extLst>
              </p:cNvPr>
              <p:cNvPicPr>
                <a:picLocks noChangeAspect="1"/>
              </p:cNvPicPr>
              <p:nvPr/>
            </p:nvPicPr>
            <p:blipFill>
              <a:blip r:embed="rId5" cstate="email">
                <a:duotone>
                  <a:srgbClr val="F26E01">
                    <a:shade val="45000"/>
                    <a:satMod val="135000"/>
                  </a:srgbClr>
                  <a:prstClr val="white"/>
                </a:duotone>
                <a:extLst>
                  <a:ext uri="{28A0092B-C50C-407E-A947-70E740481C1C}">
                    <a14:useLocalDpi xmlns:a14="http://schemas.microsoft.com/office/drawing/2010/main"/>
                  </a:ext>
                </a:extLst>
              </a:blip>
              <a:stretch>
                <a:fillRect/>
              </a:stretch>
            </p:blipFill>
            <p:spPr>
              <a:xfrm>
                <a:off x="4860561" y="1380701"/>
                <a:ext cx="521819" cy="40421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pic>
          <p:nvPicPr>
            <p:cNvPr id="101" name="Picture 100">
              <a:extLst>
                <a:ext uri="{FF2B5EF4-FFF2-40B4-BE49-F238E27FC236}">
                  <a16:creationId xmlns:a16="http://schemas.microsoft.com/office/drawing/2014/main" id="{CB58E782-A7A3-4F5D-B452-326C1E3C693E}"/>
                </a:ext>
              </a:extLst>
            </p:cNvPr>
            <p:cNvPicPr>
              <a:picLocks noChangeAspect="1"/>
            </p:cNvPicPr>
            <p:nvPr/>
          </p:nvPicPr>
          <p:blipFill>
            <a:blip r:embed="rId8" cstate="email">
              <a:duotone>
                <a:srgbClr val="007E12">
                  <a:shade val="45000"/>
                  <a:satMod val="135000"/>
                </a:srgbClr>
                <a:prstClr val="white"/>
              </a:duotone>
              <a:extLst>
                <a:ext uri="{28A0092B-C50C-407E-A947-70E740481C1C}">
                  <a14:useLocalDpi xmlns:a14="http://schemas.microsoft.com/office/drawing/2010/main"/>
                </a:ext>
              </a:extLst>
            </a:blip>
            <a:stretch>
              <a:fillRect/>
            </a:stretch>
          </p:blipFill>
          <p:spPr>
            <a:xfrm>
              <a:off x="726762" y="1334017"/>
              <a:ext cx="548123" cy="52957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cxnSp>
        <p:nvCxnSpPr>
          <p:cNvPr id="109" name="Straight Arrow Connector 108">
            <a:extLst>
              <a:ext uri="{FF2B5EF4-FFF2-40B4-BE49-F238E27FC236}">
                <a16:creationId xmlns:a16="http://schemas.microsoft.com/office/drawing/2014/main" id="{0A01079F-A00C-480C-AC6F-1152EAE8797D}"/>
              </a:ext>
            </a:extLst>
          </p:cNvPr>
          <p:cNvCxnSpPr/>
          <p:nvPr/>
        </p:nvCxnSpPr>
        <p:spPr>
          <a:xfrm>
            <a:off x="542527" y="2383990"/>
            <a:ext cx="11016000" cy="0"/>
          </a:xfrm>
          <a:prstGeom prst="straightConnector1">
            <a:avLst/>
          </a:prstGeom>
          <a:ln w="152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29E9217C-47CA-4C53-8B42-0124A7EAA1AC}"/>
              </a:ext>
            </a:extLst>
          </p:cNvPr>
          <p:cNvGrpSpPr/>
          <p:nvPr/>
        </p:nvGrpSpPr>
        <p:grpSpPr>
          <a:xfrm>
            <a:off x="2992987" y="2288617"/>
            <a:ext cx="277989" cy="170323"/>
            <a:chOff x="2697955" y="2308773"/>
            <a:chExt cx="282159" cy="186777"/>
          </a:xfrm>
        </p:grpSpPr>
        <p:sp>
          <p:nvSpPr>
            <p:cNvPr id="11" name="Chevron 330">
              <a:extLst>
                <a:ext uri="{FF2B5EF4-FFF2-40B4-BE49-F238E27FC236}">
                  <a16:creationId xmlns:a16="http://schemas.microsoft.com/office/drawing/2014/main" id="{FDF296F6-4ABE-4571-B930-AA18A15A28E3}"/>
                </a:ext>
              </a:extLst>
            </p:cNvPr>
            <p:cNvSpPr/>
            <p:nvPr/>
          </p:nvSpPr>
          <p:spPr>
            <a:xfrm>
              <a:off x="2807493" y="2308773"/>
              <a:ext cx="172621" cy="186777"/>
            </a:xfrm>
            <a:prstGeom prst="chevron">
              <a:avLst/>
            </a:prstGeom>
            <a:solidFill>
              <a:sysClr val="window" lastClr="FFFFFF"/>
            </a:solidFill>
            <a:ln w="25400" cap="flat" cmpd="sng" algn="ctr">
              <a:noFill/>
              <a:prstDash val="solid"/>
            </a:ln>
            <a:effectLst/>
          </p:spPr>
          <p:txBody>
            <a:bodyPr rtlCol="0" anchor="ctr"/>
            <a:lstStyle/>
            <a:p>
              <a:pPr algn="ctr" defTabSz="685800" fontAlgn="base">
                <a:spcBef>
                  <a:spcPct val="0"/>
                </a:spcBef>
                <a:spcAft>
                  <a:spcPct val="0"/>
                </a:spcAft>
                <a:defRPr/>
              </a:pPr>
              <a:endParaRPr lang="en-US" sz="1350" kern="0">
                <a:solidFill>
                  <a:srgbClr val="000000"/>
                </a:solidFill>
                <a:latin typeface="Arial"/>
              </a:endParaRPr>
            </a:p>
          </p:txBody>
        </p:sp>
        <p:sp>
          <p:nvSpPr>
            <p:cNvPr id="12" name="Chevron 331">
              <a:extLst>
                <a:ext uri="{FF2B5EF4-FFF2-40B4-BE49-F238E27FC236}">
                  <a16:creationId xmlns:a16="http://schemas.microsoft.com/office/drawing/2014/main" id="{3DF982FD-0858-48E8-8F85-71D4C4F7E05E}"/>
                </a:ext>
              </a:extLst>
            </p:cNvPr>
            <p:cNvSpPr/>
            <p:nvPr/>
          </p:nvSpPr>
          <p:spPr>
            <a:xfrm>
              <a:off x="2697955" y="2308773"/>
              <a:ext cx="172621" cy="186777"/>
            </a:xfrm>
            <a:prstGeom prst="chevron">
              <a:avLst/>
            </a:prstGeom>
            <a:solidFill>
              <a:sysClr val="window" lastClr="FFFFFF"/>
            </a:solidFill>
            <a:ln w="25400" cap="flat" cmpd="sng" algn="ctr">
              <a:noFill/>
              <a:prstDash val="solid"/>
            </a:ln>
            <a:effectLst/>
          </p:spPr>
          <p:txBody>
            <a:bodyPr rtlCol="0" anchor="ctr"/>
            <a:lstStyle/>
            <a:p>
              <a:pPr algn="ctr" defTabSz="685800" fontAlgn="base">
                <a:spcBef>
                  <a:spcPct val="0"/>
                </a:spcBef>
                <a:spcAft>
                  <a:spcPct val="0"/>
                </a:spcAft>
                <a:defRPr/>
              </a:pPr>
              <a:endParaRPr lang="en-US" sz="1350" kern="0">
                <a:solidFill>
                  <a:srgbClr val="000000"/>
                </a:solidFill>
                <a:latin typeface="Arial"/>
              </a:endParaRPr>
            </a:p>
          </p:txBody>
        </p:sp>
      </p:grpSp>
      <p:grpSp>
        <p:nvGrpSpPr>
          <p:cNvPr id="13" name="Group 12">
            <a:extLst>
              <a:ext uri="{FF2B5EF4-FFF2-40B4-BE49-F238E27FC236}">
                <a16:creationId xmlns:a16="http://schemas.microsoft.com/office/drawing/2014/main" id="{320AD8BC-BF63-4536-98E7-C033DE4B926F}"/>
              </a:ext>
            </a:extLst>
          </p:cNvPr>
          <p:cNvGrpSpPr/>
          <p:nvPr/>
        </p:nvGrpSpPr>
        <p:grpSpPr>
          <a:xfrm>
            <a:off x="5880463" y="2288617"/>
            <a:ext cx="307970" cy="170323"/>
            <a:chOff x="2697955" y="2308773"/>
            <a:chExt cx="312589" cy="186777"/>
          </a:xfrm>
        </p:grpSpPr>
        <p:sp>
          <p:nvSpPr>
            <p:cNvPr id="14" name="Chevron 333">
              <a:extLst>
                <a:ext uri="{FF2B5EF4-FFF2-40B4-BE49-F238E27FC236}">
                  <a16:creationId xmlns:a16="http://schemas.microsoft.com/office/drawing/2014/main" id="{1206DC94-FC94-468A-9261-D69315C5340B}"/>
                </a:ext>
              </a:extLst>
            </p:cNvPr>
            <p:cNvSpPr/>
            <p:nvPr/>
          </p:nvSpPr>
          <p:spPr>
            <a:xfrm>
              <a:off x="2837923" y="2308773"/>
              <a:ext cx="172621" cy="186777"/>
            </a:xfrm>
            <a:prstGeom prst="chevron">
              <a:avLst/>
            </a:prstGeom>
            <a:solidFill>
              <a:sysClr val="window" lastClr="FFFFFF"/>
            </a:solidFill>
            <a:ln w="25400" cap="flat" cmpd="sng" algn="ctr">
              <a:noFill/>
              <a:prstDash val="solid"/>
            </a:ln>
            <a:effectLst/>
          </p:spPr>
          <p:txBody>
            <a:bodyPr rtlCol="0" anchor="ctr"/>
            <a:lstStyle/>
            <a:p>
              <a:pPr algn="ctr" defTabSz="685800" fontAlgn="base">
                <a:spcBef>
                  <a:spcPct val="0"/>
                </a:spcBef>
                <a:spcAft>
                  <a:spcPct val="0"/>
                </a:spcAft>
                <a:defRPr/>
              </a:pPr>
              <a:endParaRPr lang="en-US" sz="1350" kern="0">
                <a:solidFill>
                  <a:srgbClr val="000000"/>
                </a:solidFill>
                <a:latin typeface="Arial"/>
              </a:endParaRPr>
            </a:p>
          </p:txBody>
        </p:sp>
        <p:sp>
          <p:nvSpPr>
            <p:cNvPr id="15" name="Chevron 334">
              <a:extLst>
                <a:ext uri="{FF2B5EF4-FFF2-40B4-BE49-F238E27FC236}">
                  <a16:creationId xmlns:a16="http://schemas.microsoft.com/office/drawing/2014/main" id="{FF3B24E4-87E9-4271-B4BD-5E6AB1D1D3C9}"/>
                </a:ext>
              </a:extLst>
            </p:cNvPr>
            <p:cNvSpPr/>
            <p:nvPr/>
          </p:nvSpPr>
          <p:spPr>
            <a:xfrm>
              <a:off x="2697955" y="2308773"/>
              <a:ext cx="172621" cy="186777"/>
            </a:xfrm>
            <a:prstGeom prst="chevron">
              <a:avLst/>
            </a:prstGeom>
            <a:solidFill>
              <a:sysClr val="window" lastClr="FFFFFF"/>
            </a:solidFill>
            <a:ln w="25400" cap="flat" cmpd="sng" algn="ctr">
              <a:noFill/>
              <a:prstDash val="solid"/>
            </a:ln>
            <a:effectLst/>
          </p:spPr>
          <p:txBody>
            <a:bodyPr rtlCol="0" anchor="ctr"/>
            <a:lstStyle/>
            <a:p>
              <a:pPr algn="ctr" defTabSz="685800" fontAlgn="base">
                <a:spcBef>
                  <a:spcPct val="0"/>
                </a:spcBef>
                <a:spcAft>
                  <a:spcPct val="0"/>
                </a:spcAft>
                <a:defRPr/>
              </a:pPr>
              <a:endParaRPr lang="en-US" sz="1350" kern="0">
                <a:solidFill>
                  <a:srgbClr val="000000"/>
                </a:solidFill>
                <a:latin typeface="Arial"/>
              </a:endParaRPr>
            </a:p>
          </p:txBody>
        </p:sp>
      </p:grpSp>
      <p:grpSp>
        <p:nvGrpSpPr>
          <p:cNvPr id="16" name="Group 15">
            <a:extLst>
              <a:ext uri="{FF2B5EF4-FFF2-40B4-BE49-F238E27FC236}">
                <a16:creationId xmlns:a16="http://schemas.microsoft.com/office/drawing/2014/main" id="{80AB9A9A-2B02-4808-9B96-23DF480B40FC}"/>
              </a:ext>
            </a:extLst>
          </p:cNvPr>
          <p:cNvGrpSpPr/>
          <p:nvPr/>
        </p:nvGrpSpPr>
        <p:grpSpPr>
          <a:xfrm>
            <a:off x="8697684" y="2303607"/>
            <a:ext cx="307970" cy="170323"/>
            <a:chOff x="2667525" y="2308773"/>
            <a:chExt cx="312589" cy="186777"/>
          </a:xfrm>
        </p:grpSpPr>
        <p:sp>
          <p:nvSpPr>
            <p:cNvPr id="17" name="Chevron 336">
              <a:extLst>
                <a:ext uri="{FF2B5EF4-FFF2-40B4-BE49-F238E27FC236}">
                  <a16:creationId xmlns:a16="http://schemas.microsoft.com/office/drawing/2014/main" id="{1B04FF10-75A8-4C91-8A01-17246BA104FB}"/>
                </a:ext>
              </a:extLst>
            </p:cNvPr>
            <p:cNvSpPr/>
            <p:nvPr/>
          </p:nvSpPr>
          <p:spPr>
            <a:xfrm>
              <a:off x="2807493" y="2308773"/>
              <a:ext cx="172621" cy="186777"/>
            </a:xfrm>
            <a:prstGeom prst="chevron">
              <a:avLst/>
            </a:prstGeom>
            <a:solidFill>
              <a:sysClr val="window" lastClr="FFFFFF"/>
            </a:solidFill>
            <a:ln w="25400" cap="flat" cmpd="sng" algn="ctr">
              <a:noFill/>
              <a:prstDash val="solid"/>
            </a:ln>
            <a:effectLst/>
          </p:spPr>
          <p:txBody>
            <a:bodyPr rtlCol="0" anchor="ctr"/>
            <a:lstStyle/>
            <a:p>
              <a:pPr algn="ctr" defTabSz="685800" fontAlgn="base">
                <a:spcBef>
                  <a:spcPct val="0"/>
                </a:spcBef>
                <a:spcAft>
                  <a:spcPct val="0"/>
                </a:spcAft>
                <a:defRPr/>
              </a:pPr>
              <a:endParaRPr lang="en-US" sz="1350" kern="0">
                <a:solidFill>
                  <a:srgbClr val="000000"/>
                </a:solidFill>
                <a:latin typeface="Arial"/>
              </a:endParaRPr>
            </a:p>
          </p:txBody>
        </p:sp>
        <p:sp>
          <p:nvSpPr>
            <p:cNvPr id="18" name="Chevron 337">
              <a:extLst>
                <a:ext uri="{FF2B5EF4-FFF2-40B4-BE49-F238E27FC236}">
                  <a16:creationId xmlns:a16="http://schemas.microsoft.com/office/drawing/2014/main" id="{1824E2A3-F9B7-422A-B772-3040132B871E}"/>
                </a:ext>
              </a:extLst>
            </p:cNvPr>
            <p:cNvSpPr/>
            <p:nvPr/>
          </p:nvSpPr>
          <p:spPr>
            <a:xfrm>
              <a:off x="2667525" y="2308773"/>
              <a:ext cx="172621" cy="186777"/>
            </a:xfrm>
            <a:prstGeom prst="chevron">
              <a:avLst/>
            </a:prstGeom>
            <a:solidFill>
              <a:sysClr val="window" lastClr="FFFFFF"/>
            </a:solidFill>
            <a:ln w="25400" cap="flat" cmpd="sng" algn="ctr">
              <a:noFill/>
              <a:prstDash val="solid"/>
            </a:ln>
            <a:effectLst/>
          </p:spPr>
          <p:txBody>
            <a:bodyPr rtlCol="0" anchor="ctr"/>
            <a:lstStyle/>
            <a:p>
              <a:pPr algn="ctr" defTabSz="685800" fontAlgn="base">
                <a:spcBef>
                  <a:spcPct val="0"/>
                </a:spcBef>
                <a:spcAft>
                  <a:spcPct val="0"/>
                </a:spcAft>
                <a:defRPr/>
              </a:pPr>
              <a:endParaRPr lang="en-US" sz="1350" kern="0">
                <a:solidFill>
                  <a:srgbClr val="000000"/>
                </a:solidFill>
                <a:latin typeface="Arial"/>
              </a:endParaRPr>
            </a:p>
          </p:txBody>
        </p:sp>
      </p:grpSp>
      <p:sp>
        <p:nvSpPr>
          <p:cNvPr id="9" name="Oval 8">
            <a:extLst>
              <a:ext uri="{FF2B5EF4-FFF2-40B4-BE49-F238E27FC236}">
                <a16:creationId xmlns:a16="http://schemas.microsoft.com/office/drawing/2014/main" id="{4F9B9738-C7C9-42D3-9DB6-ECE3F9EDAB86}"/>
              </a:ext>
            </a:extLst>
          </p:cNvPr>
          <p:cNvSpPr/>
          <p:nvPr/>
        </p:nvSpPr>
        <p:spPr>
          <a:xfrm>
            <a:off x="10031902" y="2186423"/>
            <a:ext cx="380785" cy="352446"/>
          </a:xfrm>
          <a:prstGeom prst="ellipse">
            <a:avLst/>
          </a:prstGeom>
          <a:solidFill>
            <a:sysClr val="window" lastClr="FFFFFF"/>
          </a:solidFill>
          <a:ln w="25400" cap="flat" cmpd="sng" algn="ctr">
            <a:solidFill>
              <a:schemeClr val="accent1"/>
            </a:solidFill>
            <a:prstDash val="solid"/>
          </a:ln>
          <a:effectLst>
            <a:glow rad="101600">
              <a:sysClr val="window" lastClr="FFFFFF">
                <a:alpha val="60000"/>
              </a:sysClr>
            </a:glow>
          </a:effectLst>
        </p:spPr>
        <p:txBody>
          <a:bodyPr rtlCol="0" anchor="ctr"/>
          <a:lstStyle/>
          <a:p>
            <a:pPr algn="ctr" defTabSz="685800" fontAlgn="base">
              <a:spcBef>
                <a:spcPct val="0"/>
              </a:spcBef>
              <a:spcAft>
                <a:spcPct val="0"/>
              </a:spcAft>
              <a:defRPr/>
            </a:pPr>
            <a:r>
              <a:rPr lang="en-US" sz="1200" b="1" kern="0">
                <a:solidFill>
                  <a:srgbClr val="0066A1"/>
                </a:solidFill>
                <a:latin typeface="Arial"/>
              </a:rPr>
              <a:t>4</a:t>
            </a:r>
          </a:p>
        </p:txBody>
      </p:sp>
      <p:sp>
        <p:nvSpPr>
          <p:cNvPr id="8" name="Oval 7">
            <a:extLst>
              <a:ext uri="{FF2B5EF4-FFF2-40B4-BE49-F238E27FC236}">
                <a16:creationId xmlns:a16="http://schemas.microsoft.com/office/drawing/2014/main" id="{8CE9F348-8431-4AD8-AD0E-3BE06FA7C058}"/>
              </a:ext>
            </a:extLst>
          </p:cNvPr>
          <p:cNvSpPr/>
          <p:nvPr/>
        </p:nvSpPr>
        <p:spPr>
          <a:xfrm>
            <a:off x="4370418" y="2185064"/>
            <a:ext cx="437288" cy="352446"/>
          </a:xfrm>
          <a:prstGeom prst="ellipse">
            <a:avLst/>
          </a:prstGeom>
          <a:solidFill>
            <a:sysClr val="window" lastClr="FFFFFF"/>
          </a:solidFill>
          <a:ln w="25400" cap="flat" cmpd="sng" algn="ctr">
            <a:solidFill>
              <a:schemeClr val="accent1"/>
            </a:solidFill>
            <a:prstDash val="solid"/>
          </a:ln>
          <a:effectLst>
            <a:glow rad="101600">
              <a:sysClr val="window" lastClr="FFFFFF">
                <a:alpha val="60000"/>
              </a:sysClr>
            </a:glow>
          </a:effectLst>
        </p:spPr>
        <p:txBody>
          <a:bodyPr rtlCol="0" anchor="ctr"/>
          <a:lstStyle/>
          <a:p>
            <a:pPr algn="ctr" defTabSz="685800" fontAlgn="base">
              <a:spcBef>
                <a:spcPct val="0"/>
              </a:spcBef>
              <a:spcAft>
                <a:spcPct val="0"/>
              </a:spcAft>
              <a:defRPr/>
            </a:pPr>
            <a:r>
              <a:rPr lang="en-US" sz="1200" b="1" kern="0">
                <a:solidFill>
                  <a:srgbClr val="0066A1"/>
                </a:solidFill>
                <a:latin typeface="Arial"/>
              </a:rPr>
              <a:t>2</a:t>
            </a:r>
          </a:p>
        </p:txBody>
      </p:sp>
      <p:sp>
        <p:nvSpPr>
          <p:cNvPr id="29" name="Oval 28">
            <a:extLst>
              <a:ext uri="{FF2B5EF4-FFF2-40B4-BE49-F238E27FC236}">
                <a16:creationId xmlns:a16="http://schemas.microsoft.com/office/drawing/2014/main" id="{A1024936-F045-4A7A-8500-6DBB61F9EA35}"/>
              </a:ext>
            </a:extLst>
          </p:cNvPr>
          <p:cNvSpPr/>
          <p:nvPr/>
        </p:nvSpPr>
        <p:spPr>
          <a:xfrm>
            <a:off x="7252353" y="2185064"/>
            <a:ext cx="353395" cy="368185"/>
          </a:xfrm>
          <a:prstGeom prst="ellipse">
            <a:avLst/>
          </a:prstGeom>
          <a:solidFill>
            <a:sysClr val="window" lastClr="FFFFFF"/>
          </a:solidFill>
          <a:ln w="25400" cap="flat" cmpd="sng" algn="ctr">
            <a:solidFill>
              <a:schemeClr val="accent1"/>
            </a:solidFill>
            <a:prstDash val="solid"/>
          </a:ln>
          <a:effectLst>
            <a:glow rad="101600">
              <a:sysClr val="window" lastClr="FFFFFF">
                <a:alpha val="60000"/>
              </a:sysClr>
            </a:glow>
          </a:effectLst>
        </p:spPr>
        <p:txBody>
          <a:bodyPr rtlCol="0" anchor="ctr"/>
          <a:lstStyle/>
          <a:p>
            <a:pPr algn="ctr" defTabSz="685800" fontAlgn="base">
              <a:spcBef>
                <a:spcPct val="0"/>
              </a:spcBef>
              <a:spcAft>
                <a:spcPct val="0"/>
              </a:spcAft>
              <a:defRPr/>
            </a:pPr>
            <a:r>
              <a:rPr lang="en-US" sz="1200" b="1" kern="0">
                <a:solidFill>
                  <a:srgbClr val="0066A1"/>
                </a:solidFill>
                <a:latin typeface="Arial"/>
              </a:rPr>
              <a:t>3</a:t>
            </a:r>
          </a:p>
        </p:txBody>
      </p:sp>
      <p:sp>
        <p:nvSpPr>
          <p:cNvPr id="30" name="Oval 29">
            <a:extLst>
              <a:ext uri="{FF2B5EF4-FFF2-40B4-BE49-F238E27FC236}">
                <a16:creationId xmlns:a16="http://schemas.microsoft.com/office/drawing/2014/main" id="{47BB42A4-05AF-49E4-A484-5429579F98CF}"/>
              </a:ext>
            </a:extLst>
          </p:cNvPr>
          <p:cNvSpPr/>
          <p:nvPr/>
        </p:nvSpPr>
        <p:spPr>
          <a:xfrm>
            <a:off x="1380154" y="2177799"/>
            <a:ext cx="380785" cy="352446"/>
          </a:xfrm>
          <a:prstGeom prst="ellipse">
            <a:avLst/>
          </a:prstGeom>
          <a:solidFill>
            <a:sysClr val="window" lastClr="FFFFFF"/>
          </a:solidFill>
          <a:ln w="25400" cap="flat" cmpd="sng" algn="ctr">
            <a:solidFill>
              <a:schemeClr val="accent1"/>
            </a:solidFill>
            <a:prstDash val="solid"/>
          </a:ln>
          <a:effectLst>
            <a:glow rad="101600">
              <a:sysClr val="window" lastClr="FFFFFF">
                <a:alpha val="60000"/>
              </a:sysClr>
            </a:glow>
          </a:effectLst>
        </p:spPr>
        <p:txBody>
          <a:bodyPr rtlCol="0" anchor="ctr"/>
          <a:lstStyle/>
          <a:p>
            <a:pPr algn="ctr" defTabSz="685800" fontAlgn="base">
              <a:spcBef>
                <a:spcPct val="0"/>
              </a:spcBef>
              <a:spcAft>
                <a:spcPct val="0"/>
              </a:spcAft>
              <a:defRPr/>
            </a:pPr>
            <a:r>
              <a:rPr lang="en-US" sz="1200" b="1" kern="0">
                <a:solidFill>
                  <a:srgbClr val="0066A1"/>
                </a:solidFill>
                <a:latin typeface="Arial"/>
              </a:rPr>
              <a:t>1</a:t>
            </a:r>
          </a:p>
        </p:txBody>
      </p:sp>
      <p:sp>
        <p:nvSpPr>
          <p:cNvPr id="3" name="Title 2">
            <a:extLst>
              <a:ext uri="{FF2B5EF4-FFF2-40B4-BE49-F238E27FC236}">
                <a16:creationId xmlns:a16="http://schemas.microsoft.com/office/drawing/2014/main" id="{29517AD0-421A-4257-BCC4-021EE9FE160D}"/>
              </a:ext>
            </a:extLst>
          </p:cNvPr>
          <p:cNvSpPr>
            <a:spLocks noGrp="1"/>
          </p:cNvSpPr>
          <p:nvPr>
            <p:ph type="title"/>
          </p:nvPr>
        </p:nvSpPr>
        <p:spPr/>
        <p:txBody>
          <a:bodyPr/>
          <a:lstStyle/>
          <a:p>
            <a:r>
              <a:rPr lang="en-US"/>
              <a:t>Details of Proposed Methodology - Option 1</a:t>
            </a:r>
            <a:endParaRPr lang="en-GB"/>
          </a:p>
        </p:txBody>
      </p:sp>
      <p:sp>
        <p:nvSpPr>
          <p:cNvPr id="2" name="Text Placeholder 1">
            <a:extLst>
              <a:ext uri="{FF2B5EF4-FFF2-40B4-BE49-F238E27FC236}">
                <a16:creationId xmlns:a16="http://schemas.microsoft.com/office/drawing/2014/main" id="{3E93BD36-5DB2-4B5B-9111-E2E7C64DFD8C}"/>
              </a:ext>
            </a:extLst>
          </p:cNvPr>
          <p:cNvSpPr txBox="1">
            <a:spLocks/>
          </p:cNvSpPr>
          <p:nvPr/>
        </p:nvSpPr>
        <p:spPr bwMode="gray">
          <a:xfrm>
            <a:off x="426379" y="661771"/>
            <a:ext cx="11436096" cy="580529"/>
          </a:xfrm>
          <a:prstGeom prst="rect">
            <a:avLst/>
          </a:prstGeom>
        </p:spPr>
        <p:txBody>
          <a:bodyPr vert="horz" lIns="91440" tIns="45720" rIns="91440" bIns="45720" rtlCol="0">
            <a:noAutofit/>
          </a:bodyPr>
          <a:lstStyle>
            <a:lvl1pPr marL="0" indent="0" algn="l" defTabSz="1219170" rtl="0" eaLnBrk="1" latinLnBrk="0" hangingPunct="1">
              <a:spcBef>
                <a:spcPts val="0"/>
              </a:spcBef>
              <a:spcAft>
                <a:spcPts val="533"/>
              </a:spcAft>
              <a:buClr>
                <a:schemeClr val="tx1"/>
              </a:buClr>
              <a:buSzPct val="100000"/>
              <a:buFont typeface="Arial" panose="020B0604020202020204" pitchFamily="34" charset="0"/>
              <a:buNone/>
              <a:defRPr lang="en-US" sz="3200" b="1" kern="1200" baseline="0" dirty="0" smtClean="0">
                <a:solidFill>
                  <a:schemeClr val="tx1"/>
                </a:solidFill>
                <a:latin typeface="+mj-lt"/>
                <a:ea typeface="Verdana" pitchFamily="34" charset="0"/>
                <a:cs typeface="Verdana" pitchFamily="34" charset="0"/>
              </a:defRPr>
            </a:lvl1pPr>
            <a:lvl2pPr marL="0" indent="0" algn="l" defTabSz="1219170" rtl="0" eaLnBrk="1" latinLnBrk="0" hangingPunct="1">
              <a:spcBef>
                <a:spcPts val="0"/>
              </a:spcBef>
              <a:spcAft>
                <a:spcPts val="533"/>
              </a:spcAft>
              <a:buClr>
                <a:schemeClr val="tx1"/>
              </a:buClr>
              <a:buFont typeface="Arial" panose="020B0604020202020204" pitchFamily="34" charset="0"/>
              <a:buNone/>
              <a:defRPr lang="en-GB" sz="2400" kern="1200" baseline="0" dirty="0">
                <a:solidFill>
                  <a:schemeClr val="tx1"/>
                </a:solidFill>
                <a:latin typeface="+mj-lt"/>
                <a:ea typeface="Verdana" pitchFamily="34" charset="0"/>
                <a:cs typeface="Verdana" pitchFamily="34" charset="0"/>
              </a:defRPr>
            </a:lvl2pPr>
            <a:lvl3pPr marL="658352" indent="-219451" algn="l" defTabSz="1219170" rtl="0" eaLnBrk="1" latinLnBrk="0" hangingPunct="1">
              <a:spcBef>
                <a:spcPts val="0"/>
              </a:spcBef>
              <a:spcAft>
                <a:spcPts val="533"/>
              </a:spcAft>
              <a:buClr>
                <a:schemeClr val="tx1"/>
              </a:buClr>
              <a:buFont typeface="Arial" pitchFamily="34" charset="0"/>
              <a:buChar char="•"/>
              <a:defRPr sz="1467" kern="1200">
                <a:solidFill>
                  <a:schemeClr val="tx1"/>
                </a:solidFill>
                <a:latin typeface="Raleway Light" pitchFamily="2" charset="0"/>
                <a:ea typeface="Verdana" pitchFamily="34" charset="0"/>
                <a:cs typeface="Verdana" pitchFamily="34" charset="0"/>
              </a:defRPr>
            </a:lvl3pPr>
            <a:lvl4pPr marL="877802" indent="-219451" algn="l" defTabSz="1219170" rtl="0" eaLnBrk="1" latinLnBrk="0" hangingPunct="1">
              <a:spcBef>
                <a:spcPts val="0"/>
              </a:spcBef>
              <a:spcAft>
                <a:spcPts val="533"/>
              </a:spcAft>
              <a:buClr>
                <a:schemeClr val="tx1"/>
              </a:buClr>
              <a:buFont typeface="Arial" panose="020B0604020202020204" pitchFamily="34" charset="0"/>
              <a:buChar char="•"/>
              <a:defRPr sz="1333" kern="1200" baseline="0">
                <a:solidFill>
                  <a:schemeClr val="tx1"/>
                </a:solidFill>
                <a:latin typeface="+mn-lt"/>
                <a:ea typeface="Verdana" pitchFamily="34" charset="0"/>
                <a:cs typeface="Verdana" pitchFamily="34" charset="0"/>
              </a:defRPr>
            </a:lvl4pPr>
            <a:lvl5pPr marL="1799955" indent="-359991" algn="l" defTabSz="1219170" rtl="0" eaLnBrk="1" latinLnBrk="0" hangingPunct="1">
              <a:spcBef>
                <a:spcPct val="20000"/>
              </a:spcBef>
              <a:buClr>
                <a:schemeClr val="tx2"/>
              </a:buClr>
              <a:buFont typeface="Arial" pitchFamily="34" charset="0"/>
              <a:buChar char="»"/>
              <a:defRPr sz="2133" kern="1200">
                <a:solidFill>
                  <a:srgbClr val="FFFFFF"/>
                </a:solidFill>
                <a:latin typeface="Verdana" pitchFamily="34" charset="0"/>
                <a:ea typeface="Verdana" pitchFamily="34" charset="0"/>
                <a:cs typeface="Verdana"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r>
              <a:rPr lang="en-IN" sz="2133">
                <a:solidFill>
                  <a:srgbClr val="0596FF"/>
                </a:solidFill>
              </a:rPr>
              <a:t>With Informatica </a:t>
            </a:r>
          </a:p>
        </p:txBody>
      </p:sp>
    </p:spTree>
    <p:extLst>
      <p:ext uri="{BB962C8B-B14F-4D97-AF65-F5344CB8AC3E}">
        <p14:creationId xmlns:p14="http://schemas.microsoft.com/office/powerpoint/2010/main" val="30762196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FB1CC14-8884-4461-B5AC-6DC9AAB2BDB1}"/>
              </a:ext>
            </a:extLst>
          </p:cNvPr>
          <p:cNvSpPr>
            <a:spLocks noGrp="1"/>
          </p:cNvSpPr>
          <p:nvPr>
            <p:ph type="title"/>
          </p:nvPr>
        </p:nvSpPr>
        <p:spPr/>
        <p:txBody>
          <a:bodyPr/>
          <a:lstStyle/>
          <a:p>
            <a:r>
              <a:rPr lang="en-IN" sz="2650" noProof="0" dirty="0">
                <a:latin typeface="Raleway SemiBold"/>
                <a:ea typeface="Verdana"/>
              </a:rPr>
              <a:t>Data Migration </a:t>
            </a:r>
            <a:r>
              <a:rPr lang="en-IN" sz="2650" dirty="0">
                <a:latin typeface="Raleway SemiBold"/>
                <a:ea typeface="Verdana"/>
              </a:rPr>
              <a:t>Solution </a:t>
            </a:r>
            <a:r>
              <a:rPr lang="en-IN" sz="2650" noProof="0" dirty="0">
                <a:latin typeface="Raleway SemiBold"/>
                <a:ea typeface="Verdana"/>
              </a:rPr>
              <a:t>– Option 2</a:t>
            </a:r>
            <a:endParaRPr lang="en-GB" sz="2650" dirty="0">
              <a:latin typeface="Raleway SemiBold"/>
              <a:ea typeface="Verdana"/>
            </a:endParaRPr>
          </a:p>
        </p:txBody>
      </p:sp>
      <p:sp>
        <p:nvSpPr>
          <p:cNvPr id="303" name="Text Placeholder 1">
            <a:extLst>
              <a:ext uri="{FF2B5EF4-FFF2-40B4-BE49-F238E27FC236}">
                <a16:creationId xmlns:a16="http://schemas.microsoft.com/office/drawing/2014/main" id="{84244E65-9B5F-4CD3-9D58-0A2E1555795B}"/>
              </a:ext>
            </a:extLst>
          </p:cNvPr>
          <p:cNvSpPr>
            <a:spLocks noGrp="1"/>
          </p:cNvSpPr>
          <p:nvPr>
            <p:ph type="body" sz="quarter" idx="10"/>
          </p:nvPr>
        </p:nvSpPr>
        <p:spPr>
          <a:xfrm>
            <a:off x="371932" y="654302"/>
            <a:ext cx="11436096" cy="580529"/>
          </a:xfrm>
        </p:spPr>
        <p:txBody>
          <a:bodyPr/>
          <a:lstStyle/>
          <a:p>
            <a:r>
              <a:rPr lang="en-IN"/>
              <a:t>With SSMA and SSIS</a:t>
            </a:r>
            <a:endParaRPr lang="en-IN" noProof="0"/>
          </a:p>
        </p:txBody>
      </p:sp>
      <p:grpSp>
        <p:nvGrpSpPr>
          <p:cNvPr id="164" name="Group 163">
            <a:extLst>
              <a:ext uri="{FF2B5EF4-FFF2-40B4-BE49-F238E27FC236}">
                <a16:creationId xmlns:a16="http://schemas.microsoft.com/office/drawing/2014/main" id="{DFE0239B-7D62-4430-A052-139FC163CB28}"/>
              </a:ext>
            </a:extLst>
          </p:cNvPr>
          <p:cNvGrpSpPr/>
          <p:nvPr/>
        </p:nvGrpSpPr>
        <p:grpSpPr>
          <a:xfrm>
            <a:off x="191198" y="1519528"/>
            <a:ext cx="11809603" cy="4504039"/>
            <a:chOff x="217942" y="1519528"/>
            <a:chExt cx="11809603" cy="4504039"/>
          </a:xfrm>
        </p:grpSpPr>
        <p:sp>
          <p:nvSpPr>
            <p:cNvPr id="165" name="Rectangle: Rounded Corners 164">
              <a:extLst>
                <a:ext uri="{FF2B5EF4-FFF2-40B4-BE49-F238E27FC236}">
                  <a16:creationId xmlns:a16="http://schemas.microsoft.com/office/drawing/2014/main" id="{3AA72CFA-C611-4EFB-A05E-110F9AD1B5EA}"/>
                </a:ext>
              </a:extLst>
            </p:cNvPr>
            <p:cNvSpPr/>
            <p:nvPr/>
          </p:nvSpPr>
          <p:spPr>
            <a:xfrm>
              <a:off x="5778741" y="1519528"/>
              <a:ext cx="3716215" cy="4387978"/>
            </a:xfrm>
            <a:prstGeom prst="roundRect">
              <a:avLst/>
            </a:prstGeom>
            <a:solidFill>
              <a:schemeClr val="accent1">
                <a:lumMod val="20000"/>
                <a:lumOff val="8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200"/>
            </a:p>
          </p:txBody>
        </p:sp>
        <p:sp>
          <p:nvSpPr>
            <p:cNvPr id="166" name="Rectangle: Rounded Corners 165">
              <a:extLst>
                <a:ext uri="{FF2B5EF4-FFF2-40B4-BE49-F238E27FC236}">
                  <a16:creationId xmlns:a16="http://schemas.microsoft.com/office/drawing/2014/main" id="{F30FC3AD-3BA3-4D30-BD04-56912D87B4AB}"/>
                </a:ext>
              </a:extLst>
            </p:cNvPr>
            <p:cNvSpPr/>
            <p:nvPr/>
          </p:nvSpPr>
          <p:spPr>
            <a:xfrm>
              <a:off x="1819017" y="1561559"/>
              <a:ext cx="2562498" cy="4387979"/>
            </a:xfrm>
            <a:prstGeom prst="roundRect">
              <a:avLst/>
            </a:prstGeom>
            <a:solidFill>
              <a:schemeClr val="accent1">
                <a:lumMod val="20000"/>
                <a:lumOff val="8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200"/>
            </a:p>
          </p:txBody>
        </p:sp>
        <p:sp>
          <p:nvSpPr>
            <p:cNvPr id="167" name="Text Box 58">
              <a:extLst>
                <a:ext uri="{FF2B5EF4-FFF2-40B4-BE49-F238E27FC236}">
                  <a16:creationId xmlns:a16="http://schemas.microsoft.com/office/drawing/2014/main" id="{FD66A827-40A0-4668-B91F-354117AB12CD}"/>
                </a:ext>
              </a:extLst>
            </p:cNvPr>
            <p:cNvSpPr txBox="1">
              <a:spLocks noChangeArrowheads="1"/>
            </p:cNvSpPr>
            <p:nvPr/>
          </p:nvSpPr>
          <p:spPr bwMode="auto">
            <a:xfrm>
              <a:off x="357696" y="1835389"/>
              <a:ext cx="996312" cy="514017"/>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50" b="1" i="1" u="none" strike="noStrike" kern="0" cap="none" spc="0" normalizeH="0" baseline="0" noProof="0">
                  <a:ln>
                    <a:noFill/>
                  </a:ln>
                  <a:solidFill>
                    <a:prstClr val="black"/>
                  </a:solidFill>
                  <a:effectLst/>
                  <a:uLnTx/>
                  <a:uFillTx/>
                  <a:latin typeface="Verdana"/>
                  <a:ea typeface="MS PGothic" panose="020B0600070205080204" pitchFamily="34" charset="-128"/>
                  <a:cs typeface="Arial" panose="020B0604020202020204" pitchFamily="34" charset="0"/>
                </a:rPr>
                <a:t>SLX</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50" b="1" i="1" u="none" strike="noStrike" kern="0" cap="none" spc="0" normalizeH="0" baseline="0" noProof="0">
                  <a:ln>
                    <a:noFill/>
                  </a:ln>
                  <a:solidFill>
                    <a:prstClr val="black"/>
                  </a:solidFill>
                  <a:effectLst/>
                  <a:uLnTx/>
                  <a:uFillTx/>
                  <a:latin typeface="Verdana"/>
                  <a:ea typeface="MS PGothic" panose="020B0600070205080204" pitchFamily="34" charset="-128"/>
                  <a:cs typeface="Arial" panose="020B0604020202020204" pitchFamily="34" charset="0"/>
                </a:rPr>
                <a:t>System</a:t>
              </a:r>
              <a:endParaRPr kumimoji="0" lang="en-US" sz="1050" b="1" i="1" u="none" strike="noStrike" kern="0" cap="none" spc="0" normalizeH="0" baseline="0" noProof="0">
                <a:ln>
                  <a:noFill/>
                </a:ln>
                <a:solidFill>
                  <a:prstClr val="black"/>
                </a:solidFill>
                <a:effectLst/>
                <a:uLnTx/>
                <a:uFillTx/>
                <a:latin typeface="Verdana"/>
                <a:ea typeface="+mn-ea"/>
                <a:cs typeface="Arial" charset="0"/>
              </a:endParaRPr>
            </a:p>
          </p:txBody>
        </p:sp>
        <p:sp>
          <p:nvSpPr>
            <p:cNvPr id="168" name="Rectangle 167">
              <a:extLst>
                <a:ext uri="{FF2B5EF4-FFF2-40B4-BE49-F238E27FC236}">
                  <a16:creationId xmlns:a16="http://schemas.microsoft.com/office/drawing/2014/main" id="{62A01610-1390-459F-93ED-4EEF3E727DAC}"/>
                </a:ext>
              </a:extLst>
            </p:cNvPr>
            <p:cNvSpPr/>
            <p:nvPr/>
          </p:nvSpPr>
          <p:spPr>
            <a:xfrm>
              <a:off x="5993542" y="2939557"/>
              <a:ext cx="3351415" cy="2511929"/>
            </a:xfrm>
            <a:prstGeom prst="rect">
              <a:avLst/>
            </a:prstGeom>
            <a:solidFill>
              <a:srgbClr val="0089C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a:ln>
                  <a:noFill/>
                </a:ln>
                <a:solidFill>
                  <a:prstClr val="white"/>
                </a:solidFill>
                <a:effectLst/>
                <a:uLnTx/>
                <a:uFillTx/>
                <a:latin typeface="Verdana"/>
                <a:ea typeface="+mn-ea"/>
                <a:cs typeface="+mn-cs"/>
              </a:endParaRPr>
            </a:p>
          </p:txBody>
        </p:sp>
        <p:sp>
          <p:nvSpPr>
            <p:cNvPr id="169" name="Rectangle 168">
              <a:extLst>
                <a:ext uri="{FF2B5EF4-FFF2-40B4-BE49-F238E27FC236}">
                  <a16:creationId xmlns:a16="http://schemas.microsoft.com/office/drawing/2014/main" id="{1A19C1E7-A09C-4383-92BA-4271BED1D53C}"/>
                </a:ext>
              </a:extLst>
            </p:cNvPr>
            <p:cNvSpPr/>
            <p:nvPr/>
          </p:nvSpPr>
          <p:spPr>
            <a:xfrm>
              <a:off x="6106419" y="3132732"/>
              <a:ext cx="1867829" cy="5807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solidFill>
                    <a:prstClr val="white"/>
                  </a:solidFill>
                  <a:effectLst/>
                  <a:uLnTx/>
                  <a:uFillTx/>
                  <a:latin typeface="Verdana"/>
                  <a:ea typeface="+mn-ea"/>
                  <a:cs typeface="+mn-cs"/>
                </a:rPr>
                <a:t>Schema Mapping</a:t>
              </a:r>
            </a:p>
          </p:txBody>
        </p:sp>
        <p:sp>
          <p:nvSpPr>
            <p:cNvPr id="170" name="Rectangle 169">
              <a:extLst>
                <a:ext uri="{FF2B5EF4-FFF2-40B4-BE49-F238E27FC236}">
                  <a16:creationId xmlns:a16="http://schemas.microsoft.com/office/drawing/2014/main" id="{263D43C4-8543-4A65-8B8D-DAC64AF1E66D}"/>
                </a:ext>
              </a:extLst>
            </p:cNvPr>
            <p:cNvSpPr/>
            <p:nvPr/>
          </p:nvSpPr>
          <p:spPr>
            <a:xfrm>
              <a:off x="6762730" y="3366500"/>
              <a:ext cx="2506146" cy="5807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solidFill>
                    <a:prstClr val="white"/>
                  </a:solidFill>
                  <a:effectLst/>
                  <a:uLnTx/>
                  <a:uFillTx/>
                  <a:latin typeface="Verdana"/>
                  <a:ea typeface="+mn-ea"/>
                  <a:cs typeface="+mn-cs"/>
                </a:rPr>
                <a:t>Business Entity Mapping</a:t>
              </a:r>
            </a:p>
          </p:txBody>
        </p:sp>
        <p:sp>
          <p:nvSpPr>
            <p:cNvPr id="171" name="Rectangle 170">
              <a:extLst>
                <a:ext uri="{FF2B5EF4-FFF2-40B4-BE49-F238E27FC236}">
                  <a16:creationId xmlns:a16="http://schemas.microsoft.com/office/drawing/2014/main" id="{5729DE0C-5381-4D98-9E50-2714955B9403}"/>
                </a:ext>
              </a:extLst>
            </p:cNvPr>
            <p:cNvSpPr/>
            <p:nvPr/>
          </p:nvSpPr>
          <p:spPr>
            <a:xfrm>
              <a:off x="6076905" y="3622883"/>
              <a:ext cx="2506146" cy="5807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solidFill>
                    <a:prstClr val="white"/>
                  </a:solidFill>
                  <a:effectLst/>
                  <a:uLnTx/>
                  <a:uFillTx/>
                  <a:latin typeface="Verdana"/>
                  <a:ea typeface="+mn-ea"/>
                  <a:cs typeface="+mn-cs"/>
                </a:rPr>
                <a:t>Integrity Mapping</a:t>
              </a:r>
            </a:p>
          </p:txBody>
        </p:sp>
        <p:sp>
          <p:nvSpPr>
            <p:cNvPr id="172" name="Rectangle 171">
              <a:extLst>
                <a:ext uri="{FF2B5EF4-FFF2-40B4-BE49-F238E27FC236}">
                  <a16:creationId xmlns:a16="http://schemas.microsoft.com/office/drawing/2014/main" id="{19519804-C2CB-4013-8659-EAA0A83B3103}"/>
                </a:ext>
              </a:extLst>
            </p:cNvPr>
            <p:cNvSpPr/>
            <p:nvPr/>
          </p:nvSpPr>
          <p:spPr>
            <a:xfrm>
              <a:off x="6751816" y="3863394"/>
              <a:ext cx="2506146" cy="5807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solidFill>
                    <a:prstClr val="white"/>
                  </a:solidFill>
                  <a:effectLst/>
                  <a:uLnTx/>
                  <a:uFillTx/>
                  <a:latin typeface="Verdana"/>
                  <a:ea typeface="+mn-ea"/>
                  <a:cs typeface="+mn-cs"/>
                </a:rPr>
                <a:t>Character set Mapping</a:t>
              </a:r>
            </a:p>
          </p:txBody>
        </p:sp>
        <p:sp>
          <p:nvSpPr>
            <p:cNvPr id="173" name="Rectangle 172">
              <a:extLst>
                <a:ext uri="{FF2B5EF4-FFF2-40B4-BE49-F238E27FC236}">
                  <a16:creationId xmlns:a16="http://schemas.microsoft.com/office/drawing/2014/main" id="{90FC3B86-FE77-479E-9B41-430DF88D056D}"/>
                </a:ext>
              </a:extLst>
            </p:cNvPr>
            <p:cNvSpPr/>
            <p:nvPr/>
          </p:nvSpPr>
          <p:spPr>
            <a:xfrm>
              <a:off x="6076905" y="4067667"/>
              <a:ext cx="2506146" cy="5807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solidFill>
                    <a:prstClr val="white"/>
                  </a:solidFill>
                  <a:effectLst/>
                  <a:uLnTx/>
                  <a:uFillTx/>
                  <a:latin typeface="Verdana"/>
                  <a:ea typeface="+mn-ea"/>
                  <a:cs typeface="+mn-cs"/>
                </a:rPr>
                <a:t>Data Type Mapping</a:t>
              </a:r>
            </a:p>
          </p:txBody>
        </p:sp>
        <p:sp>
          <p:nvSpPr>
            <p:cNvPr id="174" name="Rectangle 173">
              <a:extLst>
                <a:ext uri="{FF2B5EF4-FFF2-40B4-BE49-F238E27FC236}">
                  <a16:creationId xmlns:a16="http://schemas.microsoft.com/office/drawing/2014/main" id="{B933A310-9B0C-4F61-8457-382823F3F997}"/>
                </a:ext>
              </a:extLst>
            </p:cNvPr>
            <p:cNvSpPr/>
            <p:nvPr/>
          </p:nvSpPr>
          <p:spPr>
            <a:xfrm>
              <a:off x="6762730" y="4243527"/>
              <a:ext cx="2506146" cy="5807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solidFill>
                    <a:prstClr val="white"/>
                  </a:solidFill>
                  <a:effectLst/>
                  <a:uLnTx/>
                  <a:uFillTx/>
                  <a:latin typeface="Verdana"/>
                  <a:ea typeface="+mn-ea"/>
                  <a:cs typeface="+mn-cs"/>
                </a:rPr>
                <a:t>Rules Extraction</a:t>
              </a:r>
            </a:p>
          </p:txBody>
        </p:sp>
        <p:sp>
          <p:nvSpPr>
            <p:cNvPr id="175" name="Rectangle 174">
              <a:extLst>
                <a:ext uri="{FF2B5EF4-FFF2-40B4-BE49-F238E27FC236}">
                  <a16:creationId xmlns:a16="http://schemas.microsoft.com/office/drawing/2014/main" id="{77E7F5D5-3E6C-4CDB-8F09-897E2E76302C}"/>
                </a:ext>
              </a:extLst>
            </p:cNvPr>
            <p:cNvSpPr/>
            <p:nvPr/>
          </p:nvSpPr>
          <p:spPr>
            <a:xfrm>
              <a:off x="1953903" y="3558406"/>
              <a:ext cx="2326814" cy="1893080"/>
            </a:xfrm>
            <a:prstGeom prst="rect">
              <a:avLst/>
            </a:prstGeom>
            <a:solidFill>
              <a:srgbClr val="0089C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FFFFFF"/>
                  </a:solidFill>
                  <a:effectLst/>
                  <a:uLnTx/>
                  <a:uFillTx/>
                  <a:latin typeface="Verdana"/>
                  <a:ea typeface="+mn-ea"/>
                  <a:cs typeface="+mn-cs"/>
                </a:rPr>
                <a:t>Data Extraction</a:t>
              </a:r>
            </a:p>
          </p:txBody>
        </p:sp>
        <p:grpSp>
          <p:nvGrpSpPr>
            <p:cNvPr id="176" name="Group 175">
              <a:extLst>
                <a:ext uri="{FF2B5EF4-FFF2-40B4-BE49-F238E27FC236}">
                  <a16:creationId xmlns:a16="http://schemas.microsoft.com/office/drawing/2014/main" id="{2DA2342E-BBBD-45DC-88E2-FA3726659191}"/>
                </a:ext>
              </a:extLst>
            </p:cNvPr>
            <p:cNvGrpSpPr/>
            <p:nvPr/>
          </p:nvGrpSpPr>
          <p:grpSpPr>
            <a:xfrm>
              <a:off x="1953903" y="1762846"/>
              <a:ext cx="2326814" cy="1531140"/>
              <a:chOff x="2417723" y="1762846"/>
              <a:chExt cx="2326814" cy="1531140"/>
            </a:xfrm>
          </p:grpSpPr>
          <p:sp>
            <p:nvSpPr>
              <p:cNvPr id="244" name="Rectangle 243">
                <a:extLst>
                  <a:ext uri="{FF2B5EF4-FFF2-40B4-BE49-F238E27FC236}">
                    <a16:creationId xmlns:a16="http://schemas.microsoft.com/office/drawing/2014/main" id="{49078432-9C02-441E-B7F0-C7738911EF15}"/>
                  </a:ext>
                </a:extLst>
              </p:cNvPr>
              <p:cNvSpPr/>
              <p:nvPr/>
            </p:nvSpPr>
            <p:spPr>
              <a:xfrm>
                <a:off x="2417723" y="1762846"/>
                <a:ext cx="2326814" cy="1531140"/>
              </a:xfrm>
              <a:prstGeom prst="rect">
                <a:avLst/>
              </a:prstGeom>
              <a:solidFill>
                <a:srgbClr val="0089C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FFFFFF"/>
                    </a:solidFill>
                    <a:effectLst/>
                    <a:uLnTx/>
                    <a:uFillTx/>
                    <a:latin typeface="Verdana"/>
                    <a:ea typeface="+mn-ea"/>
                    <a:cs typeface="+mn-cs"/>
                  </a:rPr>
                  <a:t>Schema Extraction</a:t>
                </a:r>
              </a:p>
            </p:txBody>
          </p:sp>
          <p:sp>
            <p:nvSpPr>
              <p:cNvPr id="245" name="AutoShape 50">
                <a:extLst>
                  <a:ext uri="{FF2B5EF4-FFF2-40B4-BE49-F238E27FC236}">
                    <a16:creationId xmlns:a16="http://schemas.microsoft.com/office/drawing/2014/main" id="{4C812C2B-3BA2-4563-AE5A-07A6DD8E358E}"/>
                  </a:ext>
                </a:extLst>
              </p:cNvPr>
              <p:cNvSpPr>
                <a:spLocks noChangeArrowheads="1"/>
              </p:cNvSpPr>
              <p:nvPr/>
            </p:nvSpPr>
            <p:spPr bwMode="auto">
              <a:xfrm>
                <a:off x="2724851" y="2154478"/>
                <a:ext cx="1785496" cy="306228"/>
              </a:xfrm>
              <a:prstGeom prst="foldedCorner">
                <a:avLst>
                  <a:gd name="adj" fmla="val 12500"/>
                </a:avLst>
              </a:prstGeom>
              <a:solidFill>
                <a:schemeClr val="accent1"/>
              </a:solidFill>
              <a:ln w="9525">
                <a:noFill/>
                <a:round/>
                <a:headEnd/>
                <a:tailEnd/>
              </a:ln>
            </p:spPr>
            <p:txBody>
              <a:bodyPr vert="horz" wrap="square" lIns="55778" tIns="27889" rIns="55778" bIns="27889"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Verdana"/>
                    <a:ea typeface="MS PGothic" panose="020B0600070205080204" pitchFamily="34" charset="-128"/>
                    <a:cs typeface="Arial" panose="020B0604020202020204" pitchFamily="34" charset="0"/>
                  </a:rPr>
                  <a:t>Database Structure</a:t>
                </a:r>
                <a:endParaRPr kumimoji="0" lang="en-US" sz="1000" b="0" i="0" u="none" strike="noStrike" kern="0" cap="none" spc="0" normalizeH="0" baseline="0" noProof="0">
                  <a:ln>
                    <a:noFill/>
                  </a:ln>
                  <a:solidFill>
                    <a:srgbClr val="FFFFFF"/>
                  </a:solidFill>
                  <a:effectLst/>
                  <a:uLnTx/>
                  <a:uFillTx/>
                  <a:latin typeface="Verdana"/>
                  <a:ea typeface="+mn-ea"/>
                  <a:cs typeface="Arial" charset="0"/>
                </a:endParaRPr>
              </a:p>
            </p:txBody>
          </p:sp>
          <p:sp>
            <p:nvSpPr>
              <p:cNvPr id="246" name="AutoShape 49">
                <a:extLst>
                  <a:ext uri="{FF2B5EF4-FFF2-40B4-BE49-F238E27FC236}">
                    <a16:creationId xmlns:a16="http://schemas.microsoft.com/office/drawing/2014/main" id="{188C7DAA-25B1-44C5-8D73-7910A8816952}"/>
                  </a:ext>
                </a:extLst>
              </p:cNvPr>
              <p:cNvSpPr>
                <a:spLocks noChangeArrowheads="1"/>
              </p:cNvSpPr>
              <p:nvPr/>
            </p:nvSpPr>
            <p:spPr bwMode="auto">
              <a:xfrm>
                <a:off x="2724851" y="2518765"/>
                <a:ext cx="1785496" cy="306228"/>
              </a:xfrm>
              <a:prstGeom prst="foldedCorner">
                <a:avLst>
                  <a:gd name="adj" fmla="val 12500"/>
                </a:avLst>
              </a:prstGeom>
              <a:solidFill>
                <a:schemeClr val="accent1"/>
              </a:solidFill>
              <a:ln w="9525">
                <a:noFill/>
                <a:round/>
                <a:headEnd/>
                <a:tailEnd/>
              </a:ln>
            </p:spPr>
            <p:txBody>
              <a:bodyPr vert="horz" wrap="square" lIns="55778" tIns="27889" rIns="55778" bIns="27889" numCol="1" anchor="ctr" anchorCtr="0" compatLnSpc="1">
                <a:prstTxWarp prst="textNoShape">
                  <a:avLst/>
                </a:prstTxWarp>
              </a:bodyPr>
              <a:lstStyle/>
              <a:p>
                <a:pPr algn="ctr" eaLnBrk="0" fontAlgn="base" hangingPunct="0">
                  <a:spcBef>
                    <a:spcPct val="0"/>
                  </a:spcBef>
                  <a:spcAft>
                    <a:spcPct val="0"/>
                  </a:spcAft>
                </a:pPr>
                <a:r>
                  <a:rPr lang="en-US" sz="1000" kern="0">
                    <a:solidFill>
                      <a:srgbClr val="FFFFFF"/>
                    </a:solidFill>
                    <a:latin typeface="Verdana"/>
                    <a:ea typeface="MS PGothic" panose="020B0600070205080204" pitchFamily="34" charset="-128"/>
                    <a:cs typeface="Arial" panose="020B0604020202020204" pitchFamily="34" charset="0"/>
                  </a:rPr>
                  <a:t>Data Types</a:t>
                </a:r>
              </a:p>
            </p:txBody>
          </p:sp>
          <p:sp>
            <p:nvSpPr>
              <p:cNvPr id="247" name="AutoShape 48">
                <a:extLst>
                  <a:ext uri="{FF2B5EF4-FFF2-40B4-BE49-F238E27FC236}">
                    <a16:creationId xmlns:a16="http://schemas.microsoft.com/office/drawing/2014/main" id="{30D0687D-6443-4B35-A407-59CE10244A67}"/>
                  </a:ext>
                </a:extLst>
              </p:cNvPr>
              <p:cNvSpPr>
                <a:spLocks noChangeArrowheads="1"/>
              </p:cNvSpPr>
              <p:nvPr/>
            </p:nvSpPr>
            <p:spPr bwMode="auto">
              <a:xfrm>
                <a:off x="2724851" y="2875031"/>
                <a:ext cx="1785496" cy="306228"/>
              </a:xfrm>
              <a:prstGeom prst="foldedCorner">
                <a:avLst>
                  <a:gd name="adj" fmla="val 12500"/>
                </a:avLst>
              </a:prstGeom>
              <a:solidFill>
                <a:schemeClr val="accent1"/>
              </a:solidFill>
              <a:ln w="9525">
                <a:noFill/>
                <a:round/>
                <a:headEnd/>
                <a:tailEnd/>
              </a:ln>
            </p:spPr>
            <p:txBody>
              <a:bodyPr vert="horz" wrap="square" lIns="55778" tIns="27889" rIns="55778" bIns="27889" numCol="1" anchor="ctr" anchorCtr="0" compatLnSpc="1">
                <a:prstTxWarp prst="textNoShape">
                  <a:avLst/>
                </a:prstTxWarp>
              </a:bodyPr>
              <a:lstStyle/>
              <a:p>
                <a:pPr algn="ctr" eaLnBrk="0" fontAlgn="base" hangingPunct="0">
                  <a:spcBef>
                    <a:spcPct val="0"/>
                  </a:spcBef>
                  <a:spcAft>
                    <a:spcPct val="0"/>
                  </a:spcAft>
                </a:pPr>
                <a:r>
                  <a:rPr lang="en-US" sz="1000" kern="0">
                    <a:solidFill>
                      <a:srgbClr val="FFFFFF"/>
                    </a:solidFill>
                    <a:latin typeface="Verdana"/>
                    <a:ea typeface="MS PGothic" panose="020B0600070205080204" pitchFamily="34" charset="-128"/>
                    <a:cs typeface="Arial" panose="020B0604020202020204" pitchFamily="34" charset="0"/>
                  </a:rPr>
                  <a:t>Database Properties</a:t>
                </a:r>
              </a:p>
            </p:txBody>
          </p:sp>
        </p:grpSp>
        <p:sp>
          <p:nvSpPr>
            <p:cNvPr id="177" name="Rectangle 176">
              <a:extLst>
                <a:ext uri="{FF2B5EF4-FFF2-40B4-BE49-F238E27FC236}">
                  <a16:creationId xmlns:a16="http://schemas.microsoft.com/office/drawing/2014/main" id="{640A8249-DCE6-499F-9894-17FE93DA72E9}"/>
                </a:ext>
              </a:extLst>
            </p:cNvPr>
            <p:cNvSpPr/>
            <p:nvPr/>
          </p:nvSpPr>
          <p:spPr>
            <a:xfrm>
              <a:off x="6071153" y="4465387"/>
              <a:ext cx="2506146" cy="5807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solidFill>
                    <a:prstClr val="white"/>
                  </a:solidFill>
                  <a:effectLst/>
                  <a:uLnTx/>
                  <a:uFillTx/>
                  <a:latin typeface="Verdana"/>
                  <a:ea typeface="+mn-ea"/>
                  <a:cs typeface="+mn-cs"/>
                </a:rPr>
                <a:t>Integrity Validation Check</a:t>
              </a:r>
            </a:p>
          </p:txBody>
        </p:sp>
        <p:sp>
          <p:nvSpPr>
            <p:cNvPr id="178" name="Rectangle 177">
              <a:extLst>
                <a:ext uri="{FF2B5EF4-FFF2-40B4-BE49-F238E27FC236}">
                  <a16:creationId xmlns:a16="http://schemas.microsoft.com/office/drawing/2014/main" id="{F71ECE78-C683-4557-A6F0-F13FF359E1C0}"/>
                </a:ext>
              </a:extLst>
            </p:cNvPr>
            <p:cNvSpPr/>
            <p:nvPr/>
          </p:nvSpPr>
          <p:spPr>
            <a:xfrm>
              <a:off x="5993542" y="1776098"/>
              <a:ext cx="3351415" cy="823094"/>
            </a:xfrm>
            <a:prstGeom prst="rect">
              <a:avLst/>
            </a:prstGeom>
            <a:solidFill>
              <a:srgbClr val="0089C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prstClr val="white"/>
                  </a:solidFill>
                  <a:effectLst/>
                  <a:uLnTx/>
                  <a:uFillTx/>
                  <a:latin typeface="Verdana"/>
                  <a:ea typeface="+mn-ea"/>
                  <a:cs typeface="+mn-cs"/>
                </a:rPr>
                <a:t>Database Re-design</a:t>
              </a:r>
            </a:p>
          </p:txBody>
        </p:sp>
        <p:cxnSp>
          <p:nvCxnSpPr>
            <p:cNvPr id="179" name="Straight Arrow Connector 178">
              <a:extLst>
                <a:ext uri="{FF2B5EF4-FFF2-40B4-BE49-F238E27FC236}">
                  <a16:creationId xmlns:a16="http://schemas.microsoft.com/office/drawing/2014/main" id="{D88566BD-1AAC-41C7-8538-99D537C7AB01}"/>
                </a:ext>
              </a:extLst>
            </p:cNvPr>
            <p:cNvCxnSpPr>
              <a:cxnSpLocks/>
              <a:stCxn id="228" idx="3"/>
              <a:endCxn id="244" idx="1"/>
            </p:cNvCxnSpPr>
            <p:nvPr/>
          </p:nvCxnSpPr>
          <p:spPr>
            <a:xfrm flipV="1">
              <a:off x="1534052" y="2528416"/>
              <a:ext cx="419851" cy="1267424"/>
            </a:xfrm>
            <a:prstGeom prst="straightConnector1">
              <a:avLst/>
            </a:prstGeom>
            <a:ln w="9525">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80" name="Straight Arrow Connector 179">
              <a:extLst>
                <a:ext uri="{FF2B5EF4-FFF2-40B4-BE49-F238E27FC236}">
                  <a16:creationId xmlns:a16="http://schemas.microsoft.com/office/drawing/2014/main" id="{A0289657-3290-4D90-9A63-9F35177DC041}"/>
                </a:ext>
              </a:extLst>
            </p:cNvPr>
            <p:cNvCxnSpPr>
              <a:cxnSpLocks/>
              <a:stCxn id="228" idx="3"/>
              <a:endCxn id="175" idx="1"/>
            </p:cNvCxnSpPr>
            <p:nvPr/>
          </p:nvCxnSpPr>
          <p:spPr>
            <a:xfrm>
              <a:off x="1534052" y="3795840"/>
              <a:ext cx="419851" cy="709106"/>
            </a:xfrm>
            <a:prstGeom prst="straightConnector1">
              <a:avLst/>
            </a:prstGeom>
            <a:ln w="9525">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81" name="Rectangle 180">
              <a:extLst>
                <a:ext uri="{FF2B5EF4-FFF2-40B4-BE49-F238E27FC236}">
                  <a16:creationId xmlns:a16="http://schemas.microsoft.com/office/drawing/2014/main" id="{B08A43CC-FACD-488F-931C-074FDC6E7676}"/>
                </a:ext>
              </a:extLst>
            </p:cNvPr>
            <p:cNvSpPr>
              <a:spLocks noChangeArrowheads="1"/>
            </p:cNvSpPr>
            <p:nvPr/>
          </p:nvSpPr>
          <p:spPr bwMode="auto">
            <a:xfrm>
              <a:off x="2043358" y="4780687"/>
              <a:ext cx="967326" cy="515754"/>
            </a:xfrm>
            <a:prstGeom prst="rect">
              <a:avLst/>
            </a:prstGeom>
            <a:solidFill>
              <a:schemeClr val="accent1"/>
            </a:solidFill>
            <a:ln w="9525">
              <a:noFill/>
              <a:round/>
              <a:headEnd/>
              <a:tailEnd/>
            </a:ln>
          </p:spPr>
          <p:txBody>
            <a:bodyPr vert="horz" wrap="square" lIns="55778" tIns="27889" rIns="55778" bIns="27889" numCol="1" anchor="ctr" anchorCtr="0" compatLnSpc="1">
              <a:prstTxWarp prst="textNoShape">
                <a:avLst/>
              </a:prstTxWarp>
            </a:bodyPr>
            <a:lstStyle/>
            <a:p>
              <a:pPr algn="ctr" eaLnBrk="0" fontAlgn="base" hangingPunct="0">
                <a:spcBef>
                  <a:spcPct val="0"/>
                </a:spcBef>
                <a:spcAft>
                  <a:spcPct val="0"/>
                </a:spcAft>
              </a:pPr>
              <a:r>
                <a:rPr lang="en-US" sz="1000" kern="0">
                  <a:solidFill>
                    <a:srgbClr val="FFFFFF"/>
                  </a:solidFill>
                  <a:latin typeface="Verdana"/>
                  <a:ea typeface="MS PGothic" panose="020B0600070205080204" pitchFamily="34" charset="-128"/>
                  <a:cs typeface="Arial" panose="020B0604020202020204" pitchFamily="34" charset="0"/>
                </a:rPr>
                <a:t>Bug Fixes</a:t>
              </a:r>
            </a:p>
          </p:txBody>
        </p:sp>
        <p:sp>
          <p:nvSpPr>
            <p:cNvPr id="182" name="Rectangle 37">
              <a:extLst>
                <a:ext uri="{FF2B5EF4-FFF2-40B4-BE49-F238E27FC236}">
                  <a16:creationId xmlns:a16="http://schemas.microsoft.com/office/drawing/2014/main" id="{A35D85DE-4EF5-46CB-BCB9-C8A81BC73E6B}"/>
                </a:ext>
              </a:extLst>
            </p:cNvPr>
            <p:cNvSpPr>
              <a:spLocks noChangeArrowheads="1"/>
            </p:cNvSpPr>
            <p:nvPr/>
          </p:nvSpPr>
          <p:spPr bwMode="auto">
            <a:xfrm>
              <a:off x="3219232" y="4780687"/>
              <a:ext cx="967326" cy="515754"/>
            </a:xfrm>
            <a:prstGeom prst="rect">
              <a:avLst/>
            </a:prstGeom>
            <a:solidFill>
              <a:schemeClr val="accent1"/>
            </a:solidFill>
            <a:ln w="9525">
              <a:noFill/>
              <a:round/>
              <a:headEnd/>
              <a:tailEnd/>
            </a:ln>
          </p:spPr>
          <p:txBody>
            <a:bodyPr vert="horz" wrap="square" lIns="55778" tIns="27889" rIns="55778" bIns="27889" numCol="1" anchor="ctr" anchorCtr="0" compatLnSpc="1">
              <a:prstTxWarp prst="textNoShape">
                <a:avLst/>
              </a:prstTxWarp>
            </a:bodyPr>
            <a:lstStyle/>
            <a:p>
              <a:pPr algn="ctr" eaLnBrk="0" fontAlgn="base" hangingPunct="0">
                <a:spcBef>
                  <a:spcPct val="0"/>
                </a:spcBef>
                <a:spcAft>
                  <a:spcPct val="0"/>
                </a:spcAft>
              </a:pPr>
              <a:r>
                <a:rPr lang="en-US" sz="1000" kern="0">
                  <a:solidFill>
                    <a:srgbClr val="FFFFFF"/>
                  </a:solidFill>
                  <a:latin typeface="Verdana"/>
                  <a:ea typeface="MS PGothic" panose="020B0600070205080204" pitchFamily="34" charset="-128"/>
                  <a:cs typeface="Arial" panose="020B0604020202020204" pitchFamily="34" charset="0"/>
                </a:rPr>
                <a:t>Bug Reporting</a:t>
              </a:r>
            </a:p>
          </p:txBody>
        </p:sp>
        <p:sp>
          <p:nvSpPr>
            <p:cNvPr id="183" name="AutoShape 36">
              <a:extLst>
                <a:ext uri="{FF2B5EF4-FFF2-40B4-BE49-F238E27FC236}">
                  <a16:creationId xmlns:a16="http://schemas.microsoft.com/office/drawing/2014/main" id="{76CC24DE-FE20-402B-A571-7809F19816C5}"/>
                </a:ext>
              </a:extLst>
            </p:cNvPr>
            <p:cNvSpPr>
              <a:spLocks noChangeArrowheads="1"/>
            </p:cNvSpPr>
            <p:nvPr/>
          </p:nvSpPr>
          <p:spPr bwMode="auto">
            <a:xfrm>
              <a:off x="2043358" y="3995410"/>
              <a:ext cx="969296" cy="606189"/>
            </a:xfrm>
            <a:prstGeom prst="can">
              <a:avLst>
                <a:gd name="adj" fmla="val 25000"/>
              </a:avLst>
            </a:prstGeom>
            <a:solidFill>
              <a:schemeClr val="accent1"/>
            </a:solidFill>
            <a:ln w="9525">
              <a:noFill/>
              <a:round/>
              <a:headEnd/>
              <a:tailEnd/>
            </a:ln>
          </p:spPr>
          <p:txBody>
            <a:bodyPr vert="horz" wrap="square" lIns="55778" tIns="27889" rIns="55778" bIns="27889" numCol="1" anchor="ctr" anchorCtr="0" compatLnSpc="1">
              <a:prstTxWarp prst="textNoShape">
                <a:avLst/>
              </a:prstTxWarp>
            </a:bodyPr>
            <a:lstStyle/>
            <a:p>
              <a:pPr algn="ctr" eaLnBrk="0" fontAlgn="base" hangingPunct="0">
                <a:spcBef>
                  <a:spcPct val="0"/>
                </a:spcBef>
                <a:spcAft>
                  <a:spcPct val="0"/>
                </a:spcAft>
              </a:pPr>
              <a:r>
                <a:rPr lang="en-US" sz="1000" kern="0">
                  <a:solidFill>
                    <a:srgbClr val="FFFFFF"/>
                  </a:solidFill>
                  <a:latin typeface="Verdana"/>
                  <a:ea typeface="MS PGothic" panose="020B0600070205080204" pitchFamily="34" charset="-128"/>
                  <a:cs typeface="Arial" panose="020B0604020202020204" pitchFamily="34" charset="0"/>
                </a:rPr>
                <a:t>Data </a:t>
              </a:r>
            </a:p>
            <a:p>
              <a:pPr algn="ctr" eaLnBrk="0" fontAlgn="base" hangingPunct="0">
                <a:spcBef>
                  <a:spcPct val="0"/>
                </a:spcBef>
                <a:spcAft>
                  <a:spcPct val="0"/>
                </a:spcAft>
              </a:pPr>
              <a:r>
                <a:rPr lang="en-US" sz="1000" kern="0">
                  <a:solidFill>
                    <a:srgbClr val="FFFFFF"/>
                  </a:solidFill>
                  <a:latin typeface="Verdana"/>
                  <a:ea typeface="MS PGothic" panose="020B0600070205080204" pitchFamily="34" charset="-128"/>
                  <a:cs typeface="Arial" panose="020B0604020202020204" pitchFamily="34" charset="0"/>
                </a:rPr>
                <a:t>Extraction</a:t>
              </a:r>
            </a:p>
          </p:txBody>
        </p:sp>
        <p:sp>
          <p:nvSpPr>
            <p:cNvPr id="184" name="Rectangle 183">
              <a:extLst>
                <a:ext uri="{FF2B5EF4-FFF2-40B4-BE49-F238E27FC236}">
                  <a16:creationId xmlns:a16="http://schemas.microsoft.com/office/drawing/2014/main" id="{938DD29B-2DDB-4648-9D13-4E387355A62C}"/>
                </a:ext>
              </a:extLst>
            </p:cNvPr>
            <p:cNvSpPr>
              <a:spLocks noChangeArrowheads="1"/>
            </p:cNvSpPr>
            <p:nvPr/>
          </p:nvSpPr>
          <p:spPr bwMode="auto">
            <a:xfrm>
              <a:off x="3219232" y="4054824"/>
              <a:ext cx="967326" cy="487358"/>
            </a:xfrm>
            <a:prstGeom prst="rect">
              <a:avLst/>
            </a:prstGeom>
            <a:solidFill>
              <a:schemeClr val="accent1"/>
            </a:solidFill>
            <a:ln w="9525">
              <a:noFill/>
              <a:round/>
              <a:headEnd/>
              <a:tailEnd/>
            </a:ln>
          </p:spPr>
          <p:txBody>
            <a:bodyPr vert="horz" wrap="square" lIns="55778" tIns="27889" rIns="55778" bIns="27889" numCol="1" anchor="ctr" anchorCtr="0" compatLnSpc="1">
              <a:prstTxWarp prst="textNoShape">
                <a:avLst/>
              </a:prstTxWarp>
            </a:bodyPr>
            <a:lstStyle/>
            <a:p>
              <a:pPr algn="ctr" eaLnBrk="0" fontAlgn="base" hangingPunct="0">
                <a:spcBef>
                  <a:spcPct val="0"/>
                </a:spcBef>
                <a:spcAft>
                  <a:spcPct val="0"/>
                </a:spcAft>
              </a:pPr>
              <a:r>
                <a:rPr lang="en-US" sz="1000" kern="0">
                  <a:solidFill>
                    <a:srgbClr val="FFFFFF"/>
                  </a:solidFill>
                  <a:latin typeface="Verdana"/>
                  <a:ea typeface="MS PGothic" panose="020B0600070205080204" pitchFamily="34" charset="-128"/>
                  <a:cs typeface="Arial" panose="020B0604020202020204" pitchFamily="34" charset="0"/>
                </a:rPr>
                <a:t>Verification</a:t>
              </a:r>
            </a:p>
          </p:txBody>
        </p:sp>
        <p:sp>
          <p:nvSpPr>
            <p:cNvPr id="185" name="Line 27">
              <a:extLst>
                <a:ext uri="{FF2B5EF4-FFF2-40B4-BE49-F238E27FC236}">
                  <a16:creationId xmlns:a16="http://schemas.microsoft.com/office/drawing/2014/main" id="{C7ED1FCC-72CE-4BCC-A434-A9C3016E74AA}"/>
                </a:ext>
              </a:extLst>
            </p:cNvPr>
            <p:cNvSpPr>
              <a:spLocks noChangeShapeType="1"/>
            </p:cNvSpPr>
            <p:nvPr/>
          </p:nvSpPr>
          <p:spPr bwMode="auto">
            <a:xfrm>
              <a:off x="3637511" y="4556488"/>
              <a:ext cx="0" cy="224199"/>
            </a:xfrm>
            <a:prstGeom prst="line">
              <a:avLst/>
            </a:prstGeom>
            <a:noFill/>
            <a:ln w="19050">
              <a:solidFill>
                <a:srgbClr val="5C5C5C"/>
              </a:solidFill>
              <a:round/>
              <a:headEnd/>
              <a:tailEnd type="triangle" w="med" len="me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Verdana"/>
                <a:ea typeface="+mn-ea"/>
                <a:cs typeface="Arial" charset="0"/>
              </a:endParaRPr>
            </a:p>
          </p:txBody>
        </p:sp>
        <p:sp>
          <p:nvSpPr>
            <p:cNvPr id="186" name="Line 26">
              <a:extLst>
                <a:ext uri="{FF2B5EF4-FFF2-40B4-BE49-F238E27FC236}">
                  <a16:creationId xmlns:a16="http://schemas.microsoft.com/office/drawing/2014/main" id="{2D3A1AD7-2246-45A6-846B-ADCCC4588C49}"/>
                </a:ext>
              </a:extLst>
            </p:cNvPr>
            <p:cNvSpPr>
              <a:spLocks noChangeShapeType="1"/>
            </p:cNvSpPr>
            <p:nvPr/>
          </p:nvSpPr>
          <p:spPr bwMode="auto">
            <a:xfrm flipH="1">
              <a:off x="3020417" y="5004124"/>
              <a:ext cx="193203" cy="0"/>
            </a:xfrm>
            <a:prstGeom prst="line">
              <a:avLst/>
            </a:prstGeom>
            <a:noFill/>
            <a:ln w="19050">
              <a:solidFill>
                <a:srgbClr val="5C5C5C"/>
              </a:solidFill>
              <a:round/>
              <a:headEnd/>
              <a:tailEnd type="triangle" w="med" len="me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Verdana"/>
                <a:ea typeface="+mn-ea"/>
                <a:cs typeface="Arial" charset="0"/>
              </a:endParaRPr>
            </a:p>
          </p:txBody>
        </p:sp>
        <p:sp>
          <p:nvSpPr>
            <p:cNvPr id="187" name="Line 25">
              <a:extLst>
                <a:ext uri="{FF2B5EF4-FFF2-40B4-BE49-F238E27FC236}">
                  <a16:creationId xmlns:a16="http://schemas.microsoft.com/office/drawing/2014/main" id="{2E70D21E-C2E6-44F1-89CD-FDA226C0DD00}"/>
                </a:ext>
              </a:extLst>
            </p:cNvPr>
            <p:cNvSpPr>
              <a:spLocks noChangeShapeType="1"/>
            </p:cNvSpPr>
            <p:nvPr/>
          </p:nvSpPr>
          <p:spPr bwMode="auto">
            <a:xfrm flipV="1">
              <a:off x="2531465" y="4562138"/>
              <a:ext cx="0" cy="218734"/>
            </a:xfrm>
            <a:prstGeom prst="line">
              <a:avLst/>
            </a:prstGeom>
            <a:noFill/>
            <a:ln w="19050">
              <a:solidFill>
                <a:srgbClr val="5C5C5C"/>
              </a:solidFill>
              <a:round/>
              <a:headEnd/>
              <a:tailEnd type="triangle" w="med" len="me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Verdana"/>
                <a:ea typeface="+mn-ea"/>
                <a:cs typeface="Arial" charset="0"/>
              </a:endParaRPr>
            </a:p>
          </p:txBody>
        </p:sp>
        <p:sp>
          <p:nvSpPr>
            <p:cNvPr id="188" name="Line 24">
              <a:extLst>
                <a:ext uri="{FF2B5EF4-FFF2-40B4-BE49-F238E27FC236}">
                  <a16:creationId xmlns:a16="http://schemas.microsoft.com/office/drawing/2014/main" id="{B25EB33D-5F25-4B35-AC33-9F340C9F7D06}"/>
                </a:ext>
              </a:extLst>
            </p:cNvPr>
            <p:cNvSpPr>
              <a:spLocks noChangeShapeType="1"/>
            </p:cNvSpPr>
            <p:nvPr/>
          </p:nvSpPr>
          <p:spPr bwMode="auto">
            <a:xfrm>
              <a:off x="3020417" y="4306952"/>
              <a:ext cx="189946" cy="0"/>
            </a:xfrm>
            <a:prstGeom prst="line">
              <a:avLst/>
            </a:prstGeom>
            <a:noFill/>
            <a:ln w="19050">
              <a:solidFill>
                <a:srgbClr val="5C5C5C"/>
              </a:solidFill>
              <a:round/>
              <a:headEnd/>
              <a:tailEnd type="triangle" w="med" len="me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Verdana"/>
                <a:ea typeface="+mn-ea"/>
                <a:cs typeface="Arial" charset="0"/>
              </a:endParaRPr>
            </a:p>
          </p:txBody>
        </p:sp>
        <p:sp>
          <p:nvSpPr>
            <p:cNvPr id="189" name="Text Box 58">
              <a:extLst>
                <a:ext uri="{FF2B5EF4-FFF2-40B4-BE49-F238E27FC236}">
                  <a16:creationId xmlns:a16="http://schemas.microsoft.com/office/drawing/2014/main" id="{92DF6FEB-CB4E-4444-98C0-2F961B7285A2}"/>
                </a:ext>
              </a:extLst>
            </p:cNvPr>
            <p:cNvSpPr txBox="1">
              <a:spLocks noChangeArrowheads="1"/>
            </p:cNvSpPr>
            <p:nvPr/>
          </p:nvSpPr>
          <p:spPr bwMode="auto">
            <a:xfrm>
              <a:off x="10969307" y="1724401"/>
              <a:ext cx="902772" cy="578630"/>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50" b="1" i="1" u="none" strike="noStrike" kern="0" cap="none" spc="0" normalizeH="0" baseline="0" noProof="0">
                  <a:ln>
                    <a:noFill/>
                  </a:ln>
                  <a:solidFill>
                    <a:prstClr val="black"/>
                  </a:solidFill>
                  <a:effectLst/>
                  <a:uLnTx/>
                  <a:uFillTx/>
                  <a:latin typeface="Verdana"/>
                  <a:ea typeface="MS PGothic" panose="020B0600070205080204" pitchFamily="34" charset="-128"/>
                  <a:cs typeface="Arial" panose="020B0604020202020204" pitchFamily="34" charset="0"/>
                </a:rPr>
                <a:t>MPS </a:t>
              </a:r>
            </a:p>
            <a:p>
              <a:pPr marL="0" marR="0" lvl="0" indent="0" algn="ctr" defTabSz="914400" rtl="0" eaLnBrk="0" fontAlgn="base" latinLnBrk="0" hangingPunct="0">
                <a:lnSpc>
                  <a:spcPct val="100000"/>
                </a:lnSpc>
                <a:spcBef>
                  <a:spcPct val="0"/>
                </a:spcBef>
                <a:spcAft>
                  <a:spcPct val="0"/>
                </a:spcAft>
                <a:buClrTx/>
                <a:buSzTx/>
                <a:buFontTx/>
                <a:buNone/>
                <a:tabLst/>
                <a:defRPr/>
              </a:pPr>
              <a:r>
                <a:rPr lang="en-US" sz="1050" b="1" i="1" kern="0">
                  <a:solidFill>
                    <a:prstClr val="black"/>
                  </a:solidFill>
                  <a:latin typeface="Verdana"/>
                  <a:ea typeface="MS PGothic" panose="020B0600070205080204" pitchFamily="34" charset="-128"/>
                  <a:cs typeface="Arial" panose="020B0604020202020204" pitchFamily="34" charset="0"/>
                </a:rPr>
                <a:t>System</a:t>
              </a:r>
              <a:endParaRPr kumimoji="0" lang="en-US" sz="1050" b="1" i="1" u="none" strike="noStrike" kern="0" cap="none" spc="0" normalizeH="0" baseline="0" noProof="0">
                <a:ln>
                  <a:noFill/>
                </a:ln>
                <a:solidFill>
                  <a:prstClr val="black"/>
                </a:solidFill>
                <a:effectLst/>
                <a:uLnTx/>
                <a:uFillTx/>
                <a:latin typeface="Verdana"/>
                <a:ea typeface="+mn-ea"/>
                <a:cs typeface="Arial" charset="0"/>
              </a:endParaRPr>
            </a:p>
          </p:txBody>
        </p:sp>
        <p:cxnSp>
          <p:nvCxnSpPr>
            <p:cNvPr id="190" name="Straight Arrow Connector 189">
              <a:extLst>
                <a:ext uri="{FF2B5EF4-FFF2-40B4-BE49-F238E27FC236}">
                  <a16:creationId xmlns:a16="http://schemas.microsoft.com/office/drawing/2014/main" id="{3436B1FC-7C7D-49AD-8441-FD3D8E5ADBA1}"/>
                </a:ext>
              </a:extLst>
            </p:cNvPr>
            <p:cNvCxnSpPr/>
            <p:nvPr/>
          </p:nvCxnSpPr>
          <p:spPr>
            <a:xfrm>
              <a:off x="7607203" y="2612549"/>
              <a:ext cx="0" cy="306228"/>
            </a:xfrm>
            <a:prstGeom prst="straightConnector1">
              <a:avLst/>
            </a:prstGeom>
            <a:ln w="1270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91" name="Straight Arrow Connector 190">
              <a:extLst>
                <a:ext uri="{FF2B5EF4-FFF2-40B4-BE49-F238E27FC236}">
                  <a16:creationId xmlns:a16="http://schemas.microsoft.com/office/drawing/2014/main" id="{C5369EAD-79EE-418E-A514-206777E844F3}"/>
                </a:ext>
              </a:extLst>
            </p:cNvPr>
            <p:cNvCxnSpPr>
              <a:cxnSpLocks/>
            </p:cNvCxnSpPr>
            <p:nvPr/>
          </p:nvCxnSpPr>
          <p:spPr>
            <a:xfrm>
              <a:off x="5649042" y="2788312"/>
              <a:ext cx="477996" cy="5176"/>
            </a:xfrm>
            <a:prstGeom prst="straightConnector1">
              <a:avLst/>
            </a:prstGeom>
            <a:ln w="1270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192" name="Group 191">
              <a:extLst>
                <a:ext uri="{FF2B5EF4-FFF2-40B4-BE49-F238E27FC236}">
                  <a16:creationId xmlns:a16="http://schemas.microsoft.com/office/drawing/2014/main" id="{5DA41BA1-B3E3-46C9-B02E-9F4395749BED}"/>
                </a:ext>
              </a:extLst>
            </p:cNvPr>
            <p:cNvGrpSpPr/>
            <p:nvPr/>
          </p:nvGrpSpPr>
          <p:grpSpPr>
            <a:xfrm>
              <a:off x="4609405" y="1776098"/>
              <a:ext cx="1005125" cy="3688640"/>
              <a:chOff x="8330536" y="1348868"/>
              <a:chExt cx="1716301" cy="3012362"/>
            </a:xfrm>
          </p:grpSpPr>
          <p:sp>
            <p:nvSpPr>
              <p:cNvPr id="235" name="Rectangle 234">
                <a:extLst>
                  <a:ext uri="{FF2B5EF4-FFF2-40B4-BE49-F238E27FC236}">
                    <a16:creationId xmlns:a16="http://schemas.microsoft.com/office/drawing/2014/main" id="{DF7C96A6-6C9D-4912-830C-3856723F6B00}"/>
                  </a:ext>
                </a:extLst>
              </p:cNvPr>
              <p:cNvSpPr/>
              <p:nvPr/>
            </p:nvSpPr>
            <p:spPr>
              <a:xfrm>
                <a:off x="8330536" y="1348868"/>
                <a:ext cx="1716301" cy="3012362"/>
              </a:xfrm>
              <a:prstGeom prst="rect">
                <a:avLst/>
              </a:prstGeom>
              <a:solidFill>
                <a:schemeClr val="accent1">
                  <a:lumMod val="20000"/>
                  <a:lumOff val="8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prstClr val="black"/>
                    </a:solidFill>
                    <a:effectLst/>
                    <a:uLnTx/>
                    <a:uFillTx/>
                    <a:latin typeface="Verdana"/>
                    <a:ea typeface="+mn-ea"/>
                    <a:cs typeface="+mn-cs"/>
                  </a:rPr>
                  <a:t> AS-IS SQL Staging</a:t>
                </a:r>
              </a:p>
            </p:txBody>
          </p:sp>
          <p:sp>
            <p:nvSpPr>
              <p:cNvPr id="236" name="Text Box 58">
                <a:extLst>
                  <a:ext uri="{FF2B5EF4-FFF2-40B4-BE49-F238E27FC236}">
                    <a16:creationId xmlns:a16="http://schemas.microsoft.com/office/drawing/2014/main" id="{CB3EF90B-7FD7-4881-BB0F-793786AE9BCD}"/>
                  </a:ext>
                </a:extLst>
              </p:cNvPr>
              <p:cNvSpPr txBox="1">
                <a:spLocks noChangeArrowheads="1"/>
              </p:cNvSpPr>
              <p:nvPr/>
            </p:nvSpPr>
            <p:spPr bwMode="auto">
              <a:xfrm>
                <a:off x="8551707" y="3917735"/>
                <a:ext cx="1303042" cy="384557"/>
              </a:xfrm>
              <a:prstGeom prst="rect">
                <a:avLst/>
              </a:prstGeom>
              <a:solidFill>
                <a:srgbClr val="00B2A9"/>
              </a:solidFill>
              <a:ln>
                <a:noFill/>
              </a:ln>
            </p:spPr>
            <p:txBody>
              <a:bodyPr vert="horz" wrap="square" lIns="36000" tIns="36000" rIns="36000" bIns="3600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prstClr val="white"/>
                    </a:solidFill>
                    <a:effectLst/>
                    <a:uLnTx/>
                    <a:uFillTx/>
                    <a:latin typeface="Verdana"/>
                    <a:ea typeface="MS PGothic" panose="020B0600070205080204" pitchFamily="34" charset="-128"/>
                    <a:cs typeface="Arial" panose="020B0604020202020204" pitchFamily="34" charset="0"/>
                  </a:rPr>
                  <a:t>Data Loading</a:t>
                </a:r>
                <a:endParaRPr kumimoji="0" lang="en-US" sz="1000" b="0" i="0" u="none" strike="noStrike" kern="0" cap="none" spc="0" normalizeH="0" baseline="0" noProof="0">
                  <a:ln>
                    <a:noFill/>
                  </a:ln>
                  <a:solidFill>
                    <a:prstClr val="white"/>
                  </a:solidFill>
                  <a:effectLst/>
                  <a:uLnTx/>
                  <a:uFillTx/>
                  <a:latin typeface="Verdana"/>
                  <a:ea typeface="+mn-ea"/>
                  <a:cs typeface="Arial" charset="0"/>
                </a:endParaRPr>
              </a:p>
            </p:txBody>
          </p:sp>
          <p:sp>
            <p:nvSpPr>
              <p:cNvPr id="237" name="AutoShape 36">
                <a:extLst>
                  <a:ext uri="{FF2B5EF4-FFF2-40B4-BE49-F238E27FC236}">
                    <a16:creationId xmlns:a16="http://schemas.microsoft.com/office/drawing/2014/main" id="{70EC516B-6E77-47BF-A649-F282FF80E3F3}"/>
                  </a:ext>
                </a:extLst>
              </p:cNvPr>
              <p:cNvSpPr>
                <a:spLocks noChangeArrowheads="1"/>
              </p:cNvSpPr>
              <p:nvPr/>
            </p:nvSpPr>
            <p:spPr bwMode="auto">
              <a:xfrm>
                <a:off x="8573942" y="3157800"/>
                <a:ext cx="1276959" cy="498843"/>
              </a:xfrm>
              <a:prstGeom prst="can">
                <a:avLst>
                  <a:gd name="adj" fmla="val 25000"/>
                </a:avLst>
              </a:prstGeom>
              <a:solidFill>
                <a:schemeClr val="accent6"/>
              </a:solidFill>
              <a:ln w="9525">
                <a:noFill/>
                <a:miter lim="800000"/>
                <a:headEnd/>
                <a:tailEnd/>
              </a:ln>
            </p:spPr>
            <p:txBody>
              <a:bodyPr vert="horz" wrap="square" lIns="55778" tIns="27889" rIns="55778" bIns="27889"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Verdana"/>
                    <a:ea typeface="MS PGothic" panose="020B0600070205080204" pitchFamily="34" charset="-128"/>
                    <a:cs typeface="Arial" panose="020B0604020202020204" pitchFamily="34" charset="0"/>
                  </a:rPr>
                  <a:t>Staging DB</a:t>
                </a:r>
              </a:p>
            </p:txBody>
          </p:sp>
          <p:sp>
            <p:nvSpPr>
              <p:cNvPr id="238" name="Rectangle 237">
                <a:extLst>
                  <a:ext uri="{FF2B5EF4-FFF2-40B4-BE49-F238E27FC236}">
                    <a16:creationId xmlns:a16="http://schemas.microsoft.com/office/drawing/2014/main" id="{72B6A8A4-A9A5-489B-92E2-67BF8FF10685}"/>
                  </a:ext>
                </a:extLst>
              </p:cNvPr>
              <p:cNvSpPr>
                <a:spLocks noChangeArrowheads="1"/>
              </p:cNvSpPr>
              <p:nvPr/>
            </p:nvSpPr>
            <p:spPr bwMode="auto">
              <a:xfrm rot="16200000">
                <a:off x="8341318" y="2125632"/>
                <a:ext cx="902792" cy="468000"/>
              </a:xfrm>
              <a:prstGeom prst="rect">
                <a:avLst/>
              </a:prstGeom>
              <a:solidFill>
                <a:schemeClr val="accent1"/>
              </a:solidFill>
              <a:ln w="9525">
                <a:noFill/>
                <a:miter lim="800000"/>
                <a:headEnd/>
                <a:tailEnd/>
              </a:ln>
            </p:spPr>
            <p:txBody>
              <a:bodyPr vert="horz" wrap="square" lIns="55778" tIns="27889" rIns="55778" bIns="27889"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Verdana"/>
                    <a:ea typeface="MS PGothic" panose="020B0600070205080204" pitchFamily="34" charset="-128"/>
                    <a:cs typeface="Arial" panose="020B0604020202020204" pitchFamily="34" charset="0"/>
                  </a:rPr>
                  <a:t>Validation</a:t>
                </a:r>
              </a:p>
            </p:txBody>
          </p:sp>
          <p:sp>
            <p:nvSpPr>
              <p:cNvPr id="239" name="Rectangle 238">
                <a:extLst>
                  <a:ext uri="{FF2B5EF4-FFF2-40B4-BE49-F238E27FC236}">
                    <a16:creationId xmlns:a16="http://schemas.microsoft.com/office/drawing/2014/main" id="{8CA03798-CABB-4546-A261-8E31CCE9A05A}"/>
                  </a:ext>
                </a:extLst>
              </p:cNvPr>
              <p:cNvSpPr>
                <a:spLocks noChangeArrowheads="1"/>
              </p:cNvSpPr>
              <p:nvPr/>
            </p:nvSpPr>
            <p:spPr bwMode="auto">
              <a:xfrm rot="16200000">
                <a:off x="9148676" y="2122846"/>
                <a:ext cx="902794" cy="468000"/>
              </a:xfrm>
              <a:prstGeom prst="rect">
                <a:avLst/>
              </a:prstGeom>
              <a:solidFill>
                <a:schemeClr val="accent1"/>
              </a:solidFill>
              <a:ln w="9525">
                <a:noFill/>
                <a:miter lim="800000"/>
                <a:headEnd/>
                <a:tailEnd/>
              </a:ln>
            </p:spPr>
            <p:txBody>
              <a:bodyPr vert="horz" wrap="square" lIns="55778" tIns="27889" rIns="55778" bIns="27889"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Verdana"/>
                    <a:ea typeface="MS PGothic" panose="020B0600070205080204" pitchFamily="34" charset="-128"/>
                    <a:cs typeface="Arial" panose="020B0604020202020204" pitchFamily="34" charset="0"/>
                  </a:rPr>
                  <a:t>Bug Fixes</a:t>
                </a:r>
              </a:p>
            </p:txBody>
          </p:sp>
          <p:cxnSp>
            <p:nvCxnSpPr>
              <p:cNvPr id="240" name="Straight Arrow Connector 239">
                <a:extLst>
                  <a:ext uri="{FF2B5EF4-FFF2-40B4-BE49-F238E27FC236}">
                    <a16:creationId xmlns:a16="http://schemas.microsoft.com/office/drawing/2014/main" id="{1FCB9808-53BF-4D74-82C0-A921346984AE}"/>
                  </a:ext>
                </a:extLst>
              </p:cNvPr>
              <p:cNvCxnSpPr/>
              <p:nvPr/>
            </p:nvCxnSpPr>
            <p:spPr>
              <a:xfrm flipV="1">
                <a:off x="9217210" y="3639387"/>
                <a:ext cx="0" cy="252000"/>
              </a:xfrm>
              <a:prstGeom prst="straightConnector1">
                <a:avLst/>
              </a:prstGeom>
              <a:ln w="1270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41" name="Straight Arrow Connector 240">
                <a:extLst>
                  <a:ext uri="{FF2B5EF4-FFF2-40B4-BE49-F238E27FC236}">
                    <a16:creationId xmlns:a16="http://schemas.microsoft.com/office/drawing/2014/main" id="{97E6BAB3-6ED6-47B8-A15D-65B869F66730}"/>
                  </a:ext>
                </a:extLst>
              </p:cNvPr>
              <p:cNvCxnSpPr/>
              <p:nvPr/>
            </p:nvCxnSpPr>
            <p:spPr>
              <a:xfrm flipV="1">
                <a:off x="8820970" y="2827422"/>
                <a:ext cx="0" cy="324000"/>
              </a:xfrm>
              <a:prstGeom prst="straightConnector1">
                <a:avLst/>
              </a:prstGeom>
              <a:ln w="1270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42" name="Straight Arrow Connector 241">
                <a:extLst>
                  <a:ext uri="{FF2B5EF4-FFF2-40B4-BE49-F238E27FC236}">
                    <a16:creationId xmlns:a16="http://schemas.microsoft.com/office/drawing/2014/main" id="{0DA82645-DE71-44B2-9A35-2275E510B06A}"/>
                  </a:ext>
                </a:extLst>
              </p:cNvPr>
              <p:cNvCxnSpPr/>
              <p:nvPr/>
            </p:nvCxnSpPr>
            <p:spPr>
              <a:xfrm>
                <a:off x="9026714" y="2311054"/>
                <a:ext cx="324000" cy="0"/>
              </a:xfrm>
              <a:prstGeom prst="straightConnector1">
                <a:avLst/>
              </a:prstGeom>
              <a:ln w="1270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43" name="Straight Arrow Connector 242">
                <a:extLst>
                  <a:ext uri="{FF2B5EF4-FFF2-40B4-BE49-F238E27FC236}">
                    <a16:creationId xmlns:a16="http://schemas.microsoft.com/office/drawing/2014/main" id="{0750D9CA-44AB-439F-8DFA-4878C2B241BB}"/>
                  </a:ext>
                </a:extLst>
              </p:cNvPr>
              <p:cNvCxnSpPr/>
              <p:nvPr/>
            </p:nvCxnSpPr>
            <p:spPr>
              <a:xfrm>
                <a:off x="9600387" y="2840102"/>
                <a:ext cx="813" cy="311320"/>
              </a:xfrm>
              <a:prstGeom prst="straightConnector1">
                <a:avLst/>
              </a:prstGeom>
              <a:ln w="1270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pic>
          <p:nvPicPr>
            <p:cNvPr id="193" name="Picture 192">
              <a:extLst>
                <a:ext uri="{FF2B5EF4-FFF2-40B4-BE49-F238E27FC236}">
                  <a16:creationId xmlns:a16="http://schemas.microsoft.com/office/drawing/2014/main" id="{4C60C844-E999-44B8-A48C-7761FDBA4B4D}"/>
                </a:ext>
              </a:extLst>
            </p:cNvPr>
            <p:cNvPicPr>
              <a:picLocks noChangeAspect="1"/>
            </p:cNvPicPr>
            <p:nvPr/>
          </p:nvPicPr>
          <p:blipFill>
            <a:blip r:embed="rId2" cstate="print">
              <a:biLevel thresh="25000"/>
              <a:extLst>
                <a:ext uri="{28A0092B-C50C-407E-A947-70E740481C1C}">
                  <a14:useLocalDpi xmlns:a14="http://schemas.microsoft.com/office/drawing/2010/main" val="0"/>
                </a:ext>
              </a:extLst>
            </a:blip>
            <a:stretch>
              <a:fillRect/>
            </a:stretch>
          </p:blipFill>
          <p:spPr>
            <a:xfrm>
              <a:off x="6123792" y="1916515"/>
              <a:ext cx="455871" cy="524962"/>
            </a:xfrm>
            <a:prstGeom prst="rect">
              <a:avLst/>
            </a:prstGeom>
          </p:spPr>
        </p:pic>
        <p:pic>
          <p:nvPicPr>
            <p:cNvPr id="194" name="Picture 193">
              <a:extLst>
                <a:ext uri="{FF2B5EF4-FFF2-40B4-BE49-F238E27FC236}">
                  <a16:creationId xmlns:a16="http://schemas.microsoft.com/office/drawing/2014/main" id="{AB647BF8-DCB5-4A0C-86E0-F51FACB61E17}"/>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8574602" y="3001454"/>
              <a:ext cx="455871" cy="524962"/>
            </a:xfrm>
            <a:prstGeom prst="rect">
              <a:avLst/>
            </a:prstGeom>
          </p:spPr>
        </p:pic>
        <p:sp>
          <p:nvSpPr>
            <p:cNvPr id="195" name="Rectangle 194">
              <a:extLst>
                <a:ext uri="{FF2B5EF4-FFF2-40B4-BE49-F238E27FC236}">
                  <a16:creationId xmlns:a16="http://schemas.microsoft.com/office/drawing/2014/main" id="{D32819E4-5A7C-4879-B6E6-9B6AE22E6469}"/>
                </a:ext>
              </a:extLst>
            </p:cNvPr>
            <p:cNvSpPr/>
            <p:nvPr/>
          </p:nvSpPr>
          <p:spPr>
            <a:xfrm>
              <a:off x="6930192" y="2986511"/>
              <a:ext cx="1453406" cy="33660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prstClr val="white"/>
                  </a:solidFill>
                  <a:effectLst/>
                  <a:uLnTx/>
                  <a:uFillTx/>
                  <a:latin typeface="Verdana"/>
                  <a:ea typeface="+mn-ea"/>
                  <a:cs typeface="+mn-cs"/>
                </a:rPr>
                <a:t>Data Profiling</a:t>
              </a:r>
            </a:p>
          </p:txBody>
        </p:sp>
        <p:sp>
          <p:nvSpPr>
            <p:cNvPr id="196" name="Rectangle 195">
              <a:extLst>
                <a:ext uri="{FF2B5EF4-FFF2-40B4-BE49-F238E27FC236}">
                  <a16:creationId xmlns:a16="http://schemas.microsoft.com/office/drawing/2014/main" id="{46986050-A251-4F95-AD0F-2CED779C03A9}"/>
                </a:ext>
              </a:extLst>
            </p:cNvPr>
            <p:cNvSpPr/>
            <p:nvPr/>
          </p:nvSpPr>
          <p:spPr>
            <a:xfrm>
              <a:off x="6772795" y="4708846"/>
              <a:ext cx="2506146" cy="5807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solidFill>
                    <a:prstClr val="white"/>
                  </a:solidFill>
                  <a:effectLst/>
                  <a:uLnTx/>
                  <a:uFillTx/>
                  <a:latin typeface="Verdana"/>
                  <a:ea typeface="+mn-ea"/>
                  <a:cs typeface="+mn-cs"/>
                </a:rPr>
                <a:t>Column Default Values </a:t>
              </a:r>
            </a:p>
          </p:txBody>
        </p:sp>
        <p:sp>
          <p:nvSpPr>
            <p:cNvPr id="197" name="Rectangle 196">
              <a:extLst>
                <a:ext uri="{FF2B5EF4-FFF2-40B4-BE49-F238E27FC236}">
                  <a16:creationId xmlns:a16="http://schemas.microsoft.com/office/drawing/2014/main" id="{8F35211E-E473-43B8-9FEA-E2A7DF88B58E}"/>
                </a:ext>
              </a:extLst>
            </p:cNvPr>
            <p:cNvSpPr/>
            <p:nvPr/>
          </p:nvSpPr>
          <p:spPr>
            <a:xfrm>
              <a:off x="6092130" y="4988762"/>
              <a:ext cx="2877109" cy="5807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50" b="0" i="0" u="none" strike="noStrike" kern="1200" cap="none" spc="0" normalizeH="0" baseline="0" noProof="0">
                  <a:ln>
                    <a:noFill/>
                  </a:ln>
                  <a:solidFill>
                    <a:prstClr val="white"/>
                  </a:solidFill>
                  <a:effectLst/>
                  <a:uLnTx/>
                  <a:uFillTx/>
                  <a:latin typeface="Verdana"/>
                  <a:ea typeface="+mn-ea"/>
                  <a:cs typeface="+mn-cs"/>
                </a:rPr>
                <a:t>NULL/ NOT NULL checks</a:t>
              </a:r>
            </a:p>
          </p:txBody>
        </p:sp>
        <p:sp>
          <p:nvSpPr>
            <p:cNvPr id="198" name="TextBox 197">
              <a:extLst>
                <a:ext uri="{FF2B5EF4-FFF2-40B4-BE49-F238E27FC236}">
                  <a16:creationId xmlns:a16="http://schemas.microsoft.com/office/drawing/2014/main" id="{D50A7987-4C48-49AD-B702-C1B12C31D48F}"/>
                </a:ext>
              </a:extLst>
            </p:cNvPr>
            <p:cNvSpPr txBox="1"/>
            <p:nvPr/>
          </p:nvSpPr>
          <p:spPr>
            <a:xfrm>
              <a:off x="2254463" y="5546460"/>
              <a:ext cx="1734964" cy="477107"/>
            </a:xfrm>
            <a:prstGeom prst="rect">
              <a:avLst/>
            </a:prstGeom>
            <a:noFill/>
          </p:spPr>
          <p:txBody>
            <a:bodyPr wrap="square" lIns="0" tIns="0" rIns="0" bIns="0" rtlCol="0">
              <a:noAutofit/>
            </a:bodyPr>
            <a:lstStyle/>
            <a:p>
              <a:pPr algn="l"/>
              <a:r>
                <a:rPr lang="en-US" sz="1200" b="1"/>
                <a:t>Using SQL Server Migration Assistant </a:t>
              </a:r>
              <a:endParaRPr lang="en-IN" sz="1200" b="1"/>
            </a:p>
          </p:txBody>
        </p:sp>
        <p:sp>
          <p:nvSpPr>
            <p:cNvPr id="199" name="TextBox 198">
              <a:extLst>
                <a:ext uri="{FF2B5EF4-FFF2-40B4-BE49-F238E27FC236}">
                  <a16:creationId xmlns:a16="http://schemas.microsoft.com/office/drawing/2014/main" id="{618188AB-DEB7-41DB-8454-3233D93D7773}"/>
                </a:ext>
              </a:extLst>
            </p:cNvPr>
            <p:cNvSpPr txBox="1"/>
            <p:nvPr/>
          </p:nvSpPr>
          <p:spPr>
            <a:xfrm>
              <a:off x="7105177" y="5615733"/>
              <a:ext cx="1548798" cy="378336"/>
            </a:xfrm>
            <a:prstGeom prst="rect">
              <a:avLst/>
            </a:prstGeom>
            <a:noFill/>
          </p:spPr>
          <p:txBody>
            <a:bodyPr wrap="square" lIns="0" tIns="0" rIns="0" bIns="0" rtlCol="0">
              <a:noAutofit/>
            </a:bodyPr>
            <a:lstStyle/>
            <a:p>
              <a:pPr algn="l"/>
              <a:r>
                <a:rPr lang="en-US" sz="1200" b="1"/>
                <a:t>Transformation</a:t>
              </a:r>
              <a:endParaRPr lang="en-IN" sz="1200" b="1"/>
            </a:p>
          </p:txBody>
        </p:sp>
        <p:cxnSp>
          <p:nvCxnSpPr>
            <p:cNvPr id="200" name="Straight Arrow Connector 199">
              <a:extLst>
                <a:ext uri="{FF2B5EF4-FFF2-40B4-BE49-F238E27FC236}">
                  <a16:creationId xmlns:a16="http://schemas.microsoft.com/office/drawing/2014/main" id="{F0BBD110-F323-4874-ABC5-55D0764A6449}"/>
                </a:ext>
              </a:extLst>
            </p:cNvPr>
            <p:cNvCxnSpPr>
              <a:cxnSpLocks/>
            </p:cNvCxnSpPr>
            <p:nvPr/>
          </p:nvCxnSpPr>
          <p:spPr>
            <a:xfrm>
              <a:off x="10295906" y="5047013"/>
              <a:ext cx="356322" cy="0"/>
            </a:xfrm>
            <a:prstGeom prst="straightConnector1">
              <a:avLst/>
            </a:prstGeom>
            <a:ln w="1270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201" name="Group 200">
              <a:extLst>
                <a:ext uri="{FF2B5EF4-FFF2-40B4-BE49-F238E27FC236}">
                  <a16:creationId xmlns:a16="http://schemas.microsoft.com/office/drawing/2014/main" id="{893BE65B-D8B9-49E7-9C82-59ADF00A7FC8}"/>
                </a:ext>
              </a:extLst>
            </p:cNvPr>
            <p:cNvGrpSpPr/>
            <p:nvPr/>
          </p:nvGrpSpPr>
          <p:grpSpPr>
            <a:xfrm>
              <a:off x="217942" y="1724279"/>
              <a:ext cx="1316110" cy="4143121"/>
              <a:chOff x="443226" y="1724279"/>
              <a:chExt cx="1316110" cy="4143121"/>
            </a:xfrm>
          </p:grpSpPr>
          <p:sp>
            <p:nvSpPr>
              <p:cNvPr id="228" name="Rounded Rectangle 13">
                <a:extLst>
                  <a:ext uri="{FF2B5EF4-FFF2-40B4-BE49-F238E27FC236}">
                    <a16:creationId xmlns:a16="http://schemas.microsoft.com/office/drawing/2014/main" id="{50E288E9-25DF-4343-A5F9-8C0A1178A3B1}"/>
                  </a:ext>
                </a:extLst>
              </p:cNvPr>
              <p:cNvSpPr/>
              <p:nvPr/>
            </p:nvSpPr>
            <p:spPr>
              <a:xfrm>
                <a:off x="443226" y="1724279"/>
                <a:ext cx="1316110" cy="4143121"/>
              </a:xfrm>
              <a:prstGeom prst="round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Verdana"/>
                  <a:ea typeface="+mn-ea"/>
                  <a:cs typeface="+mn-cs"/>
                </a:endParaRPr>
              </a:p>
            </p:txBody>
          </p:sp>
          <p:grpSp>
            <p:nvGrpSpPr>
              <p:cNvPr id="229" name="Group 228">
                <a:extLst>
                  <a:ext uri="{FF2B5EF4-FFF2-40B4-BE49-F238E27FC236}">
                    <a16:creationId xmlns:a16="http://schemas.microsoft.com/office/drawing/2014/main" id="{EFD44B12-8E34-42C7-8D46-A4C8B82DFF97}"/>
                  </a:ext>
                </a:extLst>
              </p:cNvPr>
              <p:cNvGrpSpPr/>
              <p:nvPr/>
            </p:nvGrpSpPr>
            <p:grpSpPr>
              <a:xfrm>
                <a:off x="527663" y="2604473"/>
                <a:ext cx="1145077" cy="2685158"/>
                <a:chOff x="527663" y="2604473"/>
                <a:chExt cx="1145077" cy="2685158"/>
              </a:xfrm>
            </p:grpSpPr>
            <p:sp>
              <p:nvSpPr>
                <p:cNvPr id="230" name="Cylinder 229">
                  <a:extLst>
                    <a:ext uri="{FF2B5EF4-FFF2-40B4-BE49-F238E27FC236}">
                      <a16:creationId xmlns:a16="http://schemas.microsoft.com/office/drawing/2014/main" id="{CAA202B4-AF34-4290-A324-B6A9410F3A4E}"/>
                    </a:ext>
                  </a:extLst>
                </p:cNvPr>
                <p:cNvSpPr/>
                <p:nvPr/>
              </p:nvSpPr>
              <p:spPr>
                <a:xfrm>
                  <a:off x="527663" y="2604473"/>
                  <a:ext cx="1145077" cy="2685158"/>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1" name="Rectangle 230">
                  <a:extLst>
                    <a:ext uri="{FF2B5EF4-FFF2-40B4-BE49-F238E27FC236}">
                      <a16:creationId xmlns:a16="http://schemas.microsoft.com/office/drawing/2014/main" id="{1C5EEE72-3B58-46FB-AC8E-2DE90D16738A}"/>
                    </a:ext>
                  </a:extLst>
                </p:cNvPr>
                <p:cNvSpPr/>
                <p:nvPr/>
              </p:nvSpPr>
              <p:spPr>
                <a:xfrm>
                  <a:off x="582971" y="3088836"/>
                  <a:ext cx="1038238" cy="32400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00"/>
                    <a:t>Client </a:t>
                  </a:r>
                </a:p>
              </p:txBody>
            </p:sp>
            <p:sp>
              <p:nvSpPr>
                <p:cNvPr id="232" name="Rectangle 231">
                  <a:extLst>
                    <a:ext uri="{FF2B5EF4-FFF2-40B4-BE49-F238E27FC236}">
                      <a16:creationId xmlns:a16="http://schemas.microsoft.com/office/drawing/2014/main" id="{431AE863-70BC-4666-81CB-A80215AC1B09}"/>
                    </a:ext>
                  </a:extLst>
                </p:cNvPr>
                <p:cNvSpPr/>
                <p:nvPr/>
              </p:nvSpPr>
              <p:spPr>
                <a:xfrm>
                  <a:off x="583690" y="3602280"/>
                  <a:ext cx="1036800" cy="32400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00"/>
                    <a:t>Member</a:t>
                  </a:r>
                </a:p>
              </p:txBody>
            </p:sp>
            <p:sp>
              <p:nvSpPr>
                <p:cNvPr id="233" name="Rectangle 232">
                  <a:extLst>
                    <a:ext uri="{FF2B5EF4-FFF2-40B4-BE49-F238E27FC236}">
                      <a16:creationId xmlns:a16="http://schemas.microsoft.com/office/drawing/2014/main" id="{C809A9A5-B5D2-4D23-90DE-94F627DCEB8B}"/>
                    </a:ext>
                  </a:extLst>
                </p:cNvPr>
                <p:cNvSpPr/>
                <p:nvPr/>
              </p:nvSpPr>
              <p:spPr>
                <a:xfrm>
                  <a:off x="583690" y="4114417"/>
                  <a:ext cx="1036800" cy="32400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00"/>
                    <a:t>Financial Info</a:t>
                  </a:r>
                </a:p>
              </p:txBody>
            </p:sp>
            <p:sp>
              <p:nvSpPr>
                <p:cNvPr id="234" name="Rectangle 233">
                  <a:extLst>
                    <a:ext uri="{FF2B5EF4-FFF2-40B4-BE49-F238E27FC236}">
                      <a16:creationId xmlns:a16="http://schemas.microsoft.com/office/drawing/2014/main" id="{EBACC692-A918-4F6E-B167-A52F406BCB33}"/>
                    </a:ext>
                  </a:extLst>
                </p:cNvPr>
                <p:cNvSpPr/>
                <p:nvPr/>
              </p:nvSpPr>
              <p:spPr>
                <a:xfrm>
                  <a:off x="583690" y="4626553"/>
                  <a:ext cx="1036800" cy="32400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00"/>
                    <a:t>Others </a:t>
                  </a:r>
                </a:p>
              </p:txBody>
            </p:sp>
          </p:grpSp>
        </p:grpSp>
        <p:grpSp>
          <p:nvGrpSpPr>
            <p:cNvPr id="202" name="Group 201">
              <a:extLst>
                <a:ext uri="{FF2B5EF4-FFF2-40B4-BE49-F238E27FC236}">
                  <a16:creationId xmlns:a16="http://schemas.microsoft.com/office/drawing/2014/main" id="{F9E62F87-6339-4F2F-A66A-3F99B9A1CA98}"/>
                </a:ext>
              </a:extLst>
            </p:cNvPr>
            <p:cNvGrpSpPr/>
            <p:nvPr/>
          </p:nvGrpSpPr>
          <p:grpSpPr>
            <a:xfrm>
              <a:off x="9625768" y="1812572"/>
              <a:ext cx="1005125" cy="3688640"/>
              <a:chOff x="8330536" y="1348868"/>
              <a:chExt cx="1716301" cy="3012362"/>
            </a:xfrm>
          </p:grpSpPr>
          <p:sp>
            <p:nvSpPr>
              <p:cNvPr id="217" name="Rectangle 216">
                <a:extLst>
                  <a:ext uri="{FF2B5EF4-FFF2-40B4-BE49-F238E27FC236}">
                    <a16:creationId xmlns:a16="http://schemas.microsoft.com/office/drawing/2014/main" id="{F577AFD7-0731-4BA4-950A-A0D5152E633A}"/>
                  </a:ext>
                </a:extLst>
              </p:cNvPr>
              <p:cNvSpPr/>
              <p:nvPr/>
            </p:nvSpPr>
            <p:spPr>
              <a:xfrm>
                <a:off x="8330536" y="1348868"/>
                <a:ext cx="1716301" cy="3012362"/>
              </a:xfrm>
              <a:prstGeom prst="rect">
                <a:avLst/>
              </a:prstGeom>
              <a:solidFill>
                <a:schemeClr val="accent1">
                  <a:lumMod val="20000"/>
                  <a:lumOff val="8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prstClr val="black"/>
                    </a:solidFill>
                    <a:effectLst/>
                    <a:uLnTx/>
                    <a:uFillTx/>
                    <a:latin typeface="Verdana"/>
                    <a:ea typeface="+mn-ea"/>
                    <a:cs typeface="+mn-cs"/>
                  </a:rPr>
                  <a:t> SQL Staging</a:t>
                </a:r>
              </a:p>
            </p:txBody>
          </p:sp>
          <p:sp>
            <p:nvSpPr>
              <p:cNvPr id="220" name="Text Box 58">
                <a:extLst>
                  <a:ext uri="{FF2B5EF4-FFF2-40B4-BE49-F238E27FC236}">
                    <a16:creationId xmlns:a16="http://schemas.microsoft.com/office/drawing/2014/main" id="{666E9FE2-6C8D-4622-9831-ABC7F5FE67F8}"/>
                  </a:ext>
                </a:extLst>
              </p:cNvPr>
              <p:cNvSpPr txBox="1">
                <a:spLocks noChangeArrowheads="1"/>
              </p:cNvSpPr>
              <p:nvPr/>
            </p:nvSpPr>
            <p:spPr bwMode="auto">
              <a:xfrm>
                <a:off x="8551707" y="3917735"/>
                <a:ext cx="1303042" cy="384557"/>
              </a:xfrm>
              <a:prstGeom prst="rect">
                <a:avLst/>
              </a:prstGeom>
              <a:solidFill>
                <a:srgbClr val="00B2A9"/>
              </a:solidFill>
              <a:ln>
                <a:noFill/>
              </a:ln>
            </p:spPr>
            <p:txBody>
              <a:bodyPr vert="horz" wrap="square" lIns="36000" tIns="36000" rIns="36000" bIns="3600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prstClr val="white"/>
                    </a:solidFill>
                    <a:effectLst/>
                    <a:uLnTx/>
                    <a:uFillTx/>
                    <a:latin typeface="Verdana"/>
                    <a:ea typeface="MS PGothic" panose="020B0600070205080204" pitchFamily="34" charset="-128"/>
                    <a:cs typeface="Arial" panose="020B0604020202020204" pitchFamily="34" charset="0"/>
                  </a:rPr>
                  <a:t>Data Loading</a:t>
                </a:r>
                <a:endParaRPr kumimoji="0" lang="en-US" sz="1000" b="0" i="0" u="none" strike="noStrike" kern="0" cap="none" spc="0" normalizeH="0" baseline="0" noProof="0">
                  <a:ln>
                    <a:noFill/>
                  </a:ln>
                  <a:solidFill>
                    <a:prstClr val="white"/>
                  </a:solidFill>
                  <a:effectLst/>
                  <a:uLnTx/>
                  <a:uFillTx/>
                  <a:latin typeface="Verdana"/>
                  <a:ea typeface="+mn-ea"/>
                  <a:cs typeface="Arial" charset="0"/>
                </a:endParaRPr>
              </a:p>
            </p:txBody>
          </p:sp>
          <p:sp>
            <p:nvSpPr>
              <p:cNvPr id="221" name="AutoShape 36">
                <a:extLst>
                  <a:ext uri="{FF2B5EF4-FFF2-40B4-BE49-F238E27FC236}">
                    <a16:creationId xmlns:a16="http://schemas.microsoft.com/office/drawing/2014/main" id="{D56E0023-1667-43E3-A3E6-98059DD1B278}"/>
                  </a:ext>
                </a:extLst>
              </p:cNvPr>
              <p:cNvSpPr>
                <a:spLocks noChangeArrowheads="1"/>
              </p:cNvSpPr>
              <p:nvPr/>
            </p:nvSpPr>
            <p:spPr bwMode="auto">
              <a:xfrm>
                <a:off x="8573942" y="3157800"/>
                <a:ext cx="1276959" cy="498843"/>
              </a:xfrm>
              <a:prstGeom prst="can">
                <a:avLst>
                  <a:gd name="adj" fmla="val 25000"/>
                </a:avLst>
              </a:prstGeom>
              <a:solidFill>
                <a:schemeClr val="accent6"/>
              </a:solidFill>
              <a:ln w="9525">
                <a:noFill/>
                <a:miter lim="800000"/>
                <a:headEnd/>
                <a:tailEnd/>
              </a:ln>
            </p:spPr>
            <p:txBody>
              <a:bodyPr vert="horz" wrap="square" lIns="55778" tIns="27889" rIns="55778" bIns="27889"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Verdana"/>
                    <a:ea typeface="MS PGothic" panose="020B0600070205080204" pitchFamily="34" charset="-128"/>
                    <a:cs typeface="Arial" panose="020B0604020202020204" pitchFamily="34" charset="0"/>
                  </a:rPr>
                  <a:t>Staging DB</a:t>
                </a:r>
              </a:p>
            </p:txBody>
          </p:sp>
          <p:sp>
            <p:nvSpPr>
              <p:cNvPr id="222" name="Rectangle 221">
                <a:extLst>
                  <a:ext uri="{FF2B5EF4-FFF2-40B4-BE49-F238E27FC236}">
                    <a16:creationId xmlns:a16="http://schemas.microsoft.com/office/drawing/2014/main" id="{3E78201B-24B3-4B3A-A63A-63B0E236A2BD}"/>
                  </a:ext>
                </a:extLst>
              </p:cNvPr>
              <p:cNvSpPr>
                <a:spLocks noChangeArrowheads="1"/>
              </p:cNvSpPr>
              <p:nvPr/>
            </p:nvSpPr>
            <p:spPr bwMode="auto">
              <a:xfrm rot="16200000">
                <a:off x="8341318" y="2125632"/>
                <a:ext cx="902792" cy="468000"/>
              </a:xfrm>
              <a:prstGeom prst="rect">
                <a:avLst/>
              </a:prstGeom>
              <a:solidFill>
                <a:schemeClr val="accent1"/>
              </a:solidFill>
              <a:ln w="9525">
                <a:noFill/>
                <a:miter lim="800000"/>
                <a:headEnd/>
                <a:tailEnd/>
              </a:ln>
            </p:spPr>
            <p:txBody>
              <a:bodyPr vert="horz" wrap="square" lIns="55778" tIns="27889" rIns="55778" bIns="27889"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Verdana"/>
                    <a:ea typeface="MS PGothic" panose="020B0600070205080204" pitchFamily="34" charset="-128"/>
                    <a:cs typeface="Arial" panose="020B0604020202020204" pitchFamily="34" charset="0"/>
                  </a:rPr>
                  <a:t>Validation</a:t>
                </a:r>
              </a:p>
            </p:txBody>
          </p:sp>
          <p:sp>
            <p:nvSpPr>
              <p:cNvPr id="223" name="Rectangle 222">
                <a:extLst>
                  <a:ext uri="{FF2B5EF4-FFF2-40B4-BE49-F238E27FC236}">
                    <a16:creationId xmlns:a16="http://schemas.microsoft.com/office/drawing/2014/main" id="{55680F62-F46B-468E-93C0-920097990ECE}"/>
                  </a:ext>
                </a:extLst>
              </p:cNvPr>
              <p:cNvSpPr>
                <a:spLocks noChangeArrowheads="1"/>
              </p:cNvSpPr>
              <p:nvPr/>
            </p:nvSpPr>
            <p:spPr bwMode="auto">
              <a:xfrm rot="16200000">
                <a:off x="9148676" y="2122846"/>
                <a:ext cx="902794" cy="468000"/>
              </a:xfrm>
              <a:prstGeom prst="rect">
                <a:avLst/>
              </a:prstGeom>
              <a:solidFill>
                <a:schemeClr val="accent1"/>
              </a:solidFill>
              <a:ln w="9525">
                <a:noFill/>
                <a:miter lim="800000"/>
                <a:headEnd/>
                <a:tailEnd/>
              </a:ln>
            </p:spPr>
            <p:txBody>
              <a:bodyPr vert="horz" wrap="square" lIns="55778" tIns="27889" rIns="55778" bIns="27889"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Verdana"/>
                    <a:ea typeface="MS PGothic" panose="020B0600070205080204" pitchFamily="34" charset="-128"/>
                    <a:cs typeface="Arial" panose="020B0604020202020204" pitchFamily="34" charset="0"/>
                  </a:rPr>
                  <a:t>Bug Fixes</a:t>
                </a:r>
              </a:p>
            </p:txBody>
          </p:sp>
          <p:cxnSp>
            <p:nvCxnSpPr>
              <p:cNvPr id="224" name="Straight Arrow Connector 223">
                <a:extLst>
                  <a:ext uri="{FF2B5EF4-FFF2-40B4-BE49-F238E27FC236}">
                    <a16:creationId xmlns:a16="http://schemas.microsoft.com/office/drawing/2014/main" id="{9E630C97-AF87-4204-9027-97FDD927DA05}"/>
                  </a:ext>
                </a:extLst>
              </p:cNvPr>
              <p:cNvCxnSpPr/>
              <p:nvPr/>
            </p:nvCxnSpPr>
            <p:spPr>
              <a:xfrm flipV="1">
                <a:off x="9217210" y="3639387"/>
                <a:ext cx="0" cy="252000"/>
              </a:xfrm>
              <a:prstGeom prst="straightConnector1">
                <a:avLst/>
              </a:prstGeom>
              <a:ln w="1270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25" name="Straight Arrow Connector 224">
                <a:extLst>
                  <a:ext uri="{FF2B5EF4-FFF2-40B4-BE49-F238E27FC236}">
                    <a16:creationId xmlns:a16="http://schemas.microsoft.com/office/drawing/2014/main" id="{ED9FFFA6-E0D1-4283-ADFF-F28B44704E38}"/>
                  </a:ext>
                </a:extLst>
              </p:cNvPr>
              <p:cNvCxnSpPr/>
              <p:nvPr/>
            </p:nvCxnSpPr>
            <p:spPr>
              <a:xfrm flipV="1">
                <a:off x="8820970" y="2827422"/>
                <a:ext cx="0" cy="324000"/>
              </a:xfrm>
              <a:prstGeom prst="straightConnector1">
                <a:avLst/>
              </a:prstGeom>
              <a:ln w="1270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26" name="Straight Arrow Connector 225">
                <a:extLst>
                  <a:ext uri="{FF2B5EF4-FFF2-40B4-BE49-F238E27FC236}">
                    <a16:creationId xmlns:a16="http://schemas.microsoft.com/office/drawing/2014/main" id="{30BBBEFB-C9C1-433E-A48F-FE16FA383DF5}"/>
                  </a:ext>
                </a:extLst>
              </p:cNvPr>
              <p:cNvCxnSpPr/>
              <p:nvPr/>
            </p:nvCxnSpPr>
            <p:spPr>
              <a:xfrm>
                <a:off x="9026714" y="2311054"/>
                <a:ext cx="324000" cy="0"/>
              </a:xfrm>
              <a:prstGeom prst="straightConnector1">
                <a:avLst/>
              </a:prstGeom>
              <a:ln w="1270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27" name="Straight Arrow Connector 226">
                <a:extLst>
                  <a:ext uri="{FF2B5EF4-FFF2-40B4-BE49-F238E27FC236}">
                    <a16:creationId xmlns:a16="http://schemas.microsoft.com/office/drawing/2014/main" id="{7C90530C-FACC-4C05-A733-F3F82A2EED4B}"/>
                  </a:ext>
                </a:extLst>
              </p:cNvPr>
              <p:cNvCxnSpPr/>
              <p:nvPr/>
            </p:nvCxnSpPr>
            <p:spPr>
              <a:xfrm>
                <a:off x="9600387" y="2840102"/>
                <a:ext cx="813" cy="311320"/>
              </a:xfrm>
              <a:prstGeom prst="straightConnector1">
                <a:avLst/>
              </a:prstGeom>
              <a:ln w="1270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grpSp>
          <p:nvGrpSpPr>
            <p:cNvPr id="203" name="Group 202">
              <a:extLst>
                <a:ext uri="{FF2B5EF4-FFF2-40B4-BE49-F238E27FC236}">
                  <a16:creationId xmlns:a16="http://schemas.microsoft.com/office/drawing/2014/main" id="{0E7A68F4-1F80-4049-8294-C2965BB99E78}"/>
                </a:ext>
              </a:extLst>
            </p:cNvPr>
            <p:cNvGrpSpPr/>
            <p:nvPr/>
          </p:nvGrpSpPr>
          <p:grpSpPr>
            <a:xfrm>
              <a:off x="10831080" y="1548858"/>
              <a:ext cx="1196465" cy="4143120"/>
              <a:chOff x="10619537" y="1724279"/>
              <a:chExt cx="1196464" cy="4143120"/>
            </a:xfrm>
          </p:grpSpPr>
          <p:sp>
            <p:nvSpPr>
              <p:cNvPr id="208" name="Rounded Rectangle 72">
                <a:extLst>
                  <a:ext uri="{FF2B5EF4-FFF2-40B4-BE49-F238E27FC236}">
                    <a16:creationId xmlns:a16="http://schemas.microsoft.com/office/drawing/2014/main" id="{7B3BC328-7E30-4BBA-BCAE-86B5FCF73F80}"/>
                  </a:ext>
                </a:extLst>
              </p:cNvPr>
              <p:cNvSpPr/>
              <p:nvPr/>
            </p:nvSpPr>
            <p:spPr>
              <a:xfrm>
                <a:off x="10619537" y="1724279"/>
                <a:ext cx="1196464" cy="4143120"/>
              </a:xfrm>
              <a:prstGeom prst="round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Verdana"/>
                  <a:ea typeface="+mn-ea"/>
                  <a:cs typeface="+mn-cs"/>
                </a:endParaRPr>
              </a:p>
            </p:txBody>
          </p:sp>
          <p:grpSp>
            <p:nvGrpSpPr>
              <p:cNvPr id="209" name="Group 208">
                <a:extLst>
                  <a:ext uri="{FF2B5EF4-FFF2-40B4-BE49-F238E27FC236}">
                    <a16:creationId xmlns:a16="http://schemas.microsoft.com/office/drawing/2014/main" id="{E016AE5C-8FD0-4ED9-A110-E2E90E21F12A}"/>
                  </a:ext>
                </a:extLst>
              </p:cNvPr>
              <p:cNvGrpSpPr/>
              <p:nvPr/>
            </p:nvGrpSpPr>
            <p:grpSpPr>
              <a:xfrm>
                <a:off x="10654826" y="2518765"/>
                <a:ext cx="1145077" cy="3050782"/>
                <a:chOff x="10652228" y="2518765"/>
                <a:chExt cx="1145077" cy="3050782"/>
              </a:xfrm>
            </p:grpSpPr>
            <p:sp>
              <p:nvSpPr>
                <p:cNvPr id="210" name="Cylinder 209">
                  <a:extLst>
                    <a:ext uri="{FF2B5EF4-FFF2-40B4-BE49-F238E27FC236}">
                      <a16:creationId xmlns:a16="http://schemas.microsoft.com/office/drawing/2014/main" id="{7D3D6648-C7EC-4B5D-80E0-3644D830DDBA}"/>
                    </a:ext>
                  </a:extLst>
                </p:cNvPr>
                <p:cNvSpPr/>
                <p:nvPr/>
              </p:nvSpPr>
              <p:spPr>
                <a:xfrm>
                  <a:off x="10652228" y="2518765"/>
                  <a:ext cx="1145077" cy="3050782"/>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1" name="Rectangle 210">
                  <a:extLst>
                    <a:ext uri="{FF2B5EF4-FFF2-40B4-BE49-F238E27FC236}">
                      <a16:creationId xmlns:a16="http://schemas.microsoft.com/office/drawing/2014/main" id="{C7B9CB22-8B47-4BAB-82E4-00E1FAC86640}"/>
                    </a:ext>
                  </a:extLst>
                </p:cNvPr>
                <p:cNvSpPr/>
                <p:nvPr/>
              </p:nvSpPr>
              <p:spPr>
                <a:xfrm>
                  <a:off x="10707536" y="3086253"/>
                  <a:ext cx="1038238" cy="32400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00"/>
                    <a:t>Policy-Plan </a:t>
                  </a:r>
                </a:p>
              </p:txBody>
            </p:sp>
            <p:sp>
              <p:nvSpPr>
                <p:cNvPr id="212" name="Rectangle 211">
                  <a:extLst>
                    <a:ext uri="{FF2B5EF4-FFF2-40B4-BE49-F238E27FC236}">
                      <a16:creationId xmlns:a16="http://schemas.microsoft.com/office/drawing/2014/main" id="{E9104E06-8BDD-410B-94E3-4F467B8F531E}"/>
                    </a:ext>
                  </a:extLst>
                </p:cNvPr>
                <p:cNvSpPr/>
                <p:nvPr/>
              </p:nvSpPr>
              <p:spPr>
                <a:xfrm>
                  <a:off x="10708255" y="3508782"/>
                  <a:ext cx="1036800" cy="32400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00"/>
                    <a:t>Customer</a:t>
                  </a:r>
                </a:p>
              </p:txBody>
            </p:sp>
            <p:sp>
              <p:nvSpPr>
                <p:cNvPr id="213" name="Rectangle 212">
                  <a:extLst>
                    <a:ext uri="{FF2B5EF4-FFF2-40B4-BE49-F238E27FC236}">
                      <a16:creationId xmlns:a16="http://schemas.microsoft.com/office/drawing/2014/main" id="{355C19B4-C8B7-4EF4-AC93-0B0A1CC44EBC}"/>
                    </a:ext>
                  </a:extLst>
                </p:cNvPr>
                <p:cNvSpPr/>
                <p:nvPr/>
              </p:nvSpPr>
              <p:spPr>
                <a:xfrm>
                  <a:off x="10708255" y="3931311"/>
                  <a:ext cx="1036800" cy="32400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00"/>
                    <a:t>Member</a:t>
                  </a:r>
                </a:p>
              </p:txBody>
            </p:sp>
            <p:sp>
              <p:nvSpPr>
                <p:cNvPr id="214" name="Rectangle 213">
                  <a:extLst>
                    <a:ext uri="{FF2B5EF4-FFF2-40B4-BE49-F238E27FC236}">
                      <a16:creationId xmlns:a16="http://schemas.microsoft.com/office/drawing/2014/main" id="{7C7396AB-4231-4648-99D4-75C6CC9B1F7A}"/>
                    </a:ext>
                  </a:extLst>
                </p:cNvPr>
                <p:cNvSpPr/>
                <p:nvPr/>
              </p:nvSpPr>
              <p:spPr>
                <a:xfrm>
                  <a:off x="10708255" y="4353840"/>
                  <a:ext cx="1036800" cy="32400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00"/>
                    <a:t>Financial </a:t>
                  </a:r>
                </a:p>
              </p:txBody>
            </p:sp>
            <p:sp>
              <p:nvSpPr>
                <p:cNvPr id="215" name="Rectangle 214">
                  <a:extLst>
                    <a:ext uri="{FF2B5EF4-FFF2-40B4-BE49-F238E27FC236}">
                      <a16:creationId xmlns:a16="http://schemas.microsoft.com/office/drawing/2014/main" id="{C8477481-44BB-4132-9727-772F4E1867AA}"/>
                    </a:ext>
                  </a:extLst>
                </p:cNvPr>
                <p:cNvSpPr/>
                <p:nvPr/>
              </p:nvSpPr>
              <p:spPr>
                <a:xfrm>
                  <a:off x="10718155" y="4776370"/>
                  <a:ext cx="1036800" cy="32400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00"/>
                    <a:t>Others </a:t>
                  </a:r>
                </a:p>
              </p:txBody>
            </p:sp>
          </p:grpSp>
        </p:grpSp>
        <p:cxnSp>
          <p:nvCxnSpPr>
            <p:cNvPr id="204" name="Straight Arrow Connector 203">
              <a:extLst>
                <a:ext uri="{FF2B5EF4-FFF2-40B4-BE49-F238E27FC236}">
                  <a16:creationId xmlns:a16="http://schemas.microsoft.com/office/drawing/2014/main" id="{9BD66118-F4FF-4769-8226-52973C2E3401}"/>
                </a:ext>
              </a:extLst>
            </p:cNvPr>
            <p:cNvCxnSpPr>
              <a:cxnSpLocks/>
            </p:cNvCxnSpPr>
            <p:nvPr/>
          </p:nvCxnSpPr>
          <p:spPr>
            <a:xfrm>
              <a:off x="9365917" y="3921111"/>
              <a:ext cx="477996" cy="5176"/>
            </a:xfrm>
            <a:prstGeom prst="straightConnector1">
              <a:avLst/>
            </a:prstGeom>
            <a:ln w="1270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05" name="Straight Arrow Connector 204">
              <a:extLst>
                <a:ext uri="{FF2B5EF4-FFF2-40B4-BE49-F238E27FC236}">
                  <a16:creationId xmlns:a16="http://schemas.microsoft.com/office/drawing/2014/main" id="{306757E8-B897-4BE7-A04C-8B9F23FD54DC}"/>
                </a:ext>
              </a:extLst>
            </p:cNvPr>
            <p:cNvCxnSpPr>
              <a:cxnSpLocks/>
            </p:cNvCxnSpPr>
            <p:nvPr/>
          </p:nvCxnSpPr>
          <p:spPr>
            <a:xfrm>
              <a:off x="10374551" y="2338168"/>
              <a:ext cx="477996" cy="5176"/>
            </a:xfrm>
            <a:prstGeom prst="straightConnector1">
              <a:avLst/>
            </a:prstGeom>
            <a:ln w="1270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06" name="Straight Arrow Connector 205">
              <a:extLst>
                <a:ext uri="{FF2B5EF4-FFF2-40B4-BE49-F238E27FC236}">
                  <a16:creationId xmlns:a16="http://schemas.microsoft.com/office/drawing/2014/main" id="{E0695070-C9FC-44E2-B21F-7CBC98416404}"/>
                </a:ext>
              </a:extLst>
            </p:cNvPr>
            <p:cNvCxnSpPr/>
            <p:nvPr/>
          </p:nvCxnSpPr>
          <p:spPr>
            <a:xfrm>
              <a:off x="4280717" y="2187645"/>
              <a:ext cx="504000" cy="0"/>
            </a:xfrm>
            <a:prstGeom prst="straightConnector1">
              <a:avLst/>
            </a:prstGeom>
            <a:ln w="1270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07" name="Straight Arrow Connector 206">
              <a:extLst>
                <a:ext uri="{FF2B5EF4-FFF2-40B4-BE49-F238E27FC236}">
                  <a16:creationId xmlns:a16="http://schemas.microsoft.com/office/drawing/2014/main" id="{89112A7C-8B8E-46F7-B1CA-F0FA188318D9}"/>
                </a:ext>
              </a:extLst>
            </p:cNvPr>
            <p:cNvCxnSpPr/>
            <p:nvPr/>
          </p:nvCxnSpPr>
          <p:spPr>
            <a:xfrm>
              <a:off x="4266092" y="4341360"/>
              <a:ext cx="504000" cy="0"/>
            </a:xfrm>
            <a:prstGeom prst="straightConnector1">
              <a:avLst/>
            </a:prstGeom>
            <a:ln w="1270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68829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7044E07-B965-43F7-8521-1E78CC0365BB}"/>
              </a:ext>
            </a:extLst>
          </p:cNvPr>
          <p:cNvSpPr>
            <a:spLocks noGrp="1"/>
          </p:cNvSpPr>
          <p:nvPr>
            <p:ph type="title"/>
          </p:nvPr>
        </p:nvSpPr>
        <p:spPr/>
        <p:txBody>
          <a:bodyPr/>
          <a:lstStyle/>
          <a:p>
            <a:r>
              <a:rPr lang="en-US" sz="2650" dirty="0">
                <a:latin typeface="Raleway SemiBold"/>
                <a:ea typeface="Verdana"/>
              </a:rPr>
              <a:t>Details of Proposed</a:t>
            </a:r>
            <a:r>
              <a:rPr lang="en-US" sz="2650">
                <a:latin typeface="Raleway SemiBold"/>
                <a:ea typeface="Verdana"/>
              </a:rPr>
              <a:t> Methodology – Option 2</a:t>
            </a:r>
            <a:endParaRPr lang="en-GB" sz="2650">
              <a:latin typeface="Raleway SemiBold"/>
              <a:ea typeface="Verdana"/>
            </a:endParaRPr>
          </a:p>
        </p:txBody>
      </p:sp>
      <p:sp>
        <p:nvSpPr>
          <p:cNvPr id="2" name="Text Placeholder 1">
            <a:extLst>
              <a:ext uri="{FF2B5EF4-FFF2-40B4-BE49-F238E27FC236}">
                <a16:creationId xmlns:a16="http://schemas.microsoft.com/office/drawing/2014/main" id="{4C6B6300-82BC-467C-A08B-F3123ECFCA37}"/>
              </a:ext>
            </a:extLst>
          </p:cNvPr>
          <p:cNvSpPr>
            <a:spLocks noGrp="1"/>
          </p:cNvSpPr>
          <p:nvPr>
            <p:ph type="body" sz="quarter" idx="10"/>
          </p:nvPr>
        </p:nvSpPr>
        <p:spPr>
          <a:xfrm>
            <a:off x="401239" y="624995"/>
            <a:ext cx="11436096" cy="580529"/>
          </a:xfrm>
        </p:spPr>
        <p:txBody>
          <a:bodyPr/>
          <a:lstStyle/>
          <a:p>
            <a:r>
              <a:rPr lang="en-IN"/>
              <a:t>With SSMA and SSIS </a:t>
            </a:r>
          </a:p>
          <a:p>
            <a:endParaRPr lang="en-IN" sz="2800" b="0"/>
          </a:p>
        </p:txBody>
      </p:sp>
      <p:sp>
        <p:nvSpPr>
          <p:cNvPr id="4" name="U-Turn Arrow 263">
            <a:extLst>
              <a:ext uri="{FF2B5EF4-FFF2-40B4-BE49-F238E27FC236}">
                <a16:creationId xmlns:a16="http://schemas.microsoft.com/office/drawing/2014/main" id="{D25B4135-84FE-4935-B607-83ABC7BE7F27}"/>
              </a:ext>
            </a:extLst>
          </p:cNvPr>
          <p:cNvSpPr/>
          <p:nvPr/>
        </p:nvSpPr>
        <p:spPr>
          <a:xfrm rot="5400000">
            <a:off x="4919445" y="-2079192"/>
            <a:ext cx="2626966" cy="11439418"/>
          </a:xfrm>
          <a:prstGeom prst="uturnArrow">
            <a:avLst>
              <a:gd name="adj1" fmla="val 6284"/>
              <a:gd name="adj2" fmla="val 5516"/>
              <a:gd name="adj3" fmla="val 8736"/>
              <a:gd name="adj4" fmla="val 23983"/>
              <a:gd name="adj5" fmla="val 99415"/>
            </a:avLst>
          </a:prstGeom>
          <a:solidFill>
            <a:schemeClr val="accent1"/>
          </a:solidFill>
          <a:ln w="25400" cap="flat" cmpd="sng" algn="ctr">
            <a:noFill/>
            <a:prstDash val="solid"/>
          </a:ln>
          <a:effectLst/>
        </p:spPr>
        <p:txBody>
          <a:bodyPr rtlCol="0" anchor="ctr"/>
          <a:lstStyle/>
          <a:p>
            <a:pPr algn="ctr" defTabSz="685800" fontAlgn="base">
              <a:spcBef>
                <a:spcPct val="0"/>
              </a:spcBef>
              <a:spcAft>
                <a:spcPct val="0"/>
              </a:spcAft>
              <a:defRPr/>
            </a:pPr>
            <a:endParaRPr lang="en-US" sz="1350" kern="0">
              <a:solidFill>
                <a:srgbClr val="000000"/>
              </a:solidFill>
              <a:latin typeface="Arial"/>
            </a:endParaRPr>
          </a:p>
        </p:txBody>
      </p:sp>
      <p:sp>
        <p:nvSpPr>
          <p:cNvPr id="7" name="Flowchart: Alternate Process 6">
            <a:extLst>
              <a:ext uri="{FF2B5EF4-FFF2-40B4-BE49-F238E27FC236}">
                <a16:creationId xmlns:a16="http://schemas.microsoft.com/office/drawing/2014/main" id="{C491810A-20FE-436C-B108-64BA0EC505B4}"/>
              </a:ext>
            </a:extLst>
          </p:cNvPr>
          <p:cNvSpPr/>
          <p:nvPr/>
        </p:nvSpPr>
        <p:spPr>
          <a:xfrm>
            <a:off x="9300955" y="1313597"/>
            <a:ext cx="2022309" cy="814153"/>
          </a:xfrm>
          <a:prstGeom prst="flowChartAlternateProcess">
            <a:avLst/>
          </a:prstGeom>
          <a:solidFill>
            <a:sysClr val="window" lastClr="FFFFFF"/>
          </a:solidFill>
          <a:ln w="25400" cap="flat" cmpd="sng" algn="ctr">
            <a:noFill/>
            <a:prstDash val="solid"/>
          </a:ln>
          <a:effectLst>
            <a:outerShdw blurRad="50800" dist="38100" dir="2700000" algn="tl" rotWithShape="0">
              <a:prstClr val="black">
                <a:alpha val="40000"/>
              </a:prstClr>
            </a:outerShdw>
          </a:effectLst>
        </p:spPr>
        <p:txBody>
          <a:bodyPr rot="0" spcFirstLastPara="0" vertOverflow="overflow" horzOverflow="overflow" vert="horz" wrap="square" lIns="68580" tIns="34290" rIns="68580" bIns="34290" numCol="1" spcCol="0" rtlCol="0" fromWordArt="0" anchor="b" anchorCtr="0" forceAA="0" compatLnSpc="1">
            <a:prstTxWarp prst="textNoShape">
              <a:avLst/>
            </a:prstTxWarp>
            <a:noAutofit/>
          </a:bodyPr>
          <a:lstStyle/>
          <a:p>
            <a:pPr algn="ctr" defTabSz="685800" fontAlgn="base">
              <a:spcBef>
                <a:spcPct val="0"/>
              </a:spcBef>
              <a:spcAft>
                <a:spcPct val="0"/>
              </a:spcAft>
              <a:defRPr/>
            </a:pPr>
            <a:endParaRPr lang="en-US" sz="1050" b="1" kern="0">
              <a:solidFill>
                <a:srgbClr val="000000"/>
              </a:solidFill>
              <a:latin typeface="Arial"/>
            </a:endParaRPr>
          </a:p>
        </p:txBody>
      </p:sp>
      <p:sp>
        <p:nvSpPr>
          <p:cNvPr id="8" name="Oval 7">
            <a:extLst>
              <a:ext uri="{FF2B5EF4-FFF2-40B4-BE49-F238E27FC236}">
                <a16:creationId xmlns:a16="http://schemas.microsoft.com/office/drawing/2014/main" id="{E17A2C6B-8E02-4736-BA26-7E6018A558FE}"/>
              </a:ext>
            </a:extLst>
          </p:cNvPr>
          <p:cNvSpPr/>
          <p:nvPr/>
        </p:nvSpPr>
        <p:spPr>
          <a:xfrm>
            <a:off x="4370418" y="2236580"/>
            <a:ext cx="437288" cy="352446"/>
          </a:xfrm>
          <a:prstGeom prst="ellipse">
            <a:avLst/>
          </a:prstGeom>
          <a:solidFill>
            <a:sysClr val="window" lastClr="FFFFFF"/>
          </a:solidFill>
          <a:ln w="25400" cap="flat" cmpd="sng" algn="ctr">
            <a:solidFill>
              <a:schemeClr val="accent1"/>
            </a:solidFill>
            <a:prstDash val="solid"/>
          </a:ln>
          <a:effectLst>
            <a:glow rad="101600">
              <a:sysClr val="window" lastClr="FFFFFF">
                <a:alpha val="60000"/>
              </a:sysClr>
            </a:glow>
          </a:effectLst>
        </p:spPr>
        <p:txBody>
          <a:bodyPr rtlCol="0" anchor="ctr"/>
          <a:lstStyle/>
          <a:p>
            <a:pPr algn="ctr" defTabSz="685800" fontAlgn="base">
              <a:spcBef>
                <a:spcPct val="0"/>
              </a:spcBef>
              <a:spcAft>
                <a:spcPct val="0"/>
              </a:spcAft>
              <a:defRPr/>
            </a:pPr>
            <a:r>
              <a:rPr lang="en-US" sz="1200" b="1" kern="0">
                <a:solidFill>
                  <a:srgbClr val="0066A1"/>
                </a:solidFill>
                <a:latin typeface="Arial"/>
              </a:rPr>
              <a:t>2</a:t>
            </a:r>
          </a:p>
        </p:txBody>
      </p:sp>
      <p:sp>
        <p:nvSpPr>
          <p:cNvPr id="9" name="Oval 8">
            <a:extLst>
              <a:ext uri="{FF2B5EF4-FFF2-40B4-BE49-F238E27FC236}">
                <a16:creationId xmlns:a16="http://schemas.microsoft.com/office/drawing/2014/main" id="{61596DF8-0482-44F1-AF7C-624C653805CC}"/>
              </a:ext>
            </a:extLst>
          </p:cNvPr>
          <p:cNvSpPr/>
          <p:nvPr/>
        </p:nvSpPr>
        <p:spPr>
          <a:xfrm>
            <a:off x="10031902" y="2237939"/>
            <a:ext cx="380785" cy="352446"/>
          </a:xfrm>
          <a:prstGeom prst="ellipse">
            <a:avLst/>
          </a:prstGeom>
          <a:solidFill>
            <a:sysClr val="window" lastClr="FFFFFF"/>
          </a:solidFill>
          <a:ln w="25400" cap="flat" cmpd="sng" algn="ctr">
            <a:solidFill>
              <a:schemeClr val="accent1"/>
            </a:solidFill>
            <a:prstDash val="solid"/>
          </a:ln>
          <a:effectLst>
            <a:glow rad="101600">
              <a:sysClr val="window" lastClr="FFFFFF">
                <a:alpha val="60000"/>
              </a:sysClr>
            </a:glow>
          </a:effectLst>
        </p:spPr>
        <p:txBody>
          <a:bodyPr rtlCol="0" anchor="ctr"/>
          <a:lstStyle/>
          <a:p>
            <a:pPr algn="ctr" defTabSz="685800" fontAlgn="base">
              <a:spcBef>
                <a:spcPct val="0"/>
              </a:spcBef>
              <a:spcAft>
                <a:spcPct val="0"/>
              </a:spcAft>
              <a:defRPr/>
            </a:pPr>
            <a:r>
              <a:rPr lang="en-US" sz="1200" b="1" kern="0">
                <a:solidFill>
                  <a:srgbClr val="0066A1"/>
                </a:solidFill>
                <a:latin typeface="Arial"/>
              </a:rPr>
              <a:t>4</a:t>
            </a:r>
          </a:p>
        </p:txBody>
      </p:sp>
      <p:grpSp>
        <p:nvGrpSpPr>
          <p:cNvPr id="10" name="Group 9">
            <a:extLst>
              <a:ext uri="{FF2B5EF4-FFF2-40B4-BE49-F238E27FC236}">
                <a16:creationId xmlns:a16="http://schemas.microsoft.com/office/drawing/2014/main" id="{00F0589D-E555-4648-A442-96AB4262F37A}"/>
              </a:ext>
            </a:extLst>
          </p:cNvPr>
          <p:cNvGrpSpPr/>
          <p:nvPr/>
        </p:nvGrpSpPr>
        <p:grpSpPr>
          <a:xfrm>
            <a:off x="2992987" y="2325143"/>
            <a:ext cx="277989" cy="170323"/>
            <a:chOff x="2697955" y="2308773"/>
            <a:chExt cx="282159" cy="186777"/>
          </a:xfrm>
        </p:grpSpPr>
        <p:sp>
          <p:nvSpPr>
            <p:cNvPr id="11" name="Chevron 330">
              <a:extLst>
                <a:ext uri="{FF2B5EF4-FFF2-40B4-BE49-F238E27FC236}">
                  <a16:creationId xmlns:a16="http://schemas.microsoft.com/office/drawing/2014/main" id="{F321C3FA-5258-47C1-B0A2-A3E5EFFB545F}"/>
                </a:ext>
              </a:extLst>
            </p:cNvPr>
            <p:cNvSpPr/>
            <p:nvPr/>
          </p:nvSpPr>
          <p:spPr>
            <a:xfrm>
              <a:off x="2807493" y="2308773"/>
              <a:ext cx="172621" cy="186777"/>
            </a:xfrm>
            <a:prstGeom prst="chevron">
              <a:avLst/>
            </a:prstGeom>
            <a:solidFill>
              <a:sysClr val="window" lastClr="FFFFFF"/>
            </a:solidFill>
            <a:ln w="25400" cap="flat" cmpd="sng" algn="ctr">
              <a:noFill/>
              <a:prstDash val="solid"/>
            </a:ln>
            <a:effectLst/>
          </p:spPr>
          <p:txBody>
            <a:bodyPr rtlCol="0" anchor="ctr"/>
            <a:lstStyle/>
            <a:p>
              <a:pPr algn="ctr" defTabSz="685800" fontAlgn="base">
                <a:spcBef>
                  <a:spcPct val="0"/>
                </a:spcBef>
                <a:spcAft>
                  <a:spcPct val="0"/>
                </a:spcAft>
                <a:defRPr/>
              </a:pPr>
              <a:endParaRPr lang="en-US" sz="1350" kern="0">
                <a:solidFill>
                  <a:srgbClr val="000000"/>
                </a:solidFill>
                <a:latin typeface="Arial"/>
              </a:endParaRPr>
            </a:p>
          </p:txBody>
        </p:sp>
        <p:sp>
          <p:nvSpPr>
            <p:cNvPr id="12" name="Chevron 331">
              <a:extLst>
                <a:ext uri="{FF2B5EF4-FFF2-40B4-BE49-F238E27FC236}">
                  <a16:creationId xmlns:a16="http://schemas.microsoft.com/office/drawing/2014/main" id="{38BA9D79-0127-4FF2-89DF-84F4FAFD8245}"/>
                </a:ext>
              </a:extLst>
            </p:cNvPr>
            <p:cNvSpPr/>
            <p:nvPr/>
          </p:nvSpPr>
          <p:spPr>
            <a:xfrm>
              <a:off x="2697955" y="2308773"/>
              <a:ext cx="172621" cy="186777"/>
            </a:xfrm>
            <a:prstGeom prst="chevron">
              <a:avLst/>
            </a:prstGeom>
            <a:solidFill>
              <a:sysClr val="window" lastClr="FFFFFF"/>
            </a:solidFill>
            <a:ln w="25400" cap="flat" cmpd="sng" algn="ctr">
              <a:noFill/>
              <a:prstDash val="solid"/>
            </a:ln>
            <a:effectLst/>
          </p:spPr>
          <p:txBody>
            <a:bodyPr rtlCol="0" anchor="ctr"/>
            <a:lstStyle/>
            <a:p>
              <a:pPr algn="ctr" defTabSz="685800" fontAlgn="base">
                <a:spcBef>
                  <a:spcPct val="0"/>
                </a:spcBef>
                <a:spcAft>
                  <a:spcPct val="0"/>
                </a:spcAft>
                <a:defRPr/>
              </a:pPr>
              <a:endParaRPr lang="en-US" sz="1350" kern="0">
                <a:solidFill>
                  <a:srgbClr val="000000"/>
                </a:solidFill>
                <a:latin typeface="Arial"/>
              </a:endParaRPr>
            </a:p>
          </p:txBody>
        </p:sp>
      </p:grpSp>
      <p:grpSp>
        <p:nvGrpSpPr>
          <p:cNvPr id="13" name="Group 12">
            <a:extLst>
              <a:ext uri="{FF2B5EF4-FFF2-40B4-BE49-F238E27FC236}">
                <a16:creationId xmlns:a16="http://schemas.microsoft.com/office/drawing/2014/main" id="{48D6F65E-8266-41B2-8557-FFCF07ADE8AA}"/>
              </a:ext>
            </a:extLst>
          </p:cNvPr>
          <p:cNvGrpSpPr/>
          <p:nvPr/>
        </p:nvGrpSpPr>
        <p:grpSpPr>
          <a:xfrm>
            <a:off x="5880457" y="2325143"/>
            <a:ext cx="277989" cy="170323"/>
            <a:chOff x="2697955" y="2308773"/>
            <a:chExt cx="282159" cy="186777"/>
          </a:xfrm>
        </p:grpSpPr>
        <p:sp>
          <p:nvSpPr>
            <p:cNvPr id="14" name="Chevron 333">
              <a:extLst>
                <a:ext uri="{FF2B5EF4-FFF2-40B4-BE49-F238E27FC236}">
                  <a16:creationId xmlns:a16="http://schemas.microsoft.com/office/drawing/2014/main" id="{9CF31D90-16E5-47B0-A7B0-BA326D936FC6}"/>
                </a:ext>
              </a:extLst>
            </p:cNvPr>
            <p:cNvSpPr/>
            <p:nvPr/>
          </p:nvSpPr>
          <p:spPr>
            <a:xfrm>
              <a:off x="2807493" y="2308773"/>
              <a:ext cx="172621" cy="186777"/>
            </a:xfrm>
            <a:prstGeom prst="chevron">
              <a:avLst/>
            </a:prstGeom>
            <a:solidFill>
              <a:sysClr val="window" lastClr="FFFFFF"/>
            </a:solidFill>
            <a:ln w="25400" cap="flat" cmpd="sng" algn="ctr">
              <a:noFill/>
              <a:prstDash val="solid"/>
            </a:ln>
            <a:effectLst/>
          </p:spPr>
          <p:txBody>
            <a:bodyPr rtlCol="0" anchor="ctr"/>
            <a:lstStyle/>
            <a:p>
              <a:pPr algn="ctr" defTabSz="685800" fontAlgn="base">
                <a:spcBef>
                  <a:spcPct val="0"/>
                </a:spcBef>
                <a:spcAft>
                  <a:spcPct val="0"/>
                </a:spcAft>
                <a:defRPr/>
              </a:pPr>
              <a:endParaRPr lang="en-US" sz="1350" kern="0">
                <a:solidFill>
                  <a:srgbClr val="000000"/>
                </a:solidFill>
                <a:latin typeface="Arial"/>
              </a:endParaRPr>
            </a:p>
          </p:txBody>
        </p:sp>
        <p:sp>
          <p:nvSpPr>
            <p:cNvPr id="15" name="Chevron 334">
              <a:extLst>
                <a:ext uri="{FF2B5EF4-FFF2-40B4-BE49-F238E27FC236}">
                  <a16:creationId xmlns:a16="http://schemas.microsoft.com/office/drawing/2014/main" id="{B1CB8115-58B1-4570-BB27-FA88BA086820}"/>
                </a:ext>
              </a:extLst>
            </p:cNvPr>
            <p:cNvSpPr/>
            <p:nvPr/>
          </p:nvSpPr>
          <p:spPr>
            <a:xfrm>
              <a:off x="2697955" y="2308773"/>
              <a:ext cx="172621" cy="186777"/>
            </a:xfrm>
            <a:prstGeom prst="chevron">
              <a:avLst/>
            </a:prstGeom>
            <a:solidFill>
              <a:sysClr val="window" lastClr="FFFFFF"/>
            </a:solidFill>
            <a:ln w="25400" cap="flat" cmpd="sng" algn="ctr">
              <a:noFill/>
              <a:prstDash val="solid"/>
            </a:ln>
            <a:effectLst/>
          </p:spPr>
          <p:txBody>
            <a:bodyPr rtlCol="0" anchor="ctr"/>
            <a:lstStyle/>
            <a:p>
              <a:pPr algn="ctr" defTabSz="685800" fontAlgn="base">
                <a:spcBef>
                  <a:spcPct val="0"/>
                </a:spcBef>
                <a:spcAft>
                  <a:spcPct val="0"/>
                </a:spcAft>
                <a:defRPr/>
              </a:pPr>
              <a:endParaRPr lang="en-US" sz="1350" kern="0">
                <a:solidFill>
                  <a:srgbClr val="000000"/>
                </a:solidFill>
                <a:latin typeface="Arial"/>
              </a:endParaRPr>
            </a:p>
          </p:txBody>
        </p:sp>
      </p:grpSp>
      <p:grpSp>
        <p:nvGrpSpPr>
          <p:cNvPr id="16" name="Group 15">
            <a:extLst>
              <a:ext uri="{FF2B5EF4-FFF2-40B4-BE49-F238E27FC236}">
                <a16:creationId xmlns:a16="http://schemas.microsoft.com/office/drawing/2014/main" id="{52B58332-1A94-47C2-B459-204830EE60DA}"/>
              </a:ext>
            </a:extLst>
          </p:cNvPr>
          <p:cNvGrpSpPr/>
          <p:nvPr/>
        </p:nvGrpSpPr>
        <p:grpSpPr>
          <a:xfrm>
            <a:off x="8727658" y="2325143"/>
            <a:ext cx="277989" cy="170323"/>
            <a:chOff x="2697955" y="2308773"/>
            <a:chExt cx="282159" cy="186777"/>
          </a:xfrm>
        </p:grpSpPr>
        <p:sp>
          <p:nvSpPr>
            <p:cNvPr id="17" name="Chevron 336">
              <a:extLst>
                <a:ext uri="{FF2B5EF4-FFF2-40B4-BE49-F238E27FC236}">
                  <a16:creationId xmlns:a16="http://schemas.microsoft.com/office/drawing/2014/main" id="{93A2145D-8CAB-4EAC-8F38-1950F7078658}"/>
                </a:ext>
              </a:extLst>
            </p:cNvPr>
            <p:cNvSpPr/>
            <p:nvPr/>
          </p:nvSpPr>
          <p:spPr>
            <a:xfrm>
              <a:off x="2807493" y="2308773"/>
              <a:ext cx="172621" cy="186777"/>
            </a:xfrm>
            <a:prstGeom prst="chevron">
              <a:avLst/>
            </a:prstGeom>
            <a:solidFill>
              <a:sysClr val="window" lastClr="FFFFFF"/>
            </a:solidFill>
            <a:ln w="25400" cap="flat" cmpd="sng" algn="ctr">
              <a:noFill/>
              <a:prstDash val="solid"/>
            </a:ln>
            <a:effectLst/>
          </p:spPr>
          <p:txBody>
            <a:bodyPr rtlCol="0" anchor="ctr"/>
            <a:lstStyle/>
            <a:p>
              <a:pPr algn="ctr" defTabSz="685800" fontAlgn="base">
                <a:spcBef>
                  <a:spcPct val="0"/>
                </a:spcBef>
                <a:spcAft>
                  <a:spcPct val="0"/>
                </a:spcAft>
                <a:defRPr/>
              </a:pPr>
              <a:endParaRPr lang="en-US" sz="1350" kern="0">
                <a:solidFill>
                  <a:srgbClr val="000000"/>
                </a:solidFill>
                <a:latin typeface="Arial"/>
              </a:endParaRPr>
            </a:p>
          </p:txBody>
        </p:sp>
        <p:sp>
          <p:nvSpPr>
            <p:cNvPr id="18" name="Chevron 337">
              <a:extLst>
                <a:ext uri="{FF2B5EF4-FFF2-40B4-BE49-F238E27FC236}">
                  <a16:creationId xmlns:a16="http://schemas.microsoft.com/office/drawing/2014/main" id="{E02746FD-3C57-4EF0-BC5E-9261F85ADC8A}"/>
                </a:ext>
              </a:extLst>
            </p:cNvPr>
            <p:cNvSpPr/>
            <p:nvPr/>
          </p:nvSpPr>
          <p:spPr>
            <a:xfrm>
              <a:off x="2697955" y="2308773"/>
              <a:ext cx="172621" cy="186777"/>
            </a:xfrm>
            <a:prstGeom prst="chevron">
              <a:avLst/>
            </a:prstGeom>
            <a:solidFill>
              <a:sysClr val="window" lastClr="FFFFFF"/>
            </a:solidFill>
            <a:ln w="25400" cap="flat" cmpd="sng" algn="ctr">
              <a:noFill/>
              <a:prstDash val="solid"/>
            </a:ln>
            <a:effectLst/>
          </p:spPr>
          <p:txBody>
            <a:bodyPr rtlCol="0" anchor="ctr"/>
            <a:lstStyle/>
            <a:p>
              <a:pPr algn="ctr" defTabSz="685800" fontAlgn="base">
                <a:spcBef>
                  <a:spcPct val="0"/>
                </a:spcBef>
                <a:spcAft>
                  <a:spcPct val="0"/>
                </a:spcAft>
                <a:defRPr/>
              </a:pPr>
              <a:endParaRPr lang="en-US" sz="1350" kern="0">
                <a:solidFill>
                  <a:srgbClr val="000000"/>
                </a:solidFill>
                <a:latin typeface="Arial"/>
              </a:endParaRPr>
            </a:p>
          </p:txBody>
        </p:sp>
      </p:grpSp>
      <p:grpSp>
        <p:nvGrpSpPr>
          <p:cNvPr id="19" name="Group 18">
            <a:extLst>
              <a:ext uri="{FF2B5EF4-FFF2-40B4-BE49-F238E27FC236}">
                <a16:creationId xmlns:a16="http://schemas.microsoft.com/office/drawing/2014/main" id="{4E21BD4E-84C5-4F24-8E74-226BB6710F37}"/>
              </a:ext>
            </a:extLst>
          </p:cNvPr>
          <p:cNvGrpSpPr/>
          <p:nvPr/>
        </p:nvGrpSpPr>
        <p:grpSpPr>
          <a:xfrm rot="5400000">
            <a:off x="11731992" y="3418683"/>
            <a:ext cx="257301" cy="184017"/>
            <a:chOff x="2697955" y="2308773"/>
            <a:chExt cx="282159" cy="186777"/>
          </a:xfrm>
        </p:grpSpPr>
        <p:sp>
          <p:nvSpPr>
            <p:cNvPr id="20" name="Chevron 339">
              <a:extLst>
                <a:ext uri="{FF2B5EF4-FFF2-40B4-BE49-F238E27FC236}">
                  <a16:creationId xmlns:a16="http://schemas.microsoft.com/office/drawing/2014/main" id="{C21EA06A-F835-41BB-BFBB-F18E0BF669BE}"/>
                </a:ext>
              </a:extLst>
            </p:cNvPr>
            <p:cNvSpPr/>
            <p:nvPr/>
          </p:nvSpPr>
          <p:spPr>
            <a:xfrm>
              <a:off x="2807493" y="2308773"/>
              <a:ext cx="172621" cy="186777"/>
            </a:xfrm>
            <a:prstGeom prst="chevron">
              <a:avLst/>
            </a:prstGeom>
            <a:solidFill>
              <a:sysClr val="window" lastClr="FFFFFF"/>
            </a:solidFill>
            <a:ln w="25400" cap="flat" cmpd="sng" algn="ctr">
              <a:noFill/>
              <a:prstDash val="solid"/>
            </a:ln>
            <a:effectLst/>
          </p:spPr>
          <p:txBody>
            <a:bodyPr rtlCol="0" anchor="ctr"/>
            <a:lstStyle/>
            <a:p>
              <a:pPr algn="ctr" defTabSz="685800" fontAlgn="base">
                <a:spcBef>
                  <a:spcPct val="0"/>
                </a:spcBef>
                <a:spcAft>
                  <a:spcPct val="0"/>
                </a:spcAft>
                <a:defRPr/>
              </a:pPr>
              <a:endParaRPr lang="en-US" sz="1350" kern="0">
                <a:solidFill>
                  <a:srgbClr val="000000"/>
                </a:solidFill>
                <a:latin typeface="Arial"/>
              </a:endParaRPr>
            </a:p>
          </p:txBody>
        </p:sp>
        <p:sp>
          <p:nvSpPr>
            <p:cNvPr id="21" name="Chevron 340">
              <a:extLst>
                <a:ext uri="{FF2B5EF4-FFF2-40B4-BE49-F238E27FC236}">
                  <a16:creationId xmlns:a16="http://schemas.microsoft.com/office/drawing/2014/main" id="{A65F88FC-C146-4D42-8AF6-243D3D49931C}"/>
                </a:ext>
              </a:extLst>
            </p:cNvPr>
            <p:cNvSpPr/>
            <p:nvPr/>
          </p:nvSpPr>
          <p:spPr>
            <a:xfrm>
              <a:off x="2697955" y="2308773"/>
              <a:ext cx="172621" cy="186777"/>
            </a:xfrm>
            <a:prstGeom prst="chevron">
              <a:avLst/>
            </a:prstGeom>
            <a:solidFill>
              <a:sysClr val="window" lastClr="FFFFFF"/>
            </a:solidFill>
            <a:ln w="25400" cap="flat" cmpd="sng" algn="ctr">
              <a:noFill/>
              <a:prstDash val="solid"/>
            </a:ln>
            <a:effectLst/>
          </p:spPr>
          <p:txBody>
            <a:bodyPr rtlCol="0" anchor="ctr"/>
            <a:lstStyle/>
            <a:p>
              <a:pPr algn="ctr" defTabSz="685800" fontAlgn="base">
                <a:spcBef>
                  <a:spcPct val="0"/>
                </a:spcBef>
                <a:spcAft>
                  <a:spcPct val="0"/>
                </a:spcAft>
                <a:defRPr/>
              </a:pPr>
              <a:endParaRPr lang="en-US" sz="1350" kern="0">
                <a:solidFill>
                  <a:srgbClr val="000000"/>
                </a:solidFill>
                <a:latin typeface="Arial"/>
              </a:endParaRPr>
            </a:p>
          </p:txBody>
        </p:sp>
      </p:grpSp>
      <p:grpSp>
        <p:nvGrpSpPr>
          <p:cNvPr id="22" name="Group 21">
            <a:extLst>
              <a:ext uri="{FF2B5EF4-FFF2-40B4-BE49-F238E27FC236}">
                <a16:creationId xmlns:a16="http://schemas.microsoft.com/office/drawing/2014/main" id="{4DFDD86E-5A5A-4A62-9F03-DF8D84D14732}"/>
              </a:ext>
            </a:extLst>
          </p:cNvPr>
          <p:cNvGrpSpPr/>
          <p:nvPr/>
        </p:nvGrpSpPr>
        <p:grpSpPr>
          <a:xfrm flipH="1">
            <a:off x="2976384" y="4725830"/>
            <a:ext cx="277989" cy="170323"/>
            <a:chOff x="2697955" y="2308773"/>
            <a:chExt cx="282159" cy="186777"/>
          </a:xfrm>
        </p:grpSpPr>
        <p:sp>
          <p:nvSpPr>
            <p:cNvPr id="23" name="Chevron 342">
              <a:extLst>
                <a:ext uri="{FF2B5EF4-FFF2-40B4-BE49-F238E27FC236}">
                  <a16:creationId xmlns:a16="http://schemas.microsoft.com/office/drawing/2014/main" id="{D75CE887-0996-4384-94F6-32952D1FDADA}"/>
                </a:ext>
              </a:extLst>
            </p:cNvPr>
            <p:cNvSpPr/>
            <p:nvPr/>
          </p:nvSpPr>
          <p:spPr>
            <a:xfrm>
              <a:off x="2807493" y="2308773"/>
              <a:ext cx="172621" cy="186777"/>
            </a:xfrm>
            <a:prstGeom prst="chevron">
              <a:avLst/>
            </a:prstGeom>
            <a:solidFill>
              <a:sysClr val="window" lastClr="FFFFFF"/>
            </a:solidFill>
            <a:ln w="25400" cap="flat" cmpd="sng" algn="ctr">
              <a:noFill/>
              <a:prstDash val="solid"/>
            </a:ln>
            <a:effectLst/>
          </p:spPr>
          <p:txBody>
            <a:bodyPr rtlCol="0" anchor="ctr"/>
            <a:lstStyle/>
            <a:p>
              <a:pPr algn="ctr" defTabSz="685800" fontAlgn="base">
                <a:spcBef>
                  <a:spcPct val="0"/>
                </a:spcBef>
                <a:spcAft>
                  <a:spcPct val="0"/>
                </a:spcAft>
                <a:defRPr/>
              </a:pPr>
              <a:endParaRPr lang="en-US" sz="1350" kern="0">
                <a:solidFill>
                  <a:srgbClr val="000000"/>
                </a:solidFill>
                <a:latin typeface="Arial"/>
              </a:endParaRPr>
            </a:p>
          </p:txBody>
        </p:sp>
        <p:sp>
          <p:nvSpPr>
            <p:cNvPr id="24" name="Chevron 343">
              <a:extLst>
                <a:ext uri="{FF2B5EF4-FFF2-40B4-BE49-F238E27FC236}">
                  <a16:creationId xmlns:a16="http://schemas.microsoft.com/office/drawing/2014/main" id="{40F2A8B0-B5F6-4F2A-88B5-521AB8C05CFE}"/>
                </a:ext>
              </a:extLst>
            </p:cNvPr>
            <p:cNvSpPr/>
            <p:nvPr/>
          </p:nvSpPr>
          <p:spPr>
            <a:xfrm>
              <a:off x="2697955" y="2308773"/>
              <a:ext cx="172621" cy="186777"/>
            </a:xfrm>
            <a:prstGeom prst="chevron">
              <a:avLst/>
            </a:prstGeom>
            <a:solidFill>
              <a:sysClr val="window" lastClr="FFFFFF"/>
            </a:solidFill>
            <a:ln w="25400" cap="flat" cmpd="sng" algn="ctr">
              <a:noFill/>
              <a:prstDash val="solid"/>
            </a:ln>
            <a:effectLst/>
          </p:spPr>
          <p:txBody>
            <a:bodyPr rtlCol="0" anchor="ctr"/>
            <a:lstStyle/>
            <a:p>
              <a:pPr algn="ctr" defTabSz="685800" fontAlgn="base">
                <a:spcBef>
                  <a:spcPct val="0"/>
                </a:spcBef>
                <a:spcAft>
                  <a:spcPct val="0"/>
                </a:spcAft>
                <a:defRPr/>
              </a:pPr>
              <a:endParaRPr lang="en-US" sz="1350" kern="0">
                <a:solidFill>
                  <a:srgbClr val="000000"/>
                </a:solidFill>
                <a:latin typeface="Arial"/>
              </a:endParaRPr>
            </a:p>
          </p:txBody>
        </p:sp>
      </p:grpSp>
      <p:grpSp>
        <p:nvGrpSpPr>
          <p:cNvPr id="25" name="Group 24">
            <a:extLst>
              <a:ext uri="{FF2B5EF4-FFF2-40B4-BE49-F238E27FC236}">
                <a16:creationId xmlns:a16="http://schemas.microsoft.com/office/drawing/2014/main" id="{22A82F4D-DD20-417A-B047-0371F2962406}"/>
              </a:ext>
            </a:extLst>
          </p:cNvPr>
          <p:cNvGrpSpPr/>
          <p:nvPr/>
        </p:nvGrpSpPr>
        <p:grpSpPr>
          <a:xfrm flipH="1">
            <a:off x="8180988" y="4722659"/>
            <a:ext cx="277989" cy="170323"/>
            <a:chOff x="2697955" y="2308773"/>
            <a:chExt cx="282159" cy="186777"/>
          </a:xfrm>
        </p:grpSpPr>
        <p:sp>
          <p:nvSpPr>
            <p:cNvPr id="26" name="Chevron 345">
              <a:extLst>
                <a:ext uri="{FF2B5EF4-FFF2-40B4-BE49-F238E27FC236}">
                  <a16:creationId xmlns:a16="http://schemas.microsoft.com/office/drawing/2014/main" id="{0DC99A1B-56BA-4C21-8C1E-009CC42704A6}"/>
                </a:ext>
              </a:extLst>
            </p:cNvPr>
            <p:cNvSpPr/>
            <p:nvPr/>
          </p:nvSpPr>
          <p:spPr>
            <a:xfrm>
              <a:off x="2807493" y="2308773"/>
              <a:ext cx="172621" cy="186777"/>
            </a:xfrm>
            <a:prstGeom prst="chevron">
              <a:avLst/>
            </a:prstGeom>
            <a:solidFill>
              <a:sysClr val="window" lastClr="FFFFFF"/>
            </a:solidFill>
            <a:ln w="25400" cap="flat" cmpd="sng" algn="ctr">
              <a:noFill/>
              <a:prstDash val="solid"/>
            </a:ln>
            <a:effectLst/>
          </p:spPr>
          <p:txBody>
            <a:bodyPr rtlCol="0" anchor="ctr"/>
            <a:lstStyle/>
            <a:p>
              <a:pPr algn="ctr" defTabSz="685800" fontAlgn="base">
                <a:spcBef>
                  <a:spcPct val="0"/>
                </a:spcBef>
                <a:spcAft>
                  <a:spcPct val="0"/>
                </a:spcAft>
                <a:defRPr/>
              </a:pPr>
              <a:endParaRPr lang="en-US" sz="1350" kern="0">
                <a:solidFill>
                  <a:srgbClr val="000000"/>
                </a:solidFill>
                <a:latin typeface="Arial"/>
              </a:endParaRPr>
            </a:p>
          </p:txBody>
        </p:sp>
        <p:sp>
          <p:nvSpPr>
            <p:cNvPr id="27" name="Chevron 346">
              <a:extLst>
                <a:ext uri="{FF2B5EF4-FFF2-40B4-BE49-F238E27FC236}">
                  <a16:creationId xmlns:a16="http://schemas.microsoft.com/office/drawing/2014/main" id="{7F2AA63B-F904-4D0A-972B-E2011402B3D8}"/>
                </a:ext>
              </a:extLst>
            </p:cNvPr>
            <p:cNvSpPr/>
            <p:nvPr/>
          </p:nvSpPr>
          <p:spPr>
            <a:xfrm>
              <a:off x="2697955" y="2308773"/>
              <a:ext cx="172621" cy="186777"/>
            </a:xfrm>
            <a:prstGeom prst="chevron">
              <a:avLst/>
            </a:prstGeom>
            <a:solidFill>
              <a:sysClr val="window" lastClr="FFFFFF"/>
            </a:solidFill>
            <a:ln w="25400" cap="flat" cmpd="sng" algn="ctr">
              <a:noFill/>
              <a:prstDash val="solid"/>
            </a:ln>
            <a:effectLst/>
          </p:spPr>
          <p:txBody>
            <a:bodyPr rtlCol="0" anchor="ctr"/>
            <a:lstStyle/>
            <a:p>
              <a:pPr algn="ctr" defTabSz="685800" fontAlgn="base">
                <a:spcBef>
                  <a:spcPct val="0"/>
                </a:spcBef>
                <a:spcAft>
                  <a:spcPct val="0"/>
                </a:spcAft>
                <a:defRPr/>
              </a:pPr>
              <a:endParaRPr lang="en-US" sz="1350" kern="0">
                <a:solidFill>
                  <a:srgbClr val="000000"/>
                </a:solidFill>
                <a:latin typeface="Arial"/>
              </a:endParaRPr>
            </a:p>
          </p:txBody>
        </p:sp>
      </p:grpSp>
      <p:sp>
        <p:nvSpPr>
          <p:cNvPr id="33" name="TextBox 32">
            <a:extLst>
              <a:ext uri="{FF2B5EF4-FFF2-40B4-BE49-F238E27FC236}">
                <a16:creationId xmlns:a16="http://schemas.microsoft.com/office/drawing/2014/main" id="{B90A1ACF-0A8C-468D-84CB-26BA15F33471}"/>
              </a:ext>
            </a:extLst>
          </p:cNvPr>
          <p:cNvSpPr txBox="1"/>
          <p:nvPr/>
        </p:nvSpPr>
        <p:spPr>
          <a:xfrm>
            <a:off x="475013" y="2583665"/>
            <a:ext cx="3220691" cy="1412694"/>
          </a:xfrm>
          <a:prstGeom prst="rect">
            <a:avLst/>
          </a:prstGeom>
          <a:noFill/>
        </p:spPr>
        <p:txBody>
          <a:bodyPr wrap="square" lIns="13716" tIns="13716" rIns="13716" bIns="13716" rtlCol="0">
            <a:spAutoFit/>
          </a:bodyPr>
          <a:lstStyle/>
          <a:p>
            <a:pPr defTabSz="685800" fontAlgn="base">
              <a:spcBef>
                <a:spcPct val="0"/>
              </a:spcBef>
              <a:spcAft>
                <a:spcPct val="0"/>
              </a:spcAft>
            </a:pPr>
            <a:r>
              <a:rPr lang="en-US" sz="1000" b="1">
                <a:solidFill>
                  <a:srgbClr val="0066A1"/>
                </a:solidFill>
                <a:cs typeface="Arial" charset="0"/>
              </a:rPr>
              <a:t>Analysis and Discovery</a:t>
            </a:r>
          </a:p>
          <a:p>
            <a:pPr defTabSz="685800" fontAlgn="base">
              <a:spcBef>
                <a:spcPct val="0"/>
              </a:spcBef>
              <a:spcAft>
                <a:spcPct val="0"/>
              </a:spcAft>
            </a:pPr>
            <a:endParaRPr lang="en-US" sz="1000" b="1">
              <a:solidFill>
                <a:srgbClr val="F26E01"/>
              </a:solidFill>
              <a:cs typeface="Arial" charset="0"/>
            </a:endParaRPr>
          </a:p>
          <a:p>
            <a:pPr marL="128588" indent="-128588" defTabSz="685800">
              <a:spcBef>
                <a:spcPts val="150"/>
              </a:spcBef>
              <a:buFont typeface="Wingdings" panose="05000000000000000000" pitchFamily="2" charset="2"/>
              <a:buChar char="§"/>
            </a:pPr>
            <a:r>
              <a:rPr lang="en-US" sz="1000" i="1">
                <a:solidFill>
                  <a:prstClr val="black"/>
                </a:solidFill>
              </a:rPr>
              <a:t>SLX data environment analysis</a:t>
            </a:r>
          </a:p>
          <a:p>
            <a:pPr marL="128588" indent="-128588" defTabSz="685800">
              <a:spcBef>
                <a:spcPts val="150"/>
              </a:spcBef>
              <a:buFont typeface="Wingdings" panose="05000000000000000000" pitchFamily="2" charset="2"/>
              <a:buChar char="§"/>
            </a:pPr>
            <a:r>
              <a:rPr lang="en-US" sz="1000" i="1">
                <a:solidFill>
                  <a:srgbClr val="000000"/>
                </a:solidFill>
                <a:cs typeface="Arial" charset="0"/>
              </a:rPr>
              <a:t>Tool setup</a:t>
            </a:r>
          </a:p>
          <a:p>
            <a:pPr marL="128588" indent="-128588" defTabSz="685800">
              <a:spcBef>
                <a:spcPts val="150"/>
              </a:spcBef>
              <a:buFont typeface="Wingdings" panose="05000000000000000000" pitchFamily="2" charset="2"/>
              <a:buChar char="§"/>
            </a:pPr>
            <a:r>
              <a:rPr lang="en-US" sz="1000" i="1">
                <a:solidFill>
                  <a:srgbClr val="000000"/>
                </a:solidFill>
                <a:cs typeface="Arial" charset="0"/>
              </a:rPr>
              <a:t>Review data complexity and quality</a:t>
            </a:r>
          </a:p>
          <a:p>
            <a:pPr marL="128588" indent="-128588" defTabSz="685800">
              <a:spcBef>
                <a:spcPts val="150"/>
              </a:spcBef>
              <a:buFont typeface="Wingdings" panose="05000000000000000000" pitchFamily="2" charset="2"/>
              <a:buChar char="§"/>
            </a:pPr>
            <a:r>
              <a:rPr lang="en-US" sz="1000" i="1">
                <a:solidFill>
                  <a:srgbClr val="000000"/>
                </a:solidFill>
                <a:cs typeface="Arial" charset="0"/>
              </a:rPr>
              <a:t>Review stored scripts and rules</a:t>
            </a:r>
          </a:p>
          <a:p>
            <a:pPr marL="128588" indent="-128588" defTabSz="685800">
              <a:spcBef>
                <a:spcPts val="150"/>
              </a:spcBef>
              <a:buFont typeface="Wingdings" panose="05000000000000000000" pitchFamily="2" charset="2"/>
              <a:buChar char="§"/>
            </a:pPr>
            <a:r>
              <a:rPr lang="en-US" sz="1000" i="1">
                <a:solidFill>
                  <a:srgbClr val="000000"/>
                </a:solidFill>
                <a:cs typeface="Arial" charset="0"/>
              </a:rPr>
              <a:t>Revise estimations &amp; solution if needed</a:t>
            </a:r>
          </a:p>
          <a:p>
            <a:pPr marL="128588" indent="-128588" defTabSz="685800">
              <a:spcBef>
                <a:spcPts val="150"/>
              </a:spcBef>
              <a:buFont typeface="Wingdings" panose="05000000000000000000" pitchFamily="2" charset="2"/>
              <a:buChar char="§"/>
            </a:pPr>
            <a:r>
              <a:rPr lang="en-US" sz="1000" i="1">
                <a:solidFill>
                  <a:srgbClr val="000000"/>
                </a:solidFill>
                <a:cs typeface="Arial" charset="0"/>
              </a:rPr>
              <a:t>Business Sign-off </a:t>
            </a:r>
          </a:p>
        </p:txBody>
      </p:sp>
      <p:sp>
        <p:nvSpPr>
          <p:cNvPr id="42" name="Oval 41">
            <a:extLst>
              <a:ext uri="{FF2B5EF4-FFF2-40B4-BE49-F238E27FC236}">
                <a16:creationId xmlns:a16="http://schemas.microsoft.com/office/drawing/2014/main" id="{0BEA47F3-B350-413E-9629-ABC5D4B4C75A}"/>
              </a:ext>
            </a:extLst>
          </p:cNvPr>
          <p:cNvSpPr/>
          <p:nvPr/>
        </p:nvSpPr>
        <p:spPr>
          <a:xfrm>
            <a:off x="7224963" y="2252319"/>
            <a:ext cx="380785" cy="352446"/>
          </a:xfrm>
          <a:prstGeom prst="ellipse">
            <a:avLst/>
          </a:prstGeom>
          <a:solidFill>
            <a:sysClr val="window" lastClr="FFFFFF"/>
          </a:solidFill>
          <a:ln w="25400" cap="flat" cmpd="sng" algn="ctr">
            <a:solidFill>
              <a:schemeClr val="accent1"/>
            </a:solidFill>
            <a:prstDash val="solid"/>
          </a:ln>
          <a:effectLst>
            <a:glow rad="101600">
              <a:sysClr val="window" lastClr="FFFFFF">
                <a:alpha val="60000"/>
              </a:sysClr>
            </a:glow>
          </a:effectLst>
        </p:spPr>
        <p:txBody>
          <a:bodyPr rtlCol="0" anchor="ctr"/>
          <a:lstStyle/>
          <a:p>
            <a:pPr algn="ctr" defTabSz="685800" fontAlgn="base">
              <a:spcBef>
                <a:spcPct val="0"/>
              </a:spcBef>
              <a:spcAft>
                <a:spcPct val="0"/>
              </a:spcAft>
              <a:defRPr/>
            </a:pPr>
            <a:r>
              <a:rPr lang="en-US" sz="1200" b="1" kern="0">
                <a:solidFill>
                  <a:srgbClr val="0066A1"/>
                </a:solidFill>
                <a:latin typeface="Arial"/>
              </a:rPr>
              <a:t>3</a:t>
            </a:r>
          </a:p>
        </p:txBody>
      </p:sp>
      <p:sp>
        <p:nvSpPr>
          <p:cNvPr id="43" name="Oval 42">
            <a:extLst>
              <a:ext uri="{FF2B5EF4-FFF2-40B4-BE49-F238E27FC236}">
                <a16:creationId xmlns:a16="http://schemas.microsoft.com/office/drawing/2014/main" id="{E9D3FD22-1EAD-4D7B-A537-B47784B044BB}"/>
              </a:ext>
            </a:extLst>
          </p:cNvPr>
          <p:cNvSpPr/>
          <p:nvPr/>
        </p:nvSpPr>
        <p:spPr>
          <a:xfrm>
            <a:off x="1380154" y="2229315"/>
            <a:ext cx="380785" cy="352446"/>
          </a:xfrm>
          <a:prstGeom prst="ellipse">
            <a:avLst/>
          </a:prstGeom>
          <a:solidFill>
            <a:sysClr val="window" lastClr="FFFFFF"/>
          </a:solidFill>
          <a:ln w="25400" cap="flat" cmpd="sng" algn="ctr">
            <a:solidFill>
              <a:schemeClr val="accent1"/>
            </a:solidFill>
            <a:prstDash val="solid"/>
          </a:ln>
          <a:effectLst>
            <a:glow rad="101600">
              <a:sysClr val="window" lastClr="FFFFFF">
                <a:alpha val="60000"/>
              </a:sysClr>
            </a:glow>
          </a:effectLst>
        </p:spPr>
        <p:txBody>
          <a:bodyPr rtlCol="0" anchor="ctr"/>
          <a:lstStyle/>
          <a:p>
            <a:pPr algn="ctr" defTabSz="685800" fontAlgn="base">
              <a:spcBef>
                <a:spcPct val="0"/>
              </a:spcBef>
              <a:spcAft>
                <a:spcPct val="0"/>
              </a:spcAft>
              <a:defRPr/>
            </a:pPr>
            <a:r>
              <a:rPr lang="en-US" sz="1200" b="1" kern="0">
                <a:solidFill>
                  <a:srgbClr val="0066A1"/>
                </a:solidFill>
                <a:latin typeface="Arial"/>
              </a:rPr>
              <a:t>1</a:t>
            </a:r>
          </a:p>
        </p:txBody>
      </p:sp>
      <p:pic>
        <p:nvPicPr>
          <p:cNvPr id="45" name="Picture 44">
            <a:extLst>
              <a:ext uri="{FF2B5EF4-FFF2-40B4-BE49-F238E27FC236}">
                <a16:creationId xmlns:a16="http://schemas.microsoft.com/office/drawing/2014/main" id="{A18EB5AD-9C04-40BC-A642-007FB8AE02D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21994" y="1374944"/>
            <a:ext cx="755697" cy="699455"/>
          </a:xfrm>
          <a:prstGeom prst="rect">
            <a:avLst/>
          </a:prstGeom>
        </p:spPr>
      </p:pic>
      <p:grpSp>
        <p:nvGrpSpPr>
          <p:cNvPr id="46" name="Group 45">
            <a:extLst>
              <a:ext uri="{FF2B5EF4-FFF2-40B4-BE49-F238E27FC236}">
                <a16:creationId xmlns:a16="http://schemas.microsoft.com/office/drawing/2014/main" id="{9973BFD6-6EB6-49D3-AED9-FD3B63FD33D0}"/>
              </a:ext>
            </a:extLst>
          </p:cNvPr>
          <p:cNvGrpSpPr/>
          <p:nvPr/>
        </p:nvGrpSpPr>
        <p:grpSpPr>
          <a:xfrm>
            <a:off x="9582313" y="1576813"/>
            <a:ext cx="580099" cy="332573"/>
            <a:chOff x="2100799" y="2761018"/>
            <a:chExt cx="588798" cy="364703"/>
          </a:xfrm>
        </p:grpSpPr>
        <p:sp>
          <p:nvSpPr>
            <p:cNvPr id="47" name="Freeform 680">
              <a:extLst>
                <a:ext uri="{FF2B5EF4-FFF2-40B4-BE49-F238E27FC236}">
                  <a16:creationId xmlns:a16="http://schemas.microsoft.com/office/drawing/2014/main" id="{5A16ECB3-B551-4422-8280-7CA8D9EA78E7}"/>
                </a:ext>
              </a:extLst>
            </p:cNvPr>
            <p:cNvSpPr>
              <a:spLocks/>
            </p:cNvSpPr>
            <p:nvPr/>
          </p:nvSpPr>
          <p:spPr bwMode="auto">
            <a:xfrm>
              <a:off x="2100799" y="2761018"/>
              <a:ext cx="588798" cy="364703"/>
            </a:xfrm>
            <a:custGeom>
              <a:avLst/>
              <a:gdLst>
                <a:gd name="T0" fmla="*/ 426014 w 234"/>
                <a:gd name="T1" fmla="*/ 233528 h 147"/>
                <a:gd name="T2" fmla="*/ 426014 w 234"/>
                <a:gd name="T3" fmla="*/ 233528 h 147"/>
                <a:gd name="T4" fmla="*/ 422373 w 234"/>
                <a:gd name="T5" fmla="*/ 242442 h 147"/>
                <a:gd name="T6" fmla="*/ 416911 w 234"/>
                <a:gd name="T7" fmla="*/ 251355 h 147"/>
                <a:gd name="T8" fmla="*/ 409629 w 234"/>
                <a:gd name="T9" fmla="*/ 254920 h 147"/>
                <a:gd name="T10" fmla="*/ 404167 w 234"/>
                <a:gd name="T11" fmla="*/ 256703 h 147"/>
                <a:gd name="T12" fmla="*/ 387782 w 234"/>
                <a:gd name="T13" fmla="*/ 262051 h 147"/>
                <a:gd name="T14" fmla="*/ 367756 w 234"/>
                <a:gd name="T15" fmla="*/ 262051 h 147"/>
                <a:gd name="T16" fmla="*/ 367756 w 234"/>
                <a:gd name="T17" fmla="*/ 262051 h 147"/>
                <a:gd name="T18" fmla="*/ 61899 w 234"/>
                <a:gd name="T19" fmla="*/ 262051 h 147"/>
                <a:gd name="T20" fmla="*/ 61899 w 234"/>
                <a:gd name="T21" fmla="*/ 262051 h 147"/>
                <a:gd name="T22" fmla="*/ 41873 w 234"/>
                <a:gd name="T23" fmla="*/ 262051 h 147"/>
                <a:gd name="T24" fmla="*/ 21847 w 234"/>
                <a:gd name="T25" fmla="*/ 260268 h 147"/>
                <a:gd name="T26" fmla="*/ 14565 w 234"/>
                <a:gd name="T27" fmla="*/ 254920 h 147"/>
                <a:gd name="T28" fmla="*/ 9103 w 234"/>
                <a:gd name="T29" fmla="*/ 251355 h 147"/>
                <a:gd name="T30" fmla="*/ 3641 w 234"/>
                <a:gd name="T31" fmla="*/ 242442 h 147"/>
                <a:gd name="T32" fmla="*/ 0 w 234"/>
                <a:gd name="T33" fmla="*/ 233528 h 147"/>
                <a:gd name="T34" fmla="*/ 0 w 234"/>
                <a:gd name="T35" fmla="*/ 233528 h 147"/>
                <a:gd name="T36" fmla="*/ 367756 w 234"/>
                <a:gd name="T37" fmla="*/ 233528 h 147"/>
                <a:gd name="T38" fmla="*/ 367756 w 234"/>
                <a:gd name="T39" fmla="*/ 233528 h 147"/>
                <a:gd name="T40" fmla="*/ 376859 w 234"/>
                <a:gd name="T41" fmla="*/ 231746 h 147"/>
                <a:gd name="T42" fmla="*/ 382320 w 234"/>
                <a:gd name="T43" fmla="*/ 229963 h 147"/>
                <a:gd name="T44" fmla="*/ 385961 w 234"/>
                <a:gd name="T45" fmla="*/ 222832 h 147"/>
                <a:gd name="T46" fmla="*/ 385961 w 234"/>
                <a:gd name="T47" fmla="*/ 213919 h 147"/>
                <a:gd name="T48" fmla="*/ 385961 w 234"/>
                <a:gd name="T49" fmla="*/ 213919 h 147"/>
                <a:gd name="T50" fmla="*/ 385961 w 234"/>
                <a:gd name="T51" fmla="*/ 23175 h 147"/>
                <a:gd name="T52" fmla="*/ 385961 w 234"/>
                <a:gd name="T53" fmla="*/ 23175 h 147"/>
                <a:gd name="T54" fmla="*/ 385961 w 234"/>
                <a:gd name="T55" fmla="*/ 14261 h 147"/>
                <a:gd name="T56" fmla="*/ 384141 w 234"/>
                <a:gd name="T57" fmla="*/ 5348 h 147"/>
                <a:gd name="T58" fmla="*/ 376859 w 234"/>
                <a:gd name="T59" fmla="*/ 0 h 147"/>
                <a:gd name="T60" fmla="*/ 367756 w 234"/>
                <a:gd name="T61" fmla="*/ 0 h 147"/>
                <a:gd name="T62" fmla="*/ 367756 w 234"/>
                <a:gd name="T63" fmla="*/ 0 h 147"/>
                <a:gd name="T64" fmla="*/ 61899 w 234"/>
                <a:gd name="T65" fmla="*/ 0 h 147"/>
                <a:gd name="T66" fmla="*/ 61899 w 234"/>
                <a:gd name="T67" fmla="*/ 0 h 147"/>
                <a:gd name="T68" fmla="*/ 50976 w 234"/>
                <a:gd name="T69" fmla="*/ 0 h 147"/>
                <a:gd name="T70" fmla="*/ 38232 w 234"/>
                <a:gd name="T71" fmla="*/ 0 h 147"/>
                <a:gd name="T72" fmla="*/ 38232 w 234"/>
                <a:gd name="T73" fmla="*/ 0 h 147"/>
                <a:gd name="T74" fmla="*/ 38232 w 234"/>
                <a:gd name="T75" fmla="*/ 201441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34"/>
                <a:gd name="T115" fmla="*/ 0 h 147"/>
                <a:gd name="T116" fmla="*/ 234 w 234"/>
                <a:gd name="T117" fmla="*/ 147 h 14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34" h="147">
                  <a:moveTo>
                    <a:pt x="234" y="131"/>
                  </a:moveTo>
                  <a:lnTo>
                    <a:pt x="234" y="131"/>
                  </a:lnTo>
                  <a:lnTo>
                    <a:pt x="232" y="136"/>
                  </a:lnTo>
                  <a:lnTo>
                    <a:pt x="229" y="141"/>
                  </a:lnTo>
                  <a:lnTo>
                    <a:pt x="225" y="143"/>
                  </a:lnTo>
                  <a:lnTo>
                    <a:pt x="222" y="144"/>
                  </a:lnTo>
                  <a:lnTo>
                    <a:pt x="213" y="147"/>
                  </a:lnTo>
                  <a:lnTo>
                    <a:pt x="202" y="147"/>
                  </a:lnTo>
                  <a:lnTo>
                    <a:pt x="34" y="147"/>
                  </a:lnTo>
                  <a:lnTo>
                    <a:pt x="23" y="147"/>
                  </a:lnTo>
                  <a:lnTo>
                    <a:pt x="12" y="146"/>
                  </a:lnTo>
                  <a:lnTo>
                    <a:pt x="8" y="143"/>
                  </a:lnTo>
                  <a:lnTo>
                    <a:pt x="5" y="141"/>
                  </a:lnTo>
                  <a:lnTo>
                    <a:pt x="2" y="136"/>
                  </a:lnTo>
                  <a:lnTo>
                    <a:pt x="0" y="131"/>
                  </a:lnTo>
                  <a:lnTo>
                    <a:pt x="202" y="131"/>
                  </a:lnTo>
                  <a:lnTo>
                    <a:pt x="207" y="130"/>
                  </a:lnTo>
                  <a:lnTo>
                    <a:pt x="210" y="129"/>
                  </a:lnTo>
                  <a:lnTo>
                    <a:pt x="212" y="125"/>
                  </a:lnTo>
                  <a:lnTo>
                    <a:pt x="212" y="120"/>
                  </a:lnTo>
                  <a:lnTo>
                    <a:pt x="212" y="13"/>
                  </a:lnTo>
                  <a:lnTo>
                    <a:pt x="212" y="8"/>
                  </a:lnTo>
                  <a:lnTo>
                    <a:pt x="211" y="3"/>
                  </a:lnTo>
                  <a:lnTo>
                    <a:pt x="207" y="0"/>
                  </a:lnTo>
                  <a:lnTo>
                    <a:pt x="202" y="0"/>
                  </a:lnTo>
                  <a:lnTo>
                    <a:pt x="34" y="0"/>
                  </a:lnTo>
                  <a:lnTo>
                    <a:pt x="28" y="0"/>
                  </a:lnTo>
                  <a:lnTo>
                    <a:pt x="21" y="0"/>
                  </a:lnTo>
                  <a:lnTo>
                    <a:pt x="21" y="113"/>
                  </a:lnTo>
                </a:path>
              </a:pathLst>
            </a:custGeom>
            <a:noFill/>
            <a:ln w="12700">
              <a:solidFill>
                <a:srgbClr val="00573B"/>
              </a:solidFill>
              <a:prstDash val="solid"/>
              <a:round/>
              <a:headEnd/>
              <a:tailEnd/>
            </a:ln>
          </p:spPr>
          <p:txBody>
            <a:bodyPr/>
            <a:lstStyle/>
            <a:p>
              <a:pPr defTabSz="685800" fontAlgn="base">
                <a:spcBef>
                  <a:spcPct val="0"/>
                </a:spcBef>
                <a:spcAft>
                  <a:spcPct val="0"/>
                </a:spcAft>
                <a:defRPr/>
              </a:pPr>
              <a:endParaRPr lang="en-US" sz="1350" kern="0">
                <a:solidFill>
                  <a:srgbClr val="000000"/>
                </a:solidFill>
                <a:latin typeface="Arial"/>
                <a:cs typeface="Arial" charset="0"/>
              </a:endParaRPr>
            </a:p>
          </p:txBody>
        </p:sp>
        <p:grpSp>
          <p:nvGrpSpPr>
            <p:cNvPr id="48" name="Group 961">
              <a:extLst>
                <a:ext uri="{FF2B5EF4-FFF2-40B4-BE49-F238E27FC236}">
                  <a16:creationId xmlns:a16="http://schemas.microsoft.com/office/drawing/2014/main" id="{5133114F-E778-46CD-ACB3-C334F8B190C8}"/>
                </a:ext>
              </a:extLst>
            </p:cNvPr>
            <p:cNvGrpSpPr>
              <a:grpSpLocks/>
            </p:cNvGrpSpPr>
            <p:nvPr/>
          </p:nvGrpSpPr>
          <p:grpSpPr bwMode="auto">
            <a:xfrm>
              <a:off x="2229191" y="2779440"/>
              <a:ext cx="324588" cy="263833"/>
              <a:chOff x="5171650" y="1435962"/>
              <a:chExt cx="298886" cy="245150"/>
            </a:xfrm>
          </p:grpSpPr>
          <p:sp>
            <p:nvSpPr>
              <p:cNvPr id="49" name="Line 174">
                <a:extLst>
                  <a:ext uri="{FF2B5EF4-FFF2-40B4-BE49-F238E27FC236}">
                    <a16:creationId xmlns:a16="http://schemas.microsoft.com/office/drawing/2014/main" id="{F9C7A4A8-ECB4-4E42-AD67-AC5CE3033BFE}"/>
                  </a:ext>
                </a:extLst>
              </p:cNvPr>
              <p:cNvSpPr>
                <a:spLocks noChangeShapeType="1"/>
              </p:cNvSpPr>
              <p:nvPr/>
            </p:nvSpPr>
            <p:spPr bwMode="auto">
              <a:xfrm>
                <a:off x="5252248" y="1472901"/>
                <a:ext cx="80598" cy="3359"/>
              </a:xfrm>
              <a:prstGeom prst="line">
                <a:avLst/>
              </a:prstGeom>
              <a:noFill/>
              <a:ln w="12700">
                <a:solidFill>
                  <a:srgbClr val="00573B"/>
                </a:solidFill>
                <a:round/>
                <a:headEnd/>
                <a:tailEnd/>
              </a:ln>
            </p:spPr>
            <p:txBody>
              <a:bodyPr/>
              <a:lstStyle/>
              <a:p>
                <a:pPr defTabSz="685800" fontAlgn="base">
                  <a:spcBef>
                    <a:spcPct val="0"/>
                  </a:spcBef>
                  <a:spcAft>
                    <a:spcPct val="0"/>
                  </a:spcAft>
                  <a:defRPr/>
                </a:pPr>
                <a:endParaRPr lang="en-US" sz="1350" kern="0">
                  <a:solidFill>
                    <a:srgbClr val="000000"/>
                  </a:solidFill>
                  <a:latin typeface="Arial"/>
                  <a:cs typeface="Arial" charset="0"/>
                </a:endParaRPr>
              </a:p>
            </p:txBody>
          </p:sp>
          <p:sp>
            <p:nvSpPr>
              <p:cNvPr id="50" name="Freeform 175">
                <a:extLst>
                  <a:ext uri="{FF2B5EF4-FFF2-40B4-BE49-F238E27FC236}">
                    <a16:creationId xmlns:a16="http://schemas.microsoft.com/office/drawing/2014/main" id="{D9C3CFF5-7B4F-4067-8D7C-33E3316A2DAE}"/>
                  </a:ext>
                </a:extLst>
              </p:cNvPr>
              <p:cNvSpPr>
                <a:spLocks/>
              </p:cNvSpPr>
              <p:nvPr/>
            </p:nvSpPr>
            <p:spPr bwMode="auto">
              <a:xfrm>
                <a:off x="5339563" y="1435962"/>
                <a:ext cx="40299" cy="77240"/>
              </a:xfrm>
              <a:custGeom>
                <a:avLst/>
                <a:gdLst>
                  <a:gd name="T0" fmla="*/ 0 w 24"/>
                  <a:gd name="T1" fmla="*/ 0 h 47"/>
                  <a:gd name="T2" fmla="*/ 40299 w 24"/>
                  <a:gd name="T3" fmla="*/ 37798 h 47"/>
                  <a:gd name="T4" fmla="*/ 0 w 24"/>
                  <a:gd name="T5" fmla="*/ 77240 h 47"/>
                  <a:gd name="T6" fmla="*/ 0 60000 65536"/>
                  <a:gd name="T7" fmla="*/ 0 60000 65536"/>
                  <a:gd name="T8" fmla="*/ 0 60000 65536"/>
                  <a:gd name="T9" fmla="*/ 0 w 24"/>
                  <a:gd name="T10" fmla="*/ 0 h 47"/>
                  <a:gd name="T11" fmla="*/ 24 w 24"/>
                  <a:gd name="T12" fmla="*/ 47 h 47"/>
                </a:gdLst>
                <a:ahLst/>
                <a:cxnLst>
                  <a:cxn ang="T6">
                    <a:pos x="T0" y="T1"/>
                  </a:cxn>
                  <a:cxn ang="T7">
                    <a:pos x="T2" y="T3"/>
                  </a:cxn>
                  <a:cxn ang="T8">
                    <a:pos x="T4" y="T5"/>
                  </a:cxn>
                </a:cxnLst>
                <a:rect l="T9" t="T10" r="T11" b="T12"/>
                <a:pathLst>
                  <a:path w="24" h="47">
                    <a:moveTo>
                      <a:pt x="0" y="0"/>
                    </a:moveTo>
                    <a:lnTo>
                      <a:pt x="24" y="23"/>
                    </a:lnTo>
                    <a:lnTo>
                      <a:pt x="0" y="47"/>
                    </a:lnTo>
                  </a:path>
                </a:pathLst>
              </a:custGeom>
              <a:noFill/>
              <a:ln w="12700">
                <a:solidFill>
                  <a:srgbClr val="00573B"/>
                </a:solidFill>
                <a:prstDash val="solid"/>
                <a:round/>
                <a:headEnd/>
                <a:tailEnd/>
              </a:ln>
            </p:spPr>
            <p:txBody>
              <a:bodyPr/>
              <a:lstStyle/>
              <a:p>
                <a:pPr defTabSz="685800" fontAlgn="base">
                  <a:spcBef>
                    <a:spcPct val="0"/>
                  </a:spcBef>
                  <a:spcAft>
                    <a:spcPct val="0"/>
                  </a:spcAft>
                  <a:defRPr/>
                </a:pPr>
                <a:endParaRPr lang="en-US" sz="1350" kern="0">
                  <a:solidFill>
                    <a:srgbClr val="000000"/>
                  </a:solidFill>
                  <a:latin typeface="Arial"/>
                  <a:cs typeface="Arial" charset="0"/>
                </a:endParaRPr>
              </a:p>
            </p:txBody>
          </p:sp>
          <p:sp>
            <p:nvSpPr>
              <p:cNvPr id="51" name="Line 176">
                <a:extLst>
                  <a:ext uri="{FF2B5EF4-FFF2-40B4-BE49-F238E27FC236}">
                    <a16:creationId xmlns:a16="http://schemas.microsoft.com/office/drawing/2014/main" id="{6379E6D2-7E84-474C-B8A0-2536126CDCCE}"/>
                  </a:ext>
                </a:extLst>
              </p:cNvPr>
              <p:cNvSpPr>
                <a:spLocks noChangeShapeType="1"/>
              </p:cNvSpPr>
              <p:nvPr/>
            </p:nvSpPr>
            <p:spPr bwMode="auto">
              <a:xfrm>
                <a:off x="5171650" y="1556857"/>
                <a:ext cx="83958" cy="3359"/>
              </a:xfrm>
              <a:prstGeom prst="line">
                <a:avLst/>
              </a:prstGeom>
              <a:noFill/>
              <a:ln w="12700">
                <a:solidFill>
                  <a:srgbClr val="00573B"/>
                </a:solidFill>
                <a:round/>
                <a:headEnd/>
                <a:tailEnd/>
              </a:ln>
            </p:spPr>
            <p:txBody>
              <a:bodyPr/>
              <a:lstStyle/>
              <a:p>
                <a:pPr defTabSz="685800" fontAlgn="base">
                  <a:spcBef>
                    <a:spcPct val="0"/>
                  </a:spcBef>
                  <a:spcAft>
                    <a:spcPct val="0"/>
                  </a:spcAft>
                  <a:defRPr/>
                </a:pPr>
                <a:endParaRPr lang="en-US" sz="1350" kern="0">
                  <a:solidFill>
                    <a:srgbClr val="000000"/>
                  </a:solidFill>
                  <a:latin typeface="Arial"/>
                  <a:cs typeface="Arial" charset="0"/>
                </a:endParaRPr>
              </a:p>
            </p:txBody>
          </p:sp>
          <p:sp>
            <p:nvSpPr>
              <p:cNvPr id="52" name="Freeform 177">
                <a:extLst>
                  <a:ext uri="{FF2B5EF4-FFF2-40B4-BE49-F238E27FC236}">
                    <a16:creationId xmlns:a16="http://schemas.microsoft.com/office/drawing/2014/main" id="{8D1AD2B4-AB8F-4FB4-A49E-B7E769BEF5C2}"/>
                  </a:ext>
                </a:extLst>
              </p:cNvPr>
              <p:cNvSpPr>
                <a:spLocks/>
              </p:cNvSpPr>
              <p:nvPr/>
            </p:nvSpPr>
            <p:spPr bwMode="auto">
              <a:xfrm>
                <a:off x="5262324" y="1519916"/>
                <a:ext cx="40299" cy="77240"/>
              </a:xfrm>
              <a:custGeom>
                <a:avLst/>
                <a:gdLst>
                  <a:gd name="T0" fmla="*/ 0 w 25"/>
                  <a:gd name="T1" fmla="*/ 0 h 48"/>
                  <a:gd name="T2" fmla="*/ 40299 w 25"/>
                  <a:gd name="T3" fmla="*/ 37011 h 48"/>
                  <a:gd name="T4" fmla="*/ 0 w 25"/>
                  <a:gd name="T5" fmla="*/ 77240 h 48"/>
                  <a:gd name="T6" fmla="*/ 0 60000 65536"/>
                  <a:gd name="T7" fmla="*/ 0 60000 65536"/>
                  <a:gd name="T8" fmla="*/ 0 60000 65536"/>
                  <a:gd name="T9" fmla="*/ 0 w 25"/>
                  <a:gd name="T10" fmla="*/ 0 h 48"/>
                  <a:gd name="T11" fmla="*/ 25 w 25"/>
                  <a:gd name="T12" fmla="*/ 48 h 48"/>
                </a:gdLst>
                <a:ahLst/>
                <a:cxnLst>
                  <a:cxn ang="T6">
                    <a:pos x="T0" y="T1"/>
                  </a:cxn>
                  <a:cxn ang="T7">
                    <a:pos x="T2" y="T3"/>
                  </a:cxn>
                  <a:cxn ang="T8">
                    <a:pos x="T4" y="T5"/>
                  </a:cxn>
                </a:cxnLst>
                <a:rect l="T9" t="T10" r="T11" b="T12"/>
                <a:pathLst>
                  <a:path w="25" h="48">
                    <a:moveTo>
                      <a:pt x="0" y="0"/>
                    </a:moveTo>
                    <a:lnTo>
                      <a:pt x="25" y="23"/>
                    </a:lnTo>
                    <a:lnTo>
                      <a:pt x="0" y="48"/>
                    </a:lnTo>
                  </a:path>
                </a:pathLst>
              </a:custGeom>
              <a:noFill/>
              <a:ln w="12700">
                <a:solidFill>
                  <a:srgbClr val="00573B"/>
                </a:solidFill>
                <a:prstDash val="solid"/>
                <a:round/>
                <a:headEnd/>
                <a:tailEnd/>
              </a:ln>
            </p:spPr>
            <p:txBody>
              <a:bodyPr/>
              <a:lstStyle/>
              <a:p>
                <a:pPr defTabSz="685800" fontAlgn="base">
                  <a:spcBef>
                    <a:spcPct val="0"/>
                  </a:spcBef>
                  <a:spcAft>
                    <a:spcPct val="0"/>
                  </a:spcAft>
                  <a:defRPr/>
                </a:pPr>
                <a:endParaRPr lang="en-US" sz="1350" kern="0">
                  <a:solidFill>
                    <a:srgbClr val="000000"/>
                  </a:solidFill>
                  <a:latin typeface="Arial"/>
                  <a:cs typeface="Arial" charset="0"/>
                </a:endParaRPr>
              </a:p>
            </p:txBody>
          </p:sp>
          <p:sp>
            <p:nvSpPr>
              <p:cNvPr id="53" name="Line 178">
                <a:extLst>
                  <a:ext uri="{FF2B5EF4-FFF2-40B4-BE49-F238E27FC236}">
                    <a16:creationId xmlns:a16="http://schemas.microsoft.com/office/drawing/2014/main" id="{6DB27C0D-0748-4B35-B2AF-60BE8B1A9F8D}"/>
                  </a:ext>
                </a:extLst>
              </p:cNvPr>
              <p:cNvSpPr>
                <a:spLocks noChangeShapeType="1"/>
              </p:cNvSpPr>
              <p:nvPr/>
            </p:nvSpPr>
            <p:spPr bwMode="auto">
              <a:xfrm>
                <a:off x="5339563" y="1556857"/>
                <a:ext cx="83958" cy="3359"/>
              </a:xfrm>
              <a:prstGeom prst="line">
                <a:avLst/>
              </a:prstGeom>
              <a:noFill/>
              <a:ln w="12700">
                <a:solidFill>
                  <a:srgbClr val="00573B"/>
                </a:solidFill>
                <a:round/>
                <a:headEnd/>
                <a:tailEnd/>
              </a:ln>
            </p:spPr>
            <p:txBody>
              <a:bodyPr/>
              <a:lstStyle/>
              <a:p>
                <a:pPr defTabSz="685800" fontAlgn="base">
                  <a:spcBef>
                    <a:spcPct val="0"/>
                  </a:spcBef>
                  <a:spcAft>
                    <a:spcPct val="0"/>
                  </a:spcAft>
                  <a:defRPr/>
                </a:pPr>
                <a:endParaRPr lang="en-US" sz="1350" kern="0">
                  <a:solidFill>
                    <a:srgbClr val="000000"/>
                  </a:solidFill>
                  <a:latin typeface="Arial"/>
                  <a:cs typeface="Arial" charset="0"/>
                </a:endParaRPr>
              </a:p>
            </p:txBody>
          </p:sp>
          <p:sp>
            <p:nvSpPr>
              <p:cNvPr id="54" name="Freeform 179">
                <a:extLst>
                  <a:ext uri="{FF2B5EF4-FFF2-40B4-BE49-F238E27FC236}">
                    <a16:creationId xmlns:a16="http://schemas.microsoft.com/office/drawing/2014/main" id="{619C8501-02DF-4717-9DFC-2041E3C0AF8D}"/>
                  </a:ext>
                </a:extLst>
              </p:cNvPr>
              <p:cNvSpPr>
                <a:spLocks/>
              </p:cNvSpPr>
              <p:nvPr/>
            </p:nvSpPr>
            <p:spPr bwMode="auto">
              <a:xfrm>
                <a:off x="5430237" y="1519916"/>
                <a:ext cx="40299" cy="77240"/>
              </a:xfrm>
              <a:custGeom>
                <a:avLst/>
                <a:gdLst>
                  <a:gd name="T0" fmla="*/ 0 w 25"/>
                  <a:gd name="T1" fmla="*/ 0 h 48"/>
                  <a:gd name="T2" fmla="*/ 40299 w 25"/>
                  <a:gd name="T3" fmla="*/ 37011 h 48"/>
                  <a:gd name="T4" fmla="*/ 0 w 25"/>
                  <a:gd name="T5" fmla="*/ 77240 h 48"/>
                  <a:gd name="T6" fmla="*/ 0 60000 65536"/>
                  <a:gd name="T7" fmla="*/ 0 60000 65536"/>
                  <a:gd name="T8" fmla="*/ 0 60000 65536"/>
                  <a:gd name="T9" fmla="*/ 0 w 25"/>
                  <a:gd name="T10" fmla="*/ 0 h 48"/>
                  <a:gd name="T11" fmla="*/ 25 w 25"/>
                  <a:gd name="T12" fmla="*/ 48 h 48"/>
                </a:gdLst>
                <a:ahLst/>
                <a:cxnLst>
                  <a:cxn ang="T6">
                    <a:pos x="T0" y="T1"/>
                  </a:cxn>
                  <a:cxn ang="T7">
                    <a:pos x="T2" y="T3"/>
                  </a:cxn>
                  <a:cxn ang="T8">
                    <a:pos x="T4" y="T5"/>
                  </a:cxn>
                </a:cxnLst>
                <a:rect l="T9" t="T10" r="T11" b="T12"/>
                <a:pathLst>
                  <a:path w="25" h="48">
                    <a:moveTo>
                      <a:pt x="0" y="0"/>
                    </a:moveTo>
                    <a:lnTo>
                      <a:pt x="25" y="23"/>
                    </a:lnTo>
                    <a:lnTo>
                      <a:pt x="0" y="48"/>
                    </a:lnTo>
                  </a:path>
                </a:pathLst>
              </a:custGeom>
              <a:noFill/>
              <a:ln w="12700">
                <a:solidFill>
                  <a:srgbClr val="00573B"/>
                </a:solidFill>
                <a:prstDash val="solid"/>
                <a:round/>
                <a:headEnd/>
                <a:tailEnd/>
              </a:ln>
            </p:spPr>
            <p:txBody>
              <a:bodyPr/>
              <a:lstStyle/>
              <a:p>
                <a:pPr defTabSz="685800" fontAlgn="base">
                  <a:spcBef>
                    <a:spcPct val="0"/>
                  </a:spcBef>
                  <a:spcAft>
                    <a:spcPct val="0"/>
                  </a:spcAft>
                  <a:defRPr/>
                </a:pPr>
                <a:endParaRPr lang="en-US" sz="1350" kern="0">
                  <a:solidFill>
                    <a:srgbClr val="000000"/>
                  </a:solidFill>
                  <a:latin typeface="Arial"/>
                  <a:cs typeface="Arial" charset="0"/>
                </a:endParaRPr>
              </a:p>
            </p:txBody>
          </p:sp>
          <p:sp>
            <p:nvSpPr>
              <p:cNvPr id="55" name="Line 180">
                <a:extLst>
                  <a:ext uri="{FF2B5EF4-FFF2-40B4-BE49-F238E27FC236}">
                    <a16:creationId xmlns:a16="http://schemas.microsoft.com/office/drawing/2014/main" id="{0484E6C6-4769-45C7-9AE9-99081BC19E3D}"/>
                  </a:ext>
                </a:extLst>
              </p:cNvPr>
              <p:cNvSpPr>
                <a:spLocks noChangeShapeType="1"/>
              </p:cNvSpPr>
              <p:nvPr/>
            </p:nvSpPr>
            <p:spPr bwMode="auto">
              <a:xfrm>
                <a:off x="5252248" y="1644170"/>
                <a:ext cx="80598" cy="3359"/>
              </a:xfrm>
              <a:prstGeom prst="line">
                <a:avLst/>
              </a:prstGeom>
              <a:noFill/>
              <a:ln w="12700">
                <a:solidFill>
                  <a:srgbClr val="00573B"/>
                </a:solidFill>
                <a:round/>
                <a:headEnd/>
                <a:tailEnd/>
              </a:ln>
            </p:spPr>
            <p:txBody>
              <a:bodyPr/>
              <a:lstStyle/>
              <a:p>
                <a:pPr defTabSz="685800" fontAlgn="base">
                  <a:spcBef>
                    <a:spcPct val="0"/>
                  </a:spcBef>
                  <a:spcAft>
                    <a:spcPct val="0"/>
                  </a:spcAft>
                  <a:defRPr/>
                </a:pPr>
                <a:endParaRPr lang="en-US" sz="1350" kern="0">
                  <a:solidFill>
                    <a:srgbClr val="000000"/>
                  </a:solidFill>
                  <a:latin typeface="Arial"/>
                  <a:cs typeface="Arial" charset="0"/>
                </a:endParaRPr>
              </a:p>
            </p:txBody>
          </p:sp>
          <p:sp>
            <p:nvSpPr>
              <p:cNvPr id="56" name="Freeform 181">
                <a:extLst>
                  <a:ext uri="{FF2B5EF4-FFF2-40B4-BE49-F238E27FC236}">
                    <a16:creationId xmlns:a16="http://schemas.microsoft.com/office/drawing/2014/main" id="{640B2861-516C-4D10-9D79-A05C20057D30}"/>
                  </a:ext>
                </a:extLst>
              </p:cNvPr>
              <p:cNvSpPr>
                <a:spLocks/>
              </p:cNvSpPr>
              <p:nvPr/>
            </p:nvSpPr>
            <p:spPr bwMode="auto">
              <a:xfrm>
                <a:off x="5339563" y="1603872"/>
                <a:ext cx="40299" cy="77240"/>
              </a:xfrm>
              <a:custGeom>
                <a:avLst/>
                <a:gdLst>
                  <a:gd name="T0" fmla="*/ 0 w 24"/>
                  <a:gd name="T1" fmla="*/ 0 h 47"/>
                  <a:gd name="T2" fmla="*/ 40299 w 24"/>
                  <a:gd name="T3" fmla="*/ 39442 h 47"/>
                  <a:gd name="T4" fmla="*/ 0 w 24"/>
                  <a:gd name="T5" fmla="*/ 77240 h 47"/>
                  <a:gd name="T6" fmla="*/ 0 60000 65536"/>
                  <a:gd name="T7" fmla="*/ 0 60000 65536"/>
                  <a:gd name="T8" fmla="*/ 0 60000 65536"/>
                  <a:gd name="T9" fmla="*/ 0 w 24"/>
                  <a:gd name="T10" fmla="*/ 0 h 47"/>
                  <a:gd name="T11" fmla="*/ 24 w 24"/>
                  <a:gd name="T12" fmla="*/ 47 h 47"/>
                </a:gdLst>
                <a:ahLst/>
                <a:cxnLst>
                  <a:cxn ang="T6">
                    <a:pos x="T0" y="T1"/>
                  </a:cxn>
                  <a:cxn ang="T7">
                    <a:pos x="T2" y="T3"/>
                  </a:cxn>
                  <a:cxn ang="T8">
                    <a:pos x="T4" y="T5"/>
                  </a:cxn>
                </a:cxnLst>
                <a:rect l="T9" t="T10" r="T11" b="T12"/>
                <a:pathLst>
                  <a:path w="24" h="47">
                    <a:moveTo>
                      <a:pt x="0" y="0"/>
                    </a:moveTo>
                    <a:lnTo>
                      <a:pt x="24" y="24"/>
                    </a:lnTo>
                    <a:lnTo>
                      <a:pt x="0" y="47"/>
                    </a:lnTo>
                  </a:path>
                </a:pathLst>
              </a:custGeom>
              <a:noFill/>
              <a:ln w="12700">
                <a:solidFill>
                  <a:srgbClr val="00573B"/>
                </a:solidFill>
                <a:prstDash val="solid"/>
                <a:round/>
                <a:headEnd/>
                <a:tailEnd/>
              </a:ln>
            </p:spPr>
            <p:txBody>
              <a:bodyPr/>
              <a:lstStyle/>
              <a:p>
                <a:pPr defTabSz="685800" fontAlgn="base">
                  <a:spcBef>
                    <a:spcPct val="0"/>
                  </a:spcBef>
                  <a:spcAft>
                    <a:spcPct val="0"/>
                  </a:spcAft>
                  <a:defRPr/>
                </a:pPr>
                <a:endParaRPr lang="en-US" sz="1350" kern="0">
                  <a:solidFill>
                    <a:srgbClr val="000000"/>
                  </a:solidFill>
                  <a:latin typeface="Arial"/>
                  <a:cs typeface="Arial" charset="0"/>
                </a:endParaRPr>
              </a:p>
            </p:txBody>
          </p:sp>
        </p:grpSp>
      </p:grpSp>
      <p:sp>
        <p:nvSpPr>
          <p:cNvPr id="57" name="Oval 56">
            <a:extLst>
              <a:ext uri="{FF2B5EF4-FFF2-40B4-BE49-F238E27FC236}">
                <a16:creationId xmlns:a16="http://schemas.microsoft.com/office/drawing/2014/main" id="{41365FB0-8A80-4C60-BD7C-5EA2577D412B}"/>
              </a:ext>
            </a:extLst>
          </p:cNvPr>
          <p:cNvSpPr/>
          <p:nvPr/>
        </p:nvSpPr>
        <p:spPr>
          <a:xfrm>
            <a:off x="9774159" y="4634439"/>
            <a:ext cx="380785" cy="352446"/>
          </a:xfrm>
          <a:prstGeom prst="ellipse">
            <a:avLst/>
          </a:prstGeom>
          <a:solidFill>
            <a:sysClr val="window" lastClr="FFFFFF"/>
          </a:solidFill>
          <a:ln w="25400" cap="flat" cmpd="sng" algn="ctr">
            <a:solidFill>
              <a:schemeClr val="accent1"/>
            </a:solidFill>
            <a:prstDash val="solid"/>
          </a:ln>
          <a:effectLst>
            <a:glow rad="101600">
              <a:sysClr val="window" lastClr="FFFFFF">
                <a:alpha val="60000"/>
              </a:sysClr>
            </a:glow>
          </a:effectLst>
        </p:spPr>
        <p:txBody>
          <a:bodyPr rtlCol="0" anchor="ctr"/>
          <a:lstStyle/>
          <a:p>
            <a:pPr algn="ctr" defTabSz="685800" fontAlgn="base">
              <a:spcBef>
                <a:spcPct val="0"/>
              </a:spcBef>
              <a:spcAft>
                <a:spcPct val="0"/>
              </a:spcAft>
              <a:defRPr/>
            </a:pPr>
            <a:r>
              <a:rPr lang="en-US" sz="1200" b="1" kern="0">
                <a:solidFill>
                  <a:srgbClr val="0066A1"/>
                </a:solidFill>
                <a:latin typeface="Arial"/>
              </a:rPr>
              <a:t>5</a:t>
            </a:r>
          </a:p>
        </p:txBody>
      </p:sp>
      <p:sp>
        <p:nvSpPr>
          <p:cNvPr id="58" name="Oval 57">
            <a:extLst>
              <a:ext uri="{FF2B5EF4-FFF2-40B4-BE49-F238E27FC236}">
                <a16:creationId xmlns:a16="http://schemas.microsoft.com/office/drawing/2014/main" id="{6C5E3F7F-D33C-496F-BD8C-27BC4F0F8CB9}"/>
              </a:ext>
            </a:extLst>
          </p:cNvPr>
          <p:cNvSpPr/>
          <p:nvPr/>
        </p:nvSpPr>
        <p:spPr>
          <a:xfrm>
            <a:off x="5753152" y="4634439"/>
            <a:ext cx="380785" cy="352446"/>
          </a:xfrm>
          <a:prstGeom prst="ellipse">
            <a:avLst/>
          </a:prstGeom>
          <a:solidFill>
            <a:sysClr val="window" lastClr="FFFFFF"/>
          </a:solidFill>
          <a:ln w="25400" cap="flat" cmpd="sng" algn="ctr">
            <a:solidFill>
              <a:schemeClr val="accent1"/>
            </a:solidFill>
            <a:prstDash val="solid"/>
          </a:ln>
          <a:effectLst>
            <a:glow rad="101600">
              <a:sysClr val="window" lastClr="FFFFFF">
                <a:alpha val="60000"/>
              </a:sysClr>
            </a:glow>
          </a:effectLst>
        </p:spPr>
        <p:txBody>
          <a:bodyPr rtlCol="0" anchor="ctr"/>
          <a:lstStyle/>
          <a:p>
            <a:pPr algn="ctr" defTabSz="685800" fontAlgn="base">
              <a:spcBef>
                <a:spcPct val="0"/>
              </a:spcBef>
              <a:spcAft>
                <a:spcPct val="0"/>
              </a:spcAft>
              <a:defRPr/>
            </a:pPr>
            <a:r>
              <a:rPr lang="en-US" sz="1200" b="1" kern="0">
                <a:solidFill>
                  <a:srgbClr val="0066A1"/>
                </a:solidFill>
                <a:latin typeface="Arial"/>
              </a:rPr>
              <a:t>6</a:t>
            </a:r>
          </a:p>
        </p:txBody>
      </p:sp>
      <p:sp>
        <p:nvSpPr>
          <p:cNvPr id="59" name="Flowchart: Alternate Process 58">
            <a:extLst>
              <a:ext uri="{FF2B5EF4-FFF2-40B4-BE49-F238E27FC236}">
                <a16:creationId xmlns:a16="http://schemas.microsoft.com/office/drawing/2014/main" id="{F5D0E9DA-48AB-4DD0-BCE3-6A4B95B50A99}"/>
              </a:ext>
            </a:extLst>
          </p:cNvPr>
          <p:cNvSpPr/>
          <p:nvPr/>
        </p:nvSpPr>
        <p:spPr>
          <a:xfrm>
            <a:off x="4950701" y="5038582"/>
            <a:ext cx="2350035" cy="946091"/>
          </a:xfrm>
          <a:prstGeom prst="flowChartAlternateProcess">
            <a:avLst/>
          </a:prstGeom>
          <a:solidFill>
            <a:srgbClr val="00573B"/>
          </a:solidFill>
          <a:ln w="25400" cap="flat" cmpd="sng" algn="ctr">
            <a:noFill/>
            <a:prstDash val="solid"/>
          </a:ln>
          <a:effectLst/>
        </p:spPr>
        <p:txBody>
          <a:bodyPr rtlCol="0" anchor="ctr"/>
          <a:lstStyle/>
          <a:p>
            <a:pPr algn="ctr" defTabSz="685800" fontAlgn="base">
              <a:spcBef>
                <a:spcPct val="0"/>
              </a:spcBef>
              <a:spcAft>
                <a:spcPct val="0"/>
              </a:spcAft>
              <a:defRPr/>
            </a:pPr>
            <a:endParaRPr lang="en-US" sz="1350" kern="0">
              <a:solidFill>
                <a:srgbClr val="FFFFFF"/>
              </a:solidFill>
              <a:latin typeface="Arial"/>
            </a:endParaRPr>
          </a:p>
        </p:txBody>
      </p:sp>
      <p:sp>
        <p:nvSpPr>
          <p:cNvPr id="60" name="Flowchart: Alternate Process 59">
            <a:extLst>
              <a:ext uri="{FF2B5EF4-FFF2-40B4-BE49-F238E27FC236}">
                <a16:creationId xmlns:a16="http://schemas.microsoft.com/office/drawing/2014/main" id="{3C17D11C-7AD6-4EF0-8AFE-38FF81FC2440}"/>
              </a:ext>
            </a:extLst>
          </p:cNvPr>
          <p:cNvSpPr/>
          <p:nvPr/>
        </p:nvSpPr>
        <p:spPr>
          <a:xfrm>
            <a:off x="5114557" y="5104571"/>
            <a:ext cx="2022309" cy="814153"/>
          </a:xfrm>
          <a:prstGeom prst="flowChartAlternateProcess">
            <a:avLst/>
          </a:prstGeom>
          <a:solidFill>
            <a:sysClr val="window" lastClr="FFFFFF"/>
          </a:solidFill>
          <a:ln w="25400" cap="flat" cmpd="sng" algn="ctr">
            <a:noFill/>
            <a:prstDash val="solid"/>
          </a:ln>
          <a:effectLst>
            <a:outerShdw blurRad="50800" dist="38100" dir="2700000" algn="tl" rotWithShape="0">
              <a:prstClr val="black">
                <a:alpha val="40000"/>
              </a:prstClr>
            </a:outerShdw>
          </a:effectLst>
        </p:spPr>
        <p:txBody>
          <a:bodyPr rot="0" spcFirstLastPara="0" vertOverflow="overflow" horzOverflow="overflow" vert="horz" wrap="square" lIns="68580" tIns="34290" rIns="68580" bIns="34290" numCol="1" spcCol="0" rtlCol="0" fromWordArt="0" anchor="b" anchorCtr="0" forceAA="0" compatLnSpc="1">
            <a:prstTxWarp prst="textNoShape">
              <a:avLst/>
            </a:prstTxWarp>
            <a:noAutofit/>
          </a:bodyPr>
          <a:lstStyle/>
          <a:p>
            <a:pPr algn="ctr" defTabSz="685800" fontAlgn="base">
              <a:spcBef>
                <a:spcPct val="0"/>
              </a:spcBef>
              <a:spcAft>
                <a:spcPct val="0"/>
              </a:spcAft>
              <a:defRPr/>
            </a:pPr>
            <a:endParaRPr lang="en-US" sz="1050" b="1" kern="0">
              <a:solidFill>
                <a:srgbClr val="000000"/>
              </a:solidFill>
              <a:latin typeface="Arial"/>
            </a:endParaRPr>
          </a:p>
        </p:txBody>
      </p:sp>
      <p:sp>
        <p:nvSpPr>
          <p:cNvPr id="61" name="TextBox 60">
            <a:extLst>
              <a:ext uri="{FF2B5EF4-FFF2-40B4-BE49-F238E27FC236}">
                <a16:creationId xmlns:a16="http://schemas.microsoft.com/office/drawing/2014/main" id="{DE612768-B267-4968-BD45-04EFD994C551}"/>
              </a:ext>
            </a:extLst>
          </p:cNvPr>
          <p:cNvSpPr txBox="1"/>
          <p:nvPr/>
        </p:nvSpPr>
        <p:spPr>
          <a:xfrm>
            <a:off x="6629530" y="5105878"/>
            <a:ext cx="337742" cy="491087"/>
          </a:xfrm>
          <a:prstGeom prst="rect">
            <a:avLst/>
          </a:prstGeom>
          <a:noFill/>
        </p:spPr>
        <p:txBody>
          <a:bodyPr wrap="square" rtlCol="0">
            <a:spAutoFit/>
          </a:bodyPr>
          <a:lstStyle/>
          <a:p>
            <a:pPr defTabSz="685800" eaLnBrk="0" hangingPunct="0"/>
            <a:r>
              <a:rPr lang="en-US" b="1">
                <a:solidFill>
                  <a:srgbClr val="00B050"/>
                </a:solidFill>
                <a:latin typeface="Wingdings 2" pitchFamily="18" charset="2"/>
                <a:cs typeface="Arial" charset="0"/>
              </a:rPr>
              <a:t>P</a:t>
            </a:r>
          </a:p>
        </p:txBody>
      </p:sp>
      <p:sp>
        <p:nvSpPr>
          <p:cNvPr id="62" name="TextBox 61">
            <a:extLst>
              <a:ext uri="{FF2B5EF4-FFF2-40B4-BE49-F238E27FC236}">
                <a16:creationId xmlns:a16="http://schemas.microsoft.com/office/drawing/2014/main" id="{AB5A1126-1A36-4DC8-B288-F8F5FEF13435}"/>
              </a:ext>
            </a:extLst>
          </p:cNvPr>
          <p:cNvSpPr txBox="1"/>
          <p:nvPr/>
        </p:nvSpPr>
        <p:spPr>
          <a:xfrm>
            <a:off x="6629530" y="5287516"/>
            <a:ext cx="337742" cy="491087"/>
          </a:xfrm>
          <a:prstGeom prst="rect">
            <a:avLst/>
          </a:prstGeom>
          <a:noFill/>
        </p:spPr>
        <p:txBody>
          <a:bodyPr wrap="square" rtlCol="0">
            <a:spAutoFit/>
          </a:bodyPr>
          <a:lstStyle/>
          <a:p>
            <a:pPr defTabSz="685800" eaLnBrk="0" hangingPunct="0"/>
            <a:r>
              <a:rPr lang="en-US" b="1">
                <a:solidFill>
                  <a:srgbClr val="00B050"/>
                </a:solidFill>
                <a:latin typeface="Wingdings 2" pitchFamily="18" charset="2"/>
                <a:cs typeface="Arial" charset="0"/>
              </a:rPr>
              <a:t>P</a:t>
            </a:r>
          </a:p>
        </p:txBody>
      </p:sp>
      <p:sp>
        <p:nvSpPr>
          <p:cNvPr id="63" name="TextBox 62">
            <a:extLst>
              <a:ext uri="{FF2B5EF4-FFF2-40B4-BE49-F238E27FC236}">
                <a16:creationId xmlns:a16="http://schemas.microsoft.com/office/drawing/2014/main" id="{24965AF9-63CC-4891-94BF-F3F1E2C57041}"/>
              </a:ext>
            </a:extLst>
          </p:cNvPr>
          <p:cNvSpPr txBox="1"/>
          <p:nvPr/>
        </p:nvSpPr>
        <p:spPr>
          <a:xfrm>
            <a:off x="6629530" y="5485451"/>
            <a:ext cx="337742" cy="491087"/>
          </a:xfrm>
          <a:prstGeom prst="rect">
            <a:avLst/>
          </a:prstGeom>
          <a:noFill/>
        </p:spPr>
        <p:txBody>
          <a:bodyPr wrap="square" rtlCol="0">
            <a:spAutoFit/>
          </a:bodyPr>
          <a:lstStyle/>
          <a:p>
            <a:pPr defTabSz="685800" eaLnBrk="0" hangingPunct="0"/>
            <a:r>
              <a:rPr lang="en-US" b="1">
                <a:solidFill>
                  <a:srgbClr val="00B050"/>
                </a:solidFill>
                <a:latin typeface="Wingdings 2" pitchFamily="18" charset="2"/>
                <a:cs typeface="Arial" charset="0"/>
              </a:rPr>
              <a:t>P</a:t>
            </a:r>
          </a:p>
        </p:txBody>
      </p:sp>
      <p:sp>
        <p:nvSpPr>
          <p:cNvPr id="64" name="Oval 63">
            <a:extLst>
              <a:ext uri="{FF2B5EF4-FFF2-40B4-BE49-F238E27FC236}">
                <a16:creationId xmlns:a16="http://schemas.microsoft.com/office/drawing/2014/main" id="{06496EB9-EEE6-47E3-AB4F-43051278F148}"/>
              </a:ext>
            </a:extLst>
          </p:cNvPr>
          <p:cNvSpPr/>
          <p:nvPr/>
        </p:nvSpPr>
        <p:spPr>
          <a:xfrm>
            <a:off x="1778768" y="4629252"/>
            <a:ext cx="380785" cy="352446"/>
          </a:xfrm>
          <a:prstGeom prst="ellipse">
            <a:avLst/>
          </a:prstGeom>
          <a:solidFill>
            <a:sysClr val="window" lastClr="FFFFFF"/>
          </a:solidFill>
          <a:ln w="25400" cap="flat" cmpd="sng" algn="ctr">
            <a:solidFill>
              <a:schemeClr val="accent1"/>
            </a:solidFill>
            <a:prstDash val="solid"/>
          </a:ln>
          <a:effectLst>
            <a:glow rad="101600">
              <a:sysClr val="window" lastClr="FFFFFF">
                <a:alpha val="60000"/>
              </a:sysClr>
            </a:glow>
          </a:effectLst>
        </p:spPr>
        <p:txBody>
          <a:bodyPr rtlCol="0" anchor="ctr"/>
          <a:lstStyle/>
          <a:p>
            <a:pPr algn="ctr" defTabSz="685800" fontAlgn="base">
              <a:spcBef>
                <a:spcPct val="0"/>
              </a:spcBef>
              <a:spcAft>
                <a:spcPct val="0"/>
              </a:spcAft>
              <a:defRPr/>
            </a:pPr>
            <a:r>
              <a:rPr lang="en-US" sz="1200" b="1" kern="0">
                <a:solidFill>
                  <a:srgbClr val="0066A1"/>
                </a:solidFill>
                <a:latin typeface="Arial"/>
              </a:rPr>
              <a:t>7</a:t>
            </a:r>
          </a:p>
        </p:txBody>
      </p:sp>
      <p:sp>
        <p:nvSpPr>
          <p:cNvPr id="65" name="Flowchart: Alternate Process 64">
            <a:extLst>
              <a:ext uri="{FF2B5EF4-FFF2-40B4-BE49-F238E27FC236}">
                <a16:creationId xmlns:a16="http://schemas.microsoft.com/office/drawing/2014/main" id="{05CC0D1D-EAA4-4F5A-A5B9-12538FB0126E}"/>
              </a:ext>
            </a:extLst>
          </p:cNvPr>
          <p:cNvSpPr/>
          <p:nvPr/>
        </p:nvSpPr>
        <p:spPr>
          <a:xfrm>
            <a:off x="931968" y="5086574"/>
            <a:ext cx="2350035" cy="946091"/>
          </a:xfrm>
          <a:prstGeom prst="flowChartAlternateProcess">
            <a:avLst/>
          </a:prstGeom>
          <a:solidFill>
            <a:srgbClr val="00573B"/>
          </a:solidFill>
          <a:ln w="25400" cap="flat" cmpd="sng" algn="ctr">
            <a:noFill/>
            <a:prstDash val="solid"/>
          </a:ln>
          <a:effectLst/>
        </p:spPr>
        <p:txBody>
          <a:bodyPr rtlCol="0" anchor="ctr"/>
          <a:lstStyle/>
          <a:p>
            <a:pPr algn="ctr" defTabSz="685800" fontAlgn="base">
              <a:spcBef>
                <a:spcPct val="0"/>
              </a:spcBef>
              <a:spcAft>
                <a:spcPct val="0"/>
              </a:spcAft>
              <a:defRPr/>
            </a:pPr>
            <a:endParaRPr lang="en-US" sz="1350" kern="0">
              <a:solidFill>
                <a:srgbClr val="FFFFFF"/>
              </a:solidFill>
              <a:latin typeface="Arial"/>
            </a:endParaRPr>
          </a:p>
        </p:txBody>
      </p:sp>
      <p:sp>
        <p:nvSpPr>
          <p:cNvPr id="66" name="Flowchart: Alternate Process 65">
            <a:extLst>
              <a:ext uri="{FF2B5EF4-FFF2-40B4-BE49-F238E27FC236}">
                <a16:creationId xmlns:a16="http://schemas.microsoft.com/office/drawing/2014/main" id="{0FF52107-461E-4952-BD1E-BEA72F0AA4C8}"/>
              </a:ext>
            </a:extLst>
          </p:cNvPr>
          <p:cNvSpPr/>
          <p:nvPr/>
        </p:nvSpPr>
        <p:spPr>
          <a:xfrm>
            <a:off x="1095824" y="5152564"/>
            <a:ext cx="2022309" cy="814153"/>
          </a:xfrm>
          <a:prstGeom prst="flowChartAlternateProcess">
            <a:avLst/>
          </a:prstGeom>
          <a:solidFill>
            <a:sysClr val="window" lastClr="FFFFFF"/>
          </a:solidFill>
          <a:ln w="25400" cap="flat" cmpd="sng" algn="ctr">
            <a:noFill/>
            <a:prstDash val="solid"/>
          </a:ln>
          <a:effectLst>
            <a:outerShdw blurRad="50800" dist="38100" dir="2700000" algn="tl" rotWithShape="0">
              <a:prstClr val="black">
                <a:alpha val="40000"/>
              </a:prstClr>
            </a:outerShdw>
          </a:effectLst>
        </p:spPr>
        <p:txBody>
          <a:bodyPr rot="0" spcFirstLastPara="0" vertOverflow="overflow" horzOverflow="overflow" vert="horz" wrap="square" lIns="68580" tIns="34290" rIns="68580" bIns="34290" numCol="1" spcCol="0" rtlCol="0" fromWordArt="0" anchor="b" anchorCtr="0" forceAA="0" compatLnSpc="1">
            <a:prstTxWarp prst="textNoShape">
              <a:avLst/>
            </a:prstTxWarp>
            <a:noAutofit/>
          </a:bodyPr>
          <a:lstStyle/>
          <a:p>
            <a:pPr algn="ctr" defTabSz="685800" fontAlgn="base">
              <a:spcBef>
                <a:spcPct val="0"/>
              </a:spcBef>
              <a:spcAft>
                <a:spcPct val="0"/>
              </a:spcAft>
              <a:defRPr/>
            </a:pPr>
            <a:endParaRPr lang="en-US" sz="1050" b="1" kern="0">
              <a:solidFill>
                <a:srgbClr val="000000"/>
              </a:solidFill>
              <a:latin typeface="Arial"/>
            </a:endParaRPr>
          </a:p>
        </p:txBody>
      </p:sp>
      <p:pic>
        <p:nvPicPr>
          <p:cNvPr id="67" name="Picture 66">
            <a:extLst>
              <a:ext uri="{FF2B5EF4-FFF2-40B4-BE49-F238E27FC236}">
                <a16:creationId xmlns:a16="http://schemas.microsoft.com/office/drawing/2014/main" id="{7855253E-D184-470A-8944-588630689BA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00514" y="5176141"/>
            <a:ext cx="985552" cy="780658"/>
          </a:xfrm>
          <a:prstGeom prst="rect">
            <a:avLst/>
          </a:prstGeom>
        </p:spPr>
      </p:pic>
      <p:sp>
        <p:nvSpPr>
          <p:cNvPr id="68" name="TextBox 67">
            <a:extLst>
              <a:ext uri="{FF2B5EF4-FFF2-40B4-BE49-F238E27FC236}">
                <a16:creationId xmlns:a16="http://schemas.microsoft.com/office/drawing/2014/main" id="{4D57F3AF-85BF-483E-A114-D0ED274EFDB0}"/>
              </a:ext>
            </a:extLst>
          </p:cNvPr>
          <p:cNvSpPr txBox="1"/>
          <p:nvPr/>
        </p:nvSpPr>
        <p:spPr>
          <a:xfrm>
            <a:off x="1204802" y="5392595"/>
            <a:ext cx="685541" cy="405147"/>
          </a:xfrm>
          <a:prstGeom prst="rect">
            <a:avLst/>
          </a:prstGeom>
          <a:noFill/>
        </p:spPr>
        <p:txBody>
          <a:bodyPr wrap="square" lIns="13716" tIns="13716" rIns="13716" bIns="13716" rtlCol="0">
            <a:spAutoFit/>
          </a:bodyPr>
          <a:lstStyle/>
          <a:p>
            <a:pPr algn="ctr" defTabSz="685800" fontAlgn="base">
              <a:spcBef>
                <a:spcPct val="0"/>
              </a:spcBef>
              <a:spcAft>
                <a:spcPct val="0"/>
              </a:spcAft>
              <a:buClr>
                <a:srgbClr val="00573B"/>
              </a:buClr>
            </a:pPr>
            <a:r>
              <a:rPr lang="en-US" sz="900" b="1">
                <a:solidFill>
                  <a:srgbClr val="0066A1"/>
                </a:solidFill>
                <a:latin typeface="Arial"/>
                <a:cs typeface="Arial" charset="0"/>
              </a:rPr>
              <a:t>User Sign-off</a:t>
            </a:r>
          </a:p>
        </p:txBody>
      </p:sp>
      <p:grpSp>
        <p:nvGrpSpPr>
          <p:cNvPr id="69" name="Group 247">
            <a:extLst>
              <a:ext uri="{FF2B5EF4-FFF2-40B4-BE49-F238E27FC236}">
                <a16:creationId xmlns:a16="http://schemas.microsoft.com/office/drawing/2014/main" id="{605C29F0-16EF-4FF1-9334-F48212005AFE}"/>
              </a:ext>
            </a:extLst>
          </p:cNvPr>
          <p:cNvGrpSpPr/>
          <p:nvPr/>
        </p:nvGrpSpPr>
        <p:grpSpPr>
          <a:xfrm>
            <a:off x="5317789" y="5287516"/>
            <a:ext cx="469588" cy="492476"/>
            <a:chOff x="8702676" y="-87313"/>
            <a:chExt cx="1087437" cy="1382714"/>
          </a:xfrm>
        </p:grpSpPr>
        <p:sp>
          <p:nvSpPr>
            <p:cNvPr id="70" name="Freeform 48">
              <a:extLst>
                <a:ext uri="{FF2B5EF4-FFF2-40B4-BE49-F238E27FC236}">
                  <a16:creationId xmlns:a16="http://schemas.microsoft.com/office/drawing/2014/main" id="{2F240F8E-37E5-475B-89B0-DBE0791B77E7}"/>
                </a:ext>
              </a:extLst>
            </p:cNvPr>
            <p:cNvSpPr>
              <a:spLocks/>
            </p:cNvSpPr>
            <p:nvPr/>
          </p:nvSpPr>
          <p:spPr bwMode="auto">
            <a:xfrm>
              <a:off x="8702676" y="-87313"/>
              <a:ext cx="442913" cy="617538"/>
            </a:xfrm>
            <a:custGeom>
              <a:avLst/>
              <a:gdLst/>
              <a:ahLst/>
              <a:cxnLst>
                <a:cxn ang="0">
                  <a:pos x="118" y="125"/>
                </a:cxn>
                <a:cxn ang="0">
                  <a:pos x="74" y="70"/>
                </a:cxn>
                <a:cxn ang="0">
                  <a:pos x="91" y="36"/>
                </a:cxn>
                <a:cxn ang="0">
                  <a:pos x="61" y="0"/>
                </a:cxn>
                <a:cxn ang="0">
                  <a:pos x="31" y="36"/>
                </a:cxn>
                <a:cxn ang="0">
                  <a:pos x="47" y="70"/>
                </a:cxn>
                <a:cxn ang="0">
                  <a:pos x="0" y="165"/>
                </a:cxn>
              </a:cxnLst>
              <a:rect l="0" t="0" r="r" b="b"/>
              <a:pathLst>
                <a:path w="118" h="165">
                  <a:moveTo>
                    <a:pt x="118" y="125"/>
                  </a:moveTo>
                  <a:cubicBezTo>
                    <a:pt x="112" y="98"/>
                    <a:pt x="99" y="77"/>
                    <a:pt x="74" y="70"/>
                  </a:cubicBezTo>
                  <a:cubicBezTo>
                    <a:pt x="82" y="63"/>
                    <a:pt x="91" y="49"/>
                    <a:pt x="91" y="36"/>
                  </a:cubicBezTo>
                  <a:cubicBezTo>
                    <a:pt x="91" y="15"/>
                    <a:pt x="77" y="0"/>
                    <a:pt x="61" y="0"/>
                  </a:cubicBezTo>
                  <a:cubicBezTo>
                    <a:pt x="44" y="0"/>
                    <a:pt x="31" y="15"/>
                    <a:pt x="31" y="36"/>
                  </a:cubicBezTo>
                  <a:cubicBezTo>
                    <a:pt x="31" y="49"/>
                    <a:pt x="40" y="63"/>
                    <a:pt x="47" y="70"/>
                  </a:cubicBezTo>
                  <a:cubicBezTo>
                    <a:pt x="12" y="80"/>
                    <a:pt x="0" y="118"/>
                    <a:pt x="0" y="165"/>
                  </a:cubicBezTo>
                </a:path>
              </a:pathLst>
            </a:custGeom>
            <a:noFill/>
            <a:ln w="12700" cap="flat" cmpd="sng" algn="ctr">
              <a:solidFill>
                <a:srgbClr val="F26E01">
                  <a:shade val="95000"/>
                  <a:satMod val="105000"/>
                </a:srgbClr>
              </a:solidFill>
              <a:prstDash val="solid"/>
              <a:headEnd/>
              <a:tailEnd/>
            </a:ln>
            <a:effectLst/>
          </p:spPr>
          <p:txBody>
            <a:bodyPr vert="horz" wrap="square" lIns="68580" tIns="34290" rIns="68580" bIns="34290" numCol="1" anchor="t" anchorCtr="0" compatLnSpc="1">
              <a:prstTxWarp prst="textNoShape">
                <a:avLst/>
              </a:prstTxWarp>
            </a:bodyPr>
            <a:lstStyle/>
            <a:p>
              <a:pPr defTabSz="685800">
                <a:defRPr/>
              </a:pPr>
              <a:endParaRPr lang="en-US" sz="1350" kern="0">
                <a:solidFill>
                  <a:sysClr val="windowText" lastClr="000000"/>
                </a:solidFill>
                <a:latin typeface="Arial"/>
                <a:cs typeface="Arial" charset="0"/>
              </a:endParaRPr>
            </a:p>
          </p:txBody>
        </p:sp>
        <p:sp>
          <p:nvSpPr>
            <p:cNvPr id="71" name="Freeform 49">
              <a:extLst>
                <a:ext uri="{FF2B5EF4-FFF2-40B4-BE49-F238E27FC236}">
                  <a16:creationId xmlns:a16="http://schemas.microsoft.com/office/drawing/2014/main" id="{1758DE68-FC33-41AE-9135-DCFD9B2988A1}"/>
                </a:ext>
              </a:extLst>
            </p:cNvPr>
            <p:cNvSpPr>
              <a:spLocks/>
            </p:cNvSpPr>
            <p:nvPr/>
          </p:nvSpPr>
          <p:spPr bwMode="auto">
            <a:xfrm>
              <a:off x="8834438" y="554037"/>
              <a:ext cx="201613" cy="1588"/>
            </a:xfrm>
            <a:custGeom>
              <a:avLst/>
              <a:gdLst/>
              <a:ahLst/>
              <a:cxnLst>
                <a:cxn ang="0">
                  <a:pos x="54" y="0"/>
                </a:cxn>
                <a:cxn ang="0">
                  <a:pos x="0" y="0"/>
                </a:cxn>
              </a:cxnLst>
              <a:rect l="0" t="0" r="r" b="b"/>
              <a:pathLst>
                <a:path w="54">
                  <a:moveTo>
                    <a:pt x="54" y="0"/>
                  </a:moveTo>
                  <a:cubicBezTo>
                    <a:pt x="37" y="0"/>
                    <a:pt x="17" y="0"/>
                    <a:pt x="0" y="0"/>
                  </a:cubicBezTo>
                </a:path>
              </a:pathLst>
            </a:custGeom>
            <a:noFill/>
            <a:ln w="12700" cap="flat" cmpd="sng" algn="ctr">
              <a:solidFill>
                <a:srgbClr val="F26E01">
                  <a:shade val="95000"/>
                  <a:satMod val="105000"/>
                </a:srgbClr>
              </a:solidFill>
              <a:prstDash val="solid"/>
              <a:headEnd/>
              <a:tailEnd/>
            </a:ln>
            <a:effectLst/>
          </p:spPr>
          <p:txBody>
            <a:bodyPr vert="horz" wrap="square" lIns="68580" tIns="34290" rIns="68580" bIns="34290" numCol="1" anchor="t" anchorCtr="0" compatLnSpc="1">
              <a:prstTxWarp prst="textNoShape">
                <a:avLst/>
              </a:prstTxWarp>
            </a:bodyPr>
            <a:lstStyle/>
            <a:p>
              <a:pPr defTabSz="685800">
                <a:defRPr/>
              </a:pPr>
              <a:endParaRPr lang="en-US" sz="1350" kern="0">
                <a:solidFill>
                  <a:sysClr val="windowText" lastClr="000000"/>
                </a:solidFill>
                <a:latin typeface="Arial"/>
                <a:cs typeface="Arial" charset="0"/>
              </a:endParaRPr>
            </a:p>
          </p:txBody>
        </p:sp>
        <p:sp>
          <p:nvSpPr>
            <p:cNvPr id="72" name="Freeform 50">
              <a:extLst>
                <a:ext uri="{FF2B5EF4-FFF2-40B4-BE49-F238E27FC236}">
                  <a16:creationId xmlns:a16="http://schemas.microsoft.com/office/drawing/2014/main" id="{557FB2AE-D40B-4973-8DB8-832C2DEE9ED4}"/>
                </a:ext>
              </a:extLst>
            </p:cNvPr>
            <p:cNvSpPr>
              <a:spLocks/>
            </p:cNvSpPr>
            <p:nvPr/>
          </p:nvSpPr>
          <p:spPr bwMode="auto">
            <a:xfrm>
              <a:off x="9336088" y="69850"/>
              <a:ext cx="454025" cy="765176"/>
            </a:xfrm>
            <a:custGeom>
              <a:avLst/>
              <a:gdLst/>
              <a:ahLst/>
              <a:cxnLst>
                <a:cxn ang="0">
                  <a:pos x="0" y="106"/>
                </a:cxn>
                <a:cxn ang="0">
                  <a:pos x="33" y="83"/>
                </a:cxn>
                <a:cxn ang="0">
                  <a:pos x="14" y="43"/>
                </a:cxn>
                <a:cxn ang="0">
                  <a:pos x="49" y="0"/>
                </a:cxn>
                <a:cxn ang="0">
                  <a:pos x="85" y="43"/>
                </a:cxn>
                <a:cxn ang="0">
                  <a:pos x="65" y="83"/>
                </a:cxn>
                <a:cxn ang="0">
                  <a:pos x="121" y="194"/>
                </a:cxn>
                <a:cxn ang="0">
                  <a:pos x="16" y="201"/>
                </a:cxn>
              </a:cxnLst>
              <a:rect l="0" t="0" r="r" b="b"/>
              <a:pathLst>
                <a:path w="121" h="204">
                  <a:moveTo>
                    <a:pt x="0" y="106"/>
                  </a:moveTo>
                  <a:cubicBezTo>
                    <a:pt x="8" y="95"/>
                    <a:pt x="19" y="87"/>
                    <a:pt x="33" y="83"/>
                  </a:cubicBezTo>
                  <a:cubicBezTo>
                    <a:pt x="25" y="74"/>
                    <a:pt x="14" y="58"/>
                    <a:pt x="14" y="43"/>
                  </a:cubicBezTo>
                  <a:cubicBezTo>
                    <a:pt x="14" y="18"/>
                    <a:pt x="30" y="0"/>
                    <a:pt x="49" y="0"/>
                  </a:cubicBezTo>
                  <a:cubicBezTo>
                    <a:pt x="69" y="0"/>
                    <a:pt x="85" y="18"/>
                    <a:pt x="85" y="43"/>
                  </a:cubicBezTo>
                  <a:cubicBezTo>
                    <a:pt x="85" y="58"/>
                    <a:pt x="74" y="74"/>
                    <a:pt x="65" y="83"/>
                  </a:cubicBezTo>
                  <a:cubicBezTo>
                    <a:pt x="107" y="95"/>
                    <a:pt x="121" y="140"/>
                    <a:pt x="121" y="194"/>
                  </a:cubicBezTo>
                  <a:cubicBezTo>
                    <a:pt x="121" y="201"/>
                    <a:pt x="59" y="204"/>
                    <a:pt x="16" y="201"/>
                  </a:cubicBezTo>
                </a:path>
              </a:pathLst>
            </a:custGeom>
            <a:noFill/>
            <a:ln w="12700" cap="flat" cmpd="sng" algn="ctr">
              <a:solidFill>
                <a:srgbClr val="F26E01">
                  <a:shade val="95000"/>
                  <a:satMod val="105000"/>
                </a:srgbClr>
              </a:solidFill>
              <a:prstDash val="solid"/>
              <a:headEnd/>
              <a:tailEnd/>
            </a:ln>
            <a:effectLst/>
          </p:spPr>
          <p:txBody>
            <a:bodyPr vert="horz" wrap="square" lIns="68580" tIns="34290" rIns="68580" bIns="34290" numCol="1" anchor="t" anchorCtr="0" compatLnSpc="1">
              <a:prstTxWarp prst="textNoShape">
                <a:avLst/>
              </a:prstTxWarp>
            </a:bodyPr>
            <a:lstStyle/>
            <a:p>
              <a:pPr defTabSz="685800">
                <a:defRPr/>
              </a:pPr>
              <a:endParaRPr lang="en-US" sz="1350" kern="0">
                <a:solidFill>
                  <a:sysClr val="windowText" lastClr="000000"/>
                </a:solidFill>
                <a:latin typeface="Arial"/>
                <a:cs typeface="Arial" charset="0"/>
              </a:endParaRPr>
            </a:p>
          </p:txBody>
        </p:sp>
        <p:sp>
          <p:nvSpPr>
            <p:cNvPr id="73" name="Freeform 51">
              <a:extLst>
                <a:ext uri="{FF2B5EF4-FFF2-40B4-BE49-F238E27FC236}">
                  <a16:creationId xmlns:a16="http://schemas.microsoft.com/office/drawing/2014/main" id="{A93A9CFB-FBEF-4E6B-9707-7EDF417C81A2}"/>
                </a:ext>
              </a:extLst>
            </p:cNvPr>
            <p:cNvSpPr>
              <a:spLocks/>
            </p:cNvSpPr>
            <p:nvPr/>
          </p:nvSpPr>
          <p:spPr bwMode="auto">
            <a:xfrm>
              <a:off x="9036051" y="381000"/>
              <a:ext cx="109538" cy="173038"/>
            </a:xfrm>
            <a:custGeom>
              <a:avLst/>
              <a:gdLst/>
              <a:ahLst/>
              <a:cxnLst>
                <a:cxn ang="0">
                  <a:pos x="0" y="46"/>
                </a:cxn>
                <a:cxn ang="0">
                  <a:pos x="29" y="0"/>
                </a:cxn>
              </a:cxnLst>
              <a:rect l="0" t="0" r="r" b="b"/>
              <a:pathLst>
                <a:path w="29" h="46">
                  <a:moveTo>
                    <a:pt x="0" y="46"/>
                  </a:moveTo>
                  <a:cubicBezTo>
                    <a:pt x="1" y="23"/>
                    <a:pt x="13" y="6"/>
                    <a:pt x="29" y="0"/>
                  </a:cubicBezTo>
                </a:path>
              </a:pathLst>
            </a:custGeom>
            <a:noFill/>
            <a:ln w="12700" cap="flat" cmpd="sng" algn="ctr">
              <a:solidFill>
                <a:srgbClr val="F26E01">
                  <a:shade val="95000"/>
                  <a:satMod val="105000"/>
                </a:srgbClr>
              </a:solidFill>
              <a:prstDash val="solid"/>
              <a:headEnd/>
              <a:tailEnd/>
            </a:ln>
            <a:effectLst/>
          </p:spPr>
          <p:txBody>
            <a:bodyPr vert="horz" wrap="square" lIns="68580" tIns="34290" rIns="68580" bIns="34290" numCol="1" anchor="t" anchorCtr="0" compatLnSpc="1">
              <a:prstTxWarp prst="textNoShape">
                <a:avLst/>
              </a:prstTxWarp>
            </a:bodyPr>
            <a:lstStyle/>
            <a:p>
              <a:pPr defTabSz="685800">
                <a:defRPr/>
              </a:pPr>
              <a:endParaRPr lang="en-US" sz="1350" kern="0">
                <a:solidFill>
                  <a:sysClr val="windowText" lastClr="000000"/>
                </a:solidFill>
                <a:latin typeface="Arial"/>
                <a:cs typeface="Arial" charset="0"/>
              </a:endParaRPr>
            </a:p>
          </p:txBody>
        </p:sp>
        <p:sp>
          <p:nvSpPr>
            <p:cNvPr id="74" name="Freeform 52">
              <a:extLst>
                <a:ext uri="{FF2B5EF4-FFF2-40B4-BE49-F238E27FC236}">
                  <a16:creationId xmlns:a16="http://schemas.microsoft.com/office/drawing/2014/main" id="{AB62754C-5B54-4300-A5E7-95DB0FDFC182}"/>
                </a:ext>
              </a:extLst>
            </p:cNvPr>
            <p:cNvSpPr>
              <a:spLocks/>
            </p:cNvSpPr>
            <p:nvPr/>
          </p:nvSpPr>
          <p:spPr bwMode="auto">
            <a:xfrm>
              <a:off x="8870951" y="554037"/>
              <a:ext cx="252413" cy="700088"/>
            </a:xfrm>
            <a:custGeom>
              <a:avLst/>
              <a:gdLst/>
              <a:ahLst/>
              <a:cxnLst>
                <a:cxn ang="0">
                  <a:pos x="44" y="0"/>
                </a:cxn>
                <a:cxn ang="0">
                  <a:pos x="44" y="4"/>
                </a:cxn>
                <a:cxn ang="0">
                  <a:pos x="67" y="52"/>
                </a:cxn>
                <a:cxn ang="0">
                  <a:pos x="0" y="187"/>
                </a:cxn>
              </a:cxnLst>
              <a:rect l="0" t="0" r="r" b="b"/>
              <a:pathLst>
                <a:path w="67" h="187">
                  <a:moveTo>
                    <a:pt x="44" y="0"/>
                  </a:moveTo>
                  <a:cubicBezTo>
                    <a:pt x="44" y="1"/>
                    <a:pt x="44" y="3"/>
                    <a:pt x="44" y="4"/>
                  </a:cubicBezTo>
                  <a:cubicBezTo>
                    <a:pt x="44" y="22"/>
                    <a:pt x="57" y="41"/>
                    <a:pt x="67" y="52"/>
                  </a:cubicBezTo>
                  <a:cubicBezTo>
                    <a:pt x="17" y="66"/>
                    <a:pt x="0" y="121"/>
                    <a:pt x="0" y="187"/>
                  </a:cubicBezTo>
                </a:path>
              </a:pathLst>
            </a:custGeom>
            <a:noFill/>
            <a:ln w="12700" cap="flat" cmpd="sng" algn="ctr">
              <a:solidFill>
                <a:srgbClr val="F26E01">
                  <a:shade val="95000"/>
                  <a:satMod val="105000"/>
                </a:srgbClr>
              </a:solidFill>
              <a:prstDash val="solid"/>
              <a:headEnd/>
              <a:tailEnd/>
            </a:ln>
            <a:effectLst/>
          </p:spPr>
          <p:txBody>
            <a:bodyPr vert="horz" wrap="square" lIns="68580" tIns="34290" rIns="68580" bIns="34290" numCol="1" anchor="t" anchorCtr="0" compatLnSpc="1">
              <a:prstTxWarp prst="textNoShape">
                <a:avLst/>
              </a:prstTxWarp>
            </a:bodyPr>
            <a:lstStyle/>
            <a:p>
              <a:pPr defTabSz="685800">
                <a:defRPr/>
              </a:pPr>
              <a:endParaRPr lang="en-US" sz="1350" kern="0">
                <a:solidFill>
                  <a:sysClr val="windowText" lastClr="000000"/>
                </a:solidFill>
                <a:latin typeface="Arial"/>
                <a:cs typeface="Arial" charset="0"/>
              </a:endParaRPr>
            </a:p>
          </p:txBody>
        </p:sp>
        <p:sp>
          <p:nvSpPr>
            <p:cNvPr id="75" name="Freeform 53">
              <a:extLst>
                <a:ext uri="{FF2B5EF4-FFF2-40B4-BE49-F238E27FC236}">
                  <a16:creationId xmlns:a16="http://schemas.microsoft.com/office/drawing/2014/main" id="{73FA4B3F-B184-447A-961E-08CC207CE488}"/>
                </a:ext>
              </a:extLst>
            </p:cNvPr>
            <p:cNvSpPr>
              <a:spLocks/>
            </p:cNvSpPr>
            <p:nvPr/>
          </p:nvSpPr>
          <p:spPr bwMode="auto">
            <a:xfrm>
              <a:off x="9066213" y="823913"/>
              <a:ext cx="454025" cy="471488"/>
            </a:xfrm>
            <a:custGeom>
              <a:avLst/>
              <a:gdLst/>
              <a:ahLst/>
              <a:cxnLst>
                <a:cxn ang="0">
                  <a:pos x="88" y="0"/>
                </a:cxn>
                <a:cxn ang="0">
                  <a:pos x="121" y="115"/>
                </a:cxn>
                <a:cxn ang="0">
                  <a:pos x="0" y="124"/>
                </a:cxn>
              </a:cxnLst>
              <a:rect l="0" t="0" r="r" b="b"/>
              <a:pathLst>
                <a:path w="121" h="126">
                  <a:moveTo>
                    <a:pt x="88" y="0"/>
                  </a:moveTo>
                  <a:cubicBezTo>
                    <a:pt x="112" y="25"/>
                    <a:pt x="121" y="67"/>
                    <a:pt x="121" y="115"/>
                  </a:cubicBezTo>
                  <a:cubicBezTo>
                    <a:pt x="121" y="123"/>
                    <a:pt x="51" y="126"/>
                    <a:pt x="0" y="124"/>
                  </a:cubicBezTo>
                </a:path>
              </a:pathLst>
            </a:custGeom>
            <a:noFill/>
            <a:ln w="12700" cap="flat" cmpd="sng" algn="ctr">
              <a:solidFill>
                <a:srgbClr val="F26E01">
                  <a:shade val="95000"/>
                  <a:satMod val="105000"/>
                </a:srgbClr>
              </a:solidFill>
              <a:prstDash val="solid"/>
              <a:headEnd/>
              <a:tailEnd/>
            </a:ln>
            <a:effectLst/>
          </p:spPr>
          <p:txBody>
            <a:bodyPr vert="horz" wrap="square" lIns="68580" tIns="34290" rIns="68580" bIns="34290" numCol="1" anchor="t" anchorCtr="0" compatLnSpc="1">
              <a:prstTxWarp prst="textNoShape">
                <a:avLst/>
              </a:prstTxWarp>
            </a:bodyPr>
            <a:lstStyle/>
            <a:p>
              <a:pPr defTabSz="685800">
                <a:defRPr/>
              </a:pPr>
              <a:endParaRPr lang="en-US" sz="1350" kern="0">
                <a:solidFill>
                  <a:sysClr val="windowText" lastClr="000000"/>
                </a:solidFill>
                <a:latin typeface="Arial"/>
                <a:cs typeface="Arial" charset="0"/>
              </a:endParaRPr>
            </a:p>
          </p:txBody>
        </p:sp>
        <p:sp>
          <p:nvSpPr>
            <p:cNvPr id="76" name="Freeform 54">
              <a:extLst>
                <a:ext uri="{FF2B5EF4-FFF2-40B4-BE49-F238E27FC236}">
                  <a16:creationId xmlns:a16="http://schemas.microsoft.com/office/drawing/2014/main" id="{1FB4EF6B-2E8D-437D-B785-26576F30FCF5}"/>
                </a:ext>
              </a:extLst>
            </p:cNvPr>
            <p:cNvSpPr>
              <a:spLocks/>
            </p:cNvSpPr>
            <p:nvPr/>
          </p:nvSpPr>
          <p:spPr bwMode="auto">
            <a:xfrm>
              <a:off x="9145588" y="373062"/>
              <a:ext cx="190500" cy="93663"/>
            </a:xfrm>
            <a:custGeom>
              <a:avLst/>
              <a:gdLst/>
              <a:ahLst/>
              <a:cxnLst>
                <a:cxn ang="0">
                  <a:pos x="0" y="2"/>
                </a:cxn>
                <a:cxn ang="0">
                  <a:pos x="13" y="0"/>
                </a:cxn>
                <a:cxn ang="0">
                  <a:pos x="51" y="25"/>
                </a:cxn>
              </a:cxnLst>
              <a:rect l="0" t="0" r="r" b="b"/>
              <a:pathLst>
                <a:path w="51" h="25">
                  <a:moveTo>
                    <a:pt x="0" y="2"/>
                  </a:moveTo>
                  <a:cubicBezTo>
                    <a:pt x="4" y="1"/>
                    <a:pt x="9" y="0"/>
                    <a:pt x="13" y="0"/>
                  </a:cubicBezTo>
                  <a:cubicBezTo>
                    <a:pt x="29" y="0"/>
                    <a:pt x="43" y="10"/>
                    <a:pt x="51" y="25"/>
                  </a:cubicBezTo>
                </a:path>
              </a:pathLst>
            </a:custGeom>
            <a:noFill/>
            <a:ln w="12700" cap="flat" cmpd="sng" algn="ctr">
              <a:solidFill>
                <a:srgbClr val="F26E01">
                  <a:shade val="95000"/>
                  <a:satMod val="105000"/>
                </a:srgbClr>
              </a:solidFill>
              <a:prstDash val="solid"/>
              <a:headEnd/>
              <a:tailEnd/>
            </a:ln>
            <a:effectLst/>
          </p:spPr>
          <p:txBody>
            <a:bodyPr vert="horz" wrap="square" lIns="68580" tIns="34290" rIns="68580" bIns="34290" numCol="1" anchor="t" anchorCtr="0" compatLnSpc="1">
              <a:prstTxWarp prst="textNoShape">
                <a:avLst/>
              </a:prstTxWarp>
            </a:bodyPr>
            <a:lstStyle/>
            <a:p>
              <a:pPr defTabSz="685800">
                <a:defRPr/>
              </a:pPr>
              <a:endParaRPr lang="en-US" sz="1350" kern="0">
                <a:solidFill>
                  <a:sysClr val="windowText" lastClr="000000"/>
                </a:solidFill>
                <a:latin typeface="Arial"/>
                <a:cs typeface="Arial" charset="0"/>
              </a:endParaRPr>
            </a:p>
          </p:txBody>
        </p:sp>
        <p:sp>
          <p:nvSpPr>
            <p:cNvPr id="77" name="Freeform 55">
              <a:extLst>
                <a:ext uri="{FF2B5EF4-FFF2-40B4-BE49-F238E27FC236}">
                  <a16:creationId xmlns:a16="http://schemas.microsoft.com/office/drawing/2014/main" id="{66961441-4A77-42D1-9F3B-D75CA106897D}"/>
                </a:ext>
              </a:extLst>
            </p:cNvPr>
            <p:cNvSpPr>
              <a:spLocks/>
            </p:cNvSpPr>
            <p:nvPr/>
          </p:nvSpPr>
          <p:spPr bwMode="auto">
            <a:xfrm>
              <a:off x="9269413" y="466725"/>
              <a:ext cx="127000" cy="357188"/>
            </a:xfrm>
            <a:custGeom>
              <a:avLst/>
              <a:gdLst/>
              <a:ahLst/>
              <a:cxnLst>
                <a:cxn ang="0">
                  <a:pos x="18" y="0"/>
                </a:cxn>
                <a:cxn ang="0">
                  <a:pos x="23" y="27"/>
                </a:cxn>
                <a:cxn ang="0">
                  <a:pos x="0" y="75"/>
                </a:cxn>
                <a:cxn ang="0">
                  <a:pos x="34" y="95"/>
                </a:cxn>
              </a:cxnLst>
              <a:rect l="0" t="0" r="r" b="b"/>
              <a:pathLst>
                <a:path w="34" h="95">
                  <a:moveTo>
                    <a:pt x="18" y="0"/>
                  </a:moveTo>
                  <a:cubicBezTo>
                    <a:pt x="21" y="8"/>
                    <a:pt x="23" y="17"/>
                    <a:pt x="23" y="27"/>
                  </a:cubicBezTo>
                  <a:cubicBezTo>
                    <a:pt x="23" y="45"/>
                    <a:pt x="10" y="64"/>
                    <a:pt x="0" y="75"/>
                  </a:cubicBezTo>
                  <a:cubicBezTo>
                    <a:pt x="14" y="79"/>
                    <a:pt x="25" y="86"/>
                    <a:pt x="34" y="95"/>
                  </a:cubicBezTo>
                </a:path>
              </a:pathLst>
            </a:custGeom>
            <a:noFill/>
            <a:ln w="12700" cap="flat" cmpd="sng" algn="ctr">
              <a:solidFill>
                <a:srgbClr val="F26E01">
                  <a:shade val="95000"/>
                  <a:satMod val="105000"/>
                </a:srgbClr>
              </a:solidFill>
              <a:prstDash val="solid"/>
              <a:headEnd/>
              <a:tailEnd/>
            </a:ln>
            <a:effectLst/>
          </p:spPr>
          <p:txBody>
            <a:bodyPr vert="horz" wrap="square" lIns="68580" tIns="34290" rIns="68580" bIns="34290" numCol="1" anchor="t" anchorCtr="0" compatLnSpc="1">
              <a:prstTxWarp prst="textNoShape">
                <a:avLst/>
              </a:prstTxWarp>
            </a:bodyPr>
            <a:lstStyle/>
            <a:p>
              <a:pPr defTabSz="685800">
                <a:defRPr/>
              </a:pPr>
              <a:endParaRPr lang="en-US" sz="1350" kern="0">
                <a:solidFill>
                  <a:sysClr val="windowText" lastClr="000000"/>
                </a:solidFill>
                <a:latin typeface="Arial"/>
                <a:cs typeface="Arial" charset="0"/>
              </a:endParaRPr>
            </a:p>
          </p:txBody>
        </p:sp>
      </p:grpSp>
      <p:grpSp>
        <p:nvGrpSpPr>
          <p:cNvPr id="78" name="Group 77">
            <a:extLst>
              <a:ext uri="{FF2B5EF4-FFF2-40B4-BE49-F238E27FC236}">
                <a16:creationId xmlns:a16="http://schemas.microsoft.com/office/drawing/2014/main" id="{F8DADB90-5A71-4B2D-8CA2-096E1758E109}"/>
              </a:ext>
            </a:extLst>
          </p:cNvPr>
          <p:cNvGrpSpPr/>
          <p:nvPr/>
        </p:nvGrpSpPr>
        <p:grpSpPr>
          <a:xfrm>
            <a:off x="5929669" y="5368334"/>
            <a:ext cx="544995" cy="307684"/>
            <a:chOff x="5668197" y="4293096"/>
            <a:chExt cx="553168" cy="337409"/>
          </a:xfrm>
        </p:grpSpPr>
        <p:sp>
          <p:nvSpPr>
            <p:cNvPr id="79" name="Freeform 995">
              <a:extLst>
                <a:ext uri="{FF2B5EF4-FFF2-40B4-BE49-F238E27FC236}">
                  <a16:creationId xmlns:a16="http://schemas.microsoft.com/office/drawing/2014/main" id="{6D581808-2F65-46C3-ADDC-B460564A3D25}"/>
                </a:ext>
              </a:extLst>
            </p:cNvPr>
            <p:cNvSpPr>
              <a:spLocks/>
            </p:cNvSpPr>
            <p:nvPr/>
          </p:nvSpPr>
          <p:spPr bwMode="auto">
            <a:xfrm>
              <a:off x="5668197" y="4293096"/>
              <a:ext cx="553168" cy="337409"/>
            </a:xfrm>
            <a:custGeom>
              <a:avLst/>
              <a:gdLst>
                <a:gd name="T0" fmla="*/ 158750 w 199"/>
                <a:gd name="T1" fmla="*/ 86603 h 123"/>
                <a:gd name="T2" fmla="*/ 158750 w 199"/>
                <a:gd name="T3" fmla="*/ 86603 h 123"/>
                <a:gd name="T4" fmla="*/ 157952 w 199"/>
                <a:gd name="T5" fmla="*/ 90540 h 123"/>
                <a:gd name="T6" fmla="*/ 157155 w 199"/>
                <a:gd name="T7" fmla="*/ 93689 h 123"/>
                <a:gd name="T8" fmla="*/ 152368 w 199"/>
                <a:gd name="T9" fmla="*/ 96051 h 123"/>
                <a:gd name="T10" fmla="*/ 148379 w 199"/>
                <a:gd name="T11" fmla="*/ 96838 h 123"/>
                <a:gd name="T12" fmla="*/ 9573 w 199"/>
                <a:gd name="T13" fmla="*/ 96838 h 123"/>
                <a:gd name="T14" fmla="*/ 6382 w 199"/>
                <a:gd name="T15" fmla="*/ 96051 h 123"/>
                <a:gd name="T16" fmla="*/ 3191 w 199"/>
                <a:gd name="T17" fmla="*/ 93689 h 123"/>
                <a:gd name="T18" fmla="*/ 0 w 199"/>
                <a:gd name="T19" fmla="*/ 90540 h 123"/>
                <a:gd name="T20" fmla="*/ 0 w 199"/>
                <a:gd name="T21" fmla="*/ 86603 h 123"/>
                <a:gd name="T22" fmla="*/ 144391 w 199"/>
                <a:gd name="T23" fmla="*/ 86603 h 123"/>
                <a:gd name="T24" fmla="*/ 144391 w 199"/>
                <a:gd name="T25" fmla="*/ 0 h 123"/>
                <a:gd name="T26" fmla="*/ 13562 w 199"/>
                <a:gd name="T27" fmla="*/ 0 h 123"/>
                <a:gd name="T28" fmla="*/ 13562 w 199"/>
                <a:gd name="T29" fmla="*/ 74794 h 1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9"/>
                <a:gd name="T46" fmla="*/ 0 h 123"/>
                <a:gd name="T47" fmla="*/ 199 w 199"/>
                <a:gd name="T48" fmla="*/ 123 h 1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9" h="123">
                  <a:moveTo>
                    <a:pt x="199" y="110"/>
                  </a:moveTo>
                  <a:lnTo>
                    <a:pt x="199" y="110"/>
                  </a:lnTo>
                  <a:lnTo>
                    <a:pt x="198" y="115"/>
                  </a:lnTo>
                  <a:lnTo>
                    <a:pt x="197" y="119"/>
                  </a:lnTo>
                  <a:lnTo>
                    <a:pt x="191" y="122"/>
                  </a:lnTo>
                  <a:lnTo>
                    <a:pt x="186" y="123"/>
                  </a:lnTo>
                  <a:lnTo>
                    <a:pt x="12" y="123"/>
                  </a:lnTo>
                  <a:lnTo>
                    <a:pt x="8" y="122"/>
                  </a:lnTo>
                  <a:lnTo>
                    <a:pt x="4" y="119"/>
                  </a:lnTo>
                  <a:lnTo>
                    <a:pt x="0" y="115"/>
                  </a:lnTo>
                  <a:lnTo>
                    <a:pt x="0" y="110"/>
                  </a:lnTo>
                  <a:lnTo>
                    <a:pt x="181" y="110"/>
                  </a:lnTo>
                  <a:lnTo>
                    <a:pt x="181" y="0"/>
                  </a:lnTo>
                  <a:lnTo>
                    <a:pt x="17" y="0"/>
                  </a:lnTo>
                  <a:lnTo>
                    <a:pt x="17" y="95"/>
                  </a:lnTo>
                </a:path>
              </a:pathLst>
            </a:custGeom>
            <a:noFill/>
            <a:ln w="12700">
              <a:solidFill>
                <a:srgbClr val="00573B"/>
              </a:solidFill>
              <a:prstDash val="solid"/>
              <a:round/>
              <a:headEnd/>
              <a:tailEnd/>
            </a:ln>
          </p:spPr>
          <p:txBody>
            <a:bodyPr/>
            <a:lstStyle/>
            <a:p>
              <a:pPr defTabSz="685800" fontAlgn="base">
                <a:spcBef>
                  <a:spcPct val="0"/>
                </a:spcBef>
                <a:spcAft>
                  <a:spcPct val="0"/>
                </a:spcAft>
                <a:defRPr/>
              </a:pPr>
              <a:endParaRPr lang="en-US" sz="1350" kern="0">
                <a:solidFill>
                  <a:srgbClr val="000000"/>
                </a:solidFill>
                <a:latin typeface="Arial"/>
                <a:cs typeface="Arial" charset="0"/>
              </a:endParaRPr>
            </a:p>
          </p:txBody>
        </p:sp>
        <p:grpSp>
          <p:nvGrpSpPr>
            <p:cNvPr id="80" name="Group 79">
              <a:extLst>
                <a:ext uri="{FF2B5EF4-FFF2-40B4-BE49-F238E27FC236}">
                  <a16:creationId xmlns:a16="http://schemas.microsoft.com/office/drawing/2014/main" id="{36AADDC6-E4B7-4C6F-B3BD-926EECB623C2}"/>
                </a:ext>
              </a:extLst>
            </p:cNvPr>
            <p:cNvGrpSpPr/>
            <p:nvPr/>
          </p:nvGrpSpPr>
          <p:grpSpPr>
            <a:xfrm>
              <a:off x="5831539" y="4320288"/>
              <a:ext cx="202550" cy="237059"/>
              <a:chOff x="4893326" y="4548888"/>
              <a:chExt cx="415210" cy="485951"/>
            </a:xfrm>
          </p:grpSpPr>
          <p:sp>
            <p:nvSpPr>
              <p:cNvPr id="81" name="Freeform 1432">
                <a:extLst>
                  <a:ext uri="{FF2B5EF4-FFF2-40B4-BE49-F238E27FC236}">
                    <a16:creationId xmlns:a16="http://schemas.microsoft.com/office/drawing/2014/main" id="{5AF3FF7E-97C3-4E01-B4A9-AFC38A3CD8DC}"/>
                  </a:ext>
                </a:extLst>
              </p:cNvPr>
              <p:cNvSpPr>
                <a:spLocks/>
              </p:cNvSpPr>
              <p:nvPr/>
            </p:nvSpPr>
            <p:spPr bwMode="auto">
              <a:xfrm>
                <a:off x="4893326" y="4548888"/>
                <a:ext cx="278381" cy="231181"/>
              </a:xfrm>
              <a:custGeom>
                <a:avLst/>
                <a:gdLst>
                  <a:gd name="T0" fmla="*/ 44830 w 117"/>
                  <a:gd name="T1" fmla="*/ 61913 h 98"/>
                  <a:gd name="T2" fmla="*/ 0 w 117"/>
                  <a:gd name="T3" fmla="*/ 30956 h 98"/>
                  <a:gd name="T4" fmla="*/ 44830 w 117"/>
                  <a:gd name="T5" fmla="*/ 0 h 98"/>
                  <a:gd name="T6" fmla="*/ 44830 w 117"/>
                  <a:gd name="T7" fmla="*/ 17463 h 98"/>
                  <a:gd name="T8" fmla="*/ 44830 w 117"/>
                  <a:gd name="T9" fmla="*/ 17463 h 98"/>
                  <a:gd name="T10" fmla="*/ 61641 w 117"/>
                  <a:gd name="T11" fmla="*/ 17463 h 98"/>
                  <a:gd name="T12" fmla="*/ 61641 w 117"/>
                  <a:gd name="T13" fmla="*/ 17463 h 98"/>
                  <a:gd name="T14" fmla="*/ 66445 w 117"/>
                  <a:gd name="T15" fmla="*/ 17463 h 98"/>
                  <a:gd name="T16" fmla="*/ 72048 w 117"/>
                  <a:gd name="T17" fmla="*/ 19844 h 98"/>
                  <a:gd name="T18" fmla="*/ 76852 w 117"/>
                  <a:gd name="T19" fmla="*/ 21431 h 98"/>
                  <a:gd name="T20" fmla="*/ 82455 w 117"/>
                  <a:gd name="T21" fmla="*/ 24606 h 98"/>
                  <a:gd name="T22" fmla="*/ 87259 w 117"/>
                  <a:gd name="T23" fmla="*/ 28575 h 98"/>
                  <a:gd name="T24" fmla="*/ 91261 w 117"/>
                  <a:gd name="T25" fmla="*/ 34131 h 98"/>
                  <a:gd name="T26" fmla="*/ 92862 w 117"/>
                  <a:gd name="T27" fmla="*/ 39688 h 98"/>
                  <a:gd name="T28" fmla="*/ 93663 w 117"/>
                  <a:gd name="T29" fmla="*/ 46832 h 98"/>
                  <a:gd name="T30" fmla="*/ 93663 w 117"/>
                  <a:gd name="T31" fmla="*/ 46832 h 98"/>
                  <a:gd name="T32" fmla="*/ 93663 w 117"/>
                  <a:gd name="T33" fmla="*/ 52388 h 98"/>
                  <a:gd name="T34" fmla="*/ 92062 w 117"/>
                  <a:gd name="T35" fmla="*/ 57150 h 98"/>
                  <a:gd name="T36" fmla="*/ 89660 w 117"/>
                  <a:gd name="T37" fmla="*/ 61913 h 98"/>
                  <a:gd name="T38" fmla="*/ 87259 w 117"/>
                  <a:gd name="T39" fmla="*/ 66675 h 98"/>
                  <a:gd name="T40" fmla="*/ 80854 w 117"/>
                  <a:gd name="T41" fmla="*/ 74613 h 98"/>
                  <a:gd name="T42" fmla="*/ 78453 w 117"/>
                  <a:gd name="T43" fmla="*/ 76994 h 98"/>
                  <a:gd name="T44" fmla="*/ 75251 w 117"/>
                  <a:gd name="T45" fmla="*/ 77788 h 98"/>
                  <a:gd name="T46" fmla="*/ 75251 w 117"/>
                  <a:gd name="T47" fmla="*/ 77788 h 98"/>
                  <a:gd name="T48" fmla="*/ 76051 w 117"/>
                  <a:gd name="T49" fmla="*/ 68263 h 98"/>
                  <a:gd name="T50" fmla="*/ 76051 w 117"/>
                  <a:gd name="T51" fmla="*/ 56357 h 98"/>
                  <a:gd name="T52" fmla="*/ 76051 w 117"/>
                  <a:gd name="T53" fmla="*/ 56357 h 98"/>
                  <a:gd name="T54" fmla="*/ 75251 w 117"/>
                  <a:gd name="T55" fmla="*/ 53182 h 98"/>
                  <a:gd name="T56" fmla="*/ 73650 w 117"/>
                  <a:gd name="T57" fmla="*/ 49213 h 98"/>
                  <a:gd name="T58" fmla="*/ 71248 w 117"/>
                  <a:gd name="T59" fmla="*/ 47625 h 98"/>
                  <a:gd name="T60" fmla="*/ 68046 w 117"/>
                  <a:gd name="T61" fmla="*/ 46038 h 98"/>
                  <a:gd name="T62" fmla="*/ 64844 w 117"/>
                  <a:gd name="T63" fmla="*/ 44450 h 98"/>
                  <a:gd name="T64" fmla="*/ 59240 w 117"/>
                  <a:gd name="T65" fmla="*/ 43657 h 98"/>
                  <a:gd name="T66" fmla="*/ 44830 w 117"/>
                  <a:gd name="T67" fmla="*/ 43657 h 9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17"/>
                  <a:gd name="T103" fmla="*/ 0 h 98"/>
                  <a:gd name="T104" fmla="*/ 117 w 117"/>
                  <a:gd name="T105" fmla="*/ 98 h 9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17" h="98">
                    <a:moveTo>
                      <a:pt x="56" y="78"/>
                    </a:moveTo>
                    <a:lnTo>
                      <a:pt x="0" y="39"/>
                    </a:lnTo>
                    <a:lnTo>
                      <a:pt x="56" y="0"/>
                    </a:lnTo>
                    <a:lnTo>
                      <a:pt x="56" y="22"/>
                    </a:lnTo>
                    <a:lnTo>
                      <a:pt x="77" y="22"/>
                    </a:lnTo>
                    <a:lnTo>
                      <a:pt x="83" y="22"/>
                    </a:lnTo>
                    <a:lnTo>
                      <a:pt x="90" y="25"/>
                    </a:lnTo>
                    <a:lnTo>
                      <a:pt x="96" y="27"/>
                    </a:lnTo>
                    <a:lnTo>
                      <a:pt x="103" y="31"/>
                    </a:lnTo>
                    <a:lnTo>
                      <a:pt x="109" y="36"/>
                    </a:lnTo>
                    <a:lnTo>
                      <a:pt x="114" y="43"/>
                    </a:lnTo>
                    <a:lnTo>
                      <a:pt x="116" y="50"/>
                    </a:lnTo>
                    <a:lnTo>
                      <a:pt x="117" y="59"/>
                    </a:lnTo>
                    <a:lnTo>
                      <a:pt x="117" y="66"/>
                    </a:lnTo>
                    <a:lnTo>
                      <a:pt x="115" y="72"/>
                    </a:lnTo>
                    <a:lnTo>
                      <a:pt x="112" y="78"/>
                    </a:lnTo>
                    <a:lnTo>
                      <a:pt x="109" y="84"/>
                    </a:lnTo>
                    <a:lnTo>
                      <a:pt x="101" y="94"/>
                    </a:lnTo>
                    <a:lnTo>
                      <a:pt x="98" y="97"/>
                    </a:lnTo>
                    <a:lnTo>
                      <a:pt x="94" y="98"/>
                    </a:lnTo>
                    <a:lnTo>
                      <a:pt x="95" y="86"/>
                    </a:lnTo>
                    <a:lnTo>
                      <a:pt x="95" y="71"/>
                    </a:lnTo>
                    <a:lnTo>
                      <a:pt x="94" y="67"/>
                    </a:lnTo>
                    <a:lnTo>
                      <a:pt x="92" y="62"/>
                    </a:lnTo>
                    <a:lnTo>
                      <a:pt x="89" y="60"/>
                    </a:lnTo>
                    <a:lnTo>
                      <a:pt x="85" y="58"/>
                    </a:lnTo>
                    <a:lnTo>
                      <a:pt x="81" y="56"/>
                    </a:lnTo>
                    <a:lnTo>
                      <a:pt x="74" y="55"/>
                    </a:lnTo>
                    <a:lnTo>
                      <a:pt x="56" y="55"/>
                    </a:lnTo>
                  </a:path>
                </a:pathLst>
              </a:custGeom>
              <a:noFill/>
              <a:ln w="12700">
                <a:solidFill>
                  <a:srgbClr val="00573B"/>
                </a:solidFill>
                <a:prstDash val="solid"/>
                <a:round/>
                <a:headEnd/>
                <a:tailEnd/>
              </a:ln>
            </p:spPr>
            <p:txBody>
              <a:bodyPr/>
              <a:lstStyle/>
              <a:p>
                <a:pPr defTabSz="685800" fontAlgn="base">
                  <a:spcBef>
                    <a:spcPct val="0"/>
                  </a:spcBef>
                  <a:spcAft>
                    <a:spcPct val="0"/>
                  </a:spcAft>
                  <a:defRPr/>
                </a:pPr>
                <a:endParaRPr lang="en-US" sz="1350" kern="0">
                  <a:solidFill>
                    <a:srgbClr val="000000"/>
                  </a:solidFill>
                  <a:latin typeface="Arial"/>
                  <a:cs typeface="Arial" charset="0"/>
                </a:endParaRPr>
              </a:p>
            </p:txBody>
          </p:sp>
          <p:sp>
            <p:nvSpPr>
              <p:cNvPr id="82" name="Freeform 1433">
                <a:extLst>
                  <a:ext uri="{FF2B5EF4-FFF2-40B4-BE49-F238E27FC236}">
                    <a16:creationId xmlns:a16="http://schemas.microsoft.com/office/drawing/2014/main" id="{DF5546FE-65ED-449D-AFAB-B5B193F2C33B}"/>
                  </a:ext>
                </a:extLst>
              </p:cNvPr>
              <p:cNvSpPr>
                <a:spLocks/>
              </p:cNvSpPr>
              <p:nvPr/>
            </p:nvSpPr>
            <p:spPr bwMode="auto">
              <a:xfrm>
                <a:off x="5034875" y="4803658"/>
                <a:ext cx="273661" cy="231181"/>
              </a:xfrm>
              <a:custGeom>
                <a:avLst/>
                <a:gdLst>
                  <a:gd name="T0" fmla="*/ 48419 w 116"/>
                  <a:gd name="T1" fmla="*/ 15875 h 98"/>
                  <a:gd name="T2" fmla="*/ 92075 w 116"/>
                  <a:gd name="T3" fmla="*/ 46832 h 98"/>
                  <a:gd name="T4" fmla="*/ 48419 w 116"/>
                  <a:gd name="T5" fmla="*/ 77788 h 98"/>
                  <a:gd name="T6" fmla="*/ 48419 w 116"/>
                  <a:gd name="T7" fmla="*/ 60325 h 98"/>
                  <a:gd name="T8" fmla="*/ 48419 w 116"/>
                  <a:gd name="T9" fmla="*/ 60325 h 98"/>
                  <a:gd name="T10" fmla="*/ 30956 w 116"/>
                  <a:gd name="T11" fmla="*/ 60325 h 98"/>
                  <a:gd name="T12" fmla="*/ 30956 w 116"/>
                  <a:gd name="T13" fmla="*/ 60325 h 98"/>
                  <a:gd name="T14" fmla="*/ 26194 w 116"/>
                  <a:gd name="T15" fmla="*/ 59532 h 98"/>
                  <a:gd name="T16" fmla="*/ 21431 w 116"/>
                  <a:gd name="T17" fmla="*/ 58738 h 98"/>
                  <a:gd name="T18" fmla="*/ 16669 w 116"/>
                  <a:gd name="T19" fmla="*/ 57150 h 98"/>
                  <a:gd name="T20" fmla="*/ 10319 w 116"/>
                  <a:gd name="T21" fmla="*/ 53182 h 98"/>
                  <a:gd name="T22" fmla="*/ 6350 w 116"/>
                  <a:gd name="T23" fmla="*/ 49213 h 98"/>
                  <a:gd name="T24" fmla="*/ 2381 w 116"/>
                  <a:gd name="T25" fmla="*/ 44450 h 98"/>
                  <a:gd name="T26" fmla="*/ 0 w 116"/>
                  <a:gd name="T27" fmla="*/ 38100 h 98"/>
                  <a:gd name="T28" fmla="*/ 0 w 116"/>
                  <a:gd name="T29" fmla="*/ 31750 h 98"/>
                  <a:gd name="T30" fmla="*/ 0 w 116"/>
                  <a:gd name="T31" fmla="*/ 31750 h 98"/>
                  <a:gd name="T32" fmla="*/ 0 w 116"/>
                  <a:gd name="T33" fmla="*/ 26194 h 98"/>
                  <a:gd name="T34" fmla="*/ 1588 w 116"/>
                  <a:gd name="T35" fmla="*/ 19844 h 98"/>
                  <a:gd name="T36" fmla="*/ 3969 w 116"/>
                  <a:gd name="T37" fmla="*/ 15081 h 98"/>
                  <a:gd name="T38" fmla="*/ 6350 w 116"/>
                  <a:gd name="T39" fmla="*/ 10319 h 98"/>
                  <a:gd name="T40" fmla="*/ 12700 w 116"/>
                  <a:gd name="T41" fmla="*/ 3175 h 98"/>
                  <a:gd name="T42" fmla="*/ 15081 w 116"/>
                  <a:gd name="T43" fmla="*/ 1588 h 98"/>
                  <a:gd name="T44" fmla="*/ 17463 w 116"/>
                  <a:gd name="T45" fmla="*/ 0 h 98"/>
                  <a:gd name="T46" fmla="*/ 17463 w 116"/>
                  <a:gd name="T47" fmla="*/ 0 h 98"/>
                  <a:gd name="T48" fmla="*/ 17463 w 116"/>
                  <a:gd name="T49" fmla="*/ 9525 h 98"/>
                  <a:gd name="T50" fmla="*/ 17463 w 116"/>
                  <a:gd name="T51" fmla="*/ 20638 h 98"/>
                  <a:gd name="T52" fmla="*/ 17463 w 116"/>
                  <a:gd name="T53" fmla="*/ 20638 h 98"/>
                  <a:gd name="T54" fmla="*/ 18256 w 116"/>
                  <a:gd name="T55" fmla="*/ 23813 h 98"/>
                  <a:gd name="T56" fmla="*/ 19844 w 116"/>
                  <a:gd name="T57" fmla="*/ 27781 h 98"/>
                  <a:gd name="T58" fmla="*/ 22225 w 116"/>
                  <a:gd name="T59" fmla="*/ 29369 h 98"/>
                  <a:gd name="T60" fmla="*/ 25400 w 116"/>
                  <a:gd name="T61" fmla="*/ 31750 h 98"/>
                  <a:gd name="T62" fmla="*/ 28575 w 116"/>
                  <a:gd name="T63" fmla="*/ 33338 h 98"/>
                  <a:gd name="T64" fmla="*/ 34131 w 116"/>
                  <a:gd name="T65" fmla="*/ 33338 h 98"/>
                  <a:gd name="T66" fmla="*/ 48419 w 116"/>
                  <a:gd name="T67" fmla="*/ 33338 h 9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16"/>
                  <a:gd name="T103" fmla="*/ 0 h 98"/>
                  <a:gd name="T104" fmla="*/ 116 w 116"/>
                  <a:gd name="T105" fmla="*/ 98 h 9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16" h="98">
                    <a:moveTo>
                      <a:pt x="61" y="20"/>
                    </a:moveTo>
                    <a:lnTo>
                      <a:pt x="116" y="59"/>
                    </a:lnTo>
                    <a:lnTo>
                      <a:pt x="61" y="98"/>
                    </a:lnTo>
                    <a:lnTo>
                      <a:pt x="61" y="76"/>
                    </a:lnTo>
                    <a:lnTo>
                      <a:pt x="39" y="76"/>
                    </a:lnTo>
                    <a:lnTo>
                      <a:pt x="33" y="75"/>
                    </a:lnTo>
                    <a:lnTo>
                      <a:pt x="27" y="74"/>
                    </a:lnTo>
                    <a:lnTo>
                      <a:pt x="21" y="72"/>
                    </a:lnTo>
                    <a:lnTo>
                      <a:pt x="13" y="67"/>
                    </a:lnTo>
                    <a:lnTo>
                      <a:pt x="8" y="62"/>
                    </a:lnTo>
                    <a:lnTo>
                      <a:pt x="3" y="56"/>
                    </a:lnTo>
                    <a:lnTo>
                      <a:pt x="0" y="48"/>
                    </a:lnTo>
                    <a:lnTo>
                      <a:pt x="0" y="40"/>
                    </a:lnTo>
                    <a:lnTo>
                      <a:pt x="0" y="33"/>
                    </a:lnTo>
                    <a:lnTo>
                      <a:pt x="2" y="25"/>
                    </a:lnTo>
                    <a:lnTo>
                      <a:pt x="5" y="19"/>
                    </a:lnTo>
                    <a:lnTo>
                      <a:pt x="8" y="13"/>
                    </a:lnTo>
                    <a:lnTo>
                      <a:pt x="16" y="4"/>
                    </a:lnTo>
                    <a:lnTo>
                      <a:pt x="19" y="2"/>
                    </a:lnTo>
                    <a:lnTo>
                      <a:pt x="22" y="0"/>
                    </a:lnTo>
                    <a:lnTo>
                      <a:pt x="22" y="12"/>
                    </a:lnTo>
                    <a:lnTo>
                      <a:pt x="22" y="26"/>
                    </a:lnTo>
                    <a:lnTo>
                      <a:pt x="23" y="30"/>
                    </a:lnTo>
                    <a:lnTo>
                      <a:pt x="25" y="35"/>
                    </a:lnTo>
                    <a:lnTo>
                      <a:pt x="28" y="37"/>
                    </a:lnTo>
                    <a:lnTo>
                      <a:pt x="32" y="40"/>
                    </a:lnTo>
                    <a:lnTo>
                      <a:pt x="36" y="42"/>
                    </a:lnTo>
                    <a:lnTo>
                      <a:pt x="43" y="42"/>
                    </a:lnTo>
                    <a:lnTo>
                      <a:pt x="61" y="42"/>
                    </a:lnTo>
                  </a:path>
                </a:pathLst>
              </a:custGeom>
              <a:noFill/>
              <a:ln w="12700">
                <a:solidFill>
                  <a:srgbClr val="00573B"/>
                </a:solidFill>
                <a:prstDash val="solid"/>
                <a:round/>
                <a:headEnd/>
                <a:tailEnd/>
              </a:ln>
            </p:spPr>
            <p:txBody>
              <a:bodyPr/>
              <a:lstStyle/>
              <a:p>
                <a:pPr defTabSz="685800" fontAlgn="base">
                  <a:spcBef>
                    <a:spcPct val="0"/>
                  </a:spcBef>
                  <a:spcAft>
                    <a:spcPct val="0"/>
                  </a:spcAft>
                  <a:defRPr/>
                </a:pPr>
                <a:endParaRPr lang="en-US" sz="1350" kern="0">
                  <a:solidFill>
                    <a:srgbClr val="000000"/>
                  </a:solidFill>
                  <a:latin typeface="Arial"/>
                  <a:cs typeface="Arial" charset="0"/>
                </a:endParaRPr>
              </a:p>
            </p:txBody>
          </p:sp>
        </p:grpSp>
      </p:grpSp>
      <p:sp>
        <p:nvSpPr>
          <p:cNvPr id="83" name="Flowchart: Alternate Process 82">
            <a:extLst>
              <a:ext uri="{FF2B5EF4-FFF2-40B4-BE49-F238E27FC236}">
                <a16:creationId xmlns:a16="http://schemas.microsoft.com/office/drawing/2014/main" id="{DE18C172-8DE2-453A-B8E5-470CF83C4B28}"/>
              </a:ext>
            </a:extLst>
          </p:cNvPr>
          <p:cNvSpPr/>
          <p:nvPr/>
        </p:nvSpPr>
        <p:spPr>
          <a:xfrm>
            <a:off x="6512908" y="1335869"/>
            <a:ext cx="1861305" cy="817431"/>
          </a:xfrm>
          <a:prstGeom prst="flowChartAlternateProcess">
            <a:avLst/>
          </a:prstGeom>
          <a:solidFill>
            <a:sysClr val="window" lastClr="FFFFFF"/>
          </a:solidFill>
          <a:ln w="25400" cap="flat" cmpd="sng" algn="ctr">
            <a:noFill/>
            <a:prstDash val="solid"/>
          </a:ln>
          <a:effectLst>
            <a:outerShdw blurRad="50800" dist="38100" dir="2700000" algn="tl" rotWithShape="0">
              <a:prstClr val="black">
                <a:alpha val="40000"/>
              </a:prstClr>
            </a:outerShdw>
          </a:effectLst>
        </p:spPr>
        <p:txBody>
          <a:bodyPr rot="0" spcFirstLastPara="0" vertOverflow="overflow" horzOverflow="overflow" vert="horz" wrap="square" lIns="51435" tIns="25718" rIns="51435" bIns="25718" numCol="1" spcCol="0" rtlCol="0" fromWordArt="0" anchor="b" anchorCtr="0" forceAA="0" compatLnSpc="1">
            <a:prstTxWarp prst="textNoShape">
              <a:avLst/>
            </a:prstTxWarp>
            <a:noAutofit/>
          </a:bodyPr>
          <a:lstStyle/>
          <a:p>
            <a:pPr algn="ctr" defTabSz="685800" fontAlgn="base">
              <a:spcBef>
                <a:spcPct val="0"/>
              </a:spcBef>
              <a:spcAft>
                <a:spcPct val="0"/>
              </a:spcAft>
              <a:defRPr/>
            </a:pPr>
            <a:endParaRPr lang="en-US" sz="788" b="1" kern="0">
              <a:solidFill>
                <a:srgbClr val="000000"/>
              </a:solidFill>
              <a:latin typeface="Arial"/>
            </a:endParaRPr>
          </a:p>
        </p:txBody>
      </p:sp>
      <p:grpSp>
        <p:nvGrpSpPr>
          <p:cNvPr id="84" name="Group 626">
            <a:extLst>
              <a:ext uri="{FF2B5EF4-FFF2-40B4-BE49-F238E27FC236}">
                <a16:creationId xmlns:a16="http://schemas.microsoft.com/office/drawing/2014/main" id="{7D2782A3-EF2B-41F8-92CE-F666F1873D4D}"/>
              </a:ext>
            </a:extLst>
          </p:cNvPr>
          <p:cNvGrpSpPr/>
          <p:nvPr/>
        </p:nvGrpSpPr>
        <p:grpSpPr>
          <a:xfrm>
            <a:off x="6568164" y="1860720"/>
            <a:ext cx="284115" cy="250580"/>
            <a:chOff x="4095673" y="3381206"/>
            <a:chExt cx="300645" cy="262612"/>
          </a:xfrm>
        </p:grpSpPr>
        <p:sp>
          <p:nvSpPr>
            <p:cNvPr id="85" name="Freeform 804">
              <a:extLst>
                <a:ext uri="{FF2B5EF4-FFF2-40B4-BE49-F238E27FC236}">
                  <a16:creationId xmlns:a16="http://schemas.microsoft.com/office/drawing/2014/main" id="{9DE075D4-3C6A-45DF-97CA-1D37FED29A92}"/>
                </a:ext>
              </a:extLst>
            </p:cNvPr>
            <p:cNvSpPr>
              <a:spLocks/>
            </p:cNvSpPr>
            <p:nvPr/>
          </p:nvSpPr>
          <p:spPr bwMode="auto">
            <a:xfrm>
              <a:off x="4095673" y="3491780"/>
              <a:ext cx="183152" cy="152038"/>
            </a:xfrm>
            <a:custGeom>
              <a:avLst/>
              <a:gdLst>
                <a:gd name="T0" fmla="*/ 0 w 107"/>
                <a:gd name="T1" fmla="*/ 69850 h 89"/>
                <a:gd name="T2" fmla="*/ 0 w 107"/>
                <a:gd name="T3" fmla="*/ 69850 h 89"/>
                <a:gd name="T4" fmla="*/ 0 w 107"/>
                <a:gd name="T5" fmla="*/ 69850 h 89"/>
                <a:gd name="T6" fmla="*/ 786 w 107"/>
                <a:gd name="T7" fmla="*/ 52584 h 89"/>
                <a:gd name="T8" fmla="*/ 1573 w 107"/>
                <a:gd name="T9" fmla="*/ 43951 h 89"/>
                <a:gd name="T10" fmla="*/ 3932 w 107"/>
                <a:gd name="T11" fmla="*/ 35317 h 89"/>
                <a:gd name="T12" fmla="*/ 7077 w 107"/>
                <a:gd name="T13" fmla="*/ 28254 h 89"/>
                <a:gd name="T14" fmla="*/ 11009 w 107"/>
                <a:gd name="T15" fmla="*/ 21190 h 89"/>
                <a:gd name="T16" fmla="*/ 15727 w 107"/>
                <a:gd name="T17" fmla="*/ 14912 h 89"/>
                <a:gd name="T18" fmla="*/ 22804 w 107"/>
                <a:gd name="T19" fmla="*/ 7848 h 89"/>
                <a:gd name="T20" fmla="*/ 22804 w 107"/>
                <a:gd name="T21" fmla="*/ 7848 h 89"/>
                <a:gd name="T22" fmla="*/ 29094 w 107"/>
                <a:gd name="T23" fmla="*/ 3924 h 89"/>
                <a:gd name="T24" fmla="*/ 36958 w 107"/>
                <a:gd name="T25" fmla="*/ 1570 h 89"/>
                <a:gd name="T26" fmla="*/ 45608 w 107"/>
                <a:gd name="T27" fmla="*/ 0 h 89"/>
                <a:gd name="T28" fmla="*/ 54257 w 107"/>
                <a:gd name="T29" fmla="*/ 1570 h 89"/>
                <a:gd name="T30" fmla="*/ 62121 w 107"/>
                <a:gd name="T31" fmla="*/ 2354 h 89"/>
                <a:gd name="T32" fmla="*/ 70770 w 107"/>
                <a:gd name="T33" fmla="*/ 4709 h 89"/>
                <a:gd name="T34" fmla="*/ 77061 w 107"/>
                <a:gd name="T35" fmla="*/ 8633 h 89"/>
                <a:gd name="T36" fmla="*/ 84138 w 107"/>
                <a:gd name="T37" fmla="*/ 14912 h 8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7"/>
                <a:gd name="T58" fmla="*/ 0 h 89"/>
                <a:gd name="T59" fmla="*/ 107 w 107"/>
                <a:gd name="T60" fmla="*/ 89 h 8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7" h="89">
                  <a:moveTo>
                    <a:pt x="0" y="89"/>
                  </a:moveTo>
                  <a:lnTo>
                    <a:pt x="0" y="89"/>
                  </a:lnTo>
                  <a:lnTo>
                    <a:pt x="1" y="67"/>
                  </a:lnTo>
                  <a:lnTo>
                    <a:pt x="2" y="56"/>
                  </a:lnTo>
                  <a:lnTo>
                    <a:pt x="5" y="45"/>
                  </a:lnTo>
                  <a:lnTo>
                    <a:pt x="9" y="36"/>
                  </a:lnTo>
                  <a:lnTo>
                    <a:pt x="14" y="27"/>
                  </a:lnTo>
                  <a:lnTo>
                    <a:pt x="20" y="19"/>
                  </a:lnTo>
                  <a:lnTo>
                    <a:pt x="29" y="10"/>
                  </a:lnTo>
                  <a:lnTo>
                    <a:pt x="37" y="5"/>
                  </a:lnTo>
                  <a:lnTo>
                    <a:pt x="47" y="2"/>
                  </a:lnTo>
                  <a:lnTo>
                    <a:pt x="58" y="0"/>
                  </a:lnTo>
                  <a:lnTo>
                    <a:pt x="69" y="2"/>
                  </a:lnTo>
                  <a:lnTo>
                    <a:pt x="79" y="3"/>
                  </a:lnTo>
                  <a:lnTo>
                    <a:pt x="90" y="6"/>
                  </a:lnTo>
                  <a:lnTo>
                    <a:pt x="98" y="11"/>
                  </a:lnTo>
                  <a:lnTo>
                    <a:pt x="107" y="19"/>
                  </a:lnTo>
                </a:path>
              </a:pathLst>
            </a:custGeom>
            <a:noFill/>
            <a:ln w="12700">
              <a:solidFill>
                <a:srgbClr val="00573B"/>
              </a:solidFill>
              <a:prstDash val="solid"/>
              <a:round/>
              <a:headEnd/>
              <a:tailEnd/>
            </a:ln>
          </p:spPr>
          <p:txBody>
            <a:bodyPr/>
            <a:lstStyle/>
            <a:p>
              <a:pPr defTabSz="685800" fontAlgn="base">
                <a:spcBef>
                  <a:spcPct val="0"/>
                </a:spcBef>
                <a:spcAft>
                  <a:spcPct val="0"/>
                </a:spcAft>
                <a:defRPr/>
              </a:pPr>
              <a:endParaRPr lang="en-US" sz="1350" kern="0">
                <a:solidFill>
                  <a:srgbClr val="000000"/>
                </a:solidFill>
                <a:latin typeface="Arial"/>
                <a:cs typeface="Arial" charset="0"/>
              </a:endParaRPr>
            </a:p>
          </p:txBody>
        </p:sp>
        <p:sp>
          <p:nvSpPr>
            <p:cNvPr id="86" name="Freeform 1499">
              <a:extLst>
                <a:ext uri="{FF2B5EF4-FFF2-40B4-BE49-F238E27FC236}">
                  <a16:creationId xmlns:a16="http://schemas.microsoft.com/office/drawing/2014/main" id="{939CEF2D-7B6B-406F-9D6D-3F925CE5597C}"/>
                </a:ext>
              </a:extLst>
            </p:cNvPr>
            <p:cNvSpPr>
              <a:spLocks/>
            </p:cNvSpPr>
            <p:nvPr/>
          </p:nvSpPr>
          <p:spPr bwMode="auto">
            <a:xfrm>
              <a:off x="4192432" y="3481412"/>
              <a:ext cx="203886" cy="162406"/>
            </a:xfrm>
            <a:custGeom>
              <a:avLst/>
              <a:gdLst>
                <a:gd name="T0" fmla="*/ 7938 w 118"/>
                <a:gd name="T1" fmla="*/ 72206 h 93"/>
                <a:gd name="T2" fmla="*/ 7938 w 118"/>
                <a:gd name="T3" fmla="*/ 72206 h 93"/>
                <a:gd name="T4" fmla="*/ 7938 w 118"/>
                <a:gd name="T5" fmla="*/ 72206 h 93"/>
                <a:gd name="T6" fmla="*/ 11113 w 118"/>
                <a:gd name="T7" fmla="*/ 73811 h 93"/>
                <a:gd name="T8" fmla="*/ 14288 w 118"/>
                <a:gd name="T9" fmla="*/ 74613 h 93"/>
                <a:gd name="T10" fmla="*/ 17463 w 118"/>
                <a:gd name="T11" fmla="*/ 74613 h 93"/>
                <a:gd name="T12" fmla="*/ 17463 w 118"/>
                <a:gd name="T13" fmla="*/ 74613 h 93"/>
                <a:gd name="T14" fmla="*/ 23813 w 118"/>
                <a:gd name="T15" fmla="*/ 74613 h 93"/>
                <a:gd name="T16" fmla="*/ 28575 w 118"/>
                <a:gd name="T17" fmla="*/ 73008 h 93"/>
                <a:gd name="T18" fmla="*/ 28575 w 118"/>
                <a:gd name="T19" fmla="*/ 73008 h 93"/>
                <a:gd name="T20" fmla="*/ 30956 w 118"/>
                <a:gd name="T21" fmla="*/ 72206 h 93"/>
                <a:gd name="T22" fmla="*/ 32544 w 118"/>
                <a:gd name="T23" fmla="*/ 69799 h 93"/>
                <a:gd name="T24" fmla="*/ 35719 w 118"/>
                <a:gd name="T25" fmla="*/ 64986 h 93"/>
                <a:gd name="T26" fmla="*/ 37306 w 118"/>
                <a:gd name="T27" fmla="*/ 60172 h 93"/>
                <a:gd name="T28" fmla="*/ 38894 w 118"/>
                <a:gd name="T29" fmla="*/ 55358 h 93"/>
                <a:gd name="T30" fmla="*/ 62707 w 118"/>
                <a:gd name="T31" fmla="*/ 36905 h 93"/>
                <a:gd name="T32" fmla="*/ 62707 w 118"/>
                <a:gd name="T33" fmla="*/ 36905 h 93"/>
                <a:gd name="T34" fmla="*/ 66675 w 118"/>
                <a:gd name="T35" fmla="*/ 37708 h 93"/>
                <a:gd name="T36" fmla="*/ 71438 w 118"/>
                <a:gd name="T37" fmla="*/ 38510 h 93"/>
                <a:gd name="T38" fmla="*/ 78582 w 118"/>
                <a:gd name="T39" fmla="*/ 39312 h 93"/>
                <a:gd name="T40" fmla="*/ 78582 w 118"/>
                <a:gd name="T41" fmla="*/ 39312 h 93"/>
                <a:gd name="T42" fmla="*/ 84138 w 118"/>
                <a:gd name="T43" fmla="*/ 36905 h 93"/>
                <a:gd name="T44" fmla="*/ 87313 w 118"/>
                <a:gd name="T45" fmla="*/ 33696 h 93"/>
                <a:gd name="T46" fmla="*/ 88900 w 118"/>
                <a:gd name="T47" fmla="*/ 32092 h 93"/>
                <a:gd name="T48" fmla="*/ 88900 w 118"/>
                <a:gd name="T49" fmla="*/ 32092 h 93"/>
                <a:gd name="T50" fmla="*/ 90488 w 118"/>
                <a:gd name="T51" fmla="*/ 28882 h 93"/>
                <a:gd name="T52" fmla="*/ 92075 w 118"/>
                <a:gd name="T53" fmla="*/ 24871 h 93"/>
                <a:gd name="T54" fmla="*/ 93663 w 118"/>
                <a:gd name="T55" fmla="*/ 17650 h 93"/>
                <a:gd name="T56" fmla="*/ 78582 w 118"/>
                <a:gd name="T57" fmla="*/ 26476 h 93"/>
                <a:gd name="T58" fmla="*/ 68263 w 118"/>
                <a:gd name="T59" fmla="*/ 12837 h 93"/>
                <a:gd name="T60" fmla="*/ 84932 w 118"/>
                <a:gd name="T61" fmla="*/ 3209 h 93"/>
                <a:gd name="T62" fmla="*/ 84932 w 118"/>
                <a:gd name="T63" fmla="*/ 3209 h 93"/>
                <a:gd name="T64" fmla="*/ 83344 w 118"/>
                <a:gd name="T65" fmla="*/ 2407 h 93"/>
                <a:gd name="T66" fmla="*/ 80169 w 118"/>
                <a:gd name="T67" fmla="*/ 1605 h 93"/>
                <a:gd name="T68" fmla="*/ 80169 w 118"/>
                <a:gd name="T69" fmla="*/ 1605 h 93"/>
                <a:gd name="T70" fmla="*/ 76994 w 118"/>
                <a:gd name="T71" fmla="*/ 0 h 93"/>
                <a:gd name="T72" fmla="*/ 72232 w 118"/>
                <a:gd name="T73" fmla="*/ 1605 h 93"/>
                <a:gd name="T74" fmla="*/ 67469 w 118"/>
                <a:gd name="T75" fmla="*/ 1605 h 93"/>
                <a:gd name="T76" fmla="*/ 62707 w 118"/>
                <a:gd name="T77" fmla="*/ 4011 h 93"/>
                <a:gd name="T78" fmla="*/ 62707 w 118"/>
                <a:gd name="T79" fmla="*/ 4011 h 93"/>
                <a:gd name="T80" fmla="*/ 58738 w 118"/>
                <a:gd name="T81" fmla="*/ 7221 h 93"/>
                <a:gd name="T82" fmla="*/ 56357 w 118"/>
                <a:gd name="T83" fmla="*/ 11232 h 93"/>
                <a:gd name="T84" fmla="*/ 54769 w 118"/>
                <a:gd name="T85" fmla="*/ 15244 h 93"/>
                <a:gd name="T86" fmla="*/ 53975 w 118"/>
                <a:gd name="T87" fmla="*/ 20860 h 93"/>
                <a:gd name="T88" fmla="*/ 30163 w 118"/>
                <a:gd name="T89" fmla="*/ 39312 h 93"/>
                <a:gd name="T90" fmla="*/ 30163 w 118"/>
                <a:gd name="T91" fmla="*/ 39312 h 93"/>
                <a:gd name="T92" fmla="*/ 24606 w 118"/>
                <a:gd name="T93" fmla="*/ 36905 h 93"/>
                <a:gd name="T94" fmla="*/ 19050 w 118"/>
                <a:gd name="T95" fmla="*/ 35301 h 93"/>
                <a:gd name="T96" fmla="*/ 14288 w 118"/>
                <a:gd name="T97" fmla="*/ 36905 h 93"/>
                <a:gd name="T98" fmla="*/ 9525 w 118"/>
                <a:gd name="T99" fmla="*/ 38510 h 93"/>
                <a:gd name="T100" fmla="*/ 9525 w 118"/>
                <a:gd name="T101" fmla="*/ 38510 h 93"/>
                <a:gd name="T102" fmla="*/ 4763 w 118"/>
                <a:gd name="T103" fmla="*/ 41719 h 93"/>
                <a:gd name="T104" fmla="*/ 1588 w 118"/>
                <a:gd name="T105" fmla="*/ 46533 h 93"/>
                <a:gd name="T106" fmla="*/ 0 w 118"/>
                <a:gd name="T107" fmla="*/ 51347 h 93"/>
                <a:gd name="T108" fmla="*/ 0 w 118"/>
                <a:gd name="T109" fmla="*/ 56963 h 93"/>
                <a:gd name="T110" fmla="*/ 15875 w 118"/>
                <a:gd name="T111" fmla="*/ 48137 h 93"/>
                <a:gd name="T112" fmla="*/ 24606 w 118"/>
                <a:gd name="T113" fmla="*/ 60974 h 9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18"/>
                <a:gd name="T172" fmla="*/ 0 h 93"/>
                <a:gd name="T173" fmla="*/ 118 w 118"/>
                <a:gd name="T174" fmla="*/ 93 h 9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18" h="93">
                  <a:moveTo>
                    <a:pt x="10" y="90"/>
                  </a:moveTo>
                  <a:lnTo>
                    <a:pt x="10" y="90"/>
                  </a:lnTo>
                  <a:lnTo>
                    <a:pt x="14" y="92"/>
                  </a:lnTo>
                  <a:lnTo>
                    <a:pt x="18" y="93"/>
                  </a:lnTo>
                  <a:lnTo>
                    <a:pt x="22" y="93"/>
                  </a:lnTo>
                  <a:lnTo>
                    <a:pt x="30" y="93"/>
                  </a:lnTo>
                  <a:lnTo>
                    <a:pt x="36" y="91"/>
                  </a:lnTo>
                  <a:lnTo>
                    <a:pt x="39" y="90"/>
                  </a:lnTo>
                  <a:lnTo>
                    <a:pt x="41" y="87"/>
                  </a:lnTo>
                  <a:lnTo>
                    <a:pt x="45" y="81"/>
                  </a:lnTo>
                  <a:lnTo>
                    <a:pt x="47" y="75"/>
                  </a:lnTo>
                  <a:lnTo>
                    <a:pt x="49" y="69"/>
                  </a:lnTo>
                  <a:lnTo>
                    <a:pt x="79" y="46"/>
                  </a:lnTo>
                  <a:lnTo>
                    <a:pt x="84" y="47"/>
                  </a:lnTo>
                  <a:lnTo>
                    <a:pt x="90" y="48"/>
                  </a:lnTo>
                  <a:lnTo>
                    <a:pt x="99" y="49"/>
                  </a:lnTo>
                  <a:lnTo>
                    <a:pt x="106" y="46"/>
                  </a:lnTo>
                  <a:lnTo>
                    <a:pt x="110" y="42"/>
                  </a:lnTo>
                  <a:lnTo>
                    <a:pt x="112" y="40"/>
                  </a:lnTo>
                  <a:lnTo>
                    <a:pt x="114" y="36"/>
                  </a:lnTo>
                  <a:lnTo>
                    <a:pt x="116" y="31"/>
                  </a:lnTo>
                  <a:lnTo>
                    <a:pt x="118" y="22"/>
                  </a:lnTo>
                  <a:lnTo>
                    <a:pt x="99" y="33"/>
                  </a:lnTo>
                  <a:lnTo>
                    <a:pt x="86" y="16"/>
                  </a:lnTo>
                  <a:lnTo>
                    <a:pt x="107" y="4"/>
                  </a:lnTo>
                  <a:lnTo>
                    <a:pt x="105" y="3"/>
                  </a:lnTo>
                  <a:lnTo>
                    <a:pt x="101" y="2"/>
                  </a:lnTo>
                  <a:lnTo>
                    <a:pt x="97" y="0"/>
                  </a:lnTo>
                  <a:lnTo>
                    <a:pt x="91" y="2"/>
                  </a:lnTo>
                  <a:lnTo>
                    <a:pt x="85" y="2"/>
                  </a:lnTo>
                  <a:lnTo>
                    <a:pt x="79" y="5"/>
                  </a:lnTo>
                  <a:lnTo>
                    <a:pt x="74" y="9"/>
                  </a:lnTo>
                  <a:lnTo>
                    <a:pt x="71" y="14"/>
                  </a:lnTo>
                  <a:lnTo>
                    <a:pt x="69" y="19"/>
                  </a:lnTo>
                  <a:lnTo>
                    <a:pt x="68" y="26"/>
                  </a:lnTo>
                  <a:lnTo>
                    <a:pt x="38" y="49"/>
                  </a:lnTo>
                  <a:lnTo>
                    <a:pt x="31" y="46"/>
                  </a:lnTo>
                  <a:lnTo>
                    <a:pt x="24" y="44"/>
                  </a:lnTo>
                  <a:lnTo>
                    <a:pt x="18" y="46"/>
                  </a:lnTo>
                  <a:lnTo>
                    <a:pt x="12" y="48"/>
                  </a:lnTo>
                  <a:lnTo>
                    <a:pt x="6" y="52"/>
                  </a:lnTo>
                  <a:lnTo>
                    <a:pt x="2" y="58"/>
                  </a:lnTo>
                  <a:lnTo>
                    <a:pt x="0" y="64"/>
                  </a:lnTo>
                  <a:lnTo>
                    <a:pt x="0" y="71"/>
                  </a:lnTo>
                  <a:lnTo>
                    <a:pt x="20" y="60"/>
                  </a:lnTo>
                  <a:lnTo>
                    <a:pt x="31" y="76"/>
                  </a:lnTo>
                </a:path>
              </a:pathLst>
            </a:custGeom>
            <a:noFill/>
            <a:ln w="12700">
              <a:solidFill>
                <a:srgbClr val="00573B"/>
              </a:solidFill>
              <a:prstDash val="solid"/>
              <a:round/>
              <a:headEnd/>
              <a:tailEnd/>
            </a:ln>
          </p:spPr>
          <p:txBody>
            <a:bodyPr/>
            <a:lstStyle/>
            <a:p>
              <a:pPr defTabSz="685800" fontAlgn="base">
                <a:spcBef>
                  <a:spcPct val="0"/>
                </a:spcBef>
                <a:spcAft>
                  <a:spcPct val="0"/>
                </a:spcAft>
                <a:defRPr/>
              </a:pPr>
              <a:endParaRPr lang="en-US" sz="1350" kern="0">
                <a:solidFill>
                  <a:srgbClr val="000000"/>
                </a:solidFill>
                <a:latin typeface="Arial"/>
                <a:cs typeface="Arial" charset="0"/>
              </a:endParaRPr>
            </a:p>
          </p:txBody>
        </p:sp>
        <p:sp>
          <p:nvSpPr>
            <p:cNvPr id="87" name="Freeform 1504">
              <a:extLst>
                <a:ext uri="{FF2B5EF4-FFF2-40B4-BE49-F238E27FC236}">
                  <a16:creationId xmlns:a16="http://schemas.microsoft.com/office/drawing/2014/main" id="{8712EB8D-08F2-4650-AE84-99B874F51ED3}"/>
                </a:ext>
              </a:extLst>
            </p:cNvPr>
            <p:cNvSpPr>
              <a:spLocks/>
            </p:cNvSpPr>
            <p:nvPr/>
          </p:nvSpPr>
          <p:spPr bwMode="auto">
            <a:xfrm>
              <a:off x="4157875" y="3381206"/>
              <a:ext cx="93304" cy="103663"/>
            </a:xfrm>
            <a:custGeom>
              <a:avLst/>
              <a:gdLst>
                <a:gd name="T0" fmla="*/ 42863 w 54"/>
                <a:gd name="T1" fmla="*/ 23422 h 61"/>
                <a:gd name="T2" fmla="*/ 42863 w 54"/>
                <a:gd name="T3" fmla="*/ 23422 h 61"/>
                <a:gd name="T4" fmla="*/ 42863 w 54"/>
                <a:gd name="T5" fmla="*/ 28887 h 61"/>
                <a:gd name="T6" fmla="*/ 40482 w 54"/>
                <a:gd name="T7" fmla="*/ 32010 h 61"/>
                <a:gd name="T8" fmla="*/ 38894 w 54"/>
                <a:gd name="T9" fmla="*/ 37475 h 61"/>
                <a:gd name="T10" fmla="*/ 37307 w 54"/>
                <a:gd name="T11" fmla="*/ 39818 h 61"/>
                <a:gd name="T12" fmla="*/ 33338 w 54"/>
                <a:gd name="T13" fmla="*/ 42941 h 61"/>
                <a:gd name="T14" fmla="*/ 30163 w 54"/>
                <a:gd name="T15" fmla="*/ 45283 h 61"/>
                <a:gd name="T16" fmla="*/ 26194 w 54"/>
                <a:gd name="T17" fmla="*/ 46844 h 61"/>
                <a:gd name="T18" fmla="*/ 21432 w 54"/>
                <a:gd name="T19" fmla="*/ 47625 h 61"/>
                <a:gd name="T20" fmla="*/ 21432 w 54"/>
                <a:gd name="T21" fmla="*/ 47625 h 61"/>
                <a:gd name="T22" fmla="*/ 17463 w 54"/>
                <a:gd name="T23" fmla="*/ 46844 h 61"/>
                <a:gd name="T24" fmla="*/ 13494 w 54"/>
                <a:gd name="T25" fmla="*/ 45283 h 61"/>
                <a:gd name="T26" fmla="*/ 9525 w 54"/>
                <a:gd name="T27" fmla="*/ 42941 h 61"/>
                <a:gd name="T28" fmla="*/ 7144 w 54"/>
                <a:gd name="T29" fmla="*/ 39818 h 61"/>
                <a:gd name="T30" fmla="*/ 3969 w 54"/>
                <a:gd name="T31" fmla="*/ 37475 h 61"/>
                <a:gd name="T32" fmla="*/ 2381 w 54"/>
                <a:gd name="T33" fmla="*/ 32010 h 61"/>
                <a:gd name="T34" fmla="*/ 794 w 54"/>
                <a:gd name="T35" fmla="*/ 28887 h 61"/>
                <a:gd name="T36" fmla="*/ 0 w 54"/>
                <a:gd name="T37" fmla="*/ 23422 h 61"/>
                <a:gd name="T38" fmla="*/ 0 w 54"/>
                <a:gd name="T39" fmla="*/ 23422 h 61"/>
                <a:gd name="T40" fmla="*/ 794 w 54"/>
                <a:gd name="T41" fmla="*/ 18738 h 61"/>
                <a:gd name="T42" fmla="*/ 2381 w 54"/>
                <a:gd name="T43" fmla="*/ 14053 h 61"/>
                <a:gd name="T44" fmla="*/ 3969 w 54"/>
                <a:gd name="T45" fmla="*/ 10150 h 61"/>
                <a:gd name="T46" fmla="*/ 7144 w 54"/>
                <a:gd name="T47" fmla="*/ 6246 h 61"/>
                <a:gd name="T48" fmla="*/ 9525 w 54"/>
                <a:gd name="T49" fmla="*/ 3904 h 61"/>
                <a:gd name="T50" fmla="*/ 13494 w 54"/>
                <a:gd name="T51" fmla="*/ 1561 h 61"/>
                <a:gd name="T52" fmla="*/ 17463 w 54"/>
                <a:gd name="T53" fmla="*/ 0 h 61"/>
                <a:gd name="T54" fmla="*/ 21432 w 54"/>
                <a:gd name="T55" fmla="*/ 0 h 61"/>
                <a:gd name="T56" fmla="*/ 21432 w 54"/>
                <a:gd name="T57" fmla="*/ 0 h 61"/>
                <a:gd name="T58" fmla="*/ 26194 w 54"/>
                <a:gd name="T59" fmla="*/ 0 h 61"/>
                <a:gd name="T60" fmla="*/ 30163 w 54"/>
                <a:gd name="T61" fmla="*/ 1561 h 61"/>
                <a:gd name="T62" fmla="*/ 33338 w 54"/>
                <a:gd name="T63" fmla="*/ 3904 h 61"/>
                <a:gd name="T64" fmla="*/ 37307 w 54"/>
                <a:gd name="T65" fmla="*/ 6246 h 61"/>
                <a:gd name="T66" fmla="*/ 38894 w 54"/>
                <a:gd name="T67" fmla="*/ 10150 h 61"/>
                <a:gd name="T68" fmla="*/ 40482 w 54"/>
                <a:gd name="T69" fmla="*/ 14053 h 61"/>
                <a:gd name="T70" fmla="*/ 42863 w 54"/>
                <a:gd name="T71" fmla="*/ 18738 h 61"/>
                <a:gd name="T72" fmla="*/ 42863 w 54"/>
                <a:gd name="T73" fmla="*/ 23422 h 61"/>
                <a:gd name="T74" fmla="*/ 42863 w 54"/>
                <a:gd name="T75" fmla="*/ 23422 h 6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4"/>
                <a:gd name="T115" fmla="*/ 0 h 61"/>
                <a:gd name="T116" fmla="*/ 54 w 54"/>
                <a:gd name="T117" fmla="*/ 61 h 6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4" h="61">
                  <a:moveTo>
                    <a:pt x="54" y="30"/>
                  </a:moveTo>
                  <a:lnTo>
                    <a:pt x="54" y="30"/>
                  </a:lnTo>
                  <a:lnTo>
                    <a:pt x="54" y="37"/>
                  </a:lnTo>
                  <a:lnTo>
                    <a:pt x="51" y="41"/>
                  </a:lnTo>
                  <a:lnTo>
                    <a:pt x="49" y="48"/>
                  </a:lnTo>
                  <a:lnTo>
                    <a:pt x="47" y="51"/>
                  </a:lnTo>
                  <a:lnTo>
                    <a:pt x="42" y="55"/>
                  </a:lnTo>
                  <a:lnTo>
                    <a:pt x="38" y="58"/>
                  </a:lnTo>
                  <a:lnTo>
                    <a:pt x="33" y="60"/>
                  </a:lnTo>
                  <a:lnTo>
                    <a:pt x="27" y="61"/>
                  </a:lnTo>
                  <a:lnTo>
                    <a:pt x="22" y="60"/>
                  </a:lnTo>
                  <a:lnTo>
                    <a:pt x="17" y="58"/>
                  </a:lnTo>
                  <a:lnTo>
                    <a:pt x="12" y="55"/>
                  </a:lnTo>
                  <a:lnTo>
                    <a:pt x="9" y="51"/>
                  </a:lnTo>
                  <a:lnTo>
                    <a:pt x="5" y="48"/>
                  </a:lnTo>
                  <a:lnTo>
                    <a:pt x="3" y="41"/>
                  </a:lnTo>
                  <a:lnTo>
                    <a:pt x="1" y="37"/>
                  </a:lnTo>
                  <a:lnTo>
                    <a:pt x="0" y="30"/>
                  </a:lnTo>
                  <a:lnTo>
                    <a:pt x="1" y="24"/>
                  </a:lnTo>
                  <a:lnTo>
                    <a:pt x="3" y="18"/>
                  </a:lnTo>
                  <a:lnTo>
                    <a:pt x="5" y="13"/>
                  </a:lnTo>
                  <a:lnTo>
                    <a:pt x="9" y="8"/>
                  </a:lnTo>
                  <a:lnTo>
                    <a:pt x="12" y="5"/>
                  </a:lnTo>
                  <a:lnTo>
                    <a:pt x="17" y="2"/>
                  </a:lnTo>
                  <a:lnTo>
                    <a:pt x="22" y="0"/>
                  </a:lnTo>
                  <a:lnTo>
                    <a:pt x="27" y="0"/>
                  </a:lnTo>
                  <a:lnTo>
                    <a:pt x="33" y="0"/>
                  </a:lnTo>
                  <a:lnTo>
                    <a:pt x="38" y="2"/>
                  </a:lnTo>
                  <a:lnTo>
                    <a:pt x="42" y="5"/>
                  </a:lnTo>
                  <a:lnTo>
                    <a:pt x="47" y="8"/>
                  </a:lnTo>
                  <a:lnTo>
                    <a:pt x="49" y="13"/>
                  </a:lnTo>
                  <a:lnTo>
                    <a:pt x="51" y="18"/>
                  </a:lnTo>
                  <a:lnTo>
                    <a:pt x="54" y="24"/>
                  </a:lnTo>
                  <a:lnTo>
                    <a:pt x="54" y="30"/>
                  </a:lnTo>
                  <a:close/>
                </a:path>
              </a:pathLst>
            </a:custGeom>
            <a:noFill/>
            <a:ln w="12700">
              <a:solidFill>
                <a:srgbClr val="00573B"/>
              </a:solidFill>
              <a:prstDash val="solid"/>
              <a:round/>
              <a:headEnd/>
              <a:tailEnd/>
            </a:ln>
          </p:spPr>
          <p:txBody>
            <a:bodyPr/>
            <a:lstStyle/>
            <a:p>
              <a:pPr defTabSz="685800" fontAlgn="base">
                <a:spcBef>
                  <a:spcPct val="0"/>
                </a:spcBef>
                <a:spcAft>
                  <a:spcPct val="0"/>
                </a:spcAft>
                <a:defRPr/>
              </a:pPr>
              <a:endParaRPr lang="en-US" sz="1350" kern="0">
                <a:solidFill>
                  <a:srgbClr val="000000"/>
                </a:solidFill>
                <a:latin typeface="Arial"/>
                <a:cs typeface="Arial" charset="0"/>
              </a:endParaRPr>
            </a:p>
          </p:txBody>
        </p:sp>
      </p:grpSp>
      <p:pic>
        <p:nvPicPr>
          <p:cNvPr id="88" name="Picture 87">
            <a:extLst>
              <a:ext uri="{FF2B5EF4-FFF2-40B4-BE49-F238E27FC236}">
                <a16:creationId xmlns:a16="http://schemas.microsoft.com/office/drawing/2014/main" id="{AAF8EFC2-C664-4D93-975C-D3D0352EFDE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69509" y="1426277"/>
            <a:ext cx="590337" cy="598799"/>
          </a:xfrm>
          <a:prstGeom prst="rect">
            <a:avLst/>
          </a:prstGeom>
        </p:spPr>
      </p:pic>
      <p:grpSp>
        <p:nvGrpSpPr>
          <p:cNvPr id="89" name="Group 1023">
            <a:extLst>
              <a:ext uri="{FF2B5EF4-FFF2-40B4-BE49-F238E27FC236}">
                <a16:creationId xmlns:a16="http://schemas.microsoft.com/office/drawing/2014/main" id="{4B7227A1-67A6-43C4-91E0-02E858AD520F}"/>
              </a:ext>
            </a:extLst>
          </p:cNvPr>
          <p:cNvGrpSpPr>
            <a:grpSpLocks/>
          </p:cNvGrpSpPr>
          <p:nvPr/>
        </p:nvGrpSpPr>
        <p:grpSpPr bwMode="auto">
          <a:xfrm>
            <a:off x="6894430" y="1523755"/>
            <a:ext cx="685625" cy="427809"/>
            <a:chOff x="705164" y="6469903"/>
            <a:chExt cx="392917" cy="245150"/>
          </a:xfrm>
        </p:grpSpPr>
        <p:sp>
          <p:nvSpPr>
            <p:cNvPr id="90" name="Freeform 40">
              <a:extLst>
                <a:ext uri="{FF2B5EF4-FFF2-40B4-BE49-F238E27FC236}">
                  <a16:creationId xmlns:a16="http://schemas.microsoft.com/office/drawing/2014/main" id="{D1C8991C-FA2A-45CB-98E3-2DA1DDB754E0}"/>
                </a:ext>
              </a:extLst>
            </p:cNvPr>
            <p:cNvSpPr>
              <a:spLocks/>
            </p:cNvSpPr>
            <p:nvPr/>
          </p:nvSpPr>
          <p:spPr bwMode="auto">
            <a:xfrm>
              <a:off x="802555" y="6479979"/>
              <a:ext cx="198138" cy="194776"/>
            </a:xfrm>
            <a:custGeom>
              <a:avLst/>
              <a:gdLst>
                <a:gd name="T0" fmla="*/ 146085 w 118"/>
                <a:gd name="T1" fmla="*/ 88992 h 116"/>
                <a:gd name="T2" fmla="*/ 154480 w 118"/>
                <a:gd name="T3" fmla="*/ 87313 h 116"/>
                <a:gd name="T4" fmla="*/ 177988 w 118"/>
                <a:gd name="T5" fmla="*/ 97388 h 116"/>
                <a:gd name="T6" fmla="*/ 169593 w 118"/>
                <a:gd name="T7" fmla="*/ 77239 h 116"/>
                <a:gd name="T8" fmla="*/ 194780 w 118"/>
                <a:gd name="T9" fmla="*/ 75560 h 116"/>
                <a:gd name="T10" fmla="*/ 179668 w 118"/>
                <a:gd name="T11" fmla="*/ 55410 h 116"/>
                <a:gd name="T12" fmla="*/ 179668 w 118"/>
                <a:gd name="T13" fmla="*/ 48694 h 116"/>
                <a:gd name="T14" fmla="*/ 191421 w 118"/>
                <a:gd name="T15" fmla="*/ 28545 h 116"/>
                <a:gd name="T16" fmla="*/ 171272 w 118"/>
                <a:gd name="T17" fmla="*/ 31903 h 116"/>
                <a:gd name="T18" fmla="*/ 172951 w 118"/>
                <a:gd name="T19" fmla="*/ 8396 h 116"/>
                <a:gd name="T20" fmla="*/ 151122 w 118"/>
                <a:gd name="T21" fmla="*/ 18470 h 116"/>
                <a:gd name="T22" fmla="*/ 144406 w 118"/>
                <a:gd name="T23" fmla="*/ 18470 h 116"/>
                <a:gd name="T24" fmla="*/ 125935 w 118"/>
                <a:gd name="T25" fmla="*/ 1679 h 116"/>
                <a:gd name="T26" fmla="*/ 125935 w 118"/>
                <a:gd name="T27" fmla="*/ 21828 h 116"/>
                <a:gd name="T28" fmla="*/ 104106 w 118"/>
                <a:gd name="T29" fmla="*/ 15112 h 116"/>
                <a:gd name="T30" fmla="*/ 110823 w 118"/>
                <a:gd name="T31" fmla="*/ 40298 h 116"/>
                <a:gd name="T32" fmla="*/ 107465 w 118"/>
                <a:gd name="T33" fmla="*/ 47015 h 116"/>
                <a:gd name="T34" fmla="*/ 88994 w 118"/>
                <a:gd name="T35" fmla="*/ 60448 h 116"/>
                <a:gd name="T36" fmla="*/ 110823 w 118"/>
                <a:gd name="T37" fmla="*/ 65485 h 116"/>
                <a:gd name="T38" fmla="*/ 99069 w 118"/>
                <a:gd name="T39" fmla="*/ 87313 h 116"/>
                <a:gd name="T40" fmla="*/ 124256 w 118"/>
                <a:gd name="T41" fmla="*/ 87313 h 116"/>
                <a:gd name="T42" fmla="*/ 114181 w 118"/>
                <a:gd name="T43" fmla="*/ 110821 h 116"/>
                <a:gd name="T44" fmla="*/ 115860 w 118"/>
                <a:gd name="T45" fmla="*/ 115858 h 116"/>
                <a:gd name="T46" fmla="*/ 134331 w 118"/>
                <a:gd name="T47" fmla="*/ 132649 h 116"/>
                <a:gd name="T48" fmla="*/ 115860 w 118"/>
                <a:gd name="T49" fmla="*/ 134328 h 116"/>
                <a:gd name="T50" fmla="*/ 129293 w 118"/>
                <a:gd name="T51" fmla="*/ 154478 h 116"/>
                <a:gd name="T52" fmla="*/ 105786 w 118"/>
                <a:gd name="T53" fmla="*/ 157836 h 116"/>
                <a:gd name="T54" fmla="*/ 99069 w 118"/>
                <a:gd name="T55" fmla="*/ 162873 h 116"/>
                <a:gd name="T56" fmla="*/ 95711 w 118"/>
                <a:gd name="T57" fmla="*/ 188060 h 116"/>
                <a:gd name="T58" fmla="*/ 83957 w 118"/>
                <a:gd name="T59" fmla="*/ 172948 h 116"/>
                <a:gd name="T60" fmla="*/ 73882 w 118"/>
                <a:gd name="T61" fmla="*/ 194776 h 116"/>
                <a:gd name="T62" fmla="*/ 58770 w 118"/>
                <a:gd name="T63" fmla="*/ 176306 h 116"/>
                <a:gd name="T64" fmla="*/ 50374 w 118"/>
                <a:gd name="T65" fmla="*/ 172948 h 116"/>
                <a:gd name="T66" fmla="*/ 28545 w 118"/>
                <a:gd name="T67" fmla="*/ 181343 h 116"/>
                <a:gd name="T68" fmla="*/ 36941 w 118"/>
                <a:gd name="T69" fmla="*/ 162873 h 116"/>
                <a:gd name="T70" fmla="*/ 11754 w 118"/>
                <a:gd name="T71" fmla="*/ 164552 h 116"/>
                <a:gd name="T72" fmla="*/ 20150 w 118"/>
                <a:gd name="T73" fmla="*/ 142724 h 116"/>
                <a:gd name="T74" fmla="*/ 18470 w 118"/>
                <a:gd name="T75" fmla="*/ 134328 h 116"/>
                <a:gd name="T76" fmla="*/ 0 w 118"/>
                <a:gd name="T77" fmla="*/ 120895 h 116"/>
                <a:gd name="T78" fmla="*/ 18470 w 118"/>
                <a:gd name="T79" fmla="*/ 115858 h 116"/>
                <a:gd name="T80" fmla="*/ 5037 w 118"/>
                <a:gd name="T81" fmla="*/ 97388 h 116"/>
                <a:gd name="T82" fmla="*/ 30224 w 118"/>
                <a:gd name="T83" fmla="*/ 94030 h 116"/>
                <a:gd name="T84" fmla="*/ 36941 w 118"/>
                <a:gd name="T85" fmla="*/ 87313 h 116"/>
                <a:gd name="T86" fmla="*/ 38620 w 118"/>
                <a:gd name="T87" fmla="*/ 65485 h 116"/>
                <a:gd name="T88" fmla="*/ 50374 w 118"/>
                <a:gd name="T89" fmla="*/ 78918 h 116"/>
                <a:gd name="T90" fmla="*/ 62128 w 118"/>
                <a:gd name="T91" fmla="*/ 58769 h 116"/>
                <a:gd name="T92" fmla="*/ 77240 w 118"/>
                <a:gd name="T93" fmla="*/ 77239 h 116"/>
                <a:gd name="T94" fmla="*/ 83957 w 118"/>
                <a:gd name="T95" fmla="*/ 78918 h 11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18"/>
                <a:gd name="T145" fmla="*/ 0 h 116"/>
                <a:gd name="T146" fmla="*/ 118 w 118"/>
                <a:gd name="T147" fmla="*/ 116 h 11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18" h="116">
                  <a:moveTo>
                    <a:pt x="84" y="64"/>
                  </a:moveTo>
                  <a:lnTo>
                    <a:pt x="87" y="53"/>
                  </a:lnTo>
                  <a:lnTo>
                    <a:pt x="92" y="52"/>
                  </a:lnTo>
                  <a:lnTo>
                    <a:pt x="100" y="62"/>
                  </a:lnTo>
                  <a:lnTo>
                    <a:pt x="106" y="58"/>
                  </a:lnTo>
                  <a:lnTo>
                    <a:pt x="101" y="46"/>
                  </a:lnTo>
                  <a:lnTo>
                    <a:pt x="103" y="44"/>
                  </a:lnTo>
                  <a:lnTo>
                    <a:pt x="116" y="45"/>
                  </a:lnTo>
                  <a:lnTo>
                    <a:pt x="118" y="39"/>
                  </a:lnTo>
                  <a:lnTo>
                    <a:pt x="107" y="33"/>
                  </a:lnTo>
                  <a:lnTo>
                    <a:pt x="107" y="29"/>
                  </a:lnTo>
                  <a:lnTo>
                    <a:pt x="117" y="23"/>
                  </a:lnTo>
                  <a:lnTo>
                    <a:pt x="114" y="17"/>
                  </a:lnTo>
                  <a:lnTo>
                    <a:pt x="102" y="19"/>
                  </a:lnTo>
                  <a:lnTo>
                    <a:pt x="100" y="17"/>
                  </a:lnTo>
                  <a:lnTo>
                    <a:pt x="103" y="5"/>
                  </a:lnTo>
                  <a:lnTo>
                    <a:pt x="98" y="2"/>
                  </a:lnTo>
                  <a:lnTo>
                    <a:pt x="90" y="11"/>
                  </a:lnTo>
                  <a:lnTo>
                    <a:pt x="86" y="11"/>
                  </a:lnTo>
                  <a:lnTo>
                    <a:pt x="81" y="0"/>
                  </a:lnTo>
                  <a:lnTo>
                    <a:pt x="75" y="1"/>
                  </a:lnTo>
                  <a:lnTo>
                    <a:pt x="75" y="13"/>
                  </a:lnTo>
                  <a:lnTo>
                    <a:pt x="73" y="16"/>
                  </a:lnTo>
                  <a:lnTo>
                    <a:pt x="62" y="9"/>
                  </a:lnTo>
                  <a:lnTo>
                    <a:pt x="58" y="14"/>
                  </a:lnTo>
                  <a:lnTo>
                    <a:pt x="66" y="24"/>
                  </a:lnTo>
                  <a:lnTo>
                    <a:pt x="64" y="28"/>
                  </a:lnTo>
                  <a:lnTo>
                    <a:pt x="52" y="30"/>
                  </a:lnTo>
                  <a:lnTo>
                    <a:pt x="53" y="36"/>
                  </a:lnTo>
                  <a:lnTo>
                    <a:pt x="66" y="39"/>
                  </a:lnTo>
                  <a:lnTo>
                    <a:pt x="67" y="42"/>
                  </a:lnTo>
                  <a:lnTo>
                    <a:pt x="59" y="52"/>
                  </a:lnTo>
                  <a:lnTo>
                    <a:pt x="63" y="56"/>
                  </a:lnTo>
                  <a:lnTo>
                    <a:pt x="74" y="52"/>
                  </a:lnTo>
                  <a:lnTo>
                    <a:pt x="77" y="58"/>
                  </a:lnTo>
                  <a:lnTo>
                    <a:pt x="68" y="66"/>
                  </a:lnTo>
                  <a:lnTo>
                    <a:pt x="69" y="69"/>
                  </a:lnTo>
                  <a:lnTo>
                    <a:pt x="80" y="72"/>
                  </a:lnTo>
                  <a:lnTo>
                    <a:pt x="80" y="79"/>
                  </a:lnTo>
                  <a:lnTo>
                    <a:pt x="69" y="80"/>
                  </a:lnTo>
                  <a:lnTo>
                    <a:pt x="68" y="85"/>
                  </a:lnTo>
                  <a:lnTo>
                    <a:pt x="77" y="92"/>
                  </a:lnTo>
                  <a:lnTo>
                    <a:pt x="74" y="98"/>
                  </a:lnTo>
                  <a:lnTo>
                    <a:pt x="63" y="94"/>
                  </a:lnTo>
                  <a:lnTo>
                    <a:pt x="59" y="97"/>
                  </a:lnTo>
                  <a:lnTo>
                    <a:pt x="63" y="108"/>
                  </a:lnTo>
                  <a:lnTo>
                    <a:pt x="57" y="112"/>
                  </a:lnTo>
                  <a:lnTo>
                    <a:pt x="50" y="103"/>
                  </a:lnTo>
                  <a:lnTo>
                    <a:pt x="46" y="105"/>
                  </a:lnTo>
                  <a:lnTo>
                    <a:pt x="44" y="116"/>
                  </a:lnTo>
                  <a:lnTo>
                    <a:pt x="37" y="116"/>
                  </a:lnTo>
                  <a:lnTo>
                    <a:pt x="35" y="105"/>
                  </a:lnTo>
                  <a:lnTo>
                    <a:pt x="30" y="103"/>
                  </a:lnTo>
                  <a:lnTo>
                    <a:pt x="23" y="112"/>
                  </a:lnTo>
                  <a:lnTo>
                    <a:pt x="17" y="108"/>
                  </a:lnTo>
                  <a:lnTo>
                    <a:pt x="22" y="97"/>
                  </a:lnTo>
                  <a:lnTo>
                    <a:pt x="18" y="94"/>
                  </a:lnTo>
                  <a:lnTo>
                    <a:pt x="7" y="98"/>
                  </a:lnTo>
                  <a:lnTo>
                    <a:pt x="3" y="92"/>
                  </a:lnTo>
                  <a:lnTo>
                    <a:pt x="12" y="85"/>
                  </a:lnTo>
                  <a:lnTo>
                    <a:pt x="11" y="80"/>
                  </a:lnTo>
                  <a:lnTo>
                    <a:pt x="0" y="79"/>
                  </a:lnTo>
                  <a:lnTo>
                    <a:pt x="0" y="72"/>
                  </a:lnTo>
                  <a:lnTo>
                    <a:pt x="11" y="69"/>
                  </a:lnTo>
                  <a:lnTo>
                    <a:pt x="12" y="66"/>
                  </a:lnTo>
                  <a:lnTo>
                    <a:pt x="3" y="58"/>
                  </a:lnTo>
                  <a:lnTo>
                    <a:pt x="7" y="52"/>
                  </a:lnTo>
                  <a:lnTo>
                    <a:pt x="18" y="56"/>
                  </a:lnTo>
                  <a:lnTo>
                    <a:pt x="22" y="52"/>
                  </a:lnTo>
                  <a:lnTo>
                    <a:pt x="17" y="41"/>
                  </a:lnTo>
                  <a:lnTo>
                    <a:pt x="23" y="39"/>
                  </a:lnTo>
                  <a:lnTo>
                    <a:pt x="30" y="47"/>
                  </a:lnTo>
                  <a:lnTo>
                    <a:pt x="35" y="46"/>
                  </a:lnTo>
                  <a:lnTo>
                    <a:pt x="37" y="35"/>
                  </a:lnTo>
                  <a:lnTo>
                    <a:pt x="44" y="35"/>
                  </a:lnTo>
                  <a:lnTo>
                    <a:pt x="46" y="46"/>
                  </a:lnTo>
                  <a:lnTo>
                    <a:pt x="50" y="47"/>
                  </a:lnTo>
                </a:path>
              </a:pathLst>
            </a:custGeom>
            <a:noFill/>
            <a:ln w="12700">
              <a:solidFill>
                <a:srgbClr val="00573B"/>
              </a:solidFill>
              <a:prstDash val="solid"/>
              <a:round/>
              <a:headEnd/>
              <a:tailEnd/>
            </a:ln>
          </p:spPr>
          <p:txBody>
            <a:bodyPr/>
            <a:lstStyle/>
            <a:p>
              <a:pPr defTabSz="685800" fontAlgn="base">
                <a:spcBef>
                  <a:spcPct val="0"/>
                </a:spcBef>
                <a:spcAft>
                  <a:spcPct val="0"/>
                </a:spcAft>
                <a:defRPr/>
              </a:pPr>
              <a:endParaRPr lang="en-US" sz="1350" kern="0">
                <a:solidFill>
                  <a:srgbClr val="000000"/>
                </a:solidFill>
                <a:latin typeface="Arial"/>
                <a:cs typeface="Arial" charset="0"/>
              </a:endParaRPr>
            </a:p>
          </p:txBody>
        </p:sp>
        <p:sp>
          <p:nvSpPr>
            <p:cNvPr id="91" name="Freeform 41">
              <a:extLst>
                <a:ext uri="{FF2B5EF4-FFF2-40B4-BE49-F238E27FC236}">
                  <a16:creationId xmlns:a16="http://schemas.microsoft.com/office/drawing/2014/main" id="{9336DBA5-6EEF-40BF-9B51-F63DD4320C4D}"/>
                </a:ext>
              </a:extLst>
            </p:cNvPr>
            <p:cNvSpPr>
              <a:spLocks/>
            </p:cNvSpPr>
            <p:nvPr/>
          </p:nvSpPr>
          <p:spPr bwMode="auto">
            <a:xfrm>
              <a:off x="849570" y="6587441"/>
              <a:ext cx="40299" cy="40298"/>
            </a:xfrm>
            <a:custGeom>
              <a:avLst/>
              <a:gdLst>
                <a:gd name="T0" fmla="*/ 40299 w 23"/>
                <a:gd name="T1" fmla="*/ 21025 h 23"/>
                <a:gd name="T2" fmla="*/ 40299 w 23"/>
                <a:gd name="T3" fmla="*/ 21025 h 23"/>
                <a:gd name="T4" fmla="*/ 38547 w 23"/>
                <a:gd name="T5" fmla="*/ 29785 h 23"/>
                <a:gd name="T6" fmla="*/ 33290 w 23"/>
                <a:gd name="T7" fmla="*/ 36794 h 23"/>
                <a:gd name="T8" fmla="*/ 28034 w 23"/>
                <a:gd name="T9" fmla="*/ 40298 h 23"/>
                <a:gd name="T10" fmla="*/ 19273 w 23"/>
                <a:gd name="T11" fmla="*/ 40298 h 23"/>
                <a:gd name="T12" fmla="*/ 19273 w 23"/>
                <a:gd name="T13" fmla="*/ 40298 h 23"/>
                <a:gd name="T14" fmla="*/ 10513 w 23"/>
                <a:gd name="T15" fmla="*/ 40298 h 23"/>
                <a:gd name="T16" fmla="*/ 3504 w 23"/>
                <a:gd name="T17" fmla="*/ 36794 h 23"/>
                <a:gd name="T18" fmla="*/ 0 w 23"/>
                <a:gd name="T19" fmla="*/ 29785 h 23"/>
                <a:gd name="T20" fmla="*/ 0 w 23"/>
                <a:gd name="T21" fmla="*/ 21025 h 23"/>
                <a:gd name="T22" fmla="*/ 0 w 23"/>
                <a:gd name="T23" fmla="*/ 21025 h 23"/>
                <a:gd name="T24" fmla="*/ 0 w 23"/>
                <a:gd name="T25" fmla="*/ 12265 h 23"/>
                <a:gd name="T26" fmla="*/ 3504 w 23"/>
                <a:gd name="T27" fmla="*/ 7008 h 23"/>
                <a:gd name="T28" fmla="*/ 10513 w 23"/>
                <a:gd name="T29" fmla="*/ 1752 h 23"/>
                <a:gd name="T30" fmla="*/ 19273 w 23"/>
                <a:gd name="T31" fmla="*/ 0 h 23"/>
                <a:gd name="T32" fmla="*/ 19273 w 23"/>
                <a:gd name="T33" fmla="*/ 0 h 23"/>
                <a:gd name="T34" fmla="*/ 28034 w 23"/>
                <a:gd name="T35" fmla="*/ 1752 h 23"/>
                <a:gd name="T36" fmla="*/ 33290 w 23"/>
                <a:gd name="T37" fmla="*/ 7008 h 23"/>
                <a:gd name="T38" fmla="*/ 38547 w 23"/>
                <a:gd name="T39" fmla="*/ 12265 h 23"/>
                <a:gd name="T40" fmla="*/ 40299 w 23"/>
                <a:gd name="T41" fmla="*/ 21025 h 23"/>
                <a:gd name="T42" fmla="*/ 40299 w 23"/>
                <a:gd name="T43" fmla="*/ 21025 h 23"/>
                <a:gd name="T44" fmla="*/ 40299 w 23"/>
                <a:gd name="T45" fmla="*/ 21025 h 2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3"/>
                <a:gd name="T70" fmla="*/ 0 h 23"/>
                <a:gd name="T71" fmla="*/ 23 w 23"/>
                <a:gd name="T72" fmla="*/ 23 h 2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3" h="23">
                  <a:moveTo>
                    <a:pt x="23" y="12"/>
                  </a:moveTo>
                  <a:lnTo>
                    <a:pt x="23" y="12"/>
                  </a:lnTo>
                  <a:lnTo>
                    <a:pt x="22" y="17"/>
                  </a:lnTo>
                  <a:lnTo>
                    <a:pt x="19" y="21"/>
                  </a:lnTo>
                  <a:lnTo>
                    <a:pt x="16" y="23"/>
                  </a:lnTo>
                  <a:lnTo>
                    <a:pt x="11" y="23"/>
                  </a:lnTo>
                  <a:lnTo>
                    <a:pt x="6" y="23"/>
                  </a:lnTo>
                  <a:lnTo>
                    <a:pt x="2" y="21"/>
                  </a:lnTo>
                  <a:lnTo>
                    <a:pt x="0" y="17"/>
                  </a:lnTo>
                  <a:lnTo>
                    <a:pt x="0" y="12"/>
                  </a:lnTo>
                  <a:lnTo>
                    <a:pt x="0" y="7"/>
                  </a:lnTo>
                  <a:lnTo>
                    <a:pt x="2" y="4"/>
                  </a:lnTo>
                  <a:lnTo>
                    <a:pt x="6" y="1"/>
                  </a:lnTo>
                  <a:lnTo>
                    <a:pt x="11" y="0"/>
                  </a:lnTo>
                  <a:lnTo>
                    <a:pt x="16" y="1"/>
                  </a:lnTo>
                  <a:lnTo>
                    <a:pt x="19" y="4"/>
                  </a:lnTo>
                  <a:lnTo>
                    <a:pt x="22" y="7"/>
                  </a:lnTo>
                  <a:lnTo>
                    <a:pt x="23" y="12"/>
                  </a:lnTo>
                  <a:close/>
                </a:path>
              </a:pathLst>
            </a:custGeom>
            <a:noFill/>
            <a:ln w="12700">
              <a:solidFill>
                <a:srgbClr val="00573B"/>
              </a:solidFill>
              <a:prstDash val="solid"/>
              <a:round/>
              <a:headEnd/>
              <a:tailEnd/>
            </a:ln>
          </p:spPr>
          <p:txBody>
            <a:bodyPr/>
            <a:lstStyle/>
            <a:p>
              <a:pPr defTabSz="685800" fontAlgn="base">
                <a:spcBef>
                  <a:spcPct val="0"/>
                </a:spcBef>
                <a:spcAft>
                  <a:spcPct val="0"/>
                </a:spcAft>
                <a:defRPr/>
              </a:pPr>
              <a:endParaRPr lang="en-US" sz="1350" kern="0">
                <a:solidFill>
                  <a:srgbClr val="000000"/>
                </a:solidFill>
                <a:latin typeface="Arial"/>
                <a:cs typeface="Arial" charset="0"/>
              </a:endParaRPr>
            </a:p>
          </p:txBody>
        </p:sp>
        <p:sp>
          <p:nvSpPr>
            <p:cNvPr id="92" name="Freeform 42">
              <a:extLst>
                <a:ext uri="{FF2B5EF4-FFF2-40B4-BE49-F238E27FC236}">
                  <a16:creationId xmlns:a16="http://schemas.microsoft.com/office/drawing/2014/main" id="{8C97A9CC-A917-41C2-8B3B-95D8EF633B6E}"/>
                </a:ext>
              </a:extLst>
            </p:cNvPr>
            <p:cNvSpPr>
              <a:spLocks/>
            </p:cNvSpPr>
            <p:nvPr/>
          </p:nvSpPr>
          <p:spPr bwMode="auto">
            <a:xfrm>
              <a:off x="926809" y="6516918"/>
              <a:ext cx="36942" cy="36941"/>
            </a:xfrm>
            <a:custGeom>
              <a:avLst/>
              <a:gdLst>
                <a:gd name="T0" fmla="*/ 36942 w 22"/>
                <a:gd name="T1" fmla="*/ 20318 h 20"/>
                <a:gd name="T2" fmla="*/ 36942 w 22"/>
                <a:gd name="T3" fmla="*/ 20318 h 20"/>
                <a:gd name="T4" fmla="*/ 35263 w 22"/>
                <a:gd name="T5" fmla="*/ 25859 h 20"/>
                <a:gd name="T6" fmla="*/ 30225 w 22"/>
                <a:gd name="T7" fmla="*/ 33247 h 20"/>
                <a:gd name="T8" fmla="*/ 26867 w 22"/>
                <a:gd name="T9" fmla="*/ 36941 h 20"/>
                <a:gd name="T10" fmla="*/ 18471 w 22"/>
                <a:gd name="T11" fmla="*/ 36941 h 20"/>
                <a:gd name="T12" fmla="*/ 18471 w 22"/>
                <a:gd name="T13" fmla="*/ 36941 h 20"/>
                <a:gd name="T14" fmla="*/ 11754 w 22"/>
                <a:gd name="T15" fmla="*/ 36941 h 20"/>
                <a:gd name="T16" fmla="*/ 6717 w 22"/>
                <a:gd name="T17" fmla="*/ 33247 h 20"/>
                <a:gd name="T18" fmla="*/ 1679 w 22"/>
                <a:gd name="T19" fmla="*/ 25859 h 20"/>
                <a:gd name="T20" fmla="*/ 0 w 22"/>
                <a:gd name="T21" fmla="*/ 20318 h 20"/>
                <a:gd name="T22" fmla="*/ 0 w 22"/>
                <a:gd name="T23" fmla="*/ 20318 h 20"/>
                <a:gd name="T24" fmla="*/ 1679 w 22"/>
                <a:gd name="T25" fmla="*/ 11082 h 20"/>
                <a:gd name="T26" fmla="*/ 6717 w 22"/>
                <a:gd name="T27" fmla="*/ 3694 h 20"/>
                <a:gd name="T28" fmla="*/ 11754 w 22"/>
                <a:gd name="T29" fmla="*/ 0 h 20"/>
                <a:gd name="T30" fmla="*/ 18471 w 22"/>
                <a:gd name="T31" fmla="*/ 0 h 20"/>
                <a:gd name="T32" fmla="*/ 18471 w 22"/>
                <a:gd name="T33" fmla="*/ 0 h 20"/>
                <a:gd name="T34" fmla="*/ 26867 w 22"/>
                <a:gd name="T35" fmla="*/ 0 h 20"/>
                <a:gd name="T36" fmla="*/ 30225 w 22"/>
                <a:gd name="T37" fmla="*/ 3694 h 20"/>
                <a:gd name="T38" fmla="*/ 35263 w 22"/>
                <a:gd name="T39" fmla="*/ 11082 h 20"/>
                <a:gd name="T40" fmla="*/ 36942 w 22"/>
                <a:gd name="T41" fmla="*/ 20318 h 20"/>
                <a:gd name="T42" fmla="*/ 36942 w 22"/>
                <a:gd name="T43" fmla="*/ 20318 h 20"/>
                <a:gd name="T44" fmla="*/ 36942 w 22"/>
                <a:gd name="T45" fmla="*/ 20318 h 2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2"/>
                <a:gd name="T70" fmla="*/ 0 h 20"/>
                <a:gd name="T71" fmla="*/ 22 w 22"/>
                <a:gd name="T72" fmla="*/ 20 h 2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2" h="20">
                  <a:moveTo>
                    <a:pt x="22" y="11"/>
                  </a:moveTo>
                  <a:lnTo>
                    <a:pt x="22" y="11"/>
                  </a:lnTo>
                  <a:lnTo>
                    <a:pt x="21" y="14"/>
                  </a:lnTo>
                  <a:lnTo>
                    <a:pt x="18" y="18"/>
                  </a:lnTo>
                  <a:lnTo>
                    <a:pt x="16" y="20"/>
                  </a:lnTo>
                  <a:lnTo>
                    <a:pt x="11" y="20"/>
                  </a:lnTo>
                  <a:lnTo>
                    <a:pt x="7" y="20"/>
                  </a:lnTo>
                  <a:lnTo>
                    <a:pt x="4" y="18"/>
                  </a:lnTo>
                  <a:lnTo>
                    <a:pt x="1" y="14"/>
                  </a:lnTo>
                  <a:lnTo>
                    <a:pt x="0" y="11"/>
                  </a:lnTo>
                  <a:lnTo>
                    <a:pt x="1" y="6"/>
                  </a:lnTo>
                  <a:lnTo>
                    <a:pt x="4" y="2"/>
                  </a:lnTo>
                  <a:lnTo>
                    <a:pt x="7" y="0"/>
                  </a:lnTo>
                  <a:lnTo>
                    <a:pt x="11" y="0"/>
                  </a:lnTo>
                  <a:lnTo>
                    <a:pt x="16" y="0"/>
                  </a:lnTo>
                  <a:lnTo>
                    <a:pt x="18" y="2"/>
                  </a:lnTo>
                  <a:lnTo>
                    <a:pt x="21" y="6"/>
                  </a:lnTo>
                  <a:lnTo>
                    <a:pt x="22" y="11"/>
                  </a:lnTo>
                  <a:close/>
                </a:path>
              </a:pathLst>
            </a:custGeom>
            <a:noFill/>
            <a:ln w="12700">
              <a:solidFill>
                <a:srgbClr val="00573B"/>
              </a:solidFill>
              <a:prstDash val="solid"/>
              <a:round/>
              <a:headEnd/>
              <a:tailEnd/>
            </a:ln>
          </p:spPr>
          <p:txBody>
            <a:bodyPr/>
            <a:lstStyle/>
            <a:p>
              <a:pPr defTabSz="685800" fontAlgn="base">
                <a:spcBef>
                  <a:spcPct val="0"/>
                </a:spcBef>
                <a:spcAft>
                  <a:spcPct val="0"/>
                </a:spcAft>
                <a:defRPr/>
              </a:pPr>
              <a:endParaRPr lang="en-US" sz="1350" kern="0">
                <a:solidFill>
                  <a:srgbClr val="000000"/>
                </a:solidFill>
                <a:latin typeface="Arial"/>
                <a:cs typeface="Arial" charset="0"/>
              </a:endParaRPr>
            </a:p>
          </p:txBody>
        </p:sp>
        <p:sp>
          <p:nvSpPr>
            <p:cNvPr id="93" name="Freeform 687">
              <a:extLst>
                <a:ext uri="{FF2B5EF4-FFF2-40B4-BE49-F238E27FC236}">
                  <a16:creationId xmlns:a16="http://schemas.microsoft.com/office/drawing/2014/main" id="{0FD6663D-673E-4E72-8313-4FE0A2C9A645}"/>
                </a:ext>
              </a:extLst>
            </p:cNvPr>
            <p:cNvSpPr>
              <a:spLocks/>
            </p:cNvSpPr>
            <p:nvPr/>
          </p:nvSpPr>
          <p:spPr bwMode="auto">
            <a:xfrm>
              <a:off x="705164" y="6469903"/>
              <a:ext cx="392917" cy="245150"/>
            </a:xfrm>
            <a:custGeom>
              <a:avLst/>
              <a:gdLst>
                <a:gd name="T0" fmla="*/ 392917 w 234"/>
                <a:gd name="T1" fmla="*/ 218284 h 146"/>
                <a:gd name="T2" fmla="*/ 392917 w 234"/>
                <a:gd name="T3" fmla="*/ 218284 h 146"/>
                <a:gd name="T4" fmla="*/ 389559 w 234"/>
                <a:gd name="T5" fmla="*/ 228359 h 146"/>
                <a:gd name="T6" fmla="*/ 382842 w 234"/>
                <a:gd name="T7" fmla="*/ 235075 h 146"/>
                <a:gd name="T8" fmla="*/ 377805 w 234"/>
                <a:gd name="T9" fmla="*/ 238434 h 146"/>
                <a:gd name="T10" fmla="*/ 371088 w 234"/>
                <a:gd name="T11" fmla="*/ 243471 h 146"/>
                <a:gd name="T12" fmla="*/ 355976 w 234"/>
                <a:gd name="T13" fmla="*/ 245150 h 146"/>
                <a:gd name="T14" fmla="*/ 337506 w 234"/>
                <a:gd name="T15" fmla="*/ 245150 h 146"/>
                <a:gd name="T16" fmla="*/ 337506 w 234"/>
                <a:gd name="T17" fmla="*/ 245150 h 146"/>
                <a:gd name="T18" fmla="*/ 55411 w 234"/>
                <a:gd name="T19" fmla="*/ 245150 h 146"/>
                <a:gd name="T20" fmla="*/ 55411 w 234"/>
                <a:gd name="T21" fmla="*/ 245150 h 146"/>
                <a:gd name="T22" fmla="*/ 36941 w 234"/>
                <a:gd name="T23" fmla="*/ 245150 h 146"/>
                <a:gd name="T24" fmla="*/ 20150 w 234"/>
                <a:gd name="T25" fmla="*/ 243471 h 146"/>
                <a:gd name="T26" fmla="*/ 11754 w 234"/>
                <a:gd name="T27" fmla="*/ 241792 h 146"/>
                <a:gd name="T28" fmla="*/ 6717 w 234"/>
                <a:gd name="T29" fmla="*/ 235075 h 146"/>
                <a:gd name="T30" fmla="*/ 1679 w 234"/>
                <a:gd name="T31" fmla="*/ 228359 h 146"/>
                <a:gd name="T32" fmla="*/ 0 w 234"/>
                <a:gd name="T33" fmla="*/ 218284 h 146"/>
                <a:gd name="T34" fmla="*/ 0 w 234"/>
                <a:gd name="T35" fmla="*/ 218284 h 146"/>
                <a:gd name="T36" fmla="*/ 340864 w 234"/>
                <a:gd name="T37" fmla="*/ 218284 h 146"/>
                <a:gd name="T38" fmla="*/ 340864 w 234"/>
                <a:gd name="T39" fmla="*/ 218284 h 146"/>
                <a:gd name="T40" fmla="*/ 345901 w 234"/>
                <a:gd name="T41" fmla="*/ 218284 h 146"/>
                <a:gd name="T42" fmla="*/ 352618 w 234"/>
                <a:gd name="T43" fmla="*/ 214926 h 146"/>
                <a:gd name="T44" fmla="*/ 354297 w 234"/>
                <a:gd name="T45" fmla="*/ 209889 h 146"/>
                <a:gd name="T46" fmla="*/ 355976 w 234"/>
                <a:gd name="T47" fmla="*/ 201493 h 146"/>
                <a:gd name="T48" fmla="*/ 355976 w 234"/>
                <a:gd name="T49" fmla="*/ 201493 h 146"/>
                <a:gd name="T50" fmla="*/ 355976 w 234"/>
                <a:gd name="T51" fmla="*/ 21828 h 146"/>
                <a:gd name="T52" fmla="*/ 355976 w 234"/>
                <a:gd name="T53" fmla="*/ 21828 h 146"/>
                <a:gd name="T54" fmla="*/ 355976 w 234"/>
                <a:gd name="T55" fmla="*/ 11754 h 146"/>
                <a:gd name="T56" fmla="*/ 352618 w 234"/>
                <a:gd name="T57" fmla="*/ 5037 h 146"/>
                <a:gd name="T58" fmla="*/ 347580 w 234"/>
                <a:gd name="T59" fmla="*/ 1679 h 146"/>
                <a:gd name="T60" fmla="*/ 337506 w 234"/>
                <a:gd name="T61" fmla="*/ 0 h 146"/>
                <a:gd name="T62" fmla="*/ 337506 w 234"/>
                <a:gd name="T63" fmla="*/ 0 h 146"/>
                <a:gd name="T64" fmla="*/ 57091 w 234"/>
                <a:gd name="T65" fmla="*/ 0 h 146"/>
                <a:gd name="T66" fmla="*/ 57091 w 234"/>
                <a:gd name="T67" fmla="*/ 0 h 146"/>
                <a:gd name="T68" fmla="*/ 45337 w 234"/>
                <a:gd name="T69" fmla="*/ 0 h 146"/>
                <a:gd name="T70" fmla="*/ 35262 w 234"/>
                <a:gd name="T71" fmla="*/ 0 h 146"/>
                <a:gd name="T72" fmla="*/ 35262 w 234"/>
                <a:gd name="T73" fmla="*/ 0 h 146"/>
                <a:gd name="T74" fmla="*/ 35262 w 234"/>
                <a:gd name="T75" fmla="*/ 188060 h 14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34"/>
                <a:gd name="T115" fmla="*/ 0 h 146"/>
                <a:gd name="T116" fmla="*/ 234 w 234"/>
                <a:gd name="T117" fmla="*/ 146 h 14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34" h="146">
                  <a:moveTo>
                    <a:pt x="234" y="130"/>
                  </a:moveTo>
                  <a:lnTo>
                    <a:pt x="234" y="130"/>
                  </a:lnTo>
                  <a:lnTo>
                    <a:pt x="232" y="136"/>
                  </a:lnTo>
                  <a:lnTo>
                    <a:pt x="228" y="140"/>
                  </a:lnTo>
                  <a:lnTo>
                    <a:pt x="225" y="142"/>
                  </a:lnTo>
                  <a:lnTo>
                    <a:pt x="221" y="145"/>
                  </a:lnTo>
                  <a:lnTo>
                    <a:pt x="212" y="146"/>
                  </a:lnTo>
                  <a:lnTo>
                    <a:pt x="201" y="146"/>
                  </a:lnTo>
                  <a:lnTo>
                    <a:pt x="33" y="146"/>
                  </a:lnTo>
                  <a:lnTo>
                    <a:pt x="22" y="146"/>
                  </a:lnTo>
                  <a:lnTo>
                    <a:pt x="12" y="145"/>
                  </a:lnTo>
                  <a:lnTo>
                    <a:pt x="7" y="144"/>
                  </a:lnTo>
                  <a:lnTo>
                    <a:pt x="4" y="140"/>
                  </a:lnTo>
                  <a:lnTo>
                    <a:pt x="1" y="136"/>
                  </a:lnTo>
                  <a:lnTo>
                    <a:pt x="0" y="130"/>
                  </a:lnTo>
                  <a:lnTo>
                    <a:pt x="203" y="130"/>
                  </a:lnTo>
                  <a:lnTo>
                    <a:pt x="206" y="130"/>
                  </a:lnTo>
                  <a:lnTo>
                    <a:pt x="210" y="128"/>
                  </a:lnTo>
                  <a:lnTo>
                    <a:pt x="211" y="125"/>
                  </a:lnTo>
                  <a:lnTo>
                    <a:pt x="212" y="120"/>
                  </a:lnTo>
                  <a:lnTo>
                    <a:pt x="212" y="13"/>
                  </a:lnTo>
                  <a:lnTo>
                    <a:pt x="212" y="7"/>
                  </a:lnTo>
                  <a:lnTo>
                    <a:pt x="210" y="3"/>
                  </a:lnTo>
                  <a:lnTo>
                    <a:pt x="207" y="1"/>
                  </a:lnTo>
                  <a:lnTo>
                    <a:pt x="201" y="0"/>
                  </a:lnTo>
                  <a:lnTo>
                    <a:pt x="34" y="0"/>
                  </a:lnTo>
                  <a:lnTo>
                    <a:pt x="27" y="0"/>
                  </a:lnTo>
                  <a:lnTo>
                    <a:pt x="21" y="0"/>
                  </a:lnTo>
                  <a:lnTo>
                    <a:pt x="21" y="112"/>
                  </a:lnTo>
                </a:path>
              </a:pathLst>
            </a:custGeom>
            <a:noFill/>
            <a:ln w="12700">
              <a:solidFill>
                <a:srgbClr val="00573B"/>
              </a:solidFill>
              <a:prstDash val="solid"/>
              <a:round/>
              <a:headEnd/>
              <a:tailEnd/>
            </a:ln>
          </p:spPr>
          <p:txBody>
            <a:bodyPr/>
            <a:lstStyle/>
            <a:p>
              <a:pPr defTabSz="685800" fontAlgn="base">
                <a:spcBef>
                  <a:spcPct val="0"/>
                </a:spcBef>
                <a:spcAft>
                  <a:spcPct val="0"/>
                </a:spcAft>
                <a:defRPr/>
              </a:pPr>
              <a:endParaRPr lang="en-US" sz="1350" kern="0">
                <a:solidFill>
                  <a:srgbClr val="000000"/>
                </a:solidFill>
                <a:latin typeface="Arial"/>
                <a:cs typeface="Arial" charset="0"/>
              </a:endParaRPr>
            </a:p>
          </p:txBody>
        </p:sp>
      </p:grpSp>
      <p:grpSp>
        <p:nvGrpSpPr>
          <p:cNvPr id="109" name="Group 108">
            <a:extLst>
              <a:ext uri="{FF2B5EF4-FFF2-40B4-BE49-F238E27FC236}">
                <a16:creationId xmlns:a16="http://schemas.microsoft.com/office/drawing/2014/main" id="{3EE9B417-519F-406F-A581-08AF8839757C}"/>
              </a:ext>
            </a:extLst>
          </p:cNvPr>
          <p:cNvGrpSpPr/>
          <p:nvPr/>
        </p:nvGrpSpPr>
        <p:grpSpPr>
          <a:xfrm>
            <a:off x="3543339" y="1335946"/>
            <a:ext cx="2022309" cy="814153"/>
            <a:chOff x="677091" y="1319356"/>
            <a:chExt cx="2022309" cy="814153"/>
          </a:xfrm>
        </p:grpSpPr>
        <p:sp>
          <p:nvSpPr>
            <p:cNvPr id="5" name="Rounded Rectangle 264">
              <a:extLst>
                <a:ext uri="{FF2B5EF4-FFF2-40B4-BE49-F238E27FC236}">
                  <a16:creationId xmlns:a16="http://schemas.microsoft.com/office/drawing/2014/main" id="{49C109D4-630E-4FDD-AEEE-881C76AFD44A}"/>
                </a:ext>
              </a:extLst>
            </p:cNvPr>
            <p:cNvSpPr/>
            <p:nvPr/>
          </p:nvSpPr>
          <p:spPr>
            <a:xfrm>
              <a:off x="677091" y="1319356"/>
              <a:ext cx="2022309" cy="814153"/>
            </a:xfrm>
            <a:prstGeom prst="roundRect">
              <a:avLst/>
            </a:prstGeom>
            <a:solidFill>
              <a:sysClr val="window" lastClr="FFFFFF">
                <a:lumMod val="95000"/>
              </a:sysClr>
            </a:solidFill>
            <a:ln w="25400" cap="flat" cmpd="sng" algn="ctr">
              <a:noFill/>
              <a:prstDash val="solid"/>
            </a:ln>
            <a:effectLst>
              <a:outerShdw blurRad="50800" dist="38100" dir="2700000" algn="tl" rotWithShape="0">
                <a:prstClr val="black">
                  <a:alpha val="40000"/>
                </a:prstClr>
              </a:outerShdw>
            </a:effectLst>
          </p:spPr>
          <p:txBody>
            <a:bodyPr rtlCol="0" anchor="b"/>
            <a:lstStyle/>
            <a:p>
              <a:pPr algn="ctr" defTabSz="685800" fontAlgn="base">
                <a:spcBef>
                  <a:spcPct val="0"/>
                </a:spcBef>
                <a:spcAft>
                  <a:spcPct val="0"/>
                </a:spcAft>
                <a:defRPr/>
              </a:pPr>
              <a:endParaRPr lang="en-US" sz="1050" b="1" kern="0">
                <a:solidFill>
                  <a:srgbClr val="000000"/>
                </a:solidFill>
                <a:latin typeface="Arial"/>
              </a:endParaRPr>
            </a:p>
          </p:txBody>
        </p:sp>
        <p:grpSp>
          <p:nvGrpSpPr>
            <p:cNvPr id="28" name="Groupe 723">
              <a:extLst>
                <a:ext uri="{FF2B5EF4-FFF2-40B4-BE49-F238E27FC236}">
                  <a16:creationId xmlns:a16="http://schemas.microsoft.com/office/drawing/2014/main" id="{5BE5D13C-315B-40E3-BF5C-D2782ACC7A64}"/>
                </a:ext>
              </a:extLst>
            </p:cNvPr>
            <p:cNvGrpSpPr/>
            <p:nvPr/>
          </p:nvGrpSpPr>
          <p:grpSpPr>
            <a:xfrm>
              <a:off x="1356332" y="1525634"/>
              <a:ext cx="667227" cy="404957"/>
              <a:chOff x="1735113" y="1331714"/>
              <a:chExt cx="366713" cy="265113"/>
            </a:xfrm>
          </p:grpSpPr>
          <p:sp>
            <p:nvSpPr>
              <p:cNvPr id="29" name="Freeform 282">
                <a:extLst>
                  <a:ext uri="{FF2B5EF4-FFF2-40B4-BE49-F238E27FC236}">
                    <a16:creationId xmlns:a16="http://schemas.microsoft.com/office/drawing/2014/main" id="{A4C620F8-B8E1-4F4C-9C18-24F230814D73}"/>
                  </a:ext>
                </a:extLst>
              </p:cNvPr>
              <p:cNvSpPr>
                <a:spLocks/>
              </p:cNvSpPr>
              <p:nvPr/>
            </p:nvSpPr>
            <p:spPr bwMode="auto">
              <a:xfrm>
                <a:off x="1735113" y="1338064"/>
                <a:ext cx="215900" cy="217487"/>
              </a:xfrm>
              <a:custGeom>
                <a:avLst/>
                <a:gdLst/>
                <a:ahLst/>
                <a:cxnLst>
                  <a:cxn ang="0">
                    <a:pos x="53" y="118"/>
                  </a:cxn>
                  <a:cxn ang="0">
                    <a:pos x="61" y="133"/>
                  </a:cxn>
                  <a:cxn ang="0">
                    <a:pos x="62" y="136"/>
                  </a:cxn>
                  <a:cxn ang="0">
                    <a:pos x="63" y="137"/>
                  </a:cxn>
                  <a:cxn ang="0">
                    <a:pos x="65" y="137"/>
                  </a:cxn>
                  <a:cxn ang="0">
                    <a:pos x="82" y="136"/>
                  </a:cxn>
                  <a:cxn ang="0">
                    <a:pos x="85" y="134"/>
                  </a:cxn>
                  <a:cxn ang="0">
                    <a:pos x="85" y="117"/>
                  </a:cxn>
                  <a:cxn ang="0">
                    <a:pos x="100" y="125"/>
                  </a:cxn>
                  <a:cxn ang="0">
                    <a:pos x="103" y="127"/>
                  </a:cxn>
                  <a:cxn ang="0">
                    <a:pos x="105" y="125"/>
                  </a:cxn>
                  <a:cxn ang="0">
                    <a:pos x="119" y="114"/>
                  </a:cxn>
                  <a:cxn ang="0">
                    <a:pos x="120" y="112"/>
                  </a:cxn>
                  <a:cxn ang="0">
                    <a:pos x="110" y="98"/>
                  </a:cxn>
                  <a:cxn ang="0">
                    <a:pos x="127" y="96"/>
                  </a:cxn>
                  <a:cxn ang="0">
                    <a:pos x="130" y="95"/>
                  </a:cxn>
                  <a:cxn ang="0">
                    <a:pos x="132" y="93"/>
                  </a:cxn>
                  <a:cxn ang="0">
                    <a:pos x="136" y="75"/>
                  </a:cxn>
                  <a:cxn ang="0">
                    <a:pos x="136" y="72"/>
                  </a:cxn>
                  <a:cxn ang="0">
                    <a:pos x="119" y="67"/>
                  </a:cxn>
                  <a:cxn ang="0">
                    <a:pos x="132" y="56"/>
                  </a:cxn>
                  <a:cxn ang="0">
                    <a:pos x="134" y="53"/>
                  </a:cxn>
                  <a:cxn ang="0">
                    <a:pos x="134" y="51"/>
                  </a:cxn>
                  <a:cxn ang="0">
                    <a:pos x="127" y="34"/>
                  </a:cxn>
                  <a:cxn ang="0">
                    <a:pos x="124" y="32"/>
                  </a:cxn>
                  <a:cxn ang="0">
                    <a:pos x="108" y="38"/>
                  </a:cxn>
                  <a:cxn ang="0">
                    <a:pos x="111" y="20"/>
                  </a:cxn>
                  <a:cxn ang="0">
                    <a:pos x="113" y="18"/>
                  </a:cxn>
                  <a:cxn ang="0">
                    <a:pos x="110" y="15"/>
                  </a:cxn>
                  <a:cxn ang="0">
                    <a:pos x="95" y="6"/>
                  </a:cxn>
                  <a:cxn ang="0">
                    <a:pos x="90" y="8"/>
                  </a:cxn>
                  <a:cxn ang="0">
                    <a:pos x="76" y="19"/>
                  </a:cxn>
                  <a:cxn ang="0">
                    <a:pos x="75" y="4"/>
                  </a:cxn>
                  <a:cxn ang="0">
                    <a:pos x="73" y="1"/>
                  </a:cxn>
                  <a:cxn ang="0">
                    <a:pos x="53" y="3"/>
                  </a:cxn>
                  <a:cxn ang="0">
                    <a:pos x="51" y="4"/>
                  </a:cxn>
                  <a:cxn ang="0">
                    <a:pos x="51" y="22"/>
                  </a:cxn>
                  <a:cxn ang="0">
                    <a:pos x="35" y="11"/>
                  </a:cxn>
                  <a:cxn ang="0">
                    <a:pos x="33" y="10"/>
                  </a:cxn>
                  <a:cxn ang="0">
                    <a:pos x="16" y="24"/>
                  </a:cxn>
                  <a:cxn ang="0">
                    <a:pos x="15" y="27"/>
                  </a:cxn>
                  <a:cxn ang="0">
                    <a:pos x="16" y="29"/>
                  </a:cxn>
                  <a:cxn ang="0">
                    <a:pos x="23" y="44"/>
                  </a:cxn>
                  <a:cxn ang="0">
                    <a:pos x="9" y="42"/>
                  </a:cxn>
                  <a:cxn ang="0">
                    <a:pos x="6" y="42"/>
                  </a:cxn>
                  <a:cxn ang="0">
                    <a:pos x="0" y="62"/>
                  </a:cxn>
                  <a:cxn ang="0">
                    <a:pos x="0" y="66"/>
                  </a:cxn>
                  <a:cxn ang="0">
                    <a:pos x="2" y="67"/>
                  </a:cxn>
                  <a:cxn ang="0">
                    <a:pos x="18" y="76"/>
                  </a:cxn>
                  <a:cxn ang="0">
                    <a:pos x="4" y="81"/>
                  </a:cxn>
                  <a:cxn ang="0">
                    <a:pos x="2" y="86"/>
                  </a:cxn>
                  <a:cxn ang="0">
                    <a:pos x="9" y="104"/>
                  </a:cxn>
                  <a:cxn ang="0">
                    <a:pos x="11" y="105"/>
                  </a:cxn>
                  <a:cxn ang="0">
                    <a:pos x="28" y="100"/>
                  </a:cxn>
                  <a:cxn ang="0">
                    <a:pos x="24" y="117"/>
                  </a:cxn>
                </a:cxnLst>
                <a:rect l="0" t="0" r="r" b="b"/>
                <a:pathLst>
                  <a:path w="136" h="137">
                    <a:moveTo>
                      <a:pt x="46" y="131"/>
                    </a:moveTo>
                    <a:lnTo>
                      <a:pt x="53" y="118"/>
                    </a:lnTo>
                    <a:lnTo>
                      <a:pt x="59" y="119"/>
                    </a:lnTo>
                    <a:lnTo>
                      <a:pt x="61" y="133"/>
                    </a:lnTo>
                    <a:lnTo>
                      <a:pt x="61" y="133"/>
                    </a:lnTo>
                    <a:lnTo>
                      <a:pt x="62" y="136"/>
                    </a:lnTo>
                    <a:lnTo>
                      <a:pt x="62" y="136"/>
                    </a:lnTo>
                    <a:lnTo>
                      <a:pt x="63" y="137"/>
                    </a:lnTo>
                    <a:lnTo>
                      <a:pt x="63" y="137"/>
                    </a:lnTo>
                    <a:lnTo>
                      <a:pt x="65" y="137"/>
                    </a:lnTo>
                    <a:lnTo>
                      <a:pt x="82" y="136"/>
                    </a:lnTo>
                    <a:lnTo>
                      <a:pt x="82" y="136"/>
                    </a:lnTo>
                    <a:lnTo>
                      <a:pt x="85" y="134"/>
                    </a:lnTo>
                    <a:lnTo>
                      <a:pt x="85" y="134"/>
                    </a:lnTo>
                    <a:lnTo>
                      <a:pt x="86" y="131"/>
                    </a:lnTo>
                    <a:lnTo>
                      <a:pt x="85" y="117"/>
                    </a:lnTo>
                    <a:lnTo>
                      <a:pt x="90" y="114"/>
                    </a:lnTo>
                    <a:lnTo>
                      <a:pt x="100" y="125"/>
                    </a:lnTo>
                    <a:lnTo>
                      <a:pt x="100" y="125"/>
                    </a:lnTo>
                    <a:lnTo>
                      <a:pt x="103" y="127"/>
                    </a:lnTo>
                    <a:lnTo>
                      <a:pt x="103" y="127"/>
                    </a:lnTo>
                    <a:lnTo>
                      <a:pt x="105" y="125"/>
                    </a:lnTo>
                    <a:lnTo>
                      <a:pt x="119" y="114"/>
                    </a:lnTo>
                    <a:lnTo>
                      <a:pt x="119" y="114"/>
                    </a:lnTo>
                    <a:lnTo>
                      <a:pt x="120" y="112"/>
                    </a:lnTo>
                    <a:lnTo>
                      <a:pt x="120" y="112"/>
                    </a:lnTo>
                    <a:lnTo>
                      <a:pt x="119" y="109"/>
                    </a:lnTo>
                    <a:lnTo>
                      <a:pt x="110" y="98"/>
                    </a:lnTo>
                    <a:lnTo>
                      <a:pt x="113" y="93"/>
                    </a:lnTo>
                    <a:lnTo>
                      <a:pt x="127" y="96"/>
                    </a:lnTo>
                    <a:lnTo>
                      <a:pt x="127" y="96"/>
                    </a:lnTo>
                    <a:lnTo>
                      <a:pt x="130" y="95"/>
                    </a:lnTo>
                    <a:lnTo>
                      <a:pt x="130" y="95"/>
                    </a:lnTo>
                    <a:lnTo>
                      <a:pt x="132" y="93"/>
                    </a:lnTo>
                    <a:lnTo>
                      <a:pt x="136" y="75"/>
                    </a:lnTo>
                    <a:lnTo>
                      <a:pt x="136" y="75"/>
                    </a:lnTo>
                    <a:lnTo>
                      <a:pt x="136" y="72"/>
                    </a:lnTo>
                    <a:lnTo>
                      <a:pt x="136" y="72"/>
                    </a:lnTo>
                    <a:lnTo>
                      <a:pt x="133" y="71"/>
                    </a:lnTo>
                    <a:lnTo>
                      <a:pt x="119" y="67"/>
                    </a:lnTo>
                    <a:lnTo>
                      <a:pt x="118" y="62"/>
                    </a:lnTo>
                    <a:lnTo>
                      <a:pt x="132" y="56"/>
                    </a:lnTo>
                    <a:lnTo>
                      <a:pt x="132" y="56"/>
                    </a:lnTo>
                    <a:lnTo>
                      <a:pt x="134" y="53"/>
                    </a:lnTo>
                    <a:lnTo>
                      <a:pt x="134" y="53"/>
                    </a:lnTo>
                    <a:lnTo>
                      <a:pt x="134" y="51"/>
                    </a:lnTo>
                    <a:lnTo>
                      <a:pt x="127" y="34"/>
                    </a:lnTo>
                    <a:lnTo>
                      <a:pt x="127" y="34"/>
                    </a:lnTo>
                    <a:lnTo>
                      <a:pt x="124" y="32"/>
                    </a:lnTo>
                    <a:lnTo>
                      <a:pt x="124" y="32"/>
                    </a:lnTo>
                    <a:lnTo>
                      <a:pt x="122" y="32"/>
                    </a:lnTo>
                    <a:lnTo>
                      <a:pt x="108" y="38"/>
                    </a:lnTo>
                    <a:lnTo>
                      <a:pt x="104" y="33"/>
                    </a:lnTo>
                    <a:lnTo>
                      <a:pt x="111" y="20"/>
                    </a:lnTo>
                    <a:lnTo>
                      <a:pt x="111" y="20"/>
                    </a:lnTo>
                    <a:lnTo>
                      <a:pt x="113" y="18"/>
                    </a:lnTo>
                    <a:lnTo>
                      <a:pt x="113" y="18"/>
                    </a:lnTo>
                    <a:lnTo>
                      <a:pt x="110" y="15"/>
                    </a:lnTo>
                    <a:lnTo>
                      <a:pt x="95" y="6"/>
                    </a:lnTo>
                    <a:lnTo>
                      <a:pt x="95" y="6"/>
                    </a:lnTo>
                    <a:lnTo>
                      <a:pt x="92" y="6"/>
                    </a:lnTo>
                    <a:lnTo>
                      <a:pt x="90" y="8"/>
                    </a:lnTo>
                    <a:lnTo>
                      <a:pt x="82" y="20"/>
                    </a:lnTo>
                    <a:lnTo>
                      <a:pt x="76" y="19"/>
                    </a:lnTo>
                    <a:lnTo>
                      <a:pt x="75" y="4"/>
                    </a:lnTo>
                    <a:lnTo>
                      <a:pt x="75" y="4"/>
                    </a:lnTo>
                    <a:lnTo>
                      <a:pt x="73" y="1"/>
                    </a:lnTo>
                    <a:lnTo>
                      <a:pt x="73" y="1"/>
                    </a:lnTo>
                    <a:lnTo>
                      <a:pt x="71" y="0"/>
                    </a:lnTo>
                    <a:lnTo>
                      <a:pt x="53" y="3"/>
                    </a:lnTo>
                    <a:lnTo>
                      <a:pt x="53" y="3"/>
                    </a:lnTo>
                    <a:lnTo>
                      <a:pt x="51" y="4"/>
                    </a:lnTo>
                    <a:lnTo>
                      <a:pt x="49" y="6"/>
                    </a:lnTo>
                    <a:lnTo>
                      <a:pt x="51" y="22"/>
                    </a:lnTo>
                    <a:lnTo>
                      <a:pt x="46" y="23"/>
                    </a:lnTo>
                    <a:lnTo>
                      <a:pt x="35" y="11"/>
                    </a:lnTo>
                    <a:lnTo>
                      <a:pt x="35" y="11"/>
                    </a:lnTo>
                    <a:lnTo>
                      <a:pt x="33" y="10"/>
                    </a:lnTo>
                    <a:lnTo>
                      <a:pt x="30" y="11"/>
                    </a:lnTo>
                    <a:lnTo>
                      <a:pt x="16" y="24"/>
                    </a:lnTo>
                    <a:lnTo>
                      <a:pt x="16" y="24"/>
                    </a:lnTo>
                    <a:lnTo>
                      <a:pt x="15" y="27"/>
                    </a:lnTo>
                    <a:lnTo>
                      <a:pt x="15" y="27"/>
                    </a:lnTo>
                    <a:lnTo>
                      <a:pt x="16" y="29"/>
                    </a:lnTo>
                    <a:lnTo>
                      <a:pt x="25" y="41"/>
                    </a:lnTo>
                    <a:lnTo>
                      <a:pt x="23" y="44"/>
                    </a:lnTo>
                    <a:lnTo>
                      <a:pt x="9" y="42"/>
                    </a:lnTo>
                    <a:lnTo>
                      <a:pt x="9" y="42"/>
                    </a:lnTo>
                    <a:lnTo>
                      <a:pt x="6" y="42"/>
                    </a:lnTo>
                    <a:lnTo>
                      <a:pt x="6" y="42"/>
                    </a:lnTo>
                    <a:lnTo>
                      <a:pt x="4" y="44"/>
                    </a:lnTo>
                    <a:lnTo>
                      <a:pt x="0" y="62"/>
                    </a:lnTo>
                    <a:lnTo>
                      <a:pt x="0" y="62"/>
                    </a:lnTo>
                    <a:lnTo>
                      <a:pt x="0" y="66"/>
                    </a:lnTo>
                    <a:lnTo>
                      <a:pt x="0" y="66"/>
                    </a:lnTo>
                    <a:lnTo>
                      <a:pt x="2" y="67"/>
                    </a:lnTo>
                    <a:lnTo>
                      <a:pt x="16" y="70"/>
                    </a:lnTo>
                    <a:lnTo>
                      <a:pt x="18" y="76"/>
                    </a:lnTo>
                    <a:lnTo>
                      <a:pt x="4" y="81"/>
                    </a:lnTo>
                    <a:lnTo>
                      <a:pt x="4" y="81"/>
                    </a:lnTo>
                    <a:lnTo>
                      <a:pt x="2" y="84"/>
                    </a:lnTo>
                    <a:lnTo>
                      <a:pt x="2" y="86"/>
                    </a:lnTo>
                    <a:lnTo>
                      <a:pt x="9" y="104"/>
                    </a:lnTo>
                    <a:lnTo>
                      <a:pt x="9" y="104"/>
                    </a:lnTo>
                    <a:lnTo>
                      <a:pt x="11" y="105"/>
                    </a:lnTo>
                    <a:lnTo>
                      <a:pt x="11" y="105"/>
                    </a:lnTo>
                    <a:lnTo>
                      <a:pt x="14" y="105"/>
                    </a:lnTo>
                    <a:lnTo>
                      <a:pt x="28" y="100"/>
                    </a:lnTo>
                    <a:lnTo>
                      <a:pt x="32" y="104"/>
                    </a:lnTo>
                    <a:lnTo>
                      <a:pt x="24" y="117"/>
                    </a:lnTo>
                  </a:path>
                </a:pathLst>
              </a:custGeom>
              <a:noFill/>
              <a:ln w="19050">
                <a:solidFill>
                  <a:srgbClr val="00573B"/>
                </a:solidFill>
                <a:prstDash val="solid"/>
                <a:round/>
                <a:headEnd/>
                <a:tailEnd/>
              </a:ln>
            </p:spPr>
            <p:txBody>
              <a:bodyPr vert="horz" wrap="square" lIns="68580" tIns="34290" rIns="68580" bIns="34290" numCol="1" anchor="t" anchorCtr="0" compatLnSpc="1">
                <a:prstTxWarp prst="textNoShape">
                  <a:avLst/>
                </a:prstTxWarp>
              </a:bodyPr>
              <a:lstStyle/>
              <a:p>
                <a:pPr defTabSz="685800" fontAlgn="base">
                  <a:spcBef>
                    <a:spcPct val="0"/>
                  </a:spcBef>
                  <a:spcAft>
                    <a:spcPct val="0"/>
                  </a:spcAft>
                  <a:defRPr/>
                </a:pPr>
                <a:endParaRPr lang="en-US" sz="1350" kern="0">
                  <a:solidFill>
                    <a:srgbClr val="000000"/>
                  </a:solidFill>
                  <a:latin typeface="Arial"/>
                  <a:cs typeface="Arial" charset="0"/>
                </a:endParaRPr>
              </a:p>
            </p:txBody>
          </p:sp>
          <p:sp>
            <p:nvSpPr>
              <p:cNvPr id="30" name="Freeform 283">
                <a:extLst>
                  <a:ext uri="{FF2B5EF4-FFF2-40B4-BE49-F238E27FC236}">
                    <a16:creationId xmlns:a16="http://schemas.microsoft.com/office/drawing/2014/main" id="{A38DEE79-A2FC-4458-8317-3160BDDE1596}"/>
                  </a:ext>
                </a:extLst>
              </p:cNvPr>
              <p:cNvSpPr>
                <a:spLocks/>
              </p:cNvSpPr>
              <p:nvPr/>
            </p:nvSpPr>
            <p:spPr bwMode="auto">
              <a:xfrm>
                <a:off x="1812901" y="1419027"/>
                <a:ext cx="58738" cy="57150"/>
              </a:xfrm>
              <a:custGeom>
                <a:avLst/>
                <a:gdLst/>
                <a:ahLst/>
                <a:cxnLst>
                  <a:cxn ang="0">
                    <a:pos x="37" y="21"/>
                  </a:cxn>
                  <a:cxn ang="0">
                    <a:pos x="37" y="21"/>
                  </a:cxn>
                  <a:cxn ang="0">
                    <a:pos x="33" y="29"/>
                  </a:cxn>
                  <a:cxn ang="0">
                    <a:pos x="28" y="34"/>
                  </a:cxn>
                  <a:cxn ang="0">
                    <a:pos x="22" y="36"/>
                  </a:cxn>
                  <a:cxn ang="0">
                    <a:pos x="14" y="36"/>
                  </a:cxn>
                  <a:cxn ang="0">
                    <a:pos x="14" y="36"/>
                  </a:cxn>
                  <a:cxn ang="0">
                    <a:pos x="8" y="33"/>
                  </a:cxn>
                  <a:cxn ang="0">
                    <a:pos x="3" y="28"/>
                  </a:cxn>
                  <a:cxn ang="0">
                    <a:pos x="0" y="21"/>
                  </a:cxn>
                  <a:cxn ang="0">
                    <a:pos x="0" y="14"/>
                  </a:cxn>
                  <a:cxn ang="0">
                    <a:pos x="0" y="14"/>
                  </a:cxn>
                  <a:cxn ang="0">
                    <a:pos x="4" y="7"/>
                  </a:cxn>
                  <a:cxn ang="0">
                    <a:pos x="9" y="2"/>
                  </a:cxn>
                  <a:cxn ang="0">
                    <a:pos x="16" y="0"/>
                  </a:cxn>
                  <a:cxn ang="0">
                    <a:pos x="23" y="0"/>
                  </a:cxn>
                  <a:cxn ang="0">
                    <a:pos x="23" y="0"/>
                  </a:cxn>
                  <a:cxn ang="0">
                    <a:pos x="29" y="2"/>
                  </a:cxn>
                  <a:cxn ang="0">
                    <a:pos x="35" y="7"/>
                  </a:cxn>
                  <a:cxn ang="0">
                    <a:pos x="37" y="15"/>
                  </a:cxn>
                  <a:cxn ang="0">
                    <a:pos x="37" y="21"/>
                  </a:cxn>
                  <a:cxn ang="0">
                    <a:pos x="37" y="21"/>
                  </a:cxn>
                </a:cxnLst>
                <a:rect l="0" t="0" r="r" b="b"/>
                <a:pathLst>
                  <a:path w="37" h="36">
                    <a:moveTo>
                      <a:pt x="37" y="21"/>
                    </a:moveTo>
                    <a:lnTo>
                      <a:pt x="37" y="21"/>
                    </a:lnTo>
                    <a:lnTo>
                      <a:pt x="33" y="29"/>
                    </a:lnTo>
                    <a:lnTo>
                      <a:pt x="28" y="34"/>
                    </a:lnTo>
                    <a:lnTo>
                      <a:pt x="22" y="36"/>
                    </a:lnTo>
                    <a:lnTo>
                      <a:pt x="14" y="36"/>
                    </a:lnTo>
                    <a:lnTo>
                      <a:pt x="14" y="36"/>
                    </a:lnTo>
                    <a:lnTo>
                      <a:pt x="8" y="33"/>
                    </a:lnTo>
                    <a:lnTo>
                      <a:pt x="3" y="28"/>
                    </a:lnTo>
                    <a:lnTo>
                      <a:pt x="0" y="21"/>
                    </a:lnTo>
                    <a:lnTo>
                      <a:pt x="0" y="14"/>
                    </a:lnTo>
                    <a:lnTo>
                      <a:pt x="0" y="14"/>
                    </a:lnTo>
                    <a:lnTo>
                      <a:pt x="4" y="7"/>
                    </a:lnTo>
                    <a:lnTo>
                      <a:pt x="9" y="2"/>
                    </a:lnTo>
                    <a:lnTo>
                      <a:pt x="16" y="0"/>
                    </a:lnTo>
                    <a:lnTo>
                      <a:pt x="23" y="0"/>
                    </a:lnTo>
                    <a:lnTo>
                      <a:pt x="23" y="0"/>
                    </a:lnTo>
                    <a:lnTo>
                      <a:pt x="29" y="2"/>
                    </a:lnTo>
                    <a:lnTo>
                      <a:pt x="35" y="7"/>
                    </a:lnTo>
                    <a:lnTo>
                      <a:pt x="37" y="15"/>
                    </a:lnTo>
                    <a:lnTo>
                      <a:pt x="37" y="21"/>
                    </a:lnTo>
                    <a:lnTo>
                      <a:pt x="37" y="21"/>
                    </a:lnTo>
                  </a:path>
                </a:pathLst>
              </a:custGeom>
              <a:noFill/>
              <a:ln w="19050">
                <a:solidFill>
                  <a:srgbClr val="00573B"/>
                </a:solidFill>
                <a:prstDash val="solid"/>
                <a:round/>
                <a:headEnd/>
                <a:tailEnd/>
              </a:ln>
            </p:spPr>
            <p:txBody>
              <a:bodyPr vert="horz" wrap="square" lIns="68580" tIns="34290" rIns="68580" bIns="34290" numCol="1" anchor="t" anchorCtr="0" compatLnSpc="1">
                <a:prstTxWarp prst="textNoShape">
                  <a:avLst/>
                </a:prstTxWarp>
              </a:bodyPr>
              <a:lstStyle/>
              <a:p>
                <a:pPr defTabSz="685800" fontAlgn="base">
                  <a:spcBef>
                    <a:spcPct val="0"/>
                  </a:spcBef>
                  <a:spcAft>
                    <a:spcPct val="0"/>
                  </a:spcAft>
                  <a:defRPr/>
                </a:pPr>
                <a:endParaRPr lang="en-US" sz="1350" kern="0">
                  <a:solidFill>
                    <a:srgbClr val="000000"/>
                  </a:solidFill>
                  <a:latin typeface="Arial"/>
                  <a:cs typeface="Arial" charset="0"/>
                </a:endParaRPr>
              </a:p>
            </p:txBody>
          </p:sp>
          <p:sp>
            <p:nvSpPr>
              <p:cNvPr id="31" name="Freeform 284">
                <a:extLst>
                  <a:ext uri="{FF2B5EF4-FFF2-40B4-BE49-F238E27FC236}">
                    <a16:creationId xmlns:a16="http://schemas.microsoft.com/office/drawing/2014/main" id="{0EA84680-20E3-465C-AA48-B51ACB1BDB78}"/>
                  </a:ext>
                </a:extLst>
              </p:cNvPr>
              <p:cNvSpPr>
                <a:spLocks noEditPoints="1"/>
              </p:cNvSpPr>
              <p:nvPr/>
            </p:nvSpPr>
            <p:spPr bwMode="auto">
              <a:xfrm>
                <a:off x="1951013" y="1331714"/>
                <a:ext cx="150813" cy="153987"/>
              </a:xfrm>
              <a:custGeom>
                <a:avLst/>
                <a:gdLst/>
                <a:ahLst/>
                <a:cxnLst>
                  <a:cxn ang="0">
                    <a:pos x="84" y="76"/>
                  </a:cxn>
                  <a:cxn ang="0">
                    <a:pos x="89" y="67"/>
                  </a:cxn>
                  <a:cxn ang="0">
                    <a:pos x="91" y="67"/>
                  </a:cxn>
                  <a:cxn ang="0">
                    <a:pos x="95" y="52"/>
                  </a:cxn>
                  <a:cxn ang="0">
                    <a:pos x="93" y="50"/>
                  </a:cxn>
                  <a:cxn ang="0">
                    <a:pos x="92" y="38"/>
                  </a:cxn>
                  <a:cxn ang="0">
                    <a:pos x="93" y="37"/>
                  </a:cxn>
                  <a:cxn ang="0">
                    <a:pos x="88" y="23"/>
                  </a:cxn>
                  <a:cxn ang="0">
                    <a:pos x="76" y="27"/>
                  </a:cxn>
                  <a:cxn ang="0">
                    <a:pos x="78" y="14"/>
                  </a:cxn>
                  <a:cxn ang="0">
                    <a:pos x="77" y="10"/>
                  </a:cxn>
                  <a:cxn ang="0">
                    <a:pos x="63" y="4"/>
                  </a:cxn>
                  <a:cxn ang="0">
                    <a:pos x="53" y="13"/>
                  </a:cxn>
                  <a:cxn ang="0">
                    <a:pos x="50" y="2"/>
                  </a:cxn>
                  <a:cxn ang="0">
                    <a:pos x="35" y="2"/>
                  </a:cxn>
                  <a:cxn ang="0">
                    <a:pos x="34" y="5"/>
                  </a:cxn>
                  <a:cxn ang="0">
                    <a:pos x="24" y="9"/>
                  </a:cxn>
                  <a:cxn ang="0">
                    <a:pos x="22" y="8"/>
                  </a:cxn>
                  <a:cxn ang="0">
                    <a:pos x="10" y="18"/>
                  </a:cxn>
                  <a:cxn ang="0">
                    <a:pos x="10" y="22"/>
                  </a:cxn>
                  <a:cxn ang="0">
                    <a:pos x="5" y="31"/>
                  </a:cxn>
                  <a:cxn ang="0">
                    <a:pos x="2" y="32"/>
                  </a:cxn>
                  <a:cxn ang="0">
                    <a:pos x="0" y="47"/>
                  </a:cxn>
                  <a:cxn ang="0">
                    <a:pos x="11" y="51"/>
                  </a:cxn>
                  <a:cxn ang="0">
                    <a:pos x="2" y="59"/>
                  </a:cxn>
                  <a:cxn ang="0">
                    <a:pos x="6" y="74"/>
                  </a:cxn>
                  <a:cxn ang="0">
                    <a:pos x="7" y="75"/>
                  </a:cxn>
                  <a:cxn ang="0">
                    <a:pos x="21" y="74"/>
                  </a:cxn>
                  <a:cxn ang="0">
                    <a:pos x="16" y="85"/>
                  </a:cxn>
                  <a:cxn ang="0">
                    <a:pos x="17" y="86"/>
                  </a:cxn>
                  <a:cxn ang="0">
                    <a:pos x="29" y="94"/>
                  </a:cxn>
                  <a:cxn ang="0">
                    <a:pos x="32" y="93"/>
                  </a:cxn>
                  <a:cxn ang="0">
                    <a:pos x="43" y="95"/>
                  </a:cxn>
                  <a:cxn ang="0">
                    <a:pos x="44" y="97"/>
                  </a:cxn>
                  <a:cxn ang="0">
                    <a:pos x="58" y="95"/>
                  </a:cxn>
                  <a:cxn ang="0">
                    <a:pos x="60" y="93"/>
                  </a:cxn>
                  <a:cxn ang="0">
                    <a:pos x="70" y="89"/>
                  </a:cxn>
                  <a:cxn ang="0">
                    <a:pos x="72" y="89"/>
                  </a:cxn>
                  <a:cxn ang="0">
                    <a:pos x="83" y="80"/>
                  </a:cxn>
                  <a:cxn ang="0">
                    <a:pos x="55" y="59"/>
                  </a:cxn>
                  <a:cxn ang="0">
                    <a:pos x="46" y="62"/>
                  </a:cxn>
                  <a:cxn ang="0">
                    <a:pos x="38" y="57"/>
                  </a:cxn>
                  <a:cxn ang="0">
                    <a:pos x="35" y="43"/>
                  </a:cxn>
                  <a:cxn ang="0">
                    <a:pos x="43" y="37"/>
                  </a:cxn>
                  <a:cxn ang="0">
                    <a:pos x="57" y="40"/>
                  </a:cxn>
                  <a:cxn ang="0">
                    <a:pos x="60" y="50"/>
                  </a:cxn>
                  <a:cxn ang="0">
                    <a:pos x="55" y="59"/>
                  </a:cxn>
                </a:cxnLst>
                <a:rect l="0" t="0" r="r" b="b"/>
                <a:pathLst>
                  <a:path w="95" h="97">
                    <a:moveTo>
                      <a:pt x="84" y="78"/>
                    </a:moveTo>
                    <a:lnTo>
                      <a:pt x="84" y="78"/>
                    </a:lnTo>
                    <a:lnTo>
                      <a:pt x="84" y="76"/>
                    </a:lnTo>
                    <a:lnTo>
                      <a:pt x="77" y="69"/>
                    </a:lnTo>
                    <a:lnTo>
                      <a:pt x="79" y="65"/>
                    </a:lnTo>
                    <a:lnTo>
                      <a:pt x="89" y="67"/>
                    </a:lnTo>
                    <a:lnTo>
                      <a:pt x="89" y="67"/>
                    </a:lnTo>
                    <a:lnTo>
                      <a:pt x="91" y="67"/>
                    </a:lnTo>
                    <a:lnTo>
                      <a:pt x="91" y="67"/>
                    </a:lnTo>
                    <a:lnTo>
                      <a:pt x="92" y="65"/>
                    </a:lnTo>
                    <a:lnTo>
                      <a:pt x="95" y="52"/>
                    </a:lnTo>
                    <a:lnTo>
                      <a:pt x="95" y="52"/>
                    </a:lnTo>
                    <a:lnTo>
                      <a:pt x="95" y="51"/>
                    </a:lnTo>
                    <a:lnTo>
                      <a:pt x="95" y="51"/>
                    </a:lnTo>
                    <a:lnTo>
                      <a:pt x="93" y="50"/>
                    </a:lnTo>
                    <a:lnTo>
                      <a:pt x="83" y="47"/>
                    </a:lnTo>
                    <a:lnTo>
                      <a:pt x="82" y="43"/>
                    </a:lnTo>
                    <a:lnTo>
                      <a:pt x="92" y="38"/>
                    </a:lnTo>
                    <a:lnTo>
                      <a:pt x="92" y="38"/>
                    </a:lnTo>
                    <a:lnTo>
                      <a:pt x="93" y="37"/>
                    </a:lnTo>
                    <a:lnTo>
                      <a:pt x="93" y="37"/>
                    </a:lnTo>
                    <a:lnTo>
                      <a:pt x="93" y="36"/>
                    </a:lnTo>
                    <a:lnTo>
                      <a:pt x="88" y="23"/>
                    </a:lnTo>
                    <a:lnTo>
                      <a:pt x="88" y="23"/>
                    </a:lnTo>
                    <a:lnTo>
                      <a:pt x="87" y="22"/>
                    </a:lnTo>
                    <a:lnTo>
                      <a:pt x="84" y="22"/>
                    </a:lnTo>
                    <a:lnTo>
                      <a:pt x="76" y="27"/>
                    </a:lnTo>
                    <a:lnTo>
                      <a:pt x="73" y="23"/>
                    </a:lnTo>
                    <a:lnTo>
                      <a:pt x="78" y="14"/>
                    </a:lnTo>
                    <a:lnTo>
                      <a:pt x="78" y="14"/>
                    </a:lnTo>
                    <a:lnTo>
                      <a:pt x="78" y="13"/>
                    </a:lnTo>
                    <a:lnTo>
                      <a:pt x="78" y="13"/>
                    </a:lnTo>
                    <a:lnTo>
                      <a:pt x="77" y="10"/>
                    </a:lnTo>
                    <a:lnTo>
                      <a:pt x="65" y="4"/>
                    </a:lnTo>
                    <a:lnTo>
                      <a:pt x="65" y="4"/>
                    </a:lnTo>
                    <a:lnTo>
                      <a:pt x="63" y="4"/>
                    </a:lnTo>
                    <a:lnTo>
                      <a:pt x="62" y="5"/>
                    </a:lnTo>
                    <a:lnTo>
                      <a:pt x="57" y="14"/>
                    </a:lnTo>
                    <a:lnTo>
                      <a:pt x="53" y="13"/>
                    </a:lnTo>
                    <a:lnTo>
                      <a:pt x="51" y="3"/>
                    </a:lnTo>
                    <a:lnTo>
                      <a:pt x="51" y="3"/>
                    </a:lnTo>
                    <a:lnTo>
                      <a:pt x="50" y="2"/>
                    </a:lnTo>
                    <a:lnTo>
                      <a:pt x="49" y="0"/>
                    </a:lnTo>
                    <a:lnTo>
                      <a:pt x="35" y="2"/>
                    </a:lnTo>
                    <a:lnTo>
                      <a:pt x="35" y="2"/>
                    </a:lnTo>
                    <a:lnTo>
                      <a:pt x="34" y="3"/>
                    </a:lnTo>
                    <a:lnTo>
                      <a:pt x="34" y="3"/>
                    </a:lnTo>
                    <a:lnTo>
                      <a:pt x="34" y="5"/>
                    </a:lnTo>
                    <a:lnTo>
                      <a:pt x="34" y="15"/>
                    </a:lnTo>
                    <a:lnTo>
                      <a:pt x="31" y="17"/>
                    </a:lnTo>
                    <a:lnTo>
                      <a:pt x="24" y="9"/>
                    </a:lnTo>
                    <a:lnTo>
                      <a:pt x="24" y="9"/>
                    </a:lnTo>
                    <a:lnTo>
                      <a:pt x="22" y="8"/>
                    </a:lnTo>
                    <a:lnTo>
                      <a:pt x="22" y="8"/>
                    </a:lnTo>
                    <a:lnTo>
                      <a:pt x="20" y="9"/>
                    </a:lnTo>
                    <a:lnTo>
                      <a:pt x="10" y="18"/>
                    </a:lnTo>
                    <a:lnTo>
                      <a:pt x="10" y="18"/>
                    </a:lnTo>
                    <a:lnTo>
                      <a:pt x="10" y="19"/>
                    </a:lnTo>
                    <a:lnTo>
                      <a:pt x="10" y="19"/>
                    </a:lnTo>
                    <a:lnTo>
                      <a:pt x="10" y="22"/>
                    </a:lnTo>
                    <a:lnTo>
                      <a:pt x="17" y="29"/>
                    </a:lnTo>
                    <a:lnTo>
                      <a:pt x="15" y="32"/>
                    </a:lnTo>
                    <a:lnTo>
                      <a:pt x="5" y="31"/>
                    </a:lnTo>
                    <a:lnTo>
                      <a:pt x="5" y="31"/>
                    </a:lnTo>
                    <a:lnTo>
                      <a:pt x="3" y="31"/>
                    </a:lnTo>
                    <a:lnTo>
                      <a:pt x="2" y="32"/>
                    </a:lnTo>
                    <a:lnTo>
                      <a:pt x="0" y="45"/>
                    </a:lnTo>
                    <a:lnTo>
                      <a:pt x="0" y="45"/>
                    </a:lnTo>
                    <a:lnTo>
                      <a:pt x="0" y="47"/>
                    </a:lnTo>
                    <a:lnTo>
                      <a:pt x="0" y="47"/>
                    </a:lnTo>
                    <a:lnTo>
                      <a:pt x="1" y="48"/>
                    </a:lnTo>
                    <a:lnTo>
                      <a:pt x="11" y="51"/>
                    </a:lnTo>
                    <a:lnTo>
                      <a:pt x="11" y="55"/>
                    </a:lnTo>
                    <a:lnTo>
                      <a:pt x="2" y="59"/>
                    </a:lnTo>
                    <a:lnTo>
                      <a:pt x="2" y="59"/>
                    </a:lnTo>
                    <a:lnTo>
                      <a:pt x="1" y="60"/>
                    </a:lnTo>
                    <a:lnTo>
                      <a:pt x="1" y="62"/>
                    </a:lnTo>
                    <a:lnTo>
                      <a:pt x="6" y="74"/>
                    </a:lnTo>
                    <a:lnTo>
                      <a:pt x="6" y="74"/>
                    </a:lnTo>
                    <a:lnTo>
                      <a:pt x="7" y="75"/>
                    </a:lnTo>
                    <a:lnTo>
                      <a:pt x="7" y="75"/>
                    </a:lnTo>
                    <a:lnTo>
                      <a:pt x="10" y="75"/>
                    </a:lnTo>
                    <a:lnTo>
                      <a:pt x="19" y="71"/>
                    </a:lnTo>
                    <a:lnTo>
                      <a:pt x="21" y="74"/>
                    </a:lnTo>
                    <a:lnTo>
                      <a:pt x="16" y="84"/>
                    </a:lnTo>
                    <a:lnTo>
                      <a:pt x="16" y="84"/>
                    </a:lnTo>
                    <a:lnTo>
                      <a:pt x="16" y="85"/>
                    </a:lnTo>
                    <a:lnTo>
                      <a:pt x="16" y="85"/>
                    </a:lnTo>
                    <a:lnTo>
                      <a:pt x="17" y="86"/>
                    </a:lnTo>
                    <a:lnTo>
                      <a:pt x="17" y="86"/>
                    </a:lnTo>
                    <a:lnTo>
                      <a:pt x="17" y="86"/>
                    </a:lnTo>
                    <a:lnTo>
                      <a:pt x="29" y="94"/>
                    </a:lnTo>
                    <a:lnTo>
                      <a:pt x="29" y="94"/>
                    </a:lnTo>
                    <a:lnTo>
                      <a:pt x="31" y="94"/>
                    </a:lnTo>
                    <a:lnTo>
                      <a:pt x="31" y="94"/>
                    </a:lnTo>
                    <a:lnTo>
                      <a:pt x="32" y="93"/>
                    </a:lnTo>
                    <a:lnTo>
                      <a:pt x="38" y="84"/>
                    </a:lnTo>
                    <a:lnTo>
                      <a:pt x="41" y="84"/>
                    </a:lnTo>
                    <a:lnTo>
                      <a:pt x="43" y="95"/>
                    </a:lnTo>
                    <a:lnTo>
                      <a:pt x="43" y="95"/>
                    </a:lnTo>
                    <a:lnTo>
                      <a:pt x="44" y="97"/>
                    </a:lnTo>
                    <a:lnTo>
                      <a:pt x="44" y="97"/>
                    </a:lnTo>
                    <a:lnTo>
                      <a:pt x="45" y="97"/>
                    </a:lnTo>
                    <a:lnTo>
                      <a:pt x="58" y="95"/>
                    </a:lnTo>
                    <a:lnTo>
                      <a:pt x="58" y="95"/>
                    </a:lnTo>
                    <a:lnTo>
                      <a:pt x="60" y="95"/>
                    </a:lnTo>
                    <a:lnTo>
                      <a:pt x="60" y="95"/>
                    </a:lnTo>
                    <a:lnTo>
                      <a:pt x="60" y="93"/>
                    </a:lnTo>
                    <a:lnTo>
                      <a:pt x="59" y="83"/>
                    </a:lnTo>
                    <a:lnTo>
                      <a:pt x="63" y="81"/>
                    </a:lnTo>
                    <a:lnTo>
                      <a:pt x="70" y="89"/>
                    </a:lnTo>
                    <a:lnTo>
                      <a:pt x="70" y="89"/>
                    </a:lnTo>
                    <a:lnTo>
                      <a:pt x="72" y="89"/>
                    </a:lnTo>
                    <a:lnTo>
                      <a:pt x="72" y="89"/>
                    </a:lnTo>
                    <a:lnTo>
                      <a:pt x="74" y="89"/>
                    </a:lnTo>
                    <a:lnTo>
                      <a:pt x="83" y="80"/>
                    </a:lnTo>
                    <a:lnTo>
                      <a:pt x="83" y="80"/>
                    </a:lnTo>
                    <a:lnTo>
                      <a:pt x="84" y="78"/>
                    </a:lnTo>
                    <a:lnTo>
                      <a:pt x="84" y="78"/>
                    </a:lnTo>
                    <a:close/>
                    <a:moveTo>
                      <a:pt x="55" y="59"/>
                    </a:moveTo>
                    <a:lnTo>
                      <a:pt x="55" y="59"/>
                    </a:lnTo>
                    <a:lnTo>
                      <a:pt x="51" y="61"/>
                    </a:lnTo>
                    <a:lnTo>
                      <a:pt x="46" y="62"/>
                    </a:lnTo>
                    <a:lnTo>
                      <a:pt x="41" y="61"/>
                    </a:lnTo>
                    <a:lnTo>
                      <a:pt x="38" y="57"/>
                    </a:lnTo>
                    <a:lnTo>
                      <a:pt x="38" y="57"/>
                    </a:lnTo>
                    <a:lnTo>
                      <a:pt x="35" y="53"/>
                    </a:lnTo>
                    <a:lnTo>
                      <a:pt x="34" y="48"/>
                    </a:lnTo>
                    <a:lnTo>
                      <a:pt x="35" y="43"/>
                    </a:lnTo>
                    <a:lnTo>
                      <a:pt x="39" y="40"/>
                    </a:lnTo>
                    <a:lnTo>
                      <a:pt x="39" y="40"/>
                    </a:lnTo>
                    <a:lnTo>
                      <a:pt x="43" y="37"/>
                    </a:lnTo>
                    <a:lnTo>
                      <a:pt x="48" y="36"/>
                    </a:lnTo>
                    <a:lnTo>
                      <a:pt x="53" y="37"/>
                    </a:lnTo>
                    <a:lnTo>
                      <a:pt x="57" y="40"/>
                    </a:lnTo>
                    <a:lnTo>
                      <a:pt x="57" y="40"/>
                    </a:lnTo>
                    <a:lnTo>
                      <a:pt x="59" y="45"/>
                    </a:lnTo>
                    <a:lnTo>
                      <a:pt x="60" y="50"/>
                    </a:lnTo>
                    <a:lnTo>
                      <a:pt x="59" y="55"/>
                    </a:lnTo>
                    <a:lnTo>
                      <a:pt x="55" y="59"/>
                    </a:lnTo>
                    <a:lnTo>
                      <a:pt x="55" y="59"/>
                    </a:lnTo>
                    <a:close/>
                  </a:path>
                </a:pathLst>
              </a:custGeom>
              <a:noFill/>
              <a:ln w="19050">
                <a:solidFill>
                  <a:srgbClr val="00573B"/>
                </a:solidFill>
                <a:prstDash val="solid"/>
                <a:round/>
                <a:headEnd/>
                <a:tailEnd/>
              </a:ln>
            </p:spPr>
            <p:txBody>
              <a:bodyPr vert="horz" wrap="square" lIns="68580" tIns="34290" rIns="68580" bIns="34290" numCol="1" anchor="t" anchorCtr="0" compatLnSpc="1">
                <a:prstTxWarp prst="textNoShape">
                  <a:avLst/>
                </a:prstTxWarp>
              </a:bodyPr>
              <a:lstStyle/>
              <a:p>
                <a:pPr defTabSz="685800" fontAlgn="base">
                  <a:spcBef>
                    <a:spcPct val="0"/>
                  </a:spcBef>
                  <a:spcAft>
                    <a:spcPct val="0"/>
                  </a:spcAft>
                  <a:defRPr/>
                </a:pPr>
                <a:endParaRPr lang="en-US" sz="1350" kern="0">
                  <a:solidFill>
                    <a:srgbClr val="000000"/>
                  </a:solidFill>
                  <a:latin typeface="Arial"/>
                  <a:cs typeface="Arial" charset="0"/>
                </a:endParaRPr>
              </a:p>
            </p:txBody>
          </p:sp>
          <p:sp>
            <p:nvSpPr>
              <p:cNvPr id="32" name="Freeform 285">
                <a:extLst>
                  <a:ext uri="{FF2B5EF4-FFF2-40B4-BE49-F238E27FC236}">
                    <a16:creationId xmlns:a16="http://schemas.microsoft.com/office/drawing/2014/main" id="{B39ED0CF-A3AA-4DD3-9371-9A627B4FBC1C}"/>
                  </a:ext>
                </a:extLst>
              </p:cNvPr>
              <p:cNvSpPr>
                <a:spLocks noEditPoints="1"/>
              </p:cNvSpPr>
              <p:nvPr/>
            </p:nvSpPr>
            <p:spPr bwMode="auto">
              <a:xfrm>
                <a:off x="1925613" y="1482527"/>
                <a:ext cx="115888" cy="114300"/>
              </a:xfrm>
              <a:custGeom>
                <a:avLst/>
                <a:gdLst/>
                <a:ahLst/>
                <a:cxnLst>
                  <a:cxn ang="0">
                    <a:pos x="65" y="56"/>
                  </a:cxn>
                  <a:cxn ang="0">
                    <a:pos x="69" y="50"/>
                  </a:cxn>
                  <a:cxn ang="0">
                    <a:pos x="70" y="50"/>
                  </a:cxn>
                  <a:cxn ang="0">
                    <a:pos x="73" y="38"/>
                  </a:cxn>
                  <a:cxn ang="0">
                    <a:pos x="71" y="36"/>
                  </a:cxn>
                  <a:cxn ang="0">
                    <a:pos x="70" y="28"/>
                  </a:cxn>
                  <a:cxn ang="0">
                    <a:pos x="71" y="27"/>
                  </a:cxn>
                  <a:cxn ang="0">
                    <a:pos x="67" y="17"/>
                  </a:cxn>
                  <a:cxn ang="0">
                    <a:pos x="57" y="19"/>
                  </a:cxn>
                  <a:cxn ang="0">
                    <a:pos x="60" y="10"/>
                  </a:cxn>
                  <a:cxn ang="0">
                    <a:pos x="59" y="8"/>
                  </a:cxn>
                  <a:cxn ang="0">
                    <a:pos x="48" y="3"/>
                  </a:cxn>
                  <a:cxn ang="0">
                    <a:pos x="41" y="9"/>
                  </a:cxn>
                  <a:cxn ang="0">
                    <a:pos x="38" y="0"/>
                  </a:cxn>
                  <a:cxn ang="0">
                    <a:pos x="28" y="2"/>
                  </a:cxn>
                  <a:cxn ang="0">
                    <a:pos x="26" y="4"/>
                  </a:cxn>
                  <a:cxn ang="0">
                    <a:pos x="19" y="7"/>
                  </a:cxn>
                  <a:cxn ang="0">
                    <a:pos x="18" y="7"/>
                  </a:cxn>
                  <a:cxn ang="0">
                    <a:pos x="9" y="13"/>
                  </a:cxn>
                  <a:cxn ang="0">
                    <a:pos x="9" y="17"/>
                  </a:cxn>
                  <a:cxn ang="0">
                    <a:pos x="5" y="23"/>
                  </a:cxn>
                  <a:cxn ang="0">
                    <a:pos x="3" y="24"/>
                  </a:cxn>
                  <a:cxn ang="0">
                    <a:pos x="2" y="36"/>
                  </a:cxn>
                  <a:cxn ang="0">
                    <a:pos x="10" y="38"/>
                  </a:cxn>
                  <a:cxn ang="0">
                    <a:pos x="3" y="45"/>
                  </a:cxn>
                  <a:cxn ang="0">
                    <a:pos x="7" y="56"/>
                  </a:cxn>
                  <a:cxn ang="0">
                    <a:pos x="8" y="56"/>
                  </a:cxn>
                  <a:cxn ang="0">
                    <a:pos x="18" y="56"/>
                  </a:cxn>
                  <a:cxn ang="0">
                    <a:pos x="14" y="64"/>
                  </a:cxn>
                  <a:cxn ang="0">
                    <a:pos x="14" y="65"/>
                  </a:cxn>
                  <a:cxn ang="0">
                    <a:pos x="23" y="70"/>
                  </a:cxn>
                  <a:cxn ang="0">
                    <a:pos x="26" y="69"/>
                  </a:cxn>
                  <a:cxn ang="0">
                    <a:pos x="35" y="70"/>
                  </a:cxn>
                  <a:cxn ang="0">
                    <a:pos x="35" y="72"/>
                  </a:cxn>
                  <a:cxn ang="0">
                    <a:pos x="46" y="71"/>
                  </a:cxn>
                  <a:cxn ang="0">
                    <a:pos x="47" y="69"/>
                  </a:cxn>
                  <a:cxn ang="0">
                    <a:pos x="55" y="66"/>
                  </a:cxn>
                  <a:cxn ang="0">
                    <a:pos x="56" y="66"/>
                  </a:cxn>
                  <a:cxn ang="0">
                    <a:pos x="65" y="59"/>
                  </a:cxn>
                  <a:cxn ang="0">
                    <a:pos x="43" y="43"/>
                  </a:cxn>
                  <a:cxn ang="0">
                    <a:pos x="37" y="46"/>
                  </a:cxn>
                  <a:cxn ang="0">
                    <a:pos x="29" y="43"/>
                  </a:cxn>
                  <a:cxn ang="0">
                    <a:pos x="28" y="32"/>
                  </a:cxn>
                  <a:cxn ang="0">
                    <a:pos x="33" y="27"/>
                  </a:cxn>
                  <a:cxn ang="0">
                    <a:pos x="43" y="29"/>
                  </a:cxn>
                  <a:cxn ang="0">
                    <a:pos x="46" y="37"/>
                  </a:cxn>
                  <a:cxn ang="0">
                    <a:pos x="43" y="43"/>
                  </a:cxn>
                </a:cxnLst>
                <a:rect l="0" t="0" r="r" b="b"/>
                <a:pathLst>
                  <a:path w="73" h="72">
                    <a:moveTo>
                      <a:pt x="65" y="57"/>
                    </a:moveTo>
                    <a:lnTo>
                      <a:pt x="65" y="57"/>
                    </a:lnTo>
                    <a:lnTo>
                      <a:pt x="65" y="56"/>
                    </a:lnTo>
                    <a:lnTo>
                      <a:pt x="60" y="51"/>
                    </a:lnTo>
                    <a:lnTo>
                      <a:pt x="61" y="48"/>
                    </a:lnTo>
                    <a:lnTo>
                      <a:pt x="69" y="50"/>
                    </a:lnTo>
                    <a:lnTo>
                      <a:pt x="69" y="50"/>
                    </a:lnTo>
                    <a:lnTo>
                      <a:pt x="70" y="50"/>
                    </a:lnTo>
                    <a:lnTo>
                      <a:pt x="70" y="50"/>
                    </a:lnTo>
                    <a:lnTo>
                      <a:pt x="71" y="48"/>
                    </a:lnTo>
                    <a:lnTo>
                      <a:pt x="73" y="38"/>
                    </a:lnTo>
                    <a:lnTo>
                      <a:pt x="73" y="38"/>
                    </a:lnTo>
                    <a:lnTo>
                      <a:pt x="73" y="37"/>
                    </a:lnTo>
                    <a:lnTo>
                      <a:pt x="73" y="37"/>
                    </a:lnTo>
                    <a:lnTo>
                      <a:pt x="71" y="36"/>
                    </a:lnTo>
                    <a:lnTo>
                      <a:pt x="64" y="34"/>
                    </a:lnTo>
                    <a:lnTo>
                      <a:pt x="64" y="32"/>
                    </a:lnTo>
                    <a:lnTo>
                      <a:pt x="70" y="28"/>
                    </a:lnTo>
                    <a:lnTo>
                      <a:pt x="70" y="28"/>
                    </a:lnTo>
                    <a:lnTo>
                      <a:pt x="71" y="27"/>
                    </a:lnTo>
                    <a:lnTo>
                      <a:pt x="71" y="27"/>
                    </a:lnTo>
                    <a:lnTo>
                      <a:pt x="71" y="26"/>
                    </a:lnTo>
                    <a:lnTo>
                      <a:pt x="67" y="17"/>
                    </a:lnTo>
                    <a:lnTo>
                      <a:pt x="67" y="17"/>
                    </a:lnTo>
                    <a:lnTo>
                      <a:pt x="66" y="15"/>
                    </a:lnTo>
                    <a:lnTo>
                      <a:pt x="65" y="15"/>
                    </a:lnTo>
                    <a:lnTo>
                      <a:pt x="57" y="19"/>
                    </a:lnTo>
                    <a:lnTo>
                      <a:pt x="56" y="17"/>
                    </a:lnTo>
                    <a:lnTo>
                      <a:pt x="60" y="10"/>
                    </a:lnTo>
                    <a:lnTo>
                      <a:pt x="60" y="10"/>
                    </a:lnTo>
                    <a:lnTo>
                      <a:pt x="60" y="9"/>
                    </a:lnTo>
                    <a:lnTo>
                      <a:pt x="60" y="9"/>
                    </a:lnTo>
                    <a:lnTo>
                      <a:pt x="59" y="8"/>
                    </a:lnTo>
                    <a:lnTo>
                      <a:pt x="50" y="3"/>
                    </a:lnTo>
                    <a:lnTo>
                      <a:pt x="50" y="3"/>
                    </a:lnTo>
                    <a:lnTo>
                      <a:pt x="48" y="3"/>
                    </a:lnTo>
                    <a:lnTo>
                      <a:pt x="47" y="4"/>
                    </a:lnTo>
                    <a:lnTo>
                      <a:pt x="43" y="10"/>
                    </a:lnTo>
                    <a:lnTo>
                      <a:pt x="41" y="9"/>
                    </a:lnTo>
                    <a:lnTo>
                      <a:pt x="40" y="2"/>
                    </a:lnTo>
                    <a:lnTo>
                      <a:pt x="40" y="2"/>
                    </a:lnTo>
                    <a:lnTo>
                      <a:pt x="38" y="0"/>
                    </a:lnTo>
                    <a:lnTo>
                      <a:pt x="37" y="0"/>
                    </a:lnTo>
                    <a:lnTo>
                      <a:pt x="28" y="2"/>
                    </a:lnTo>
                    <a:lnTo>
                      <a:pt x="28" y="2"/>
                    </a:lnTo>
                    <a:lnTo>
                      <a:pt x="27" y="2"/>
                    </a:lnTo>
                    <a:lnTo>
                      <a:pt x="27" y="2"/>
                    </a:lnTo>
                    <a:lnTo>
                      <a:pt x="26" y="4"/>
                    </a:lnTo>
                    <a:lnTo>
                      <a:pt x="27" y="12"/>
                    </a:lnTo>
                    <a:lnTo>
                      <a:pt x="24" y="13"/>
                    </a:lnTo>
                    <a:lnTo>
                      <a:pt x="19" y="7"/>
                    </a:lnTo>
                    <a:lnTo>
                      <a:pt x="19" y="7"/>
                    </a:lnTo>
                    <a:lnTo>
                      <a:pt x="18" y="7"/>
                    </a:lnTo>
                    <a:lnTo>
                      <a:pt x="18" y="7"/>
                    </a:lnTo>
                    <a:lnTo>
                      <a:pt x="16" y="7"/>
                    </a:lnTo>
                    <a:lnTo>
                      <a:pt x="9" y="13"/>
                    </a:lnTo>
                    <a:lnTo>
                      <a:pt x="9" y="13"/>
                    </a:lnTo>
                    <a:lnTo>
                      <a:pt x="8" y="14"/>
                    </a:lnTo>
                    <a:lnTo>
                      <a:pt x="8" y="14"/>
                    </a:lnTo>
                    <a:lnTo>
                      <a:pt x="9" y="17"/>
                    </a:lnTo>
                    <a:lnTo>
                      <a:pt x="14" y="22"/>
                    </a:lnTo>
                    <a:lnTo>
                      <a:pt x="13" y="24"/>
                    </a:lnTo>
                    <a:lnTo>
                      <a:pt x="5" y="23"/>
                    </a:lnTo>
                    <a:lnTo>
                      <a:pt x="5" y="23"/>
                    </a:lnTo>
                    <a:lnTo>
                      <a:pt x="4" y="23"/>
                    </a:lnTo>
                    <a:lnTo>
                      <a:pt x="3" y="24"/>
                    </a:lnTo>
                    <a:lnTo>
                      <a:pt x="0" y="34"/>
                    </a:lnTo>
                    <a:lnTo>
                      <a:pt x="0" y="34"/>
                    </a:lnTo>
                    <a:lnTo>
                      <a:pt x="2" y="36"/>
                    </a:lnTo>
                    <a:lnTo>
                      <a:pt x="2" y="36"/>
                    </a:lnTo>
                    <a:lnTo>
                      <a:pt x="3" y="36"/>
                    </a:lnTo>
                    <a:lnTo>
                      <a:pt x="10" y="38"/>
                    </a:lnTo>
                    <a:lnTo>
                      <a:pt x="10" y="41"/>
                    </a:lnTo>
                    <a:lnTo>
                      <a:pt x="3" y="45"/>
                    </a:lnTo>
                    <a:lnTo>
                      <a:pt x="3" y="45"/>
                    </a:lnTo>
                    <a:lnTo>
                      <a:pt x="2" y="45"/>
                    </a:lnTo>
                    <a:lnTo>
                      <a:pt x="3" y="47"/>
                    </a:lnTo>
                    <a:lnTo>
                      <a:pt x="7" y="56"/>
                    </a:lnTo>
                    <a:lnTo>
                      <a:pt x="7" y="56"/>
                    </a:lnTo>
                    <a:lnTo>
                      <a:pt x="8" y="56"/>
                    </a:lnTo>
                    <a:lnTo>
                      <a:pt x="8" y="56"/>
                    </a:lnTo>
                    <a:lnTo>
                      <a:pt x="9" y="56"/>
                    </a:lnTo>
                    <a:lnTo>
                      <a:pt x="16" y="53"/>
                    </a:lnTo>
                    <a:lnTo>
                      <a:pt x="18" y="56"/>
                    </a:lnTo>
                    <a:lnTo>
                      <a:pt x="14" y="62"/>
                    </a:lnTo>
                    <a:lnTo>
                      <a:pt x="14" y="62"/>
                    </a:lnTo>
                    <a:lnTo>
                      <a:pt x="14" y="64"/>
                    </a:lnTo>
                    <a:lnTo>
                      <a:pt x="14" y="64"/>
                    </a:lnTo>
                    <a:lnTo>
                      <a:pt x="14" y="65"/>
                    </a:lnTo>
                    <a:lnTo>
                      <a:pt x="14" y="65"/>
                    </a:lnTo>
                    <a:lnTo>
                      <a:pt x="16" y="65"/>
                    </a:lnTo>
                    <a:lnTo>
                      <a:pt x="23" y="70"/>
                    </a:lnTo>
                    <a:lnTo>
                      <a:pt x="23" y="70"/>
                    </a:lnTo>
                    <a:lnTo>
                      <a:pt x="26" y="70"/>
                    </a:lnTo>
                    <a:lnTo>
                      <a:pt x="26" y="70"/>
                    </a:lnTo>
                    <a:lnTo>
                      <a:pt x="26" y="69"/>
                    </a:lnTo>
                    <a:lnTo>
                      <a:pt x="29" y="62"/>
                    </a:lnTo>
                    <a:lnTo>
                      <a:pt x="33" y="62"/>
                    </a:lnTo>
                    <a:lnTo>
                      <a:pt x="35" y="70"/>
                    </a:lnTo>
                    <a:lnTo>
                      <a:pt x="35" y="70"/>
                    </a:lnTo>
                    <a:lnTo>
                      <a:pt x="35" y="72"/>
                    </a:lnTo>
                    <a:lnTo>
                      <a:pt x="35" y="72"/>
                    </a:lnTo>
                    <a:lnTo>
                      <a:pt x="36" y="72"/>
                    </a:lnTo>
                    <a:lnTo>
                      <a:pt x="46" y="71"/>
                    </a:lnTo>
                    <a:lnTo>
                      <a:pt x="46" y="71"/>
                    </a:lnTo>
                    <a:lnTo>
                      <a:pt x="47" y="70"/>
                    </a:lnTo>
                    <a:lnTo>
                      <a:pt x="47" y="70"/>
                    </a:lnTo>
                    <a:lnTo>
                      <a:pt x="47" y="69"/>
                    </a:lnTo>
                    <a:lnTo>
                      <a:pt x="46" y="61"/>
                    </a:lnTo>
                    <a:lnTo>
                      <a:pt x="50" y="60"/>
                    </a:lnTo>
                    <a:lnTo>
                      <a:pt x="55" y="66"/>
                    </a:lnTo>
                    <a:lnTo>
                      <a:pt x="55" y="66"/>
                    </a:lnTo>
                    <a:lnTo>
                      <a:pt x="56" y="66"/>
                    </a:lnTo>
                    <a:lnTo>
                      <a:pt x="56" y="66"/>
                    </a:lnTo>
                    <a:lnTo>
                      <a:pt x="57" y="66"/>
                    </a:lnTo>
                    <a:lnTo>
                      <a:pt x="65" y="59"/>
                    </a:lnTo>
                    <a:lnTo>
                      <a:pt x="65" y="59"/>
                    </a:lnTo>
                    <a:lnTo>
                      <a:pt x="65" y="57"/>
                    </a:lnTo>
                    <a:lnTo>
                      <a:pt x="65" y="57"/>
                    </a:lnTo>
                    <a:close/>
                    <a:moveTo>
                      <a:pt x="43" y="43"/>
                    </a:moveTo>
                    <a:lnTo>
                      <a:pt x="43" y="43"/>
                    </a:lnTo>
                    <a:lnTo>
                      <a:pt x="40" y="46"/>
                    </a:lnTo>
                    <a:lnTo>
                      <a:pt x="37" y="46"/>
                    </a:lnTo>
                    <a:lnTo>
                      <a:pt x="33" y="45"/>
                    </a:lnTo>
                    <a:lnTo>
                      <a:pt x="29" y="43"/>
                    </a:lnTo>
                    <a:lnTo>
                      <a:pt x="29" y="43"/>
                    </a:lnTo>
                    <a:lnTo>
                      <a:pt x="28" y="40"/>
                    </a:lnTo>
                    <a:lnTo>
                      <a:pt x="27" y="36"/>
                    </a:lnTo>
                    <a:lnTo>
                      <a:pt x="28" y="32"/>
                    </a:lnTo>
                    <a:lnTo>
                      <a:pt x="31" y="29"/>
                    </a:lnTo>
                    <a:lnTo>
                      <a:pt x="31" y="29"/>
                    </a:lnTo>
                    <a:lnTo>
                      <a:pt x="33" y="27"/>
                    </a:lnTo>
                    <a:lnTo>
                      <a:pt x="37" y="27"/>
                    </a:lnTo>
                    <a:lnTo>
                      <a:pt x="41" y="27"/>
                    </a:lnTo>
                    <a:lnTo>
                      <a:pt x="43" y="29"/>
                    </a:lnTo>
                    <a:lnTo>
                      <a:pt x="43" y="29"/>
                    </a:lnTo>
                    <a:lnTo>
                      <a:pt x="46" y="33"/>
                    </a:lnTo>
                    <a:lnTo>
                      <a:pt x="46" y="37"/>
                    </a:lnTo>
                    <a:lnTo>
                      <a:pt x="46" y="40"/>
                    </a:lnTo>
                    <a:lnTo>
                      <a:pt x="43" y="43"/>
                    </a:lnTo>
                    <a:lnTo>
                      <a:pt x="43" y="43"/>
                    </a:lnTo>
                    <a:close/>
                  </a:path>
                </a:pathLst>
              </a:custGeom>
              <a:noFill/>
              <a:ln w="19050">
                <a:solidFill>
                  <a:srgbClr val="00573B"/>
                </a:solidFill>
                <a:prstDash val="solid"/>
                <a:round/>
                <a:headEnd/>
                <a:tailEnd/>
              </a:ln>
            </p:spPr>
            <p:txBody>
              <a:bodyPr vert="horz" wrap="square" lIns="68580" tIns="34290" rIns="68580" bIns="34290" numCol="1" anchor="t" anchorCtr="0" compatLnSpc="1">
                <a:prstTxWarp prst="textNoShape">
                  <a:avLst/>
                </a:prstTxWarp>
              </a:bodyPr>
              <a:lstStyle/>
              <a:p>
                <a:pPr defTabSz="685800" fontAlgn="base">
                  <a:spcBef>
                    <a:spcPct val="0"/>
                  </a:spcBef>
                  <a:spcAft>
                    <a:spcPct val="0"/>
                  </a:spcAft>
                  <a:defRPr/>
                </a:pPr>
                <a:endParaRPr lang="en-US" sz="1350" kern="0">
                  <a:solidFill>
                    <a:srgbClr val="000000"/>
                  </a:solidFill>
                  <a:latin typeface="Arial"/>
                  <a:cs typeface="Arial" charset="0"/>
                </a:endParaRPr>
              </a:p>
            </p:txBody>
          </p:sp>
        </p:grpSp>
        <p:pic>
          <p:nvPicPr>
            <p:cNvPr id="36" name="Picture 35">
              <a:extLst>
                <a:ext uri="{FF2B5EF4-FFF2-40B4-BE49-F238E27FC236}">
                  <a16:creationId xmlns:a16="http://schemas.microsoft.com/office/drawing/2014/main" id="{7AF1A841-CA41-4701-A473-98840DA0D6C2}"/>
                </a:ext>
              </a:extLst>
            </p:cNvPr>
            <p:cNvPicPr>
              <a:picLocks noChangeAspect="1"/>
            </p:cNvPicPr>
            <p:nvPr/>
          </p:nvPicPr>
          <p:blipFill>
            <a:blip r:embed="rId5" cstate="email">
              <a:duotone>
                <a:srgbClr val="F26E01">
                  <a:shade val="45000"/>
                  <a:satMod val="135000"/>
                </a:srgbClr>
                <a:prstClr val="white"/>
              </a:duotone>
              <a:extLst>
                <a:ext uri="{28A0092B-C50C-407E-A947-70E740481C1C}">
                  <a14:useLocalDpi xmlns:a14="http://schemas.microsoft.com/office/drawing/2010/main"/>
                </a:ext>
              </a:extLst>
            </a:blip>
            <a:stretch>
              <a:fillRect/>
            </a:stretch>
          </p:blipFill>
          <p:spPr>
            <a:xfrm>
              <a:off x="2127705" y="1533064"/>
              <a:ext cx="521819" cy="40421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95" name="Picture 94">
              <a:extLst>
                <a:ext uri="{FF2B5EF4-FFF2-40B4-BE49-F238E27FC236}">
                  <a16:creationId xmlns:a16="http://schemas.microsoft.com/office/drawing/2014/main" id="{B87E7AF0-0D8C-476A-B74D-B6175E2261A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29456" y="1516126"/>
              <a:ext cx="423418" cy="391905"/>
            </a:xfrm>
            <a:prstGeom prst="rect">
              <a:avLst/>
            </a:prstGeom>
          </p:spPr>
        </p:pic>
      </p:grpSp>
      <p:sp>
        <p:nvSpPr>
          <p:cNvPr id="96" name="TextBox 95">
            <a:extLst>
              <a:ext uri="{FF2B5EF4-FFF2-40B4-BE49-F238E27FC236}">
                <a16:creationId xmlns:a16="http://schemas.microsoft.com/office/drawing/2014/main" id="{7306E58E-C71B-421A-93E4-2452AF7C1226}"/>
              </a:ext>
            </a:extLst>
          </p:cNvPr>
          <p:cNvSpPr txBox="1"/>
          <p:nvPr/>
        </p:nvSpPr>
        <p:spPr>
          <a:xfrm>
            <a:off x="4632757" y="3996359"/>
            <a:ext cx="2152119" cy="687624"/>
          </a:xfrm>
          <a:prstGeom prst="rect">
            <a:avLst/>
          </a:prstGeom>
          <a:noFill/>
        </p:spPr>
        <p:txBody>
          <a:bodyPr wrap="square" lIns="10287" tIns="10287" rIns="10287" bIns="10287" rtlCol="0">
            <a:spAutoFit/>
          </a:bodyPr>
          <a:lstStyle/>
          <a:p>
            <a:pPr defTabSz="685800" fontAlgn="base">
              <a:spcBef>
                <a:spcPct val="0"/>
              </a:spcBef>
              <a:spcAft>
                <a:spcPct val="0"/>
              </a:spcAft>
            </a:pPr>
            <a:r>
              <a:rPr lang="en-US" sz="1000" b="1">
                <a:solidFill>
                  <a:srgbClr val="0066A1"/>
                </a:solidFill>
                <a:cs typeface="Arial" charset="0"/>
              </a:rPr>
              <a:t>User Acceptance Testing</a:t>
            </a:r>
          </a:p>
          <a:p>
            <a:pPr defTabSz="685800" fontAlgn="base">
              <a:spcBef>
                <a:spcPct val="0"/>
              </a:spcBef>
              <a:spcAft>
                <a:spcPct val="0"/>
              </a:spcAft>
            </a:pPr>
            <a:endParaRPr lang="en-US" sz="1000" b="1">
              <a:solidFill>
                <a:srgbClr val="F26E01"/>
              </a:solidFill>
              <a:cs typeface="Arial" charset="0"/>
            </a:endParaRPr>
          </a:p>
          <a:p>
            <a:pPr marL="128588" indent="-128588" defTabSz="685800">
              <a:spcBef>
                <a:spcPts val="150"/>
              </a:spcBef>
              <a:buFont typeface="Wingdings" panose="05000000000000000000" pitchFamily="2" charset="2"/>
              <a:buChar char="§"/>
              <a:defRPr/>
            </a:pPr>
            <a:r>
              <a:rPr lang="en-US" altLang="ja-JP" sz="1000" i="1">
                <a:solidFill>
                  <a:prstClr val="black"/>
                </a:solidFill>
              </a:rPr>
              <a:t>UAT Support</a:t>
            </a:r>
          </a:p>
          <a:p>
            <a:pPr marL="128588" indent="-128588" defTabSz="685800">
              <a:spcBef>
                <a:spcPts val="150"/>
              </a:spcBef>
              <a:buFont typeface="Wingdings" panose="05000000000000000000" pitchFamily="2" charset="2"/>
              <a:buChar char="§"/>
              <a:defRPr/>
            </a:pPr>
            <a:r>
              <a:rPr lang="en-US" sz="1000" i="1">
                <a:solidFill>
                  <a:prstClr val="black"/>
                </a:solidFill>
              </a:rPr>
              <a:t>Defect resolution</a:t>
            </a:r>
            <a:endParaRPr lang="en-US" altLang="ja-JP" sz="1000" i="1">
              <a:solidFill>
                <a:prstClr val="black"/>
              </a:solidFill>
            </a:endParaRPr>
          </a:p>
        </p:txBody>
      </p:sp>
      <p:sp>
        <p:nvSpPr>
          <p:cNvPr id="97" name="TextBox 96">
            <a:extLst>
              <a:ext uri="{FF2B5EF4-FFF2-40B4-BE49-F238E27FC236}">
                <a16:creationId xmlns:a16="http://schemas.microsoft.com/office/drawing/2014/main" id="{DBF3FE7D-FB0A-499B-9696-D9A522785E21}"/>
              </a:ext>
            </a:extLst>
          </p:cNvPr>
          <p:cNvSpPr txBox="1"/>
          <p:nvPr/>
        </p:nvSpPr>
        <p:spPr>
          <a:xfrm>
            <a:off x="8740636" y="4005291"/>
            <a:ext cx="2840914" cy="841512"/>
          </a:xfrm>
          <a:prstGeom prst="rect">
            <a:avLst/>
          </a:prstGeom>
          <a:noFill/>
        </p:spPr>
        <p:txBody>
          <a:bodyPr wrap="square" lIns="10287" tIns="10287" rIns="10287" bIns="10287" rtlCol="0">
            <a:spAutoFit/>
          </a:bodyPr>
          <a:lstStyle/>
          <a:p>
            <a:pPr defTabSz="685800" fontAlgn="base">
              <a:spcBef>
                <a:spcPct val="0"/>
              </a:spcBef>
              <a:spcAft>
                <a:spcPct val="0"/>
              </a:spcAft>
            </a:pPr>
            <a:r>
              <a:rPr lang="en-US" sz="1000" b="1">
                <a:solidFill>
                  <a:srgbClr val="0066A1"/>
                </a:solidFill>
                <a:cs typeface="Arial" charset="0"/>
              </a:rPr>
              <a:t>Testing &amp; Parallel Run</a:t>
            </a:r>
          </a:p>
          <a:p>
            <a:pPr defTabSz="685800" fontAlgn="base">
              <a:spcBef>
                <a:spcPct val="0"/>
              </a:spcBef>
              <a:spcAft>
                <a:spcPct val="0"/>
              </a:spcAft>
            </a:pPr>
            <a:endParaRPr lang="en-US" sz="1000" b="1">
              <a:solidFill>
                <a:srgbClr val="F26E01"/>
              </a:solidFill>
              <a:cs typeface="Arial" charset="0"/>
            </a:endParaRPr>
          </a:p>
          <a:p>
            <a:pPr marL="128588" indent="-128588" defTabSz="685800">
              <a:spcBef>
                <a:spcPts val="150"/>
              </a:spcBef>
              <a:buFont typeface="Wingdings" panose="05000000000000000000" pitchFamily="2" charset="2"/>
              <a:buChar char="§"/>
              <a:defRPr/>
            </a:pPr>
            <a:r>
              <a:rPr lang="en-US" altLang="ja-JP" sz="1000" i="1">
                <a:solidFill>
                  <a:prstClr val="black"/>
                </a:solidFill>
              </a:rPr>
              <a:t>Run SLX and MPS systems together </a:t>
            </a:r>
          </a:p>
          <a:p>
            <a:pPr marL="128588" indent="-128588" defTabSz="685800">
              <a:spcBef>
                <a:spcPts val="150"/>
              </a:spcBef>
              <a:buFont typeface="Wingdings" panose="05000000000000000000" pitchFamily="2" charset="2"/>
              <a:buChar char="§"/>
              <a:defRPr/>
            </a:pPr>
            <a:r>
              <a:rPr lang="en-US" altLang="ja-JP" sz="1000" i="1">
                <a:solidFill>
                  <a:prstClr val="black"/>
                </a:solidFill>
              </a:rPr>
              <a:t>Validate results, reports and bug fixes </a:t>
            </a:r>
          </a:p>
          <a:p>
            <a:pPr defTabSz="685800" fontAlgn="base">
              <a:spcBef>
                <a:spcPct val="0"/>
              </a:spcBef>
              <a:spcAft>
                <a:spcPct val="0"/>
              </a:spcAft>
            </a:pPr>
            <a:endParaRPr lang="en-US" sz="1000" b="1">
              <a:solidFill>
                <a:srgbClr val="F26E01"/>
              </a:solidFill>
              <a:cs typeface="Arial" charset="0"/>
            </a:endParaRPr>
          </a:p>
        </p:txBody>
      </p:sp>
      <p:sp>
        <p:nvSpPr>
          <p:cNvPr id="98" name="TextBox 97">
            <a:extLst>
              <a:ext uri="{FF2B5EF4-FFF2-40B4-BE49-F238E27FC236}">
                <a16:creationId xmlns:a16="http://schemas.microsoft.com/office/drawing/2014/main" id="{D561A8EC-7DF3-4CA8-9815-E1B0BE70466B}"/>
              </a:ext>
            </a:extLst>
          </p:cNvPr>
          <p:cNvSpPr txBox="1"/>
          <p:nvPr/>
        </p:nvSpPr>
        <p:spPr>
          <a:xfrm>
            <a:off x="853206" y="4019228"/>
            <a:ext cx="2254833" cy="841512"/>
          </a:xfrm>
          <a:prstGeom prst="rect">
            <a:avLst/>
          </a:prstGeom>
          <a:noFill/>
        </p:spPr>
        <p:txBody>
          <a:bodyPr wrap="square" lIns="10287" tIns="10287" rIns="10287" bIns="10287" rtlCol="0">
            <a:spAutoFit/>
          </a:bodyPr>
          <a:lstStyle/>
          <a:p>
            <a:pPr defTabSz="685800" fontAlgn="base">
              <a:spcBef>
                <a:spcPct val="0"/>
              </a:spcBef>
              <a:spcAft>
                <a:spcPct val="0"/>
              </a:spcAft>
            </a:pPr>
            <a:r>
              <a:rPr lang="en-US" sz="1000" b="1">
                <a:solidFill>
                  <a:srgbClr val="0066A1"/>
                </a:solidFill>
                <a:cs typeface="Arial" charset="0"/>
              </a:rPr>
              <a:t>GO LIVE &amp; </a:t>
            </a:r>
            <a:r>
              <a:rPr lang="en-US" altLang="ja-JP" sz="1000" b="1">
                <a:solidFill>
                  <a:srgbClr val="0066A1"/>
                </a:solidFill>
                <a:cs typeface="Arial" charset="0"/>
              </a:rPr>
              <a:t>Warranty Support</a:t>
            </a:r>
          </a:p>
          <a:p>
            <a:pPr defTabSz="685800" fontAlgn="base">
              <a:spcBef>
                <a:spcPct val="0"/>
              </a:spcBef>
              <a:spcAft>
                <a:spcPct val="0"/>
              </a:spcAft>
            </a:pPr>
            <a:endParaRPr lang="en-US" altLang="ja-JP" sz="1000" b="1">
              <a:solidFill>
                <a:srgbClr val="F26E01"/>
              </a:solidFill>
              <a:cs typeface="Arial" charset="0"/>
            </a:endParaRPr>
          </a:p>
          <a:p>
            <a:pPr marL="128588" indent="-128588" defTabSz="685800">
              <a:spcBef>
                <a:spcPts val="150"/>
              </a:spcBef>
              <a:buFont typeface="Wingdings" panose="05000000000000000000" pitchFamily="2" charset="2"/>
              <a:buChar char="§"/>
            </a:pPr>
            <a:r>
              <a:rPr lang="en-US" altLang="ja-JP" sz="1000" i="1">
                <a:solidFill>
                  <a:prstClr val="black"/>
                </a:solidFill>
              </a:rPr>
              <a:t>Deployment to Production</a:t>
            </a:r>
          </a:p>
          <a:p>
            <a:pPr marL="128588" indent="-128588" defTabSz="685800">
              <a:spcBef>
                <a:spcPts val="150"/>
              </a:spcBef>
              <a:buFont typeface="Wingdings" panose="05000000000000000000" pitchFamily="2" charset="2"/>
              <a:buChar char="§"/>
            </a:pPr>
            <a:r>
              <a:rPr lang="en-US" altLang="ja-JP" sz="1000" i="1">
                <a:solidFill>
                  <a:prstClr val="black"/>
                </a:solidFill>
              </a:rPr>
              <a:t>Warranty support</a:t>
            </a:r>
          </a:p>
          <a:p>
            <a:pPr defTabSz="685800" fontAlgn="base">
              <a:spcBef>
                <a:spcPct val="0"/>
              </a:spcBef>
              <a:spcAft>
                <a:spcPct val="0"/>
              </a:spcAft>
            </a:pPr>
            <a:endParaRPr lang="en-US" sz="1000" b="1">
              <a:solidFill>
                <a:srgbClr val="F26E01"/>
              </a:solidFill>
              <a:cs typeface="Arial" charset="0"/>
            </a:endParaRPr>
          </a:p>
        </p:txBody>
      </p:sp>
      <p:grpSp>
        <p:nvGrpSpPr>
          <p:cNvPr id="99" name="Group 98">
            <a:extLst>
              <a:ext uri="{FF2B5EF4-FFF2-40B4-BE49-F238E27FC236}">
                <a16:creationId xmlns:a16="http://schemas.microsoft.com/office/drawing/2014/main" id="{6D211BCE-AB31-49EE-B6F7-A7A5759F43C1}"/>
              </a:ext>
            </a:extLst>
          </p:cNvPr>
          <p:cNvGrpSpPr/>
          <p:nvPr/>
        </p:nvGrpSpPr>
        <p:grpSpPr>
          <a:xfrm>
            <a:off x="9322427" y="5052864"/>
            <a:ext cx="2172308" cy="926159"/>
            <a:chOff x="4703188" y="5105334"/>
            <a:chExt cx="2204886" cy="1015634"/>
          </a:xfrm>
        </p:grpSpPr>
        <p:sp>
          <p:nvSpPr>
            <p:cNvPr id="100" name="Flowchart: Alternate Process 99">
              <a:extLst>
                <a:ext uri="{FF2B5EF4-FFF2-40B4-BE49-F238E27FC236}">
                  <a16:creationId xmlns:a16="http://schemas.microsoft.com/office/drawing/2014/main" id="{B1928555-4F25-4DBA-8A0A-27F526AB5C95}"/>
                </a:ext>
              </a:extLst>
            </p:cNvPr>
            <p:cNvSpPr/>
            <p:nvPr/>
          </p:nvSpPr>
          <p:spPr>
            <a:xfrm>
              <a:off x="4703188" y="5105334"/>
              <a:ext cx="2204886" cy="1015634"/>
            </a:xfrm>
            <a:prstGeom prst="flowChartAlternateProcess">
              <a:avLst/>
            </a:prstGeom>
            <a:solidFill>
              <a:srgbClr val="00573B"/>
            </a:solidFill>
            <a:ln w="25400" cap="flat" cmpd="sng" algn="ctr">
              <a:noFill/>
              <a:prstDash val="solid"/>
            </a:ln>
            <a:effectLst/>
          </p:spPr>
          <p:txBody>
            <a:bodyPr rtlCol="0" anchor="ctr"/>
            <a:lstStyle/>
            <a:p>
              <a:pPr algn="ctr" defTabSz="685800" fontAlgn="base">
                <a:spcBef>
                  <a:spcPct val="0"/>
                </a:spcBef>
                <a:spcAft>
                  <a:spcPct val="0"/>
                </a:spcAft>
                <a:defRPr/>
              </a:pPr>
              <a:endParaRPr lang="en-US" sz="1350" kern="0">
                <a:solidFill>
                  <a:srgbClr val="FFFFFF"/>
                </a:solidFill>
                <a:latin typeface="Arial"/>
              </a:endParaRPr>
            </a:p>
          </p:txBody>
        </p:sp>
        <p:sp>
          <p:nvSpPr>
            <p:cNvPr id="101" name="Flowchart: Alternate Process 100">
              <a:extLst>
                <a:ext uri="{FF2B5EF4-FFF2-40B4-BE49-F238E27FC236}">
                  <a16:creationId xmlns:a16="http://schemas.microsoft.com/office/drawing/2014/main" id="{5C1D7165-72FB-462B-8FD9-8660A14DFD12}"/>
                </a:ext>
              </a:extLst>
            </p:cNvPr>
            <p:cNvSpPr/>
            <p:nvPr/>
          </p:nvSpPr>
          <p:spPr>
            <a:xfrm>
              <a:off x="4837445" y="5178658"/>
              <a:ext cx="1897401" cy="873997"/>
            </a:xfrm>
            <a:prstGeom prst="flowChartAlternateProcess">
              <a:avLst/>
            </a:prstGeom>
            <a:solidFill>
              <a:sysClr val="window" lastClr="FFFFFF"/>
            </a:solidFill>
            <a:ln w="25400" cap="flat" cmpd="sng" algn="ctr">
              <a:noFill/>
              <a:prstDash val="solid"/>
            </a:ln>
            <a:effectLst>
              <a:outerShdw blurRad="50800" dist="38100" dir="2700000" algn="tl" rotWithShape="0">
                <a:prstClr val="black">
                  <a:alpha val="40000"/>
                </a:prstClr>
              </a:outerShdw>
            </a:effectLst>
          </p:spPr>
          <p:txBody>
            <a:bodyPr rot="0" spcFirstLastPara="0" vertOverflow="overflow" horzOverflow="overflow" vert="horz" wrap="square" lIns="51435" tIns="25718" rIns="51435" bIns="25718" numCol="1" spcCol="0" rtlCol="0" fromWordArt="0" anchor="b" anchorCtr="0" forceAA="0" compatLnSpc="1">
              <a:prstTxWarp prst="textNoShape">
                <a:avLst/>
              </a:prstTxWarp>
              <a:noAutofit/>
            </a:bodyPr>
            <a:lstStyle/>
            <a:p>
              <a:pPr algn="ctr" defTabSz="685800" fontAlgn="base">
                <a:spcBef>
                  <a:spcPct val="0"/>
                </a:spcBef>
                <a:spcAft>
                  <a:spcPct val="0"/>
                </a:spcAft>
                <a:defRPr/>
              </a:pPr>
              <a:endParaRPr lang="en-US" sz="788" b="1" kern="0">
                <a:solidFill>
                  <a:srgbClr val="000000"/>
                </a:solidFill>
                <a:latin typeface="Arial"/>
              </a:endParaRPr>
            </a:p>
          </p:txBody>
        </p:sp>
        <p:pic>
          <p:nvPicPr>
            <p:cNvPr id="102" name="Picture 101">
              <a:extLst>
                <a:ext uri="{FF2B5EF4-FFF2-40B4-BE49-F238E27FC236}">
                  <a16:creationId xmlns:a16="http://schemas.microsoft.com/office/drawing/2014/main" id="{15E2247B-CFB6-4D75-80D5-1004F375111C}"/>
                </a:ext>
              </a:extLst>
            </p:cNvPr>
            <p:cNvPicPr/>
            <p:nvPr/>
          </p:nvPicPr>
          <p:blipFill rotWithShape="1">
            <a:blip r:embed="rId7"/>
            <a:srcRect l="46328" t="42969" r="27266" b="34765"/>
            <a:stretch/>
          </p:blipFill>
          <p:spPr bwMode="auto">
            <a:xfrm>
              <a:off x="5096751" y="5180216"/>
              <a:ext cx="1324984" cy="844139"/>
            </a:xfrm>
            <a:prstGeom prst="rect">
              <a:avLst/>
            </a:prstGeom>
            <a:ln>
              <a:noFill/>
            </a:ln>
            <a:extLst>
              <a:ext uri="{53640926-AAD7-44D8-BBD7-CCE9431645EC}">
                <a14:shadowObscured xmlns:a14="http://schemas.microsoft.com/office/drawing/2010/main"/>
              </a:ext>
            </a:extLst>
          </p:spPr>
        </p:pic>
      </p:grpSp>
      <p:sp>
        <p:nvSpPr>
          <p:cNvPr id="106" name="TextBox 105">
            <a:extLst>
              <a:ext uri="{FF2B5EF4-FFF2-40B4-BE49-F238E27FC236}">
                <a16:creationId xmlns:a16="http://schemas.microsoft.com/office/drawing/2014/main" id="{03848BF1-3070-470E-AC0A-C01E588A9F50}"/>
              </a:ext>
            </a:extLst>
          </p:cNvPr>
          <p:cNvSpPr txBox="1"/>
          <p:nvPr/>
        </p:nvSpPr>
        <p:spPr>
          <a:xfrm>
            <a:off x="3394361" y="2581690"/>
            <a:ext cx="2594016" cy="1515287"/>
          </a:xfrm>
          <a:prstGeom prst="rect">
            <a:avLst/>
          </a:prstGeom>
          <a:noFill/>
        </p:spPr>
        <p:txBody>
          <a:bodyPr wrap="square" lIns="13716" tIns="13716" rIns="13716" bIns="13716" rtlCol="0">
            <a:spAutoFit/>
          </a:bodyPr>
          <a:lstStyle/>
          <a:p>
            <a:pPr defTabSz="685800" fontAlgn="base">
              <a:spcBef>
                <a:spcPct val="0"/>
              </a:spcBef>
              <a:spcAft>
                <a:spcPct val="0"/>
              </a:spcAft>
            </a:pPr>
            <a:r>
              <a:rPr lang="en-US" sz="1000" b="1">
                <a:solidFill>
                  <a:srgbClr val="0066A1"/>
                </a:solidFill>
                <a:cs typeface="Arial" charset="0"/>
              </a:rPr>
              <a:t>Data Migration</a:t>
            </a:r>
          </a:p>
          <a:p>
            <a:pPr defTabSz="685800" fontAlgn="base">
              <a:spcBef>
                <a:spcPct val="0"/>
              </a:spcBef>
              <a:spcAft>
                <a:spcPct val="0"/>
              </a:spcAft>
            </a:pPr>
            <a:endParaRPr lang="en-US" sz="1000" b="1">
              <a:solidFill>
                <a:srgbClr val="F26E01"/>
              </a:solidFill>
              <a:cs typeface="Arial" charset="0"/>
            </a:endParaRPr>
          </a:p>
          <a:p>
            <a:pPr marL="128588" indent="-128588" defTabSz="685800">
              <a:spcBef>
                <a:spcPts val="150"/>
              </a:spcBef>
              <a:buFont typeface="Wingdings" panose="05000000000000000000" pitchFamily="2" charset="2"/>
              <a:buChar char="§"/>
            </a:pPr>
            <a:r>
              <a:rPr lang="en-US" sz="1000" i="1">
                <a:solidFill>
                  <a:prstClr val="black"/>
                </a:solidFill>
              </a:rPr>
              <a:t>Multiple instances run of SQL Server Migration Assistant tool</a:t>
            </a:r>
          </a:p>
          <a:p>
            <a:pPr marL="128588" indent="-128588" defTabSz="685800">
              <a:spcBef>
                <a:spcPts val="150"/>
              </a:spcBef>
              <a:buFont typeface="Wingdings" panose="05000000000000000000" pitchFamily="2" charset="2"/>
              <a:buChar char="§"/>
            </a:pPr>
            <a:r>
              <a:rPr lang="en-US" sz="1000" i="1">
                <a:solidFill>
                  <a:prstClr val="black"/>
                </a:solidFill>
              </a:rPr>
              <a:t>AS-IS schema and data migration to SQL staging environment using SQL Server Migration Assistant</a:t>
            </a:r>
          </a:p>
          <a:p>
            <a:pPr marL="128588" indent="-128588" defTabSz="685800">
              <a:spcBef>
                <a:spcPts val="150"/>
              </a:spcBef>
              <a:buFont typeface="Wingdings" panose="05000000000000000000" pitchFamily="2" charset="2"/>
              <a:buChar char="§"/>
            </a:pPr>
            <a:r>
              <a:rPr lang="en-US" sz="1000" i="1">
                <a:solidFill>
                  <a:prstClr val="black"/>
                </a:solidFill>
              </a:rPr>
              <a:t>Preliminary check </a:t>
            </a:r>
            <a:endParaRPr lang="en-US" sz="1000" i="1">
              <a:solidFill>
                <a:srgbClr val="000000"/>
              </a:solidFill>
              <a:cs typeface="Arial" charset="0"/>
            </a:endParaRPr>
          </a:p>
          <a:p>
            <a:pPr marL="128588" indent="-128588" defTabSz="685800">
              <a:spcBef>
                <a:spcPts val="150"/>
              </a:spcBef>
              <a:buFont typeface="Wingdings" panose="05000000000000000000" pitchFamily="2" charset="2"/>
              <a:buChar char="§"/>
            </a:pPr>
            <a:endParaRPr lang="en-US" sz="1000" i="1">
              <a:solidFill>
                <a:srgbClr val="000000"/>
              </a:solidFill>
              <a:cs typeface="Arial" charset="0"/>
            </a:endParaRPr>
          </a:p>
        </p:txBody>
      </p:sp>
      <p:sp>
        <p:nvSpPr>
          <p:cNvPr id="107" name="TextBox 106">
            <a:extLst>
              <a:ext uri="{FF2B5EF4-FFF2-40B4-BE49-F238E27FC236}">
                <a16:creationId xmlns:a16="http://schemas.microsoft.com/office/drawing/2014/main" id="{684FBAD3-CDC5-469B-A50F-91576C1F8D7C}"/>
              </a:ext>
            </a:extLst>
          </p:cNvPr>
          <p:cNvSpPr txBox="1"/>
          <p:nvPr/>
        </p:nvSpPr>
        <p:spPr>
          <a:xfrm>
            <a:off x="6289954" y="2579712"/>
            <a:ext cx="2393719" cy="1592231"/>
          </a:xfrm>
          <a:prstGeom prst="rect">
            <a:avLst/>
          </a:prstGeom>
          <a:noFill/>
        </p:spPr>
        <p:txBody>
          <a:bodyPr wrap="square" lIns="13716" tIns="13716" rIns="13716" bIns="13716" rtlCol="0">
            <a:spAutoFit/>
          </a:bodyPr>
          <a:lstStyle/>
          <a:p>
            <a:pPr defTabSz="685800" fontAlgn="base">
              <a:spcBef>
                <a:spcPct val="0"/>
              </a:spcBef>
              <a:spcAft>
                <a:spcPct val="0"/>
              </a:spcAft>
            </a:pPr>
            <a:r>
              <a:rPr lang="en-US" sz="1000" b="1">
                <a:solidFill>
                  <a:srgbClr val="0066A1"/>
                </a:solidFill>
                <a:cs typeface="Arial" charset="0"/>
              </a:rPr>
              <a:t>Staging data validation</a:t>
            </a:r>
          </a:p>
          <a:p>
            <a:pPr defTabSz="685800" fontAlgn="base">
              <a:spcBef>
                <a:spcPct val="0"/>
              </a:spcBef>
              <a:spcAft>
                <a:spcPct val="0"/>
              </a:spcAft>
            </a:pPr>
            <a:endParaRPr lang="en-US" sz="1000" b="1">
              <a:solidFill>
                <a:srgbClr val="F26E01"/>
              </a:solidFill>
              <a:cs typeface="Arial" charset="0"/>
            </a:endParaRPr>
          </a:p>
          <a:p>
            <a:pPr marL="128588" indent="-128588" defTabSz="685800">
              <a:spcBef>
                <a:spcPts val="150"/>
              </a:spcBef>
              <a:buFont typeface="Wingdings" panose="05000000000000000000" pitchFamily="2" charset="2"/>
              <a:buChar char="§"/>
            </a:pPr>
            <a:r>
              <a:rPr lang="en-US" sz="1000" i="1">
                <a:solidFill>
                  <a:prstClr val="black"/>
                </a:solidFill>
              </a:rPr>
              <a:t>Data Validator tool setup</a:t>
            </a:r>
          </a:p>
          <a:p>
            <a:pPr marL="128588" indent="-128588" defTabSz="685800">
              <a:spcBef>
                <a:spcPts val="150"/>
              </a:spcBef>
              <a:buFont typeface="Wingdings" panose="05000000000000000000" pitchFamily="2" charset="2"/>
              <a:buChar char="§"/>
            </a:pPr>
            <a:r>
              <a:rPr lang="en-US" sz="1000" i="1">
                <a:solidFill>
                  <a:srgbClr val="000000"/>
                </a:solidFill>
                <a:cs typeface="Arial" charset="0"/>
              </a:rPr>
              <a:t>Data validation</a:t>
            </a:r>
          </a:p>
          <a:p>
            <a:pPr marL="128588" indent="-128588" defTabSz="685800">
              <a:spcBef>
                <a:spcPts val="150"/>
              </a:spcBef>
              <a:buFont typeface="Wingdings" panose="05000000000000000000" pitchFamily="2" charset="2"/>
              <a:buChar char="§"/>
            </a:pPr>
            <a:r>
              <a:rPr lang="en-US" sz="1000" i="1">
                <a:solidFill>
                  <a:srgbClr val="000000"/>
                </a:solidFill>
                <a:cs typeface="Arial" charset="0"/>
              </a:rPr>
              <a:t>Bug fixes</a:t>
            </a:r>
          </a:p>
          <a:p>
            <a:pPr marL="128588" indent="-128588" defTabSz="685800">
              <a:spcBef>
                <a:spcPts val="150"/>
              </a:spcBef>
              <a:buFont typeface="Wingdings" panose="05000000000000000000" pitchFamily="2" charset="2"/>
              <a:buChar char="§"/>
            </a:pPr>
            <a:r>
              <a:rPr lang="en-US" sz="1000" i="1">
                <a:solidFill>
                  <a:srgbClr val="000000"/>
                </a:solidFill>
                <a:cs typeface="Arial" charset="0"/>
              </a:rPr>
              <a:t>Source and Target Mapping</a:t>
            </a:r>
          </a:p>
          <a:p>
            <a:pPr marL="128588" indent="-128588" defTabSz="685800">
              <a:spcBef>
                <a:spcPts val="150"/>
              </a:spcBef>
              <a:buFont typeface="Wingdings" panose="05000000000000000000" pitchFamily="2" charset="2"/>
              <a:buChar char="§"/>
            </a:pPr>
            <a:r>
              <a:rPr lang="en-US" sz="1000" i="1">
                <a:solidFill>
                  <a:srgbClr val="000000"/>
                </a:solidFill>
                <a:cs typeface="Arial" charset="0"/>
              </a:rPr>
              <a:t>Data cleansing &amp; validation report</a:t>
            </a:r>
          </a:p>
          <a:p>
            <a:pPr defTabSz="685800">
              <a:spcBef>
                <a:spcPts val="150"/>
              </a:spcBef>
            </a:pPr>
            <a:endParaRPr lang="en-US" sz="1000" i="1">
              <a:solidFill>
                <a:srgbClr val="000000"/>
              </a:solidFill>
              <a:cs typeface="Arial" charset="0"/>
            </a:endParaRPr>
          </a:p>
          <a:p>
            <a:pPr marL="128588" indent="-128588" defTabSz="685800">
              <a:spcBef>
                <a:spcPts val="150"/>
              </a:spcBef>
              <a:buFont typeface="Wingdings" panose="05000000000000000000" pitchFamily="2" charset="2"/>
              <a:buChar char="§"/>
            </a:pPr>
            <a:endParaRPr lang="en-US" sz="1000" i="1">
              <a:solidFill>
                <a:srgbClr val="000000"/>
              </a:solidFill>
              <a:cs typeface="Arial" charset="0"/>
            </a:endParaRPr>
          </a:p>
        </p:txBody>
      </p:sp>
      <p:sp>
        <p:nvSpPr>
          <p:cNvPr id="108" name="TextBox 107">
            <a:extLst>
              <a:ext uri="{FF2B5EF4-FFF2-40B4-BE49-F238E27FC236}">
                <a16:creationId xmlns:a16="http://schemas.microsoft.com/office/drawing/2014/main" id="{FF488A5E-7ADD-4EA2-91E6-1D4F2E140999}"/>
              </a:ext>
            </a:extLst>
          </p:cNvPr>
          <p:cNvSpPr txBox="1"/>
          <p:nvPr/>
        </p:nvSpPr>
        <p:spPr>
          <a:xfrm>
            <a:off x="9043477" y="2578740"/>
            <a:ext cx="2721635" cy="1387046"/>
          </a:xfrm>
          <a:prstGeom prst="rect">
            <a:avLst/>
          </a:prstGeom>
          <a:noFill/>
        </p:spPr>
        <p:txBody>
          <a:bodyPr wrap="square" lIns="13716" tIns="13716" rIns="13716" bIns="13716" rtlCol="0">
            <a:spAutoFit/>
          </a:bodyPr>
          <a:lstStyle/>
          <a:p>
            <a:pPr defTabSz="685800" fontAlgn="base">
              <a:spcBef>
                <a:spcPct val="0"/>
              </a:spcBef>
              <a:spcAft>
                <a:spcPct val="0"/>
              </a:spcAft>
            </a:pPr>
            <a:r>
              <a:rPr lang="en-US" sz="1000" b="1">
                <a:solidFill>
                  <a:srgbClr val="0066A1"/>
                </a:solidFill>
                <a:cs typeface="Arial" charset="0"/>
              </a:rPr>
              <a:t>Transformation</a:t>
            </a:r>
          </a:p>
          <a:p>
            <a:pPr defTabSz="685800" fontAlgn="base">
              <a:spcBef>
                <a:spcPct val="0"/>
              </a:spcBef>
              <a:spcAft>
                <a:spcPct val="0"/>
              </a:spcAft>
            </a:pPr>
            <a:endParaRPr lang="en-US" sz="1000" b="1">
              <a:solidFill>
                <a:srgbClr val="F26E01"/>
              </a:solidFill>
              <a:cs typeface="Arial" charset="0"/>
            </a:endParaRPr>
          </a:p>
          <a:p>
            <a:pPr marL="128588" indent="-128588" defTabSz="685800">
              <a:spcBef>
                <a:spcPts val="150"/>
              </a:spcBef>
              <a:buFont typeface="Wingdings" panose="05000000000000000000" pitchFamily="2" charset="2"/>
              <a:buChar char="§"/>
            </a:pPr>
            <a:r>
              <a:rPr lang="en-US" sz="1000" i="1">
                <a:solidFill>
                  <a:prstClr val="black"/>
                </a:solidFill>
              </a:rPr>
              <a:t>Create SSIS package for update/modify data &amp; database objects</a:t>
            </a:r>
          </a:p>
          <a:p>
            <a:pPr marL="128588" indent="-128588" defTabSz="685800">
              <a:spcBef>
                <a:spcPts val="150"/>
              </a:spcBef>
              <a:buFont typeface="Wingdings" panose="05000000000000000000" pitchFamily="2" charset="2"/>
              <a:buChar char="§"/>
            </a:pPr>
            <a:r>
              <a:rPr lang="en-US" sz="1000" i="1">
                <a:solidFill>
                  <a:prstClr val="black"/>
                </a:solidFill>
              </a:rPr>
              <a:t>Data profiling</a:t>
            </a:r>
          </a:p>
          <a:p>
            <a:pPr marL="128588" indent="-128588" defTabSz="685800">
              <a:spcBef>
                <a:spcPts val="150"/>
              </a:spcBef>
              <a:buFont typeface="Wingdings" panose="05000000000000000000" pitchFamily="2" charset="2"/>
              <a:buChar char="§"/>
            </a:pPr>
            <a:r>
              <a:rPr lang="en-US" sz="1000" i="1">
                <a:solidFill>
                  <a:srgbClr val="000000"/>
                </a:solidFill>
                <a:cs typeface="Arial" charset="0"/>
              </a:rPr>
              <a:t>Create business rules</a:t>
            </a:r>
          </a:p>
          <a:p>
            <a:pPr marL="128588" indent="-128588" defTabSz="685800">
              <a:spcBef>
                <a:spcPts val="150"/>
              </a:spcBef>
              <a:buFont typeface="Wingdings" panose="05000000000000000000" pitchFamily="2" charset="2"/>
              <a:buChar char="§"/>
            </a:pPr>
            <a:r>
              <a:rPr lang="en-US" sz="1000" i="1">
                <a:solidFill>
                  <a:srgbClr val="000000"/>
                </a:solidFill>
                <a:cs typeface="Arial" charset="0"/>
              </a:rPr>
              <a:t>Migrate data into MPS</a:t>
            </a:r>
          </a:p>
          <a:p>
            <a:pPr marL="128588" indent="-128588" defTabSz="685800">
              <a:spcBef>
                <a:spcPts val="150"/>
              </a:spcBef>
              <a:buFont typeface="Wingdings" panose="05000000000000000000" pitchFamily="2" charset="2"/>
              <a:buChar char="§"/>
            </a:pPr>
            <a:r>
              <a:rPr lang="en-US" sz="1000" i="1">
                <a:solidFill>
                  <a:srgbClr val="000000"/>
                </a:solidFill>
                <a:cs typeface="Arial" charset="0"/>
              </a:rPr>
              <a:t>Report creation/updates </a:t>
            </a:r>
          </a:p>
        </p:txBody>
      </p:sp>
      <p:grpSp>
        <p:nvGrpSpPr>
          <p:cNvPr id="112" name="Group 111">
            <a:extLst>
              <a:ext uri="{FF2B5EF4-FFF2-40B4-BE49-F238E27FC236}">
                <a16:creationId xmlns:a16="http://schemas.microsoft.com/office/drawing/2014/main" id="{49D08742-E6F5-4719-ADF3-7033031B1A9B}"/>
              </a:ext>
            </a:extLst>
          </p:cNvPr>
          <p:cNvGrpSpPr/>
          <p:nvPr/>
        </p:nvGrpSpPr>
        <p:grpSpPr>
          <a:xfrm>
            <a:off x="596909" y="1330581"/>
            <a:ext cx="2022309" cy="814153"/>
            <a:chOff x="596909" y="1330581"/>
            <a:chExt cx="2022309" cy="814153"/>
          </a:xfrm>
        </p:grpSpPr>
        <p:grpSp>
          <p:nvGrpSpPr>
            <p:cNvPr id="110" name="Group 109">
              <a:extLst>
                <a:ext uri="{FF2B5EF4-FFF2-40B4-BE49-F238E27FC236}">
                  <a16:creationId xmlns:a16="http://schemas.microsoft.com/office/drawing/2014/main" id="{A1AD840C-A3B7-4601-A4D2-CBBAA248206D}"/>
                </a:ext>
              </a:extLst>
            </p:cNvPr>
            <p:cNvGrpSpPr/>
            <p:nvPr/>
          </p:nvGrpSpPr>
          <p:grpSpPr>
            <a:xfrm>
              <a:off x="596909" y="1330581"/>
              <a:ext cx="2022309" cy="814153"/>
              <a:chOff x="3564553" y="1319356"/>
              <a:chExt cx="2022309" cy="814153"/>
            </a:xfrm>
          </p:grpSpPr>
          <p:sp>
            <p:nvSpPr>
              <p:cNvPr id="6" name="Flowchart: Alternate Process 5">
                <a:extLst>
                  <a:ext uri="{FF2B5EF4-FFF2-40B4-BE49-F238E27FC236}">
                    <a16:creationId xmlns:a16="http://schemas.microsoft.com/office/drawing/2014/main" id="{21A65AA8-9396-4727-8DA4-BF681CC9F4FC}"/>
                  </a:ext>
                </a:extLst>
              </p:cNvPr>
              <p:cNvSpPr/>
              <p:nvPr/>
            </p:nvSpPr>
            <p:spPr>
              <a:xfrm>
                <a:off x="3564553" y="1319356"/>
                <a:ext cx="2022309" cy="814153"/>
              </a:xfrm>
              <a:prstGeom prst="flowChartAlternateProcess">
                <a:avLst/>
              </a:prstGeom>
              <a:solidFill>
                <a:sysClr val="window" lastClr="FFFFFF">
                  <a:lumMod val="95000"/>
                </a:sysClr>
              </a:solidFill>
              <a:ln w="25400" cap="flat" cmpd="sng" algn="ctr">
                <a:noFill/>
                <a:prstDash val="solid"/>
              </a:ln>
              <a:effectLst>
                <a:outerShdw blurRad="50800" dist="38100" dir="2700000" algn="tl" rotWithShape="0">
                  <a:prstClr val="black">
                    <a:alpha val="40000"/>
                  </a:prstClr>
                </a:outerShdw>
              </a:effectLst>
            </p:spPr>
            <p:txBody>
              <a:bodyPr rot="0" spcFirstLastPara="0" vertOverflow="overflow" horzOverflow="overflow" vert="horz" wrap="square" lIns="68580" tIns="34290" rIns="68580" bIns="34290" numCol="1" spcCol="0" rtlCol="0" fromWordArt="0" anchor="b" anchorCtr="0" forceAA="0" compatLnSpc="1">
                <a:prstTxWarp prst="textNoShape">
                  <a:avLst/>
                </a:prstTxWarp>
                <a:noAutofit/>
              </a:bodyPr>
              <a:lstStyle/>
              <a:p>
                <a:pPr algn="ctr" defTabSz="685800" fontAlgn="base">
                  <a:spcBef>
                    <a:spcPct val="0"/>
                  </a:spcBef>
                  <a:spcAft>
                    <a:spcPct val="0"/>
                  </a:spcAft>
                  <a:defRPr/>
                </a:pPr>
                <a:endParaRPr lang="en-US" sz="1050" b="1" kern="0">
                  <a:solidFill>
                    <a:srgbClr val="000000"/>
                  </a:solidFill>
                  <a:latin typeface="Arial"/>
                </a:endParaRPr>
              </a:p>
            </p:txBody>
          </p:sp>
          <p:grpSp>
            <p:nvGrpSpPr>
              <p:cNvPr id="37" name="Groupe 597">
                <a:extLst>
                  <a:ext uri="{FF2B5EF4-FFF2-40B4-BE49-F238E27FC236}">
                    <a16:creationId xmlns:a16="http://schemas.microsoft.com/office/drawing/2014/main" id="{1906AC2A-3153-4E01-8FC6-C63BBE61B75D}"/>
                  </a:ext>
                </a:extLst>
              </p:cNvPr>
              <p:cNvGrpSpPr/>
              <p:nvPr/>
            </p:nvGrpSpPr>
            <p:grpSpPr>
              <a:xfrm>
                <a:off x="4156479" y="1835840"/>
                <a:ext cx="738484" cy="282885"/>
                <a:chOff x="4376714" y="2104827"/>
                <a:chExt cx="376238" cy="171450"/>
              </a:xfrm>
            </p:grpSpPr>
            <p:sp>
              <p:nvSpPr>
                <p:cNvPr id="38" name="Freeform 760">
                  <a:extLst>
                    <a:ext uri="{FF2B5EF4-FFF2-40B4-BE49-F238E27FC236}">
                      <a16:creationId xmlns:a16="http://schemas.microsoft.com/office/drawing/2014/main" id="{5BA4DFAD-E27F-4626-BA22-0E84D92BBFCC}"/>
                    </a:ext>
                  </a:extLst>
                </p:cNvPr>
                <p:cNvSpPr>
                  <a:spLocks/>
                </p:cNvSpPr>
                <p:nvPr/>
              </p:nvSpPr>
              <p:spPr bwMode="auto">
                <a:xfrm>
                  <a:off x="4376714" y="2104827"/>
                  <a:ext cx="125413" cy="171450"/>
                </a:xfrm>
                <a:custGeom>
                  <a:avLst/>
                  <a:gdLst/>
                  <a:ahLst/>
                  <a:cxnLst>
                    <a:cxn ang="0">
                      <a:pos x="79" y="108"/>
                    </a:cxn>
                    <a:cxn ang="0">
                      <a:pos x="79" y="108"/>
                    </a:cxn>
                    <a:cxn ang="0">
                      <a:pos x="78" y="96"/>
                    </a:cxn>
                    <a:cxn ang="0">
                      <a:pos x="77" y="86"/>
                    </a:cxn>
                    <a:cxn ang="0">
                      <a:pos x="76" y="76"/>
                    </a:cxn>
                    <a:cxn ang="0">
                      <a:pos x="72" y="67"/>
                    </a:cxn>
                    <a:cxn ang="0">
                      <a:pos x="68" y="59"/>
                    </a:cxn>
                    <a:cxn ang="0">
                      <a:pos x="63" y="53"/>
                    </a:cxn>
                    <a:cxn ang="0">
                      <a:pos x="57" y="49"/>
                    </a:cxn>
                    <a:cxn ang="0">
                      <a:pos x="48" y="45"/>
                    </a:cxn>
                    <a:cxn ang="0">
                      <a:pos x="48" y="45"/>
                    </a:cxn>
                    <a:cxn ang="0">
                      <a:pos x="52" y="42"/>
                    </a:cxn>
                    <a:cxn ang="0">
                      <a:pos x="55" y="37"/>
                    </a:cxn>
                    <a:cxn ang="0">
                      <a:pos x="58" y="30"/>
                    </a:cxn>
                    <a:cxn ang="0">
                      <a:pos x="59" y="24"/>
                    </a:cxn>
                    <a:cxn ang="0">
                      <a:pos x="59" y="24"/>
                    </a:cxn>
                    <a:cxn ang="0">
                      <a:pos x="59" y="19"/>
                    </a:cxn>
                    <a:cxn ang="0">
                      <a:pos x="58" y="14"/>
                    </a:cxn>
                    <a:cxn ang="0">
                      <a:pos x="55" y="10"/>
                    </a:cxn>
                    <a:cxn ang="0">
                      <a:pos x="53" y="6"/>
                    </a:cxn>
                    <a:cxn ang="0">
                      <a:pos x="50" y="4"/>
                    </a:cxn>
                    <a:cxn ang="0">
                      <a:pos x="48" y="1"/>
                    </a:cxn>
                    <a:cxn ang="0">
                      <a:pos x="44" y="0"/>
                    </a:cxn>
                    <a:cxn ang="0">
                      <a:pos x="40" y="0"/>
                    </a:cxn>
                    <a:cxn ang="0">
                      <a:pos x="40" y="0"/>
                    </a:cxn>
                    <a:cxn ang="0">
                      <a:pos x="35" y="0"/>
                    </a:cxn>
                    <a:cxn ang="0">
                      <a:pos x="33" y="1"/>
                    </a:cxn>
                    <a:cxn ang="0">
                      <a:pos x="29" y="4"/>
                    </a:cxn>
                    <a:cxn ang="0">
                      <a:pos x="26" y="6"/>
                    </a:cxn>
                    <a:cxn ang="0">
                      <a:pos x="24" y="10"/>
                    </a:cxn>
                    <a:cxn ang="0">
                      <a:pos x="21" y="14"/>
                    </a:cxn>
                    <a:cxn ang="0">
                      <a:pos x="20" y="19"/>
                    </a:cxn>
                    <a:cxn ang="0">
                      <a:pos x="20" y="24"/>
                    </a:cxn>
                    <a:cxn ang="0">
                      <a:pos x="20" y="24"/>
                    </a:cxn>
                    <a:cxn ang="0">
                      <a:pos x="21" y="30"/>
                    </a:cxn>
                    <a:cxn ang="0">
                      <a:pos x="24" y="37"/>
                    </a:cxn>
                    <a:cxn ang="0">
                      <a:pos x="27" y="42"/>
                    </a:cxn>
                    <a:cxn ang="0">
                      <a:pos x="31" y="45"/>
                    </a:cxn>
                    <a:cxn ang="0">
                      <a:pos x="31" y="45"/>
                    </a:cxn>
                    <a:cxn ang="0">
                      <a:pos x="22" y="49"/>
                    </a:cxn>
                    <a:cxn ang="0">
                      <a:pos x="16" y="53"/>
                    </a:cxn>
                    <a:cxn ang="0">
                      <a:pos x="11" y="59"/>
                    </a:cxn>
                    <a:cxn ang="0">
                      <a:pos x="7" y="67"/>
                    </a:cxn>
                    <a:cxn ang="0">
                      <a:pos x="3" y="76"/>
                    </a:cxn>
                    <a:cxn ang="0">
                      <a:pos x="2" y="86"/>
                    </a:cxn>
                    <a:cxn ang="0">
                      <a:pos x="1" y="96"/>
                    </a:cxn>
                    <a:cxn ang="0">
                      <a:pos x="0" y="108"/>
                    </a:cxn>
                  </a:cxnLst>
                  <a:rect l="0" t="0" r="r" b="b"/>
                  <a:pathLst>
                    <a:path w="79" h="108">
                      <a:moveTo>
                        <a:pt x="79" y="108"/>
                      </a:moveTo>
                      <a:lnTo>
                        <a:pt x="79" y="108"/>
                      </a:lnTo>
                      <a:lnTo>
                        <a:pt x="78" y="96"/>
                      </a:lnTo>
                      <a:lnTo>
                        <a:pt x="77" y="86"/>
                      </a:lnTo>
                      <a:lnTo>
                        <a:pt x="76" y="76"/>
                      </a:lnTo>
                      <a:lnTo>
                        <a:pt x="72" y="67"/>
                      </a:lnTo>
                      <a:lnTo>
                        <a:pt x="68" y="59"/>
                      </a:lnTo>
                      <a:lnTo>
                        <a:pt x="63" y="53"/>
                      </a:lnTo>
                      <a:lnTo>
                        <a:pt x="57" y="49"/>
                      </a:lnTo>
                      <a:lnTo>
                        <a:pt x="48" y="45"/>
                      </a:lnTo>
                      <a:lnTo>
                        <a:pt x="48" y="45"/>
                      </a:lnTo>
                      <a:lnTo>
                        <a:pt x="52" y="42"/>
                      </a:lnTo>
                      <a:lnTo>
                        <a:pt x="55" y="37"/>
                      </a:lnTo>
                      <a:lnTo>
                        <a:pt x="58" y="30"/>
                      </a:lnTo>
                      <a:lnTo>
                        <a:pt x="59" y="24"/>
                      </a:lnTo>
                      <a:lnTo>
                        <a:pt x="59" y="24"/>
                      </a:lnTo>
                      <a:lnTo>
                        <a:pt x="59" y="19"/>
                      </a:lnTo>
                      <a:lnTo>
                        <a:pt x="58" y="14"/>
                      </a:lnTo>
                      <a:lnTo>
                        <a:pt x="55" y="10"/>
                      </a:lnTo>
                      <a:lnTo>
                        <a:pt x="53" y="6"/>
                      </a:lnTo>
                      <a:lnTo>
                        <a:pt x="50" y="4"/>
                      </a:lnTo>
                      <a:lnTo>
                        <a:pt x="48" y="1"/>
                      </a:lnTo>
                      <a:lnTo>
                        <a:pt x="44" y="0"/>
                      </a:lnTo>
                      <a:lnTo>
                        <a:pt x="40" y="0"/>
                      </a:lnTo>
                      <a:lnTo>
                        <a:pt x="40" y="0"/>
                      </a:lnTo>
                      <a:lnTo>
                        <a:pt x="35" y="0"/>
                      </a:lnTo>
                      <a:lnTo>
                        <a:pt x="33" y="1"/>
                      </a:lnTo>
                      <a:lnTo>
                        <a:pt x="29" y="4"/>
                      </a:lnTo>
                      <a:lnTo>
                        <a:pt x="26" y="6"/>
                      </a:lnTo>
                      <a:lnTo>
                        <a:pt x="24" y="10"/>
                      </a:lnTo>
                      <a:lnTo>
                        <a:pt x="21" y="14"/>
                      </a:lnTo>
                      <a:lnTo>
                        <a:pt x="20" y="19"/>
                      </a:lnTo>
                      <a:lnTo>
                        <a:pt x="20" y="24"/>
                      </a:lnTo>
                      <a:lnTo>
                        <a:pt x="20" y="24"/>
                      </a:lnTo>
                      <a:lnTo>
                        <a:pt x="21" y="30"/>
                      </a:lnTo>
                      <a:lnTo>
                        <a:pt x="24" y="37"/>
                      </a:lnTo>
                      <a:lnTo>
                        <a:pt x="27" y="42"/>
                      </a:lnTo>
                      <a:lnTo>
                        <a:pt x="31" y="45"/>
                      </a:lnTo>
                      <a:lnTo>
                        <a:pt x="31" y="45"/>
                      </a:lnTo>
                      <a:lnTo>
                        <a:pt x="22" y="49"/>
                      </a:lnTo>
                      <a:lnTo>
                        <a:pt x="16" y="53"/>
                      </a:lnTo>
                      <a:lnTo>
                        <a:pt x="11" y="59"/>
                      </a:lnTo>
                      <a:lnTo>
                        <a:pt x="7" y="67"/>
                      </a:lnTo>
                      <a:lnTo>
                        <a:pt x="3" y="76"/>
                      </a:lnTo>
                      <a:lnTo>
                        <a:pt x="2" y="86"/>
                      </a:lnTo>
                      <a:lnTo>
                        <a:pt x="1" y="96"/>
                      </a:lnTo>
                      <a:lnTo>
                        <a:pt x="0" y="108"/>
                      </a:lnTo>
                    </a:path>
                  </a:pathLst>
                </a:custGeom>
                <a:noFill/>
                <a:ln w="19050">
                  <a:solidFill>
                    <a:srgbClr val="F26E01"/>
                  </a:solidFill>
                  <a:prstDash val="solid"/>
                  <a:round/>
                  <a:headEnd/>
                  <a:tailEnd/>
                </a:ln>
              </p:spPr>
              <p:txBody>
                <a:bodyPr vert="horz" wrap="square" lIns="68580" tIns="34290" rIns="68580" bIns="34290" numCol="1" anchor="t" anchorCtr="0" compatLnSpc="1">
                  <a:prstTxWarp prst="textNoShape">
                    <a:avLst/>
                  </a:prstTxWarp>
                </a:bodyPr>
                <a:lstStyle/>
                <a:p>
                  <a:pPr defTabSz="685800" fontAlgn="base">
                    <a:spcBef>
                      <a:spcPct val="0"/>
                    </a:spcBef>
                    <a:spcAft>
                      <a:spcPct val="0"/>
                    </a:spcAft>
                    <a:defRPr/>
                  </a:pPr>
                  <a:endParaRPr lang="en-US" sz="1350" kern="0">
                    <a:solidFill>
                      <a:srgbClr val="000000"/>
                    </a:solidFill>
                    <a:latin typeface="Arial"/>
                    <a:cs typeface="Arial" charset="0"/>
                  </a:endParaRPr>
                </a:p>
              </p:txBody>
            </p:sp>
            <p:sp>
              <p:nvSpPr>
                <p:cNvPr id="39" name="Freeform 761">
                  <a:extLst>
                    <a:ext uri="{FF2B5EF4-FFF2-40B4-BE49-F238E27FC236}">
                      <a16:creationId xmlns:a16="http://schemas.microsoft.com/office/drawing/2014/main" id="{A76C4501-D03F-42B6-BAC7-1C6435A88764}"/>
                    </a:ext>
                  </a:extLst>
                </p:cNvPr>
                <p:cNvSpPr>
                  <a:spLocks/>
                </p:cNvSpPr>
                <p:nvPr/>
              </p:nvSpPr>
              <p:spPr bwMode="auto">
                <a:xfrm>
                  <a:off x="4502126" y="2104827"/>
                  <a:ext cx="125413" cy="171450"/>
                </a:xfrm>
                <a:custGeom>
                  <a:avLst/>
                  <a:gdLst/>
                  <a:ahLst/>
                  <a:cxnLst>
                    <a:cxn ang="0">
                      <a:pos x="79" y="108"/>
                    </a:cxn>
                    <a:cxn ang="0">
                      <a:pos x="79" y="108"/>
                    </a:cxn>
                    <a:cxn ang="0">
                      <a:pos x="79" y="96"/>
                    </a:cxn>
                    <a:cxn ang="0">
                      <a:pos x="78" y="86"/>
                    </a:cxn>
                    <a:cxn ang="0">
                      <a:pos x="75" y="76"/>
                    </a:cxn>
                    <a:cxn ang="0">
                      <a:pos x="73" y="67"/>
                    </a:cxn>
                    <a:cxn ang="0">
                      <a:pos x="68" y="59"/>
                    </a:cxn>
                    <a:cxn ang="0">
                      <a:pos x="62" y="53"/>
                    </a:cxn>
                    <a:cxn ang="0">
                      <a:pos x="56" y="49"/>
                    </a:cxn>
                    <a:cxn ang="0">
                      <a:pos x="49" y="45"/>
                    </a:cxn>
                    <a:cxn ang="0">
                      <a:pos x="49" y="45"/>
                    </a:cxn>
                    <a:cxn ang="0">
                      <a:pos x="52" y="42"/>
                    </a:cxn>
                    <a:cxn ang="0">
                      <a:pos x="55" y="37"/>
                    </a:cxn>
                    <a:cxn ang="0">
                      <a:pos x="57" y="30"/>
                    </a:cxn>
                    <a:cxn ang="0">
                      <a:pos x="59" y="24"/>
                    </a:cxn>
                    <a:cxn ang="0">
                      <a:pos x="59" y="24"/>
                    </a:cxn>
                    <a:cxn ang="0">
                      <a:pos x="59" y="19"/>
                    </a:cxn>
                    <a:cxn ang="0">
                      <a:pos x="57" y="14"/>
                    </a:cxn>
                    <a:cxn ang="0">
                      <a:pos x="56" y="10"/>
                    </a:cxn>
                    <a:cxn ang="0">
                      <a:pos x="54" y="6"/>
                    </a:cxn>
                    <a:cxn ang="0">
                      <a:pos x="50" y="4"/>
                    </a:cxn>
                    <a:cxn ang="0">
                      <a:pos x="47" y="1"/>
                    </a:cxn>
                    <a:cxn ang="0">
                      <a:pos x="43" y="0"/>
                    </a:cxn>
                    <a:cxn ang="0">
                      <a:pos x="40" y="0"/>
                    </a:cxn>
                    <a:cxn ang="0">
                      <a:pos x="40" y="0"/>
                    </a:cxn>
                    <a:cxn ang="0">
                      <a:pos x="36" y="0"/>
                    </a:cxn>
                    <a:cxn ang="0">
                      <a:pos x="32" y="1"/>
                    </a:cxn>
                    <a:cxn ang="0">
                      <a:pos x="28" y="4"/>
                    </a:cxn>
                    <a:cxn ang="0">
                      <a:pos x="26" y="6"/>
                    </a:cxn>
                    <a:cxn ang="0">
                      <a:pos x="23" y="10"/>
                    </a:cxn>
                    <a:cxn ang="0">
                      <a:pos x="22" y="14"/>
                    </a:cxn>
                    <a:cxn ang="0">
                      <a:pos x="21" y="19"/>
                    </a:cxn>
                    <a:cxn ang="0">
                      <a:pos x="19" y="24"/>
                    </a:cxn>
                    <a:cxn ang="0">
                      <a:pos x="19" y="24"/>
                    </a:cxn>
                    <a:cxn ang="0">
                      <a:pos x="21" y="30"/>
                    </a:cxn>
                    <a:cxn ang="0">
                      <a:pos x="23" y="37"/>
                    </a:cxn>
                    <a:cxn ang="0">
                      <a:pos x="27" y="42"/>
                    </a:cxn>
                    <a:cxn ang="0">
                      <a:pos x="31" y="45"/>
                    </a:cxn>
                    <a:cxn ang="0">
                      <a:pos x="31" y="45"/>
                    </a:cxn>
                    <a:cxn ang="0">
                      <a:pos x="23" y="49"/>
                    </a:cxn>
                    <a:cxn ang="0">
                      <a:pos x="16" y="53"/>
                    </a:cxn>
                    <a:cxn ang="0">
                      <a:pos x="11" y="59"/>
                    </a:cxn>
                    <a:cxn ang="0">
                      <a:pos x="7" y="67"/>
                    </a:cxn>
                    <a:cxn ang="0">
                      <a:pos x="4" y="76"/>
                    </a:cxn>
                    <a:cxn ang="0">
                      <a:pos x="2" y="86"/>
                    </a:cxn>
                    <a:cxn ang="0">
                      <a:pos x="0" y="96"/>
                    </a:cxn>
                    <a:cxn ang="0">
                      <a:pos x="0" y="108"/>
                    </a:cxn>
                  </a:cxnLst>
                  <a:rect l="0" t="0" r="r" b="b"/>
                  <a:pathLst>
                    <a:path w="79" h="108">
                      <a:moveTo>
                        <a:pt x="79" y="108"/>
                      </a:moveTo>
                      <a:lnTo>
                        <a:pt x="79" y="108"/>
                      </a:lnTo>
                      <a:lnTo>
                        <a:pt x="79" y="96"/>
                      </a:lnTo>
                      <a:lnTo>
                        <a:pt x="78" y="86"/>
                      </a:lnTo>
                      <a:lnTo>
                        <a:pt x="75" y="76"/>
                      </a:lnTo>
                      <a:lnTo>
                        <a:pt x="73" y="67"/>
                      </a:lnTo>
                      <a:lnTo>
                        <a:pt x="68" y="59"/>
                      </a:lnTo>
                      <a:lnTo>
                        <a:pt x="62" y="53"/>
                      </a:lnTo>
                      <a:lnTo>
                        <a:pt x="56" y="49"/>
                      </a:lnTo>
                      <a:lnTo>
                        <a:pt x="49" y="45"/>
                      </a:lnTo>
                      <a:lnTo>
                        <a:pt x="49" y="45"/>
                      </a:lnTo>
                      <a:lnTo>
                        <a:pt x="52" y="42"/>
                      </a:lnTo>
                      <a:lnTo>
                        <a:pt x="55" y="37"/>
                      </a:lnTo>
                      <a:lnTo>
                        <a:pt x="57" y="30"/>
                      </a:lnTo>
                      <a:lnTo>
                        <a:pt x="59" y="24"/>
                      </a:lnTo>
                      <a:lnTo>
                        <a:pt x="59" y="24"/>
                      </a:lnTo>
                      <a:lnTo>
                        <a:pt x="59" y="19"/>
                      </a:lnTo>
                      <a:lnTo>
                        <a:pt x="57" y="14"/>
                      </a:lnTo>
                      <a:lnTo>
                        <a:pt x="56" y="10"/>
                      </a:lnTo>
                      <a:lnTo>
                        <a:pt x="54" y="6"/>
                      </a:lnTo>
                      <a:lnTo>
                        <a:pt x="50" y="4"/>
                      </a:lnTo>
                      <a:lnTo>
                        <a:pt x="47" y="1"/>
                      </a:lnTo>
                      <a:lnTo>
                        <a:pt x="43" y="0"/>
                      </a:lnTo>
                      <a:lnTo>
                        <a:pt x="40" y="0"/>
                      </a:lnTo>
                      <a:lnTo>
                        <a:pt x="40" y="0"/>
                      </a:lnTo>
                      <a:lnTo>
                        <a:pt x="36" y="0"/>
                      </a:lnTo>
                      <a:lnTo>
                        <a:pt x="32" y="1"/>
                      </a:lnTo>
                      <a:lnTo>
                        <a:pt x="28" y="4"/>
                      </a:lnTo>
                      <a:lnTo>
                        <a:pt x="26" y="6"/>
                      </a:lnTo>
                      <a:lnTo>
                        <a:pt x="23" y="10"/>
                      </a:lnTo>
                      <a:lnTo>
                        <a:pt x="22" y="14"/>
                      </a:lnTo>
                      <a:lnTo>
                        <a:pt x="21" y="19"/>
                      </a:lnTo>
                      <a:lnTo>
                        <a:pt x="19" y="24"/>
                      </a:lnTo>
                      <a:lnTo>
                        <a:pt x="19" y="24"/>
                      </a:lnTo>
                      <a:lnTo>
                        <a:pt x="21" y="30"/>
                      </a:lnTo>
                      <a:lnTo>
                        <a:pt x="23" y="37"/>
                      </a:lnTo>
                      <a:lnTo>
                        <a:pt x="27" y="42"/>
                      </a:lnTo>
                      <a:lnTo>
                        <a:pt x="31" y="45"/>
                      </a:lnTo>
                      <a:lnTo>
                        <a:pt x="31" y="45"/>
                      </a:lnTo>
                      <a:lnTo>
                        <a:pt x="23" y="49"/>
                      </a:lnTo>
                      <a:lnTo>
                        <a:pt x="16" y="53"/>
                      </a:lnTo>
                      <a:lnTo>
                        <a:pt x="11" y="59"/>
                      </a:lnTo>
                      <a:lnTo>
                        <a:pt x="7" y="67"/>
                      </a:lnTo>
                      <a:lnTo>
                        <a:pt x="4" y="76"/>
                      </a:lnTo>
                      <a:lnTo>
                        <a:pt x="2" y="86"/>
                      </a:lnTo>
                      <a:lnTo>
                        <a:pt x="0" y="96"/>
                      </a:lnTo>
                      <a:lnTo>
                        <a:pt x="0" y="108"/>
                      </a:lnTo>
                    </a:path>
                  </a:pathLst>
                </a:custGeom>
                <a:noFill/>
                <a:ln w="19050">
                  <a:solidFill>
                    <a:srgbClr val="F26E01"/>
                  </a:solidFill>
                  <a:prstDash val="solid"/>
                  <a:round/>
                  <a:headEnd/>
                  <a:tailEnd/>
                </a:ln>
              </p:spPr>
              <p:txBody>
                <a:bodyPr vert="horz" wrap="square" lIns="68580" tIns="34290" rIns="68580" bIns="34290" numCol="1" anchor="t" anchorCtr="0" compatLnSpc="1">
                  <a:prstTxWarp prst="textNoShape">
                    <a:avLst/>
                  </a:prstTxWarp>
                </a:bodyPr>
                <a:lstStyle/>
                <a:p>
                  <a:pPr defTabSz="685800" fontAlgn="base">
                    <a:spcBef>
                      <a:spcPct val="0"/>
                    </a:spcBef>
                    <a:spcAft>
                      <a:spcPct val="0"/>
                    </a:spcAft>
                    <a:defRPr/>
                  </a:pPr>
                  <a:endParaRPr lang="en-US" sz="1350" kern="0">
                    <a:solidFill>
                      <a:srgbClr val="000000"/>
                    </a:solidFill>
                    <a:latin typeface="Arial"/>
                    <a:cs typeface="Arial" charset="0"/>
                  </a:endParaRPr>
                </a:p>
              </p:txBody>
            </p:sp>
            <p:sp>
              <p:nvSpPr>
                <p:cNvPr id="40" name="Freeform 762">
                  <a:extLst>
                    <a:ext uri="{FF2B5EF4-FFF2-40B4-BE49-F238E27FC236}">
                      <a16:creationId xmlns:a16="http://schemas.microsoft.com/office/drawing/2014/main" id="{59C698BF-2D6E-4BEE-AE2B-21193FB15C5E}"/>
                    </a:ext>
                  </a:extLst>
                </p:cNvPr>
                <p:cNvSpPr>
                  <a:spLocks/>
                </p:cNvSpPr>
                <p:nvPr/>
              </p:nvSpPr>
              <p:spPr bwMode="auto">
                <a:xfrm>
                  <a:off x="4627539" y="2104827"/>
                  <a:ext cx="125413" cy="171450"/>
                </a:xfrm>
                <a:custGeom>
                  <a:avLst/>
                  <a:gdLst/>
                  <a:ahLst/>
                  <a:cxnLst>
                    <a:cxn ang="0">
                      <a:pos x="79" y="108"/>
                    </a:cxn>
                    <a:cxn ang="0">
                      <a:pos x="79" y="108"/>
                    </a:cxn>
                    <a:cxn ang="0">
                      <a:pos x="79" y="96"/>
                    </a:cxn>
                    <a:cxn ang="0">
                      <a:pos x="77" y="86"/>
                    </a:cxn>
                    <a:cxn ang="0">
                      <a:pos x="75" y="76"/>
                    </a:cxn>
                    <a:cxn ang="0">
                      <a:pos x="72" y="67"/>
                    </a:cxn>
                    <a:cxn ang="0">
                      <a:pos x="68" y="59"/>
                    </a:cxn>
                    <a:cxn ang="0">
                      <a:pos x="63" y="53"/>
                    </a:cxn>
                    <a:cxn ang="0">
                      <a:pos x="56" y="49"/>
                    </a:cxn>
                    <a:cxn ang="0">
                      <a:pos x="48" y="45"/>
                    </a:cxn>
                    <a:cxn ang="0">
                      <a:pos x="48" y="45"/>
                    </a:cxn>
                    <a:cxn ang="0">
                      <a:pos x="52" y="42"/>
                    </a:cxn>
                    <a:cxn ang="0">
                      <a:pos x="56" y="37"/>
                    </a:cxn>
                    <a:cxn ang="0">
                      <a:pos x="58" y="30"/>
                    </a:cxn>
                    <a:cxn ang="0">
                      <a:pos x="59" y="24"/>
                    </a:cxn>
                    <a:cxn ang="0">
                      <a:pos x="59" y="24"/>
                    </a:cxn>
                    <a:cxn ang="0">
                      <a:pos x="58" y="19"/>
                    </a:cxn>
                    <a:cxn ang="0">
                      <a:pos x="57" y="14"/>
                    </a:cxn>
                    <a:cxn ang="0">
                      <a:pos x="56" y="10"/>
                    </a:cxn>
                    <a:cxn ang="0">
                      <a:pos x="53" y="6"/>
                    </a:cxn>
                    <a:cxn ang="0">
                      <a:pos x="51" y="4"/>
                    </a:cxn>
                    <a:cxn ang="0">
                      <a:pos x="47" y="1"/>
                    </a:cxn>
                    <a:cxn ang="0">
                      <a:pos x="43" y="0"/>
                    </a:cxn>
                    <a:cxn ang="0">
                      <a:pos x="39" y="0"/>
                    </a:cxn>
                    <a:cxn ang="0">
                      <a:pos x="39" y="0"/>
                    </a:cxn>
                    <a:cxn ang="0">
                      <a:pos x="35" y="0"/>
                    </a:cxn>
                    <a:cxn ang="0">
                      <a:pos x="32" y="1"/>
                    </a:cxn>
                    <a:cxn ang="0">
                      <a:pos x="29" y="4"/>
                    </a:cxn>
                    <a:cxn ang="0">
                      <a:pos x="25" y="6"/>
                    </a:cxn>
                    <a:cxn ang="0">
                      <a:pos x="23" y="10"/>
                    </a:cxn>
                    <a:cxn ang="0">
                      <a:pos x="21" y="14"/>
                    </a:cxn>
                    <a:cxn ang="0">
                      <a:pos x="20" y="19"/>
                    </a:cxn>
                    <a:cxn ang="0">
                      <a:pos x="20" y="24"/>
                    </a:cxn>
                    <a:cxn ang="0">
                      <a:pos x="20" y="24"/>
                    </a:cxn>
                    <a:cxn ang="0">
                      <a:pos x="21" y="30"/>
                    </a:cxn>
                    <a:cxn ang="0">
                      <a:pos x="24" y="37"/>
                    </a:cxn>
                    <a:cxn ang="0">
                      <a:pos x="27" y="42"/>
                    </a:cxn>
                    <a:cxn ang="0">
                      <a:pos x="30" y="45"/>
                    </a:cxn>
                    <a:cxn ang="0">
                      <a:pos x="30" y="45"/>
                    </a:cxn>
                    <a:cxn ang="0">
                      <a:pos x="23" y="49"/>
                    </a:cxn>
                    <a:cxn ang="0">
                      <a:pos x="16" y="53"/>
                    </a:cxn>
                    <a:cxn ang="0">
                      <a:pos x="11" y="59"/>
                    </a:cxn>
                    <a:cxn ang="0">
                      <a:pos x="6" y="67"/>
                    </a:cxn>
                    <a:cxn ang="0">
                      <a:pos x="4" y="76"/>
                    </a:cxn>
                    <a:cxn ang="0">
                      <a:pos x="1" y="86"/>
                    </a:cxn>
                    <a:cxn ang="0">
                      <a:pos x="0" y="96"/>
                    </a:cxn>
                    <a:cxn ang="0">
                      <a:pos x="0" y="108"/>
                    </a:cxn>
                  </a:cxnLst>
                  <a:rect l="0" t="0" r="r" b="b"/>
                  <a:pathLst>
                    <a:path w="79" h="108">
                      <a:moveTo>
                        <a:pt x="79" y="108"/>
                      </a:moveTo>
                      <a:lnTo>
                        <a:pt x="79" y="108"/>
                      </a:lnTo>
                      <a:lnTo>
                        <a:pt x="79" y="96"/>
                      </a:lnTo>
                      <a:lnTo>
                        <a:pt x="77" y="86"/>
                      </a:lnTo>
                      <a:lnTo>
                        <a:pt x="75" y="76"/>
                      </a:lnTo>
                      <a:lnTo>
                        <a:pt x="72" y="67"/>
                      </a:lnTo>
                      <a:lnTo>
                        <a:pt x="68" y="59"/>
                      </a:lnTo>
                      <a:lnTo>
                        <a:pt x="63" y="53"/>
                      </a:lnTo>
                      <a:lnTo>
                        <a:pt x="56" y="49"/>
                      </a:lnTo>
                      <a:lnTo>
                        <a:pt x="48" y="45"/>
                      </a:lnTo>
                      <a:lnTo>
                        <a:pt x="48" y="45"/>
                      </a:lnTo>
                      <a:lnTo>
                        <a:pt x="52" y="42"/>
                      </a:lnTo>
                      <a:lnTo>
                        <a:pt x="56" y="37"/>
                      </a:lnTo>
                      <a:lnTo>
                        <a:pt x="58" y="30"/>
                      </a:lnTo>
                      <a:lnTo>
                        <a:pt x="59" y="24"/>
                      </a:lnTo>
                      <a:lnTo>
                        <a:pt x="59" y="24"/>
                      </a:lnTo>
                      <a:lnTo>
                        <a:pt x="58" y="19"/>
                      </a:lnTo>
                      <a:lnTo>
                        <a:pt x="57" y="14"/>
                      </a:lnTo>
                      <a:lnTo>
                        <a:pt x="56" y="10"/>
                      </a:lnTo>
                      <a:lnTo>
                        <a:pt x="53" y="6"/>
                      </a:lnTo>
                      <a:lnTo>
                        <a:pt x="51" y="4"/>
                      </a:lnTo>
                      <a:lnTo>
                        <a:pt x="47" y="1"/>
                      </a:lnTo>
                      <a:lnTo>
                        <a:pt x="43" y="0"/>
                      </a:lnTo>
                      <a:lnTo>
                        <a:pt x="39" y="0"/>
                      </a:lnTo>
                      <a:lnTo>
                        <a:pt x="39" y="0"/>
                      </a:lnTo>
                      <a:lnTo>
                        <a:pt x="35" y="0"/>
                      </a:lnTo>
                      <a:lnTo>
                        <a:pt x="32" y="1"/>
                      </a:lnTo>
                      <a:lnTo>
                        <a:pt x="29" y="4"/>
                      </a:lnTo>
                      <a:lnTo>
                        <a:pt x="25" y="6"/>
                      </a:lnTo>
                      <a:lnTo>
                        <a:pt x="23" y="10"/>
                      </a:lnTo>
                      <a:lnTo>
                        <a:pt x="21" y="14"/>
                      </a:lnTo>
                      <a:lnTo>
                        <a:pt x="20" y="19"/>
                      </a:lnTo>
                      <a:lnTo>
                        <a:pt x="20" y="24"/>
                      </a:lnTo>
                      <a:lnTo>
                        <a:pt x="20" y="24"/>
                      </a:lnTo>
                      <a:lnTo>
                        <a:pt x="21" y="30"/>
                      </a:lnTo>
                      <a:lnTo>
                        <a:pt x="24" y="37"/>
                      </a:lnTo>
                      <a:lnTo>
                        <a:pt x="27" y="42"/>
                      </a:lnTo>
                      <a:lnTo>
                        <a:pt x="30" y="45"/>
                      </a:lnTo>
                      <a:lnTo>
                        <a:pt x="30" y="45"/>
                      </a:lnTo>
                      <a:lnTo>
                        <a:pt x="23" y="49"/>
                      </a:lnTo>
                      <a:lnTo>
                        <a:pt x="16" y="53"/>
                      </a:lnTo>
                      <a:lnTo>
                        <a:pt x="11" y="59"/>
                      </a:lnTo>
                      <a:lnTo>
                        <a:pt x="6" y="67"/>
                      </a:lnTo>
                      <a:lnTo>
                        <a:pt x="4" y="76"/>
                      </a:lnTo>
                      <a:lnTo>
                        <a:pt x="1" y="86"/>
                      </a:lnTo>
                      <a:lnTo>
                        <a:pt x="0" y="96"/>
                      </a:lnTo>
                      <a:lnTo>
                        <a:pt x="0" y="108"/>
                      </a:lnTo>
                    </a:path>
                  </a:pathLst>
                </a:custGeom>
                <a:noFill/>
                <a:ln w="19050">
                  <a:solidFill>
                    <a:srgbClr val="F26E01"/>
                  </a:solidFill>
                  <a:prstDash val="solid"/>
                  <a:round/>
                  <a:headEnd/>
                  <a:tailEnd/>
                </a:ln>
              </p:spPr>
              <p:txBody>
                <a:bodyPr vert="horz" wrap="square" lIns="68580" tIns="34290" rIns="68580" bIns="34290" numCol="1" anchor="t" anchorCtr="0" compatLnSpc="1">
                  <a:prstTxWarp prst="textNoShape">
                    <a:avLst/>
                  </a:prstTxWarp>
                </a:bodyPr>
                <a:lstStyle/>
                <a:p>
                  <a:pPr defTabSz="685800" fontAlgn="base">
                    <a:spcBef>
                      <a:spcPct val="0"/>
                    </a:spcBef>
                    <a:spcAft>
                      <a:spcPct val="0"/>
                    </a:spcAft>
                    <a:defRPr/>
                  </a:pPr>
                  <a:endParaRPr lang="en-US" sz="1350" kern="0">
                    <a:solidFill>
                      <a:srgbClr val="000000"/>
                    </a:solidFill>
                    <a:latin typeface="Arial"/>
                    <a:cs typeface="Arial" charset="0"/>
                  </a:endParaRPr>
                </a:p>
              </p:txBody>
            </p:sp>
          </p:grpSp>
          <p:pic>
            <p:nvPicPr>
              <p:cNvPr id="44" name="Picture 43">
                <a:extLst>
                  <a:ext uri="{FF2B5EF4-FFF2-40B4-BE49-F238E27FC236}">
                    <a16:creationId xmlns:a16="http://schemas.microsoft.com/office/drawing/2014/main" id="{EB95402A-E38B-4E64-A24F-CDD98104CCAE}"/>
                  </a:ext>
                </a:extLst>
              </p:cNvPr>
              <p:cNvPicPr>
                <a:picLocks noChangeAspect="1"/>
              </p:cNvPicPr>
              <p:nvPr/>
            </p:nvPicPr>
            <p:blipFill>
              <a:blip r:embed="rId5" cstate="email">
                <a:duotone>
                  <a:srgbClr val="F26E01">
                    <a:shade val="45000"/>
                    <a:satMod val="135000"/>
                  </a:srgbClr>
                  <a:prstClr val="white"/>
                </a:duotone>
                <a:extLst>
                  <a:ext uri="{28A0092B-C50C-407E-A947-70E740481C1C}">
                    <a14:useLocalDpi xmlns:a14="http://schemas.microsoft.com/office/drawing/2010/main"/>
                  </a:ext>
                </a:extLst>
              </a:blip>
              <a:stretch>
                <a:fillRect/>
              </a:stretch>
            </p:blipFill>
            <p:spPr>
              <a:xfrm>
                <a:off x="4860561" y="1380701"/>
                <a:ext cx="521819" cy="40421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pic>
          <p:nvPicPr>
            <p:cNvPr id="41" name="Picture 40">
              <a:extLst>
                <a:ext uri="{FF2B5EF4-FFF2-40B4-BE49-F238E27FC236}">
                  <a16:creationId xmlns:a16="http://schemas.microsoft.com/office/drawing/2014/main" id="{F17C3300-1DA0-405B-BB79-B865D5D0C0DB}"/>
                </a:ext>
              </a:extLst>
            </p:cNvPr>
            <p:cNvPicPr>
              <a:picLocks noChangeAspect="1"/>
            </p:cNvPicPr>
            <p:nvPr/>
          </p:nvPicPr>
          <p:blipFill>
            <a:blip r:embed="rId8" cstate="email">
              <a:duotone>
                <a:srgbClr val="007E12">
                  <a:shade val="45000"/>
                  <a:satMod val="135000"/>
                </a:srgbClr>
                <a:prstClr val="white"/>
              </a:duotone>
              <a:extLst>
                <a:ext uri="{28A0092B-C50C-407E-A947-70E740481C1C}">
                  <a14:useLocalDpi xmlns:a14="http://schemas.microsoft.com/office/drawing/2010/main"/>
                </a:ext>
              </a:extLst>
            </a:blip>
            <a:stretch>
              <a:fillRect/>
            </a:stretch>
          </p:blipFill>
          <p:spPr>
            <a:xfrm>
              <a:off x="726762" y="1334017"/>
              <a:ext cx="548123" cy="52957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Tree>
    <p:extLst>
      <p:ext uri="{BB962C8B-B14F-4D97-AF65-F5344CB8AC3E}">
        <p14:creationId xmlns:p14="http://schemas.microsoft.com/office/powerpoint/2010/main" val="17126115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9168144-8B73-4765-A977-336717BDD572}"/>
              </a:ext>
            </a:extLst>
          </p:cNvPr>
          <p:cNvSpPr>
            <a:spLocks noGrp="1"/>
          </p:cNvSpPr>
          <p:nvPr>
            <p:ph type="title"/>
          </p:nvPr>
        </p:nvSpPr>
        <p:spPr/>
        <p:txBody>
          <a:bodyPr/>
          <a:lstStyle/>
          <a:p>
            <a:r>
              <a:rPr lang="en-US"/>
              <a:t>Data </a:t>
            </a:r>
            <a:r>
              <a:rPr lang="en-IN"/>
              <a:t>Migration – Solution Options </a:t>
            </a:r>
            <a:endParaRPr lang="en-GB"/>
          </a:p>
        </p:txBody>
      </p:sp>
      <p:sp>
        <p:nvSpPr>
          <p:cNvPr id="2" name="Text Placeholder 1"/>
          <p:cNvSpPr>
            <a:spLocks noGrp="1"/>
          </p:cNvSpPr>
          <p:nvPr>
            <p:ph type="body" sz="quarter" idx="10"/>
          </p:nvPr>
        </p:nvSpPr>
        <p:spPr/>
        <p:txBody>
          <a:bodyPr/>
          <a:lstStyle/>
          <a:p>
            <a:r>
              <a:rPr lang="en-IN" sz="2000"/>
              <a:t>Comparison and Recommendations</a:t>
            </a:r>
          </a:p>
        </p:txBody>
      </p:sp>
      <p:cxnSp>
        <p:nvCxnSpPr>
          <p:cNvPr id="150" name="Straight Connector 149">
            <a:extLst>
              <a:ext uri="{FF2B5EF4-FFF2-40B4-BE49-F238E27FC236}">
                <a16:creationId xmlns:a16="http://schemas.microsoft.com/office/drawing/2014/main" id="{6A833319-F524-43E1-A5DB-F914856BAC1B}"/>
              </a:ext>
            </a:extLst>
          </p:cNvPr>
          <p:cNvCxnSpPr>
            <a:cxnSpLocks/>
          </p:cNvCxnSpPr>
          <p:nvPr/>
        </p:nvCxnSpPr>
        <p:spPr>
          <a:xfrm>
            <a:off x="13704860" y="2457059"/>
            <a:ext cx="0" cy="4248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0" name="Rectangle 79">
            <a:extLst>
              <a:ext uri="{FF2B5EF4-FFF2-40B4-BE49-F238E27FC236}">
                <a16:creationId xmlns:a16="http://schemas.microsoft.com/office/drawing/2014/main" id="{E2306FB0-96A2-4249-99F9-F46E930CF2FA}"/>
              </a:ext>
            </a:extLst>
          </p:cNvPr>
          <p:cNvSpPr/>
          <p:nvPr/>
        </p:nvSpPr>
        <p:spPr>
          <a:xfrm>
            <a:off x="1769767" y="4111830"/>
            <a:ext cx="8783298" cy="1704579"/>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5" name="TextBox 84">
            <a:extLst>
              <a:ext uri="{FF2B5EF4-FFF2-40B4-BE49-F238E27FC236}">
                <a16:creationId xmlns:a16="http://schemas.microsoft.com/office/drawing/2014/main" id="{2855109C-4B55-4266-94BD-684A094D8D5C}"/>
              </a:ext>
            </a:extLst>
          </p:cNvPr>
          <p:cNvSpPr txBox="1"/>
          <p:nvPr/>
        </p:nvSpPr>
        <p:spPr>
          <a:xfrm>
            <a:off x="239843" y="4602359"/>
            <a:ext cx="1548629" cy="584775"/>
          </a:xfrm>
          <a:prstGeom prst="rect">
            <a:avLst/>
          </a:prstGeom>
          <a:noFill/>
        </p:spPr>
        <p:txBody>
          <a:bodyPr vert="horz" wrap="square" rtlCol="0">
            <a:spAutoFit/>
          </a:bodyPr>
          <a:lstStyle/>
          <a:p>
            <a:pPr algn="ctr"/>
            <a:r>
              <a:rPr lang="en-US" sz="1600" b="1">
                <a:solidFill>
                  <a:schemeClr val="accent1"/>
                </a:solidFill>
              </a:rPr>
              <a:t>Benefits to Manulife</a:t>
            </a:r>
            <a:endParaRPr lang="en-IN" sz="1600" b="1">
              <a:solidFill>
                <a:schemeClr val="accent1"/>
              </a:solidFill>
            </a:endParaRPr>
          </a:p>
        </p:txBody>
      </p:sp>
      <p:cxnSp>
        <p:nvCxnSpPr>
          <p:cNvPr id="86" name="Straight Connector 85">
            <a:extLst>
              <a:ext uri="{FF2B5EF4-FFF2-40B4-BE49-F238E27FC236}">
                <a16:creationId xmlns:a16="http://schemas.microsoft.com/office/drawing/2014/main" id="{97E8D2C2-586A-4160-8120-D89BCF3DCFF6}"/>
              </a:ext>
            </a:extLst>
          </p:cNvPr>
          <p:cNvCxnSpPr>
            <a:cxnSpLocks/>
          </p:cNvCxnSpPr>
          <p:nvPr/>
        </p:nvCxnSpPr>
        <p:spPr>
          <a:xfrm>
            <a:off x="6170768" y="1555730"/>
            <a:ext cx="0" cy="3941663"/>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1B482D31-13DA-48D3-AD22-943A047A337F}"/>
              </a:ext>
            </a:extLst>
          </p:cNvPr>
          <p:cNvSpPr txBox="1"/>
          <p:nvPr/>
        </p:nvSpPr>
        <p:spPr>
          <a:xfrm>
            <a:off x="6602765" y="4199998"/>
            <a:ext cx="3499715" cy="1040285"/>
          </a:xfrm>
          <a:prstGeom prst="rect">
            <a:avLst/>
          </a:prstGeom>
          <a:noFill/>
        </p:spPr>
        <p:txBody>
          <a:bodyPr wrap="square" rtlCol="0">
            <a:spAutoFit/>
          </a:bodyPr>
          <a:lstStyle/>
          <a:p>
            <a:pPr marL="180975" indent="-180975">
              <a:spcBef>
                <a:spcPct val="20000"/>
              </a:spcBef>
              <a:buClr>
                <a:schemeClr val="tx2"/>
              </a:buClr>
              <a:buFont typeface="Lucida Sans Unicode" pitchFamily="34" charset="0"/>
              <a:buChar char="▶"/>
            </a:pPr>
            <a:r>
              <a:rPr lang="en-IN" sz="1100" b="1" i="1"/>
              <a:t>From month 5, can start the new feature development</a:t>
            </a:r>
          </a:p>
          <a:p>
            <a:pPr marL="180975" indent="-180975">
              <a:spcBef>
                <a:spcPct val="20000"/>
              </a:spcBef>
              <a:buClr>
                <a:schemeClr val="tx2"/>
              </a:buClr>
              <a:buFont typeface="Lucida Sans Unicode" pitchFamily="34" charset="0"/>
              <a:buChar char="▶"/>
            </a:pPr>
            <a:r>
              <a:rPr lang="en-IN" sz="1100" b="1" i="1"/>
              <a:t>Marginally higher TCO</a:t>
            </a:r>
          </a:p>
          <a:p>
            <a:pPr marL="180975" indent="-180975">
              <a:spcBef>
                <a:spcPct val="20000"/>
              </a:spcBef>
              <a:buClr>
                <a:schemeClr val="tx2"/>
              </a:buClr>
              <a:buFont typeface="Lucida Sans Unicode" pitchFamily="34" charset="0"/>
              <a:buChar char="▶"/>
            </a:pPr>
            <a:endParaRPr lang="en-IN" sz="1100" b="1" i="1"/>
          </a:p>
          <a:p>
            <a:pPr marL="180975" indent="-180975">
              <a:spcBef>
                <a:spcPct val="20000"/>
              </a:spcBef>
              <a:buClr>
                <a:schemeClr val="tx2"/>
              </a:buClr>
              <a:buFont typeface="Lucida Sans Unicode" pitchFamily="34" charset="0"/>
              <a:buChar char="▶"/>
            </a:pPr>
            <a:endParaRPr lang="en-IN" sz="1100" b="1" i="1"/>
          </a:p>
        </p:txBody>
      </p:sp>
      <p:sp>
        <p:nvSpPr>
          <p:cNvPr id="88" name="TextBox 87">
            <a:extLst>
              <a:ext uri="{FF2B5EF4-FFF2-40B4-BE49-F238E27FC236}">
                <a16:creationId xmlns:a16="http://schemas.microsoft.com/office/drawing/2014/main" id="{B6A1CD21-4F74-4345-B8D2-9CE41A61893B}"/>
              </a:ext>
            </a:extLst>
          </p:cNvPr>
          <p:cNvSpPr txBox="1"/>
          <p:nvPr/>
        </p:nvSpPr>
        <p:spPr>
          <a:xfrm>
            <a:off x="2089520" y="4200582"/>
            <a:ext cx="4131464" cy="1446550"/>
          </a:xfrm>
          <a:prstGeom prst="rect">
            <a:avLst/>
          </a:prstGeom>
          <a:noFill/>
        </p:spPr>
        <p:txBody>
          <a:bodyPr wrap="square" rtlCol="0">
            <a:spAutoFit/>
          </a:bodyPr>
          <a:lstStyle/>
          <a:p>
            <a:pPr marL="180975" indent="-180975">
              <a:spcBef>
                <a:spcPct val="20000"/>
              </a:spcBef>
              <a:buClr>
                <a:schemeClr val="tx2"/>
              </a:buClr>
              <a:buFont typeface="Lucida Sans Unicode" pitchFamily="34" charset="0"/>
              <a:buChar char="▶"/>
            </a:pPr>
            <a:r>
              <a:rPr lang="en-IN" sz="1100" b="1" i="1"/>
              <a:t>Accelerated data migration</a:t>
            </a:r>
          </a:p>
          <a:p>
            <a:pPr marL="180975" indent="-180975">
              <a:spcBef>
                <a:spcPct val="20000"/>
              </a:spcBef>
              <a:buClr>
                <a:schemeClr val="tx2"/>
              </a:buClr>
              <a:buFont typeface="Lucida Sans Unicode" pitchFamily="34" charset="0"/>
              <a:buChar char="▶"/>
            </a:pPr>
            <a:r>
              <a:rPr lang="en-IN" sz="1100" b="1" i="1"/>
              <a:t>Best options to migration data between 2 different databases (Oracle to SQL server)</a:t>
            </a:r>
          </a:p>
          <a:p>
            <a:pPr marL="180975" indent="-180975">
              <a:spcBef>
                <a:spcPct val="20000"/>
              </a:spcBef>
              <a:buClr>
                <a:schemeClr val="tx2"/>
              </a:buClr>
              <a:buFont typeface="Lucida Sans Unicode" pitchFamily="34" charset="0"/>
              <a:buChar char="▶"/>
            </a:pPr>
            <a:r>
              <a:rPr lang="en-IN" sz="1100" b="1" i="1"/>
              <a:t>Leverage of Manulife Migration Tools</a:t>
            </a:r>
          </a:p>
          <a:p>
            <a:pPr marL="180975" indent="-180975">
              <a:spcBef>
                <a:spcPct val="20000"/>
              </a:spcBef>
              <a:buClr>
                <a:schemeClr val="tx2"/>
              </a:buClr>
              <a:buFont typeface="Lucida Sans Unicode" pitchFamily="34" charset="0"/>
              <a:buChar char="▶"/>
            </a:pPr>
            <a:r>
              <a:rPr lang="en-IN" sz="1100" b="1" i="1"/>
              <a:t>Proven methodology for such data migration in Manulife</a:t>
            </a:r>
          </a:p>
          <a:p>
            <a:pPr marL="180975" indent="-180975">
              <a:spcBef>
                <a:spcPct val="20000"/>
              </a:spcBef>
              <a:buClr>
                <a:schemeClr val="tx2"/>
              </a:buClr>
              <a:buFont typeface="Lucida Sans Unicode" pitchFamily="34" charset="0"/>
              <a:buChar char="▶"/>
            </a:pPr>
            <a:r>
              <a:rPr lang="en-IN" sz="1100" b="1" i="1"/>
              <a:t>Less storage while doing data migration</a:t>
            </a:r>
          </a:p>
          <a:p>
            <a:pPr marL="180975" indent="-180975">
              <a:spcBef>
                <a:spcPct val="20000"/>
              </a:spcBef>
              <a:buClr>
                <a:schemeClr val="tx2"/>
              </a:buClr>
              <a:buFont typeface="Lucida Sans Unicode" pitchFamily="34" charset="0"/>
              <a:buChar char="▶"/>
            </a:pPr>
            <a:r>
              <a:rPr lang="en-IN" sz="1100" b="1" i="1"/>
              <a:t>Enable batch mode for data migration</a:t>
            </a:r>
          </a:p>
        </p:txBody>
      </p:sp>
      <p:grpSp>
        <p:nvGrpSpPr>
          <p:cNvPr id="3" name="Group 2">
            <a:extLst>
              <a:ext uri="{FF2B5EF4-FFF2-40B4-BE49-F238E27FC236}">
                <a16:creationId xmlns:a16="http://schemas.microsoft.com/office/drawing/2014/main" id="{A72C249C-CCB7-44D3-9C9F-81E8FD383EC6}"/>
              </a:ext>
            </a:extLst>
          </p:cNvPr>
          <p:cNvGrpSpPr/>
          <p:nvPr/>
        </p:nvGrpSpPr>
        <p:grpSpPr>
          <a:xfrm>
            <a:off x="1588967" y="1526005"/>
            <a:ext cx="8964096" cy="2493721"/>
            <a:chOff x="2518054" y="1526005"/>
            <a:chExt cx="7584452" cy="2493721"/>
          </a:xfrm>
        </p:grpSpPr>
        <p:sp>
          <p:nvSpPr>
            <p:cNvPr id="81" name="Content Placeholder 1">
              <a:extLst>
                <a:ext uri="{FF2B5EF4-FFF2-40B4-BE49-F238E27FC236}">
                  <a16:creationId xmlns:a16="http://schemas.microsoft.com/office/drawing/2014/main" id="{AE45260F-D3B7-4E54-8D67-D41A0658BDFB}"/>
                </a:ext>
              </a:extLst>
            </p:cNvPr>
            <p:cNvSpPr txBox="1">
              <a:spLocks/>
            </p:cNvSpPr>
            <p:nvPr/>
          </p:nvSpPr>
          <p:spPr>
            <a:xfrm>
              <a:off x="2671027" y="2238934"/>
              <a:ext cx="3499741" cy="1780790"/>
            </a:xfrm>
            <a:prstGeom prst="rect">
              <a:avLst/>
            </a:prstGeom>
            <a:ln>
              <a:solidFill>
                <a:schemeClr val="accent1">
                  <a:lumMod val="20000"/>
                  <a:lumOff val="80000"/>
                </a:schemeClr>
              </a:solidFill>
            </a:ln>
          </p:spPr>
          <p:txBody>
            <a:bodyPr/>
            <a:lstStyle>
              <a:lvl1pPr marL="359991" indent="-359991" algn="l" defTabSz="1219170" rtl="0" eaLnBrk="1" latinLnBrk="0" hangingPunct="1">
                <a:spcBef>
                  <a:spcPct val="20000"/>
                </a:spcBef>
                <a:buClr>
                  <a:schemeClr val="tx2"/>
                </a:buClr>
                <a:buFont typeface="Lucida Sans Unicode" pitchFamily="34" charset="0"/>
                <a:buChar char="▶"/>
                <a:defRPr sz="2100" kern="1200" baseline="0">
                  <a:solidFill>
                    <a:schemeClr val="tx1"/>
                  </a:solidFill>
                  <a:latin typeface="Verdana" pitchFamily="34" charset="0"/>
                  <a:ea typeface="Verdana" pitchFamily="34" charset="0"/>
                  <a:cs typeface="Verdana" pitchFamily="34" charset="0"/>
                </a:defRPr>
              </a:lvl1pPr>
              <a:lvl2pPr marL="719982" indent="-359991" algn="l" defTabSz="1219170" rtl="0" eaLnBrk="1" latinLnBrk="0" hangingPunct="1">
                <a:spcBef>
                  <a:spcPts val="512"/>
                </a:spcBef>
                <a:buClr>
                  <a:schemeClr val="tx2"/>
                </a:buClr>
                <a:buFont typeface="Arial" pitchFamily="34" charset="0"/>
                <a:buChar char="–"/>
                <a:defRPr sz="2100" kern="1200" baseline="0">
                  <a:solidFill>
                    <a:schemeClr val="tx1"/>
                  </a:solidFill>
                  <a:latin typeface="Verdana" pitchFamily="34" charset="0"/>
                  <a:ea typeface="Verdana" pitchFamily="34" charset="0"/>
                  <a:cs typeface="Verdana" pitchFamily="34" charset="0"/>
                </a:defRPr>
              </a:lvl2pPr>
              <a:lvl3pPr marL="1079973" indent="-359991" algn="l" defTabSz="1219170" rtl="0" eaLnBrk="1" latinLnBrk="0" hangingPunct="1">
                <a:spcBef>
                  <a:spcPct val="20000"/>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3pPr>
              <a:lvl4pPr marL="1439964" indent="-359991" algn="l" defTabSz="1219170" rtl="0" eaLnBrk="1" latinLnBrk="0" hangingPunct="1">
                <a:spcBef>
                  <a:spcPct val="20000"/>
                </a:spcBef>
                <a:buClr>
                  <a:schemeClr val="tx2"/>
                </a:buClr>
                <a:buFont typeface="Arial" pitchFamily="34" charset="0"/>
                <a:buChar char="–"/>
                <a:defRPr sz="2100" kern="1200" baseline="0">
                  <a:solidFill>
                    <a:schemeClr val="tx1"/>
                  </a:solidFill>
                  <a:latin typeface="Verdana" pitchFamily="34" charset="0"/>
                  <a:ea typeface="Verdana" pitchFamily="34" charset="0"/>
                  <a:cs typeface="Verdana" pitchFamily="34" charset="0"/>
                </a:defRPr>
              </a:lvl4pPr>
              <a:lvl5pPr marL="1799955" indent="-359991" algn="l" defTabSz="1219170" rtl="0" eaLnBrk="1" latinLnBrk="0" hangingPunct="1">
                <a:spcBef>
                  <a:spcPct val="20000"/>
                </a:spcBef>
                <a:buClr>
                  <a:schemeClr val="tx2"/>
                </a:buClr>
                <a:buFont typeface="Arial" pitchFamily="34" charset="0"/>
                <a:buChar char="»"/>
                <a:defRPr sz="2100" kern="1200">
                  <a:solidFill>
                    <a:schemeClr val="tx1"/>
                  </a:solidFill>
                  <a:latin typeface="Verdana" pitchFamily="34" charset="0"/>
                  <a:ea typeface="Verdana" pitchFamily="34" charset="0"/>
                  <a:cs typeface="Verdana" pitchFamily="34" charset="0"/>
                </a:defRPr>
              </a:lvl5pPr>
              <a:lvl6pPr marL="3352716"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r>
                <a:rPr lang="en-US" sz="1200" b="1"/>
                <a:t>Solution Elements</a:t>
              </a:r>
              <a:r>
                <a:rPr lang="en-US" sz="1200"/>
                <a:t>:</a:t>
              </a:r>
            </a:p>
            <a:p>
              <a:pPr lvl="1"/>
              <a:r>
                <a:rPr lang="en-IN" sz="1100">
                  <a:solidFill>
                    <a:schemeClr val="tx1"/>
                  </a:solidFill>
                </a:rPr>
                <a:t>Data Engineering – Analysis, mapping and transformation</a:t>
              </a:r>
            </a:p>
            <a:p>
              <a:pPr lvl="1"/>
              <a:r>
                <a:rPr lang="en-IN" sz="1100">
                  <a:solidFill>
                    <a:schemeClr val="tx1"/>
                  </a:solidFill>
                </a:rPr>
                <a:t>ETL Design &amp; Build – Development of ETL.</a:t>
              </a:r>
            </a:p>
            <a:p>
              <a:pPr lvl="1"/>
              <a:r>
                <a:rPr lang="en-IN" sz="1100">
                  <a:solidFill>
                    <a:schemeClr val="tx1"/>
                  </a:solidFill>
                </a:rPr>
                <a:t>DB/application enhancements</a:t>
              </a:r>
            </a:p>
            <a:p>
              <a:pPr lvl="1"/>
              <a:r>
                <a:rPr lang="en-IN" sz="1100">
                  <a:solidFill>
                    <a:schemeClr val="tx1"/>
                  </a:solidFill>
                </a:rPr>
                <a:t>Staging DB Validation</a:t>
              </a:r>
            </a:p>
            <a:p>
              <a:pPr lvl="1"/>
              <a:r>
                <a:rPr lang="en-IN" sz="1100" kern="1200">
                  <a:solidFill>
                    <a:schemeClr val="tx1"/>
                  </a:solidFill>
                  <a:latin typeface="Verdana"/>
                  <a:ea typeface="+mn-ea"/>
                  <a:cs typeface="+mn-cs"/>
                </a:rPr>
                <a:t>Production Movement</a:t>
              </a:r>
            </a:p>
          </p:txBody>
        </p:sp>
        <p:sp>
          <p:nvSpPr>
            <p:cNvPr id="82" name="Rectangle: Rounded Corners 81">
              <a:extLst>
                <a:ext uri="{FF2B5EF4-FFF2-40B4-BE49-F238E27FC236}">
                  <a16:creationId xmlns:a16="http://schemas.microsoft.com/office/drawing/2014/main" id="{47421098-161D-477F-9E85-74B2E8FCCCA1}"/>
                </a:ext>
              </a:extLst>
            </p:cNvPr>
            <p:cNvSpPr/>
            <p:nvPr/>
          </p:nvSpPr>
          <p:spPr>
            <a:xfrm>
              <a:off x="2671027" y="1526005"/>
              <a:ext cx="3499741" cy="532657"/>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Option 1 – Informatica based migration </a:t>
              </a:r>
            </a:p>
            <a:p>
              <a:pPr algn="ctr"/>
              <a:r>
                <a:rPr lang="en-US" sz="1200" b="1" i="1"/>
                <a:t> (Atos Recommended)</a:t>
              </a:r>
            </a:p>
          </p:txBody>
        </p:sp>
        <p:sp>
          <p:nvSpPr>
            <p:cNvPr id="83" name="Content Placeholder 1">
              <a:extLst>
                <a:ext uri="{FF2B5EF4-FFF2-40B4-BE49-F238E27FC236}">
                  <a16:creationId xmlns:a16="http://schemas.microsoft.com/office/drawing/2014/main" id="{0D35E73F-9161-40CB-B101-BE5C77911045}"/>
                </a:ext>
              </a:extLst>
            </p:cNvPr>
            <p:cNvSpPr txBox="1">
              <a:spLocks/>
            </p:cNvSpPr>
            <p:nvPr/>
          </p:nvSpPr>
          <p:spPr>
            <a:xfrm>
              <a:off x="6602765" y="2238934"/>
              <a:ext cx="3499741" cy="1780792"/>
            </a:xfrm>
            <a:prstGeom prst="rect">
              <a:avLst/>
            </a:prstGeom>
            <a:ln>
              <a:solidFill>
                <a:schemeClr val="accent1">
                  <a:lumMod val="20000"/>
                  <a:lumOff val="80000"/>
                </a:schemeClr>
              </a:solidFill>
            </a:ln>
          </p:spPr>
          <p:txBody>
            <a:bodyPr vert="horz" lIns="91440" tIns="45720" rIns="91440" bIns="45720" rtlCol="0">
              <a:noAutofit/>
            </a:bodyPr>
            <a:lstStyle>
              <a:lvl1pPr marL="270000" indent="-270000" algn="l" defTabSz="914400" rtl="0" eaLnBrk="1" latinLnBrk="0" hangingPunct="1">
                <a:spcBef>
                  <a:spcPct val="20000"/>
                </a:spcBef>
                <a:buClr>
                  <a:schemeClr val="tx2"/>
                </a:buClr>
                <a:buFont typeface="Lucida Sans Unicode" pitchFamily="34" charset="0"/>
                <a:buChar char="▶"/>
                <a:defRPr sz="1600" kern="1200" baseline="0">
                  <a:solidFill>
                    <a:schemeClr val="tx1"/>
                  </a:solidFill>
                  <a:latin typeface="Verdana" pitchFamily="34" charset="0"/>
                  <a:ea typeface="Verdana" pitchFamily="34" charset="0"/>
                  <a:cs typeface="Verdana" pitchFamily="34" charset="0"/>
                </a:defRPr>
              </a:lvl1pPr>
              <a:lvl2pPr marL="540000" indent="-270000" algn="l" defTabSz="914400" rtl="0" eaLnBrk="1" latinLnBrk="0" hangingPunct="1">
                <a:spcBef>
                  <a:spcPts val="384"/>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2pPr>
              <a:lvl3pPr marL="81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80000" indent="-270000" algn="l" defTabSz="914400" rtl="0" eaLnBrk="1" latinLnBrk="0" hangingPunct="1">
                <a:spcBef>
                  <a:spcPct val="20000"/>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4pPr>
              <a:lvl5pPr marL="135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200" b="1"/>
                <a:t>Solution Elements</a:t>
              </a:r>
              <a:r>
                <a:rPr lang="en-US" sz="1200"/>
                <a:t>:</a:t>
              </a:r>
            </a:p>
            <a:p>
              <a:pPr lvl="1"/>
              <a:r>
                <a:rPr lang="en-US" sz="1100"/>
                <a:t>Discovery </a:t>
              </a:r>
              <a:r>
                <a:rPr lang="en-US" sz="1100" i="1"/>
                <a:t>(assessment of source systems)</a:t>
              </a:r>
            </a:p>
            <a:p>
              <a:pPr lvl="1"/>
              <a:r>
                <a:rPr lang="en-IN" sz="1100"/>
                <a:t>Migration </a:t>
              </a:r>
              <a:r>
                <a:rPr lang="en-IN" sz="1100" i="1"/>
                <a:t>– Use SSMA tool to As-Is migration to SQL server. </a:t>
              </a:r>
            </a:p>
            <a:p>
              <a:pPr lvl="1"/>
              <a:r>
                <a:rPr lang="en-IN" sz="1100" i="1"/>
                <a:t>Transformation – Using SQL scripts and SSIS packages transform the data</a:t>
              </a:r>
            </a:p>
            <a:p>
              <a:pPr lvl="1"/>
              <a:r>
                <a:rPr lang="en-IN" sz="1100" i="1"/>
                <a:t>Data validation</a:t>
              </a:r>
            </a:p>
            <a:p>
              <a:pPr lvl="1"/>
              <a:r>
                <a:rPr lang="en-IN" sz="1100" i="1"/>
                <a:t>UAT and Go-Live</a:t>
              </a:r>
              <a:endParaRPr lang="en-US" sz="1100"/>
            </a:p>
          </p:txBody>
        </p:sp>
        <p:sp>
          <p:nvSpPr>
            <p:cNvPr id="84" name="Rectangle: Rounded Corners 83">
              <a:extLst>
                <a:ext uri="{FF2B5EF4-FFF2-40B4-BE49-F238E27FC236}">
                  <a16:creationId xmlns:a16="http://schemas.microsoft.com/office/drawing/2014/main" id="{AF6565D8-17E4-42E0-9A65-F0EE5DEC232A}"/>
                </a:ext>
              </a:extLst>
            </p:cNvPr>
            <p:cNvSpPr/>
            <p:nvPr/>
          </p:nvSpPr>
          <p:spPr>
            <a:xfrm>
              <a:off x="6602765" y="1526005"/>
              <a:ext cx="3499741" cy="532657"/>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b="1"/>
                <a:t>Option 2 – SQL Server Migraton Assistant </a:t>
              </a:r>
              <a:endParaRPr lang="en-IN" sz="1200" i="1"/>
            </a:p>
            <a:p>
              <a:pPr algn="ctr"/>
              <a:r>
                <a:rPr lang="en-US" sz="1200" b="1"/>
                <a:t>(</a:t>
              </a:r>
              <a:r>
                <a:rPr lang="en-US" sz="1200" b="1" i="1"/>
                <a:t>SSMA) based Migration</a:t>
              </a:r>
              <a:endParaRPr lang="en-IN" sz="1200" i="1"/>
            </a:p>
          </p:txBody>
        </p:sp>
        <p:sp>
          <p:nvSpPr>
            <p:cNvPr id="89" name="Oval 88">
              <a:extLst>
                <a:ext uri="{FF2B5EF4-FFF2-40B4-BE49-F238E27FC236}">
                  <a16:creationId xmlns:a16="http://schemas.microsoft.com/office/drawing/2014/main" id="{98FF9877-96BA-4A5E-ADE0-807B14A57AE6}"/>
                </a:ext>
              </a:extLst>
            </p:cNvPr>
            <p:cNvSpPr/>
            <p:nvPr/>
          </p:nvSpPr>
          <p:spPr>
            <a:xfrm>
              <a:off x="2518054" y="1564720"/>
              <a:ext cx="448522" cy="452689"/>
            </a:xfrm>
            <a:prstGeom prst="ellipse">
              <a:avLst/>
            </a:prstGeom>
            <a:solidFill>
              <a:srgbClr val="FA611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1</a:t>
              </a:r>
              <a:endParaRPr lang="en-IN"/>
            </a:p>
          </p:txBody>
        </p:sp>
        <p:sp>
          <p:nvSpPr>
            <p:cNvPr id="90" name="Oval 89">
              <a:extLst>
                <a:ext uri="{FF2B5EF4-FFF2-40B4-BE49-F238E27FC236}">
                  <a16:creationId xmlns:a16="http://schemas.microsoft.com/office/drawing/2014/main" id="{8877CB80-DB4F-4D9C-82CE-BD3402596A03}"/>
                </a:ext>
              </a:extLst>
            </p:cNvPr>
            <p:cNvSpPr/>
            <p:nvPr/>
          </p:nvSpPr>
          <p:spPr>
            <a:xfrm>
              <a:off x="6437168" y="1555730"/>
              <a:ext cx="448522" cy="452689"/>
            </a:xfrm>
            <a:prstGeom prst="ellipse">
              <a:avLst/>
            </a:prstGeom>
            <a:solidFill>
              <a:srgbClr val="FA611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2</a:t>
              </a:r>
              <a:endParaRPr lang="en-IN"/>
            </a:p>
          </p:txBody>
        </p:sp>
      </p:grpSp>
    </p:spTree>
    <p:extLst>
      <p:ext uri="{BB962C8B-B14F-4D97-AF65-F5344CB8AC3E}">
        <p14:creationId xmlns:p14="http://schemas.microsoft.com/office/powerpoint/2010/main" val="321584586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DCEED3-01C9-4676-823C-350CDB4689F0}"/>
              </a:ext>
            </a:extLst>
          </p:cNvPr>
          <p:cNvSpPr>
            <a:spLocks noGrp="1"/>
          </p:cNvSpPr>
          <p:nvPr>
            <p:ph type="body" sz="quarter" idx="10"/>
          </p:nvPr>
        </p:nvSpPr>
        <p:spPr/>
        <p:txBody>
          <a:bodyPr/>
          <a:lstStyle/>
          <a:p>
            <a:r>
              <a:rPr lang="en-US"/>
              <a:t>Proposed Solution – </a:t>
            </a:r>
            <a:br>
              <a:rPr lang="en-US"/>
            </a:br>
            <a:r>
              <a:rPr lang="en-US"/>
              <a:t>Scope 2 &amp; 3 - Features Enhancement and Customization</a:t>
            </a:r>
            <a:endParaRPr lang="en-GB"/>
          </a:p>
        </p:txBody>
      </p:sp>
      <p:sp>
        <p:nvSpPr>
          <p:cNvPr id="4" name="Text Placeholder 3">
            <a:extLst>
              <a:ext uri="{FF2B5EF4-FFF2-40B4-BE49-F238E27FC236}">
                <a16:creationId xmlns:a16="http://schemas.microsoft.com/office/drawing/2014/main" id="{1EE84250-844F-4001-8A30-815A6C6A7C01}"/>
              </a:ext>
            </a:extLst>
          </p:cNvPr>
          <p:cNvSpPr>
            <a:spLocks noGrp="1"/>
          </p:cNvSpPr>
          <p:nvPr>
            <p:ph type="body" sz="quarter" idx="16"/>
          </p:nvPr>
        </p:nvSpPr>
        <p:spPr>
          <a:xfrm>
            <a:off x="435576" y="2537691"/>
            <a:ext cx="660437" cy="569387"/>
          </a:xfrm>
        </p:spPr>
        <p:txBody>
          <a:bodyPr vert="horz" wrap="none" lIns="0" tIns="0" rIns="0" bIns="0" rtlCol="0" anchor="t">
            <a:spAutoFit/>
          </a:bodyPr>
          <a:lstStyle/>
          <a:p>
            <a:r>
              <a:rPr lang="en-GB" sz="3700"/>
              <a:t>04.</a:t>
            </a:r>
            <a:endParaRPr lang="en-GB"/>
          </a:p>
        </p:txBody>
      </p:sp>
    </p:spTree>
    <p:extLst>
      <p:ext uri="{BB962C8B-B14F-4D97-AF65-F5344CB8AC3E}">
        <p14:creationId xmlns:p14="http://schemas.microsoft.com/office/powerpoint/2010/main" val="3670239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CB51C78-0E7D-4B23-B4CA-D82E986AE9A3}"/>
              </a:ext>
            </a:extLst>
          </p:cNvPr>
          <p:cNvSpPr>
            <a:spLocks noGrp="1"/>
          </p:cNvSpPr>
          <p:nvPr>
            <p:ph type="title"/>
          </p:nvPr>
        </p:nvSpPr>
        <p:spPr/>
        <p:txBody>
          <a:bodyPr/>
          <a:lstStyle/>
          <a:p>
            <a:r>
              <a:rPr lang="en-US"/>
              <a:t>Scope 2 &amp; Scope 3 – Features Implementation</a:t>
            </a:r>
            <a:endParaRPr lang="en-GB"/>
          </a:p>
        </p:txBody>
      </p:sp>
      <p:sp>
        <p:nvSpPr>
          <p:cNvPr id="2" name="Text Placeholder 1">
            <a:extLst>
              <a:ext uri="{FF2B5EF4-FFF2-40B4-BE49-F238E27FC236}">
                <a16:creationId xmlns:a16="http://schemas.microsoft.com/office/drawing/2014/main" id="{442C6388-51F4-49EC-AB8D-6A2233AEF552}"/>
              </a:ext>
            </a:extLst>
          </p:cNvPr>
          <p:cNvSpPr>
            <a:spLocks noGrp="1"/>
          </p:cNvSpPr>
          <p:nvPr>
            <p:ph type="body" sz="quarter" idx="10"/>
          </p:nvPr>
        </p:nvSpPr>
        <p:spPr/>
        <p:txBody>
          <a:bodyPr vert="horz" lIns="121917" tIns="60958" rIns="121917" bIns="60958" rtlCol="0" anchor="t">
            <a:noAutofit/>
          </a:bodyPr>
          <a:lstStyle/>
          <a:p>
            <a:r>
              <a:rPr lang="en-US"/>
              <a:t>Approach, Solution, Grouping</a:t>
            </a:r>
          </a:p>
        </p:txBody>
      </p:sp>
      <p:sp>
        <p:nvSpPr>
          <p:cNvPr id="8" name="TextBox 7">
            <a:extLst>
              <a:ext uri="{FF2B5EF4-FFF2-40B4-BE49-F238E27FC236}">
                <a16:creationId xmlns:a16="http://schemas.microsoft.com/office/drawing/2014/main" id="{A9F32BAC-62BE-4D18-9631-A5B4A08B5381}"/>
              </a:ext>
            </a:extLst>
          </p:cNvPr>
          <p:cNvSpPr txBox="1"/>
          <p:nvPr/>
        </p:nvSpPr>
        <p:spPr>
          <a:xfrm>
            <a:off x="551105" y="3457600"/>
            <a:ext cx="4906265" cy="212366"/>
          </a:xfrm>
          <a:prstGeom prst="rect">
            <a:avLst/>
          </a:prstGeom>
          <a:noFill/>
        </p:spPr>
        <p:txBody>
          <a:bodyPr wrap="square" lIns="13716" tIns="13716" rIns="13716" bIns="13716" rtlCol="0">
            <a:spAutoFit/>
          </a:bodyPr>
          <a:lstStyle/>
          <a:p>
            <a:pPr defTabSz="685800" fontAlgn="base">
              <a:spcBef>
                <a:spcPct val="0"/>
              </a:spcBef>
              <a:spcAft>
                <a:spcPct val="0"/>
              </a:spcAft>
            </a:pPr>
            <a:endParaRPr lang="en-US" sz="1200">
              <a:cs typeface="Arial" charset="0"/>
            </a:endParaRPr>
          </a:p>
        </p:txBody>
      </p:sp>
      <p:sp>
        <p:nvSpPr>
          <p:cNvPr id="9" name="Rectangle: Rounded Corners 8">
            <a:extLst>
              <a:ext uri="{FF2B5EF4-FFF2-40B4-BE49-F238E27FC236}">
                <a16:creationId xmlns:a16="http://schemas.microsoft.com/office/drawing/2014/main" id="{8C6363AE-C7BF-4012-A1A5-F4DBFF9AB478}"/>
              </a:ext>
            </a:extLst>
          </p:cNvPr>
          <p:cNvSpPr/>
          <p:nvPr/>
        </p:nvSpPr>
        <p:spPr>
          <a:xfrm>
            <a:off x="418810" y="1336106"/>
            <a:ext cx="11519773" cy="25354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rgbClr val="0070C0"/>
                </a:solidFill>
              </a:rPr>
              <a:t>Grouping</a:t>
            </a:r>
          </a:p>
        </p:txBody>
      </p:sp>
      <p:graphicFrame>
        <p:nvGraphicFramePr>
          <p:cNvPr id="4" name="Table 4">
            <a:extLst>
              <a:ext uri="{FF2B5EF4-FFF2-40B4-BE49-F238E27FC236}">
                <a16:creationId xmlns:a16="http://schemas.microsoft.com/office/drawing/2014/main" id="{E69F944F-3C88-495A-B12B-9236A7253C27}"/>
              </a:ext>
            </a:extLst>
          </p:cNvPr>
          <p:cNvGraphicFramePr>
            <a:graphicFrameLocks noGrp="1"/>
          </p:cNvGraphicFramePr>
          <p:nvPr>
            <p:extLst>
              <p:ext uri="{D42A27DB-BD31-4B8C-83A1-F6EECF244321}">
                <p14:modId xmlns:p14="http://schemas.microsoft.com/office/powerpoint/2010/main" val="943052704"/>
              </p:ext>
            </p:extLst>
          </p:nvPr>
        </p:nvGraphicFramePr>
        <p:xfrm>
          <a:off x="418810" y="1645917"/>
          <a:ext cx="5548727" cy="4489801"/>
        </p:xfrm>
        <a:graphic>
          <a:graphicData uri="http://schemas.openxmlformats.org/drawingml/2006/table">
            <a:tbl>
              <a:tblPr firstRow="1" firstCol="1" bandRow="1">
                <a:tableStyleId>{2D5ABB26-0587-4C30-8999-92F81FD0307C}</a:tableStyleId>
              </a:tblPr>
              <a:tblGrid>
                <a:gridCol w="940727">
                  <a:extLst>
                    <a:ext uri="{9D8B030D-6E8A-4147-A177-3AD203B41FA5}">
                      <a16:colId xmlns:a16="http://schemas.microsoft.com/office/drawing/2014/main" val="939928362"/>
                    </a:ext>
                  </a:extLst>
                </a:gridCol>
                <a:gridCol w="1332000">
                  <a:extLst>
                    <a:ext uri="{9D8B030D-6E8A-4147-A177-3AD203B41FA5}">
                      <a16:colId xmlns:a16="http://schemas.microsoft.com/office/drawing/2014/main" val="141622133"/>
                    </a:ext>
                  </a:extLst>
                </a:gridCol>
                <a:gridCol w="1008000">
                  <a:extLst>
                    <a:ext uri="{9D8B030D-6E8A-4147-A177-3AD203B41FA5}">
                      <a16:colId xmlns:a16="http://schemas.microsoft.com/office/drawing/2014/main" val="3986564445"/>
                    </a:ext>
                  </a:extLst>
                </a:gridCol>
                <a:gridCol w="756000">
                  <a:extLst>
                    <a:ext uri="{9D8B030D-6E8A-4147-A177-3AD203B41FA5}">
                      <a16:colId xmlns:a16="http://schemas.microsoft.com/office/drawing/2014/main" val="2220911886"/>
                    </a:ext>
                  </a:extLst>
                </a:gridCol>
                <a:gridCol w="756000">
                  <a:extLst>
                    <a:ext uri="{9D8B030D-6E8A-4147-A177-3AD203B41FA5}">
                      <a16:colId xmlns:a16="http://schemas.microsoft.com/office/drawing/2014/main" val="3588247857"/>
                    </a:ext>
                  </a:extLst>
                </a:gridCol>
                <a:gridCol w="756000">
                  <a:extLst>
                    <a:ext uri="{9D8B030D-6E8A-4147-A177-3AD203B41FA5}">
                      <a16:colId xmlns:a16="http://schemas.microsoft.com/office/drawing/2014/main" val="3524357196"/>
                    </a:ext>
                  </a:extLst>
                </a:gridCol>
              </a:tblGrid>
              <a:tr h="255813">
                <a:tc>
                  <a:txBody>
                    <a:bodyPr/>
                    <a:lstStyle/>
                    <a:p>
                      <a:pPr algn="ctr" fontAlgn="b"/>
                      <a:r>
                        <a:rPr lang="en-US" sz="1000" b="0" u="none" strike="noStrike">
                          <a:solidFill>
                            <a:srgbClr val="FFFFFF"/>
                          </a:solidFill>
                          <a:effectLst/>
                          <a:latin typeface="+mn-lt"/>
                          <a:cs typeface="Levenim MT"/>
                        </a:rPr>
                        <a:t>New/Enhance</a:t>
                      </a:r>
                      <a:endParaRPr lang="en-US" sz="1000" b="0" i="0" u="none" strike="noStrike">
                        <a:solidFill>
                          <a:srgbClr val="FFFFFF"/>
                        </a:solidFill>
                        <a:effectLst/>
                        <a:latin typeface="+mn-lt"/>
                        <a:cs typeface="Levenim MT"/>
                      </a:endParaRPr>
                    </a:p>
                  </a:txBody>
                  <a:tcPr marL="9525" marR="9525" marT="9525" marB="0" anchor="ctr">
                    <a:lnL>
                      <a:noFill/>
                    </a:lnL>
                    <a:lnR w="12700" cap="flat" cmpd="sng" algn="ctr">
                      <a:solidFill>
                        <a:schemeClr val="accent1">
                          <a:lumMod val="60000"/>
                          <a:lumOff val="40000"/>
                        </a:schemeClr>
                      </a:solidFill>
                      <a:prstDash val="solid"/>
                      <a:round/>
                      <a:headEnd type="none" w="med" len="med"/>
                      <a:tailEnd type="none" w="med" len="med"/>
                    </a:lnR>
                    <a:lnT>
                      <a:noFill/>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0066A1"/>
                    </a:solidFill>
                  </a:tcPr>
                </a:tc>
                <a:tc>
                  <a:txBody>
                    <a:bodyPr/>
                    <a:lstStyle/>
                    <a:p>
                      <a:pPr algn="ctr" fontAlgn="b"/>
                      <a:r>
                        <a:rPr lang="en-US" sz="1000" b="0" u="none" strike="noStrike">
                          <a:solidFill>
                            <a:srgbClr val="FFFFFF"/>
                          </a:solidFill>
                          <a:effectLst/>
                          <a:latin typeface="+mn-lt"/>
                          <a:cs typeface="Levenim MT"/>
                        </a:rPr>
                        <a:t>Page</a:t>
                      </a:r>
                      <a:endParaRPr lang="en-US" sz="1000" b="0" i="0" u="none" strike="noStrike">
                        <a:solidFill>
                          <a:srgbClr val="FFFFFF"/>
                        </a:solidFill>
                        <a:effectLst/>
                        <a:latin typeface="+mn-lt"/>
                        <a:cs typeface="Levenim MT"/>
                      </a:endParaRPr>
                    </a:p>
                  </a:txBody>
                  <a:tcPr marL="9525" marR="9525" marT="9525" marB="0"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a:noFill/>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0066A1"/>
                    </a:solidFill>
                  </a:tcPr>
                </a:tc>
                <a:tc>
                  <a:txBody>
                    <a:bodyPr/>
                    <a:lstStyle/>
                    <a:p>
                      <a:pPr algn="ctr" fontAlgn="b"/>
                      <a:r>
                        <a:rPr lang="en-US" sz="1000" b="0" u="none" strike="noStrike">
                          <a:solidFill>
                            <a:srgbClr val="FFFFFF"/>
                          </a:solidFill>
                          <a:effectLst/>
                          <a:latin typeface="+mn-lt"/>
                          <a:cs typeface="Levenim MT"/>
                        </a:rPr>
                        <a:t>End User</a:t>
                      </a:r>
                      <a:endParaRPr lang="en-US" sz="1000" b="0" i="0" u="none" strike="noStrike">
                        <a:solidFill>
                          <a:srgbClr val="FFFFFF"/>
                        </a:solidFill>
                        <a:effectLst/>
                        <a:latin typeface="+mn-lt"/>
                        <a:cs typeface="Levenim MT"/>
                      </a:endParaRPr>
                    </a:p>
                  </a:txBody>
                  <a:tcPr marL="9525" marR="9525" marT="9525" marB="0"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a:noFill/>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0066A1"/>
                    </a:solidFill>
                  </a:tcPr>
                </a:tc>
                <a:tc>
                  <a:txBody>
                    <a:bodyPr/>
                    <a:lstStyle/>
                    <a:p>
                      <a:pPr algn="ctr" fontAlgn="b"/>
                      <a:r>
                        <a:rPr lang="en-US" sz="1000" b="0" u="none" strike="noStrike">
                          <a:solidFill>
                            <a:srgbClr val="FFFFFF"/>
                          </a:solidFill>
                          <a:effectLst/>
                          <a:latin typeface="+mn-lt"/>
                          <a:cs typeface="Levenim MT"/>
                        </a:rPr>
                        <a:t>High</a:t>
                      </a:r>
                      <a:endParaRPr lang="en-US" sz="1000" b="0" i="0" u="none" strike="noStrike">
                        <a:solidFill>
                          <a:srgbClr val="FFFFFF"/>
                        </a:solidFill>
                        <a:effectLst/>
                        <a:latin typeface="+mn-lt"/>
                        <a:cs typeface="Levenim MT"/>
                      </a:endParaRPr>
                    </a:p>
                  </a:txBody>
                  <a:tcPr marL="9525" marR="9525" marT="9525" marB="0"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a:noFill/>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0066A1"/>
                    </a:solidFill>
                  </a:tcPr>
                </a:tc>
                <a:tc>
                  <a:txBody>
                    <a:bodyPr/>
                    <a:lstStyle/>
                    <a:p>
                      <a:pPr algn="ctr" fontAlgn="b"/>
                      <a:r>
                        <a:rPr lang="en-US" sz="1000" b="0" u="none" strike="noStrike">
                          <a:solidFill>
                            <a:srgbClr val="FFFFFF"/>
                          </a:solidFill>
                          <a:effectLst/>
                          <a:latin typeface="+mn-lt"/>
                          <a:cs typeface="Levenim MT"/>
                        </a:rPr>
                        <a:t>Low</a:t>
                      </a:r>
                      <a:endParaRPr lang="en-US" sz="1000" b="0" i="0" u="none" strike="noStrike">
                        <a:solidFill>
                          <a:srgbClr val="FFFFFF"/>
                        </a:solidFill>
                        <a:effectLst/>
                        <a:latin typeface="+mn-lt"/>
                        <a:cs typeface="Levenim MT"/>
                      </a:endParaRPr>
                    </a:p>
                  </a:txBody>
                  <a:tcPr marL="9525" marR="9525" marT="9525" marB="0"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a:noFill/>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0066A1"/>
                    </a:solidFill>
                  </a:tcPr>
                </a:tc>
                <a:tc>
                  <a:txBody>
                    <a:bodyPr/>
                    <a:lstStyle/>
                    <a:p>
                      <a:pPr algn="ctr" fontAlgn="b"/>
                      <a:r>
                        <a:rPr lang="en-US" sz="1000" b="0" u="none" strike="noStrike">
                          <a:solidFill>
                            <a:srgbClr val="FFFFFF"/>
                          </a:solidFill>
                          <a:effectLst/>
                          <a:latin typeface="+mn-lt"/>
                          <a:cs typeface="Levenim MT"/>
                        </a:rPr>
                        <a:t>Grand Total</a:t>
                      </a:r>
                      <a:endParaRPr lang="en-US" sz="1000" b="0" i="0" u="none" strike="noStrike">
                        <a:solidFill>
                          <a:srgbClr val="FFFFFF"/>
                        </a:solidFill>
                        <a:effectLst/>
                        <a:latin typeface="+mn-lt"/>
                        <a:cs typeface="Levenim MT"/>
                      </a:endParaRPr>
                    </a:p>
                  </a:txBody>
                  <a:tcPr marL="9525" marR="9525" marT="9525" marB="0" anchor="ctr">
                    <a:lnL w="12700" cap="flat" cmpd="sng" algn="ctr">
                      <a:solidFill>
                        <a:schemeClr val="accent1">
                          <a:lumMod val="60000"/>
                          <a:lumOff val="40000"/>
                        </a:schemeClr>
                      </a:solidFill>
                      <a:prstDash val="solid"/>
                      <a:round/>
                      <a:headEnd type="none" w="med" len="med"/>
                      <a:tailEnd type="none" w="med" len="med"/>
                    </a:lnL>
                    <a:lnR>
                      <a:noFill/>
                    </a:lnR>
                    <a:lnT>
                      <a:noFill/>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0066A1"/>
                    </a:solidFill>
                  </a:tcPr>
                </a:tc>
                <a:extLst>
                  <a:ext uri="{0D108BD9-81ED-4DB2-BD59-A6C34878D82A}">
                    <a16:rowId xmlns:a16="http://schemas.microsoft.com/office/drawing/2014/main" val="3899853263"/>
                  </a:ext>
                </a:extLst>
              </a:tr>
              <a:tr h="192454">
                <a:tc gridSpan="3">
                  <a:txBody>
                    <a:bodyPr/>
                    <a:lstStyle/>
                    <a:p>
                      <a:pPr marL="91440" algn="ctr" fontAlgn="b"/>
                      <a:r>
                        <a:rPr lang="en-US" sz="1000" b="1" u="none" strike="noStrike">
                          <a:effectLst/>
                          <a:latin typeface="+mn-lt"/>
                          <a:cs typeface="Levenim MT"/>
                        </a:rPr>
                        <a:t>Phase 1</a:t>
                      </a:r>
                      <a:endParaRPr lang="en-US" sz="1000" b="1" i="0" u="none" strike="noStrike">
                        <a:effectLst/>
                        <a:latin typeface="+mn-lt"/>
                        <a:cs typeface="Levenim MT"/>
                      </a:endParaRPr>
                    </a:p>
                  </a:txBody>
                  <a:tcPr marL="9525" marR="9525" marT="9525" marB="0" anchor="b">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CDEDFF"/>
                    </a:solidFill>
                  </a:tcPr>
                </a:tc>
                <a:tc hMerge="1">
                  <a:txBody>
                    <a:bodyPr/>
                    <a:lstStyle/>
                    <a:p>
                      <a:pPr algn="l" fontAlgn="b"/>
                      <a:endParaRPr lang="en-US" sz="900" b="0" i="0" u="none" strike="noStrike">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hMerge="1">
                  <a:txBody>
                    <a:bodyPr/>
                    <a:lstStyle/>
                    <a:p>
                      <a:pPr algn="l" fontAlgn="b"/>
                      <a:endParaRPr lang="en-US" sz="900" b="0" i="0" u="none" strike="noStrike">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a:txBody>
                    <a:bodyPr/>
                    <a:lstStyle/>
                    <a:p>
                      <a:pPr algn="ctr" fontAlgn="b"/>
                      <a:r>
                        <a:rPr lang="en-US" sz="1000" b="1" u="none" strike="noStrike">
                          <a:effectLst/>
                          <a:latin typeface="+mn-lt"/>
                          <a:cs typeface="Levenim MT"/>
                        </a:rPr>
                        <a:t>10</a:t>
                      </a:r>
                      <a:endParaRPr lang="en-US" sz="1000" b="1"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CDEDFF"/>
                    </a:solidFill>
                  </a:tcPr>
                </a:tc>
                <a:tc>
                  <a:txBody>
                    <a:bodyPr/>
                    <a:lstStyle/>
                    <a:p>
                      <a:pPr algn="ctr" fontAlgn="b"/>
                      <a:r>
                        <a:rPr lang="en-US" sz="1000" b="1" u="none" strike="noStrike">
                          <a:effectLst/>
                          <a:latin typeface="+mn-lt"/>
                          <a:cs typeface="Levenim MT"/>
                        </a:rPr>
                        <a:t>3</a:t>
                      </a:r>
                      <a:endParaRPr lang="en-US" sz="1000" b="1"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CDEDFF"/>
                    </a:solidFill>
                  </a:tcPr>
                </a:tc>
                <a:tc>
                  <a:txBody>
                    <a:bodyPr/>
                    <a:lstStyle/>
                    <a:p>
                      <a:pPr algn="ctr" fontAlgn="b"/>
                      <a:r>
                        <a:rPr lang="en-US" sz="1000" b="1" u="none" strike="noStrike">
                          <a:effectLst/>
                          <a:latin typeface="+mn-lt"/>
                          <a:cs typeface="Levenim MT"/>
                        </a:rPr>
                        <a:t>13</a:t>
                      </a:r>
                      <a:endParaRPr lang="en-US" sz="1000" b="1"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CDEDFF"/>
                    </a:solidFill>
                  </a:tcPr>
                </a:tc>
                <a:extLst>
                  <a:ext uri="{0D108BD9-81ED-4DB2-BD59-A6C34878D82A}">
                    <a16:rowId xmlns:a16="http://schemas.microsoft.com/office/drawing/2014/main" val="2778787392"/>
                  </a:ext>
                </a:extLst>
              </a:tr>
              <a:tr h="192454">
                <a:tc>
                  <a:txBody>
                    <a:bodyPr/>
                    <a:lstStyle/>
                    <a:p>
                      <a:pPr marL="91440" algn="l" fontAlgn="b"/>
                      <a:r>
                        <a:rPr lang="en-US" sz="1000" b="0" u="none" strike="noStrike">
                          <a:effectLst/>
                          <a:latin typeface="+mn-lt"/>
                          <a:cs typeface="Levenim MT"/>
                        </a:rPr>
                        <a:t>Enhance</a:t>
                      </a:r>
                      <a:endParaRPr lang="en-US" sz="1000" b="0" i="0" u="none" strike="noStrike">
                        <a:effectLst/>
                        <a:latin typeface="+mn-lt"/>
                        <a:cs typeface="Levenim MT"/>
                      </a:endParaRPr>
                    </a:p>
                  </a:txBody>
                  <a:tcPr marL="9525" marR="9525" marT="9525" marB="0" anchor="b">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1440" algn="l" fontAlgn="b"/>
                      <a:r>
                        <a:rPr lang="en-US" sz="1000" b="0" u="none" strike="noStrike">
                          <a:effectLst/>
                          <a:latin typeface="+mn-lt"/>
                          <a:cs typeface="Levenim MT"/>
                        </a:rPr>
                        <a:t>Member Site </a:t>
                      </a:r>
                      <a:endParaRPr lang="en-US" sz="1000" b="0" i="0" u="none" strike="noStrike">
                        <a:solidFill>
                          <a:sysClr val="windowText" lastClr="000000"/>
                        </a:solidFill>
                        <a:effectLst/>
                        <a:latin typeface="+mn-lt"/>
                        <a:cs typeface="Levenim MT" panose="02010502060101010101" pitchFamily="2" charset="-79"/>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1440" algn="l" fontAlgn="b"/>
                      <a:r>
                        <a:rPr lang="en-US" sz="1000" b="0" u="none" strike="noStrike">
                          <a:effectLst/>
                          <a:latin typeface="+mn-lt"/>
                          <a:cs typeface="Levenim MT"/>
                        </a:rPr>
                        <a:t>Participant</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0" u="none" strike="noStrike">
                          <a:effectLst/>
                          <a:latin typeface="+mn-lt"/>
                          <a:cs typeface="Levenim MT"/>
                        </a:rPr>
                        <a:t>1</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000" b="0" i="0" u="none" strike="noStrike">
                        <a:solidFill>
                          <a:sysClr val="windowText" lastClr="000000"/>
                        </a:solidFill>
                        <a:effectLst/>
                        <a:latin typeface="+mn-lt"/>
                        <a:cs typeface="Levenim MT" panose="02010502060101010101" pitchFamily="2" charset="-79"/>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0" u="none" strike="noStrike">
                          <a:effectLst/>
                          <a:latin typeface="+mn-lt"/>
                          <a:cs typeface="Levenim MT"/>
                        </a:rPr>
                        <a:t>1</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88943829"/>
                  </a:ext>
                </a:extLst>
              </a:tr>
              <a:tr h="192454">
                <a:tc>
                  <a:txBody>
                    <a:bodyPr/>
                    <a:lstStyle/>
                    <a:p>
                      <a:pPr marL="91440" algn="l" fontAlgn="b"/>
                      <a:r>
                        <a:rPr lang="en-US" sz="1000" b="0" u="none" strike="noStrike">
                          <a:effectLst/>
                          <a:latin typeface="+mn-lt"/>
                          <a:cs typeface="Levenim MT"/>
                        </a:rPr>
                        <a:t>Enhance</a:t>
                      </a:r>
                      <a:endParaRPr lang="en-US" sz="1000" b="0" i="0" u="none" strike="noStrike">
                        <a:effectLst/>
                        <a:latin typeface="+mn-lt"/>
                        <a:cs typeface="Levenim MT"/>
                      </a:endParaRPr>
                    </a:p>
                  </a:txBody>
                  <a:tcPr marL="9525" marR="9525" marT="9525" marB="0" anchor="b">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1440" algn="l" fontAlgn="b"/>
                      <a:r>
                        <a:rPr lang="en-US" sz="1000" b="0" u="none" strike="noStrike">
                          <a:effectLst/>
                          <a:latin typeface="+mn-lt"/>
                          <a:cs typeface="Levenim MT"/>
                        </a:rPr>
                        <a:t>Sponsor Site</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1440" algn="l" fontAlgn="b"/>
                      <a:r>
                        <a:rPr lang="en-US" sz="1000" b="0" u="none" strike="noStrike">
                          <a:effectLst/>
                          <a:latin typeface="+mn-lt"/>
                          <a:cs typeface="Levenim MT"/>
                        </a:rPr>
                        <a:t>Plan Sponsor</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0" u="none" strike="noStrike">
                          <a:effectLst/>
                          <a:latin typeface="+mn-lt"/>
                          <a:cs typeface="Levenim MT"/>
                        </a:rPr>
                        <a:t>3</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0" u="none" strike="noStrike">
                          <a:effectLst/>
                          <a:latin typeface="+mn-lt"/>
                          <a:cs typeface="Levenim MT"/>
                        </a:rPr>
                        <a:t>1</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0" u="none" strike="noStrike">
                          <a:effectLst/>
                          <a:latin typeface="+mn-lt"/>
                          <a:cs typeface="Levenim MT"/>
                        </a:rPr>
                        <a:t>4</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30032400"/>
                  </a:ext>
                </a:extLst>
              </a:tr>
              <a:tr h="192454">
                <a:tc>
                  <a:txBody>
                    <a:bodyPr/>
                    <a:lstStyle/>
                    <a:p>
                      <a:pPr marL="91440" algn="l" fontAlgn="b"/>
                      <a:r>
                        <a:rPr lang="en-US" sz="1000" b="0" u="none" strike="noStrike">
                          <a:effectLst/>
                          <a:latin typeface="+mn-lt"/>
                          <a:cs typeface="Levenim MT"/>
                        </a:rPr>
                        <a:t>Enhance</a:t>
                      </a:r>
                      <a:endParaRPr lang="en-US" sz="1000" b="0" i="0" u="none" strike="noStrike">
                        <a:effectLst/>
                        <a:latin typeface="+mn-lt"/>
                        <a:cs typeface="Levenim MT"/>
                      </a:endParaRPr>
                    </a:p>
                  </a:txBody>
                  <a:tcPr marL="9525" marR="9525" marT="9525" marB="0" anchor="b">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1440" algn="l" fontAlgn="b"/>
                      <a:r>
                        <a:rPr lang="en-US" sz="1000" b="0" u="none" strike="noStrike">
                          <a:effectLst/>
                          <a:latin typeface="+mn-lt"/>
                          <a:cs typeface="Levenim MT"/>
                        </a:rPr>
                        <a:t>Product</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1440" algn="l" fontAlgn="b"/>
                      <a:r>
                        <a:rPr lang="en-US" sz="1000" b="0" u="none" strike="noStrike">
                          <a:effectLst/>
                          <a:latin typeface="+mn-lt"/>
                          <a:cs typeface="Levenim MT"/>
                        </a:rPr>
                        <a:t>Special</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0" u="none" strike="noStrike">
                          <a:effectLst/>
                          <a:latin typeface="+mn-lt"/>
                          <a:cs typeface="Levenim MT"/>
                        </a:rPr>
                        <a:t>3</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000" b="0" i="0" u="none" strike="noStrike">
                        <a:solidFill>
                          <a:sysClr val="windowText" lastClr="000000"/>
                        </a:solidFill>
                        <a:effectLst/>
                        <a:latin typeface="+mn-lt"/>
                        <a:cs typeface="Levenim MT" panose="02010502060101010101" pitchFamily="2" charset="-79"/>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0" u="none" strike="noStrike">
                          <a:effectLst/>
                          <a:latin typeface="+mn-lt"/>
                          <a:cs typeface="Levenim MT"/>
                        </a:rPr>
                        <a:t>3</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56403020"/>
                  </a:ext>
                </a:extLst>
              </a:tr>
              <a:tr h="192454">
                <a:tc>
                  <a:txBody>
                    <a:bodyPr/>
                    <a:lstStyle/>
                    <a:p>
                      <a:pPr marL="91440" algn="l" fontAlgn="b"/>
                      <a:r>
                        <a:rPr lang="en-US" sz="1000" b="0" u="none" strike="noStrike">
                          <a:effectLst/>
                          <a:latin typeface="+mn-lt"/>
                          <a:cs typeface="Levenim MT"/>
                        </a:rPr>
                        <a:t>New</a:t>
                      </a:r>
                      <a:endParaRPr lang="en-US" sz="1000" b="0" i="0" u="none" strike="noStrike">
                        <a:effectLst/>
                        <a:latin typeface="+mn-lt"/>
                        <a:cs typeface="Levenim MT"/>
                      </a:endParaRPr>
                    </a:p>
                  </a:txBody>
                  <a:tcPr marL="9525" marR="9525" marT="9525" marB="0" anchor="b">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1440" algn="l" fontAlgn="b"/>
                      <a:r>
                        <a:rPr lang="en-US" sz="1000" b="0" u="none" strike="noStrike">
                          <a:effectLst/>
                          <a:latin typeface="+mn-lt"/>
                          <a:cs typeface="Levenim MT"/>
                        </a:rPr>
                        <a:t>Sponsor Site</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1440" algn="l" fontAlgn="b"/>
                      <a:r>
                        <a:rPr lang="en-US" sz="1000" b="0" u="none" strike="noStrike">
                          <a:effectLst/>
                          <a:latin typeface="+mn-lt"/>
                          <a:cs typeface="Levenim MT"/>
                        </a:rPr>
                        <a:t>Plan Sponsor</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0" u="none" strike="noStrike">
                          <a:effectLst/>
                          <a:latin typeface="+mn-lt"/>
                          <a:cs typeface="Levenim MT"/>
                        </a:rPr>
                        <a:t>3</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0" u="none" strike="noStrike">
                          <a:effectLst/>
                          <a:latin typeface="+mn-lt"/>
                          <a:cs typeface="Levenim MT"/>
                        </a:rPr>
                        <a:t>2</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000" b="0" u="none" strike="noStrike">
                          <a:effectLst/>
                          <a:latin typeface="+mn-lt"/>
                          <a:cs typeface="Levenim MT"/>
                        </a:rPr>
                        <a:t>5</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57582330"/>
                  </a:ext>
                </a:extLst>
              </a:tr>
              <a:tr h="192454">
                <a:tc gridSpan="3">
                  <a:txBody>
                    <a:bodyPr/>
                    <a:lstStyle/>
                    <a:p>
                      <a:pPr marL="91440" algn="ctr" defTabSz="1219170" rtl="0" eaLnBrk="1" fontAlgn="b" latinLnBrk="0" hangingPunct="1"/>
                      <a:r>
                        <a:rPr lang="en-US" sz="1000" b="1" u="none" strike="noStrike" kern="1200">
                          <a:effectLst/>
                          <a:latin typeface="+mn-lt"/>
                          <a:ea typeface="+mn-ea"/>
                          <a:cs typeface="Levenim MT"/>
                        </a:rPr>
                        <a:t>Phase 2</a:t>
                      </a:r>
                    </a:p>
                  </a:txBody>
                  <a:tcPr marL="9525" marR="9525" marT="9525" marB="0" anchor="b">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CDEDFF"/>
                    </a:solidFill>
                  </a:tcPr>
                </a:tc>
                <a:tc hMerge="1">
                  <a:txBody>
                    <a:bodyPr/>
                    <a:lstStyle/>
                    <a:p>
                      <a:pPr marL="0" algn="ctr" defTabSz="1219170" rtl="0" eaLnBrk="1" fontAlgn="b" latinLnBrk="0" hangingPunct="1"/>
                      <a:endParaRPr lang="en-US" sz="1050" b="0" u="none" strike="noStrike" kern="1200">
                        <a:solidFill>
                          <a:srgbClr val="FFFFFF"/>
                        </a:solidFill>
                        <a:effectLst/>
                        <a:latin typeface="+mn-lt"/>
                        <a:ea typeface="+mn-ea"/>
                        <a:cs typeface="+mn-cs"/>
                      </a:endParaRPr>
                    </a:p>
                  </a:txBody>
                  <a:tcPr marL="9525" marR="9525" marT="9525" marB="0" anchor="b">
                    <a:lnT w="12700" cap="flat" cmpd="sng" algn="ctr">
                      <a:solidFill>
                        <a:schemeClr val="tx1"/>
                      </a:solidFill>
                      <a:prstDash val="solid"/>
                      <a:round/>
                      <a:headEnd type="none" w="med" len="med"/>
                      <a:tailEnd type="none" w="med" len="med"/>
                    </a:lnT>
                    <a:solidFill>
                      <a:schemeClr val="accent5"/>
                    </a:solidFill>
                  </a:tcPr>
                </a:tc>
                <a:tc hMerge="1">
                  <a:txBody>
                    <a:bodyPr/>
                    <a:lstStyle/>
                    <a:p>
                      <a:pPr marL="0" algn="ctr" defTabSz="1219170" rtl="0" eaLnBrk="1" fontAlgn="b" latinLnBrk="0" hangingPunct="1"/>
                      <a:endParaRPr lang="en-US" sz="1050" b="0" u="none" strike="noStrike" kern="1200">
                        <a:solidFill>
                          <a:srgbClr val="FFFFFF"/>
                        </a:solidFill>
                        <a:effectLst/>
                        <a:latin typeface="+mn-lt"/>
                        <a:ea typeface="+mn-ea"/>
                        <a:cs typeface="+mn-cs"/>
                      </a:endParaRPr>
                    </a:p>
                  </a:txBody>
                  <a:tcPr marL="9525" marR="9525" marT="9525" marB="0" anchor="b">
                    <a:lnT w="12700" cap="flat" cmpd="sng" algn="ctr">
                      <a:solidFill>
                        <a:schemeClr val="tx1"/>
                      </a:solidFill>
                      <a:prstDash val="solid"/>
                      <a:round/>
                      <a:headEnd type="none" w="med" len="med"/>
                      <a:tailEnd type="none" w="med" len="med"/>
                    </a:lnT>
                    <a:solidFill>
                      <a:schemeClr val="accent5"/>
                    </a:solidFill>
                  </a:tcPr>
                </a:tc>
                <a:tc>
                  <a:txBody>
                    <a:bodyPr/>
                    <a:lstStyle/>
                    <a:p>
                      <a:pPr marL="0" algn="ctr" defTabSz="1219170" rtl="0" eaLnBrk="1" fontAlgn="b" latinLnBrk="0" hangingPunct="1"/>
                      <a:r>
                        <a:rPr lang="en-US" sz="1000" b="1" u="none" strike="noStrike" kern="1200">
                          <a:effectLst/>
                          <a:latin typeface="+mn-lt"/>
                          <a:ea typeface="+mn-ea"/>
                          <a:cs typeface="Levenim MT"/>
                        </a:rPr>
                        <a:t>5</a:t>
                      </a: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CDEDFF"/>
                    </a:solidFill>
                  </a:tcPr>
                </a:tc>
                <a:tc>
                  <a:txBody>
                    <a:bodyPr/>
                    <a:lstStyle/>
                    <a:p>
                      <a:pPr marL="0" algn="ctr" defTabSz="1219170" rtl="0" eaLnBrk="1" fontAlgn="b" latinLnBrk="0" hangingPunct="1"/>
                      <a:r>
                        <a:rPr lang="en-US" sz="1000" b="1" u="none" strike="noStrike" kern="1200">
                          <a:effectLst/>
                          <a:latin typeface="+mn-lt"/>
                          <a:ea typeface="+mn-ea"/>
                          <a:cs typeface="Levenim MT"/>
                        </a:rPr>
                        <a:t>4</a:t>
                      </a: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CDEDFF"/>
                    </a:solidFill>
                  </a:tcPr>
                </a:tc>
                <a:tc>
                  <a:txBody>
                    <a:bodyPr/>
                    <a:lstStyle/>
                    <a:p>
                      <a:pPr marL="0" algn="ctr" defTabSz="1219170" rtl="0" eaLnBrk="1" fontAlgn="b" latinLnBrk="0" hangingPunct="1"/>
                      <a:r>
                        <a:rPr lang="en-US" sz="1000" b="1" u="none" strike="noStrike" kern="1200">
                          <a:effectLst/>
                          <a:latin typeface="+mn-lt"/>
                          <a:ea typeface="+mn-ea"/>
                          <a:cs typeface="Levenim MT"/>
                        </a:rPr>
                        <a:t>9</a:t>
                      </a: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CDEDFF"/>
                    </a:solidFill>
                  </a:tcPr>
                </a:tc>
                <a:extLst>
                  <a:ext uri="{0D108BD9-81ED-4DB2-BD59-A6C34878D82A}">
                    <a16:rowId xmlns:a16="http://schemas.microsoft.com/office/drawing/2014/main" val="695772504"/>
                  </a:ext>
                </a:extLst>
              </a:tr>
              <a:tr h="192454">
                <a:tc>
                  <a:txBody>
                    <a:bodyPr/>
                    <a:lstStyle/>
                    <a:p>
                      <a:pPr marL="91440" algn="l" fontAlgn="b"/>
                      <a:r>
                        <a:rPr lang="en-US" sz="1000" b="0" u="none" strike="noStrike">
                          <a:effectLst/>
                          <a:latin typeface="+mn-lt"/>
                          <a:cs typeface="Levenim MT"/>
                        </a:rPr>
                        <a:t>Enhance</a:t>
                      </a:r>
                      <a:endParaRPr lang="en-US" sz="1000" b="0" i="0" u="none" strike="noStrike">
                        <a:effectLst/>
                        <a:latin typeface="+mn-lt"/>
                        <a:cs typeface="Levenim MT"/>
                      </a:endParaRPr>
                    </a:p>
                  </a:txBody>
                  <a:tcPr marL="9525" marR="9525" marT="9525" marB="0" anchor="b">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91440" algn="l" fontAlgn="b"/>
                      <a:r>
                        <a:rPr lang="en-US" sz="1000" b="0" u="none" strike="noStrike">
                          <a:effectLst/>
                          <a:latin typeface="+mn-lt"/>
                          <a:cs typeface="Levenim MT"/>
                        </a:rPr>
                        <a:t>Member Site </a:t>
                      </a:r>
                      <a:endParaRPr lang="en-US" sz="1000" b="0" i="0" u="none" strike="noStrike">
                        <a:solidFill>
                          <a:sysClr val="windowText" lastClr="000000"/>
                        </a:solidFill>
                        <a:effectLst/>
                        <a:latin typeface="+mn-lt"/>
                        <a:cs typeface="Levenim MT" panose="02010502060101010101" pitchFamily="2" charset="-79"/>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91440" algn="l" fontAlgn="b"/>
                      <a:r>
                        <a:rPr lang="en-US" sz="1000" b="0" u="none" strike="noStrike">
                          <a:effectLst/>
                          <a:latin typeface="+mn-lt"/>
                          <a:cs typeface="Levenim MT"/>
                        </a:rPr>
                        <a:t>Participant</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u="none" strike="noStrike">
                          <a:effectLst/>
                          <a:latin typeface="+mn-lt"/>
                          <a:cs typeface="Levenim MT"/>
                        </a:rPr>
                        <a:t>1</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00" b="0" i="0" u="none" strike="noStrike">
                        <a:solidFill>
                          <a:sysClr val="windowText" lastClr="000000"/>
                        </a:solidFill>
                        <a:effectLst/>
                        <a:latin typeface="+mn-lt"/>
                        <a:cs typeface="Levenim MT" panose="02010502060101010101" pitchFamily="2" charset="-79"/>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u="none" strike="noStrike">
                          <a:effectLst/>
                          <a:latin typeface="+mn-lt"/>
                          <a:cs typeface="Levenim MT"/>
                        </a:rPr>
                        <a:t>1</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4583437"/>
                  </a:ext>
                </a:extLst>
              </a:tr>
              <a:tr h="192454">
                <a:tc>
                  <a:txBody>
                    <a:bodyPr/>
                    <a:lstStyle/>
                    <a:p>
                      <a:pPr marL="91440" algn="l" fontAlgn="b"/>
                      <a:r>
                        <a:rPr lang="en-US" sz="1000" b="0" u="none" strike="noStrike">
                          <a:effectLst/>
                          <a:latin typeface="+mn-lt"/>
                          <a:cs typeface="Levenim MT"/>
                        </a:rPr>
                        <a:t>New</a:t>
                      </a:r>
                      <a:endParaRPr lang="en-US" sz="1000" b="0" i="0" u="none" strike="noStrike">
                        <a:effectLst/>
                        <a:latin typeface="+mn-lt"/>
                        <a:cs typeface="Levenim MT"/>
                      </a:endParaRPr>
                    </a:p>
                  </a:txBody>
                  <a:tcPr marL="9525" marR="9525" marT="9525" marB="0" anchor="b">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91440" algn="l" fontAlgn="b"/>
                      <a:r>
                        <a:rPr lang="en-US" sz="1000" b="0" u="none" strike="noStrike">
                          <a:effectLst/>
                          <a:latin typeface="+mn-lt"/>
                          <a:cs typeface="Levenim MT"/>
                        </a:rPr>
                        <a:t>Advisor Site </a:t>
                      </a:r>
                      <a:endParaRPr lang="en-US" sz="1000" b="0" i="0" u="none" strike="noStrike">
                        <a:solidFill>
                          <a:sysClr val="windowText" lastClr="000000"/>
                        </a:solidFill>
                        <a:effectLst/>
                        <a:latin typeface="+mn-lt"/>
                        <a:cs typeface="Levenim MT" panose="02010502060101010101" pitchFamily="2" charset="-79"/>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91440" algn="l" fontAlgn="b"/>
                      <a:r>
                        <a:rPr lang="en-US" sz="1000" b="0" u="none" strike="noStrike">
                          <a:effectLst/>
                          <a:latin typeface="+mn-lt"/>
                          <a:cs typeface="Levenim MT"/>
                        </a:rPr>
                        <a:t>Advisor</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u="none" strike="noStrike">
                          <a:effectLst/>
                          <a:latin typeface="+mn-lt"/>
                          <a:cs typeface="Levenim MT"/>
                        </a:rPr>
                        <a:t>1</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u="none" strike="noStrike">
                          <a:effectLst/>
                          <a:latin typeface="+mn-lt"/>
                          <a:cs typeface="Levenim MT"/>
                        </a:rPr>
                        <a:t>1</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u="none" strike="noStrike">
                          <a:effectLst/>
                          <a:latin typeface="+mn-lt"/>
                          <a:cs typeface="Levenim MT"/>
                        </a:rPr>
                        <a:t>2</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25023444"/>
                  </a:ext>
                </a:extLst>
              </a:tr>
              <a:tr h="192454">
                <a:tc>
                  <a:txBody>
                    <a:bodyPr/>
                    <a:lstStyle/>
                    <a:p>
                      <a:pPr marL="91440" algn="l" fontAlgn="b"/>
                      <a:r>
                        <a:rPr lang="en-US" sz="1000" b="0" u="none" strike="noStrike">
                          <a:effectLst/>
                          <a:latin typeface="+mn-lt"/>
                          <a:cs typeface="Levenim MT"/>
                        </a:rPr>
                        <a:t>New</a:t>
                      </a:r>
                      <a:endParaRPr lang="en-US" sz="1000" b="0" i="0" u="none" strike="noStrike">
                        <a:effectLst/>
                        <a:latin typeface="+mn-lt"/>
                        <a:cs typeface="Levenim MT"/>
                      </a:endParaRPr>
                    </a:p>
                  </a:txBody>
                  <a:tcPr marL="9525" marR="9525" marT="9525" marB="0" anchor="b">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91440" algn="l" fontAlgn="b"/>
                      <a:r>
                        <a:rPr lang="en-US" sz="1000" b="0" u="none" strike="noStrike">
                          <a:effectLst/>
                          <a:latin typeface="+mn-lt"/>
                          <a:cs typeface="Levenim MT"/>
                        </a:rPr>
                        <a:t>Member Site </a:t>
                      </a:r>
                      <a:endParaRPr lang="en-US" sz="1000" b="0" i="0" u="none" strike="noStrike">
                        <a:solidFill>
                          <a:sysClr val="windowText" lastClr="000000"/>
                        </a:solidFill>
                        <a:effectLst/>
                        <a:latin typeface="+mn-lt"/>
                        <a:cs typeface="Levenim MT" panose="02010502060101010101" pitchFamily="2" charset="-79"/>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91440" algn="l" fontAlgn="b"/>
                      <a:r>
                        <a:rPr lang="en-US" sz="1000" b="0" u="none" strike="noStrike">
                          <a:effectLst/>
                          <a:latin typeface="+mn-lt"/>
                          <a:cs typeface="Levenim MT"/>
                        </a:rPr>
                        <a:t>Participant</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00" b="0" i="0" u="none" strike="noStrike">
                        <a:solidFill>
                          <a:sysClr val="windowText" lastClr="000000"/>
                        </a:solidFill>
                        <a:effectLst/>
                        <a:latin typeface="+mn-lt"/>
                        <a:cs typeface="Levenim MT" panose="02010502060101010101" pitchFamily="2" charset="-79"/>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u="none" strike="noStrike">
                          <a:effectLst/>
                          <a:latin typeface="+mn-lt"/>
                          <a:cs typeface="Levenim MT"/>
                        </a:rPr>
                        <a:t>3</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u="none" strike="noStrike">
                          <a:effectLst/>
                          <a:latin typeface="+mn-lt"/>
                          <a:cs typeface="Levenim MT"/>
                        </a:rPr>
                        <a:t>3</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67715348"/>
                  </a:ext>
                </a:extLst>
              </a:tr>
              <a:tr h="192454">
                <a:tc>
                  <a:txBody>
                    <a:bodyPr/>
                    <a:lstStyle/>
                    <a:p>
                      <a:pPr marL="91440" algn="l" fontAlgn="b"/>
                      <a:r>
                        <a:rPr lang="en-US" sz="1000" b="0" u="none" strike="noStrike">
                          <a:effectLst/>
                          <a:latin typeface="+mn-lt"/>
                          <a:cs typeface="Levenim MT"/>
                        </a:rPr>
                        <a:t>New</a:t>
                      </a:r>
                      <a:endParaRPr lang="en-US" sz="1000" b="0" i="0" u="none" strike="noStrike">
                        <a:effectLst/>
                        <a:latin typeface="+mn-lt"/>
                        <a:cs typeface="Levenim MT"/>
                      </a:endParaRPr>
                    </a:p>
                  </a:txBody>
                  <a:tcPr marL="9525" marR="9525" marT="9525" marB="0" anchor="b">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91440" algn="l" fontAlgn="b"/>
                      <a:r>
                        <a:rPr lang="en-US" sz="1000" b="0" u="none" strike="noStrike">
                          <a:effectLst/>
                          <a:latin typeface="+mn-lt"/>
                          <a:cs typeface="Levenim MT"/>
                        </a:rPr>
                        <a:t>Sponsor Site</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91440" algn="l" fontAlgn="b"/>
                      <a:r>
                        <a:rPr lang="en-US" sz="1000" b="0" u="none" strike="noStrike">
                          <a:effectLst/>
                          <a:latin typeface="+mn-lt"/>
                          <a:cs typeface="Levenim MT"/>
                        </a:rPr>
                        <a:t>Plan Sponsor</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u="none" strike="noStrike">
                          <a:effectLst/>
                          <a:latin typeface="+mn-lt"/>
                          <a:cs typeface="Levenim MT"/>
                        </a:rPr>
                        <a:t>3</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00" b="0" i="0" u="none" strike="noStrike">
                        <a:solidFill>
                          <a:sysClr val="windowText" lastClr="000000"/>
                        </a:solidFill>
                        <a:effectLst/>
                        <a:latin typeface="+mn-lt"/>
                        <a:cs typeface="Levenim MT" panose="02010502060101010101" pitchFamily="2" charset="-79"/>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u="none" strike="noStrike">
                          <a:effectLst/>
                          <a:latin typeface="+mn-lt"/>
                          <a:cs typeface="Levenim MT"/>
                        </a:rPr>
                        <a:t>3</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30640645"/>
                  </a:ext>
                </a:extLst>
              </a:tr>
              <a:tr h="192454">
                <a:tc gridSpan="3">
                  <a:txBody>
                    <a:bodyPr/>
                    <a:lstStyle/>
                    <a:p>
                      <a:pPr marL="91440" marR="0" lvl="0" indent="0" algn="ctr" defTabSz="1219170" rtl="0" eaLnBrk="1" fontAlgn="b" latinLnBrk="0" hangingPunct="1">
                        <a:lnSpc>
                          <a:spcPct val="100000"/>
                        </a:lnSpc>
                        <a:spcBef>
                          <a:spcPts val="0"/>
                        </a:spcBef>
                        <a:spcAft>
                          <a:spcPts val="0"/>
                        </a:spcAft>
                        <a:buClrTx/>
                        <a:buSzTx/>
                        <a:buFontTx/>
                        <a:buNone/>
                        <a:tabLst/>
                        <a:defRPr/>
                      </a:pPr>
                      <a:r>
                        <a:rPr lang="en-US" sz="1000" b="1" u="none" strike="noStrike">
                          <a:effectLst/>
                          <a:latin typeface="+mn-lt"/>
                          <a:cs typeface="Levenim MT"/>
                        </a:rPr>
                        <a:t>Phase 3</a:t>
                      </a:r>
                      <a:endParaRPr lang="en-US" sz="1000" b="1" i="0" u="none" strike="noStrike">
                        <a:effectLst/>
                        <a:latin typeface="+mn-lt"/>
                        <a:cs typeface="Levenim MT"/>
                      </a:endParaRPr>
                    </a:p>
                  </a:txBody>
                  <a:tcPr marL="9525" marR="9525" marT="9525" marB="0" anchor="b">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CDEDFF"/>
                    </a:solidFill>
                  </a:tcPr>
                </a:tc>
                <a:tc hMerge="1">
                  <a:txBody>
                    <a:bodyPr/>
                    <a:lstStyle/>
                    <a:p>
                      <a:pPr algn="l" fontAlgn="b"/>
                      <a:endParaRPr lang="en-US" sz="900" b="0" i="0" u="none" strike="noStrike">
                        <a:solidFill>
                          <a:srgbClr val="000000"/>
                        </a:solidFill>
                        <a:effectLst/>
                        <a:latin typeface="Calibri" panose="020F0502020204030204" pitchFamily="34" charset="0"/>
                      </a:endParaRPr>
                    </a:p>
                  </a:txBody>
                  <a:tcPr marL="9525" marR="9525" marT="9525" marB="0" anchor="b">
                    <a:lnT w="12700" cap="flat" cmpd="sng" algn="ctr">
                      <a:solidFill>
                        <a:schemeClr val="tx1"/>
                      </a:solidFill>
                      <a:prstDash val="solid"/>
                      <a:round/>
                      <a:headEnd type="none" w="med" len="med"/>
                      <a:tailEnd type="none" w="med" len="med"/>
                    </a:lnT>
                    <a:solidFill>
                      <a:schemeClr val="accent5"/>
                    </a:solidFill>
                  </a:tcPr>
                </a:tc>
                <a:tc hMerge="1">
                  <a:txBody>
                    <a:bodyPr/>
                    <a:lstStyle/>
                    <a:p>
                      <a:pPr algn="l" fontAlgn="b"/>
                      <a:endParaRPr lang="en-US" sz="900" b="0" i="0" u="none" strike="noStrike">
                        <a:solidFill>
                          <a:srgbClr val="000000"/>
                        </a:solidFill>
                        <a:effectLst/>
                        <a:latin typeface="Calibri" panose="020F0502020204030204" pitchFamily="34" charset="0"/>
                      </a:endParaRPr>
                    </a:p>
                  </a:txBody>
                  <a:tcPr marL="9525" marR="9525" marT="9525" marB="0" anchor="b">
                    <a:lnT w="12700" cap="flat" cmpd="sng" algn="ctr">
                      <a:solidFill>
                        <a:schemeClr val="tx1"/>
                      </a:solidFill>
                      <a:prstDash val="solid"/>
                      <a:round/>
                      <a:headEnd type="none" w="med" len="med"/>
                      <a:tailEnd type="none" w="med" len="med"/>
                    </a:lnT>
                    <a:solidFill>
                      <a:schemeClr val="accent5"/>
                    </a:solidFill>
                  </a:tcPr>
                </a:tc>
                <a:tc>
                  <a:txBody>
                    <a:bodyPr/>
                    <a:lstStyle/>
                    <a:p>
                      <a:pPr algn="ctr" fontAlgn="b"/>
                      <a:r>
                        <a:rPr lang="en-US" sz="1000" b="1" u="none" strike="noStrike">
                          <a:effectLst/>
                          <a:latin typeface="+mn-lt"/>
                          <a:cs typeface="Levenim MT"/>
                        </a:rPr>
                        <a:t>4</a:t>
                      </a:r>
                      <a:endParaRPr lang="en-US" sz="1000" b="1"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CDEDFF"/>
                    </a:solidFill>
                  </a:tcPr>
                </a:tc>
                <a:tc>
                  <a:txBody>
                    <a:bodyPr/>
                    <a:lstStyle/>
                    <a:p>
                      <a:pPr algn="ctr" fontAlgn="b"/>
                      <a:r>
                        <a:rPr lang="en-US" sz="1000" b="1" u="none" strike="noStrike">
                          <a:effectLst/>
                          <a:latin typeface="+mn-lt"/>
                          <a:cs typeface="Levenim MT"/>
                        </a:rPr>
                        <a:t>9</a:t>
                      </a:r>
                      <a:endParaRPr lang="en-US" sz="1000" b="1"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CDEDFF"/>
                    </a:solidFill>
                  </a:tcPr>
                </a:tc>
                <a:tc>
                  <a:txBody>
                    <a:bodyPr/>
                    <a:lstStyle/>
                    <a:p>
                      <a:pPr algn="ctr" fontAlgn="b"/>
                      <a:r>
                        <a:rPr lang="en-US" sz="1000" b="1" u="none" strike="noStrike">
                          <a:effectLst/>
                          <a:latin typeface="+mn-lt"/>
                          <a:cs typeface="Levenim MT"/>
                        </a:rPr>
                        <a:t>13</a:t>
                      </a:r>
                      <a:endParaRPr lang="en-US" sz="1000" b="1"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CDEDFF"/>
                    </a:solidFill>
                  </a:tcPr>
                </a:tc>
                <a:extLst>
                  <a:ext uri="{0D108BD9-81ED-4DB2-BD59-A6C34878D82A}">
                    <a16:rowId xmlns:a16="http://schemas.microsoft.com/office/drawing/2014/main" val="337622511"/>
                  </a:ext>
                </a:extLst>
              </a:tr>
              <a:tr h="192454">
                <a:tc>
                  <a:txBody>
                    <a:bodyPr/>
                    <a:lstStyle/>
                    <a:p>
                      <a:pPr marL="91440" algn="l" fontAlgn="b"/>
                      <a:r>
                        <a:rPr lang="en-US" sz="1000" b="0" u="none" strike="noStrike">
                          <a:effectLst/>
                          <a:latin typeface="+mn-lt"/>
                          <a:cs typeface="Levenim MT"/>
                        </a:rPr>
                        <a:t>Enhance</a:t>
                      </a:r>
                      <a:endParaRPr lang="en-US" sz="1000" b="0" i="0" u="none" strike="noStrike">
                        <a:effectLst/>
                        <a:latin typeface="+mn-lt"/>
                        <a:cs typeface="Levenim MT"/>
                      </a:endParaRPr>
                    </a:p>
                  </a:txBody>
                  <a:tcPr marL="9525" marR="9525" marT="9525" marB="0" anchor="b">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91440" algn="l" fontAlgn="b"/>
                      <a:r>
                        <a:rPr lang="en-US" sz="1000" b="0" u="none" strike="noStrike">
                          <a:effectLst/>
                          <a:latin typeface="+mn-lt"/>
                          <a:cs typeface="Levenim MT"/>
                        </a:rPr>
                        <a:t>Member Site </a:t>
                      </a:r>
                      <a:endParaRPr lang="en-US" sz="1000" b="0" i="0" u="none" strike="noStrike">
                        <a:solidFill>
                          <a:sysClr val="windowText" lastClr="000000"/>
                        </a:solidFill>
                        <a:effectLst/>
                        <a:latin typeface="+mn-lt"/>
                        <a:cs typeface="Levenim MT" panose="02010502060101010101" pitchFamily="2" charset="-79"/>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91440" algn="l" fontAlgn="b"/>
                      <a:r>
                        <a:rPr lang="en-US" sz="1000" b="0" u="none" strike="noStrike">
                          <a:effectLst/>
                          <a:latin typeface="+mn-lt"/>
                          <a:cs typeface="Levenim MT"/>
                        </a:rPr>
                        <a:t>Participant</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00" b="0" i="0" u="none" strike="noStrike">
                        <a:solidFill>
                          <a:sysClr val="windowText" lastClr="000000"/>
                        </a:solidFill>
                        <a:effectLst/>
                        <a:latin typeface="+mn-lt"/>
                        <a:cs typeface="Levenim MT" panose="02010502060101010101" pitchFamily="2" charset="-79"/>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u="none" strike="noStrike">
                          <a:effectLst/>
                          <a:latin typeface="+mn-lt"/>
                          <a:cs typeface="Levenim MT"/>
                        </a:rPr>
                        <a:t>3</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u="none" strike="noStrike">
                          <a:effectLst/>
                          <a:latin typeface="+mn-lt"/>
                          <a:cs typeface="Levenim MT"/>
                        </a:rPr>
                        <a:t>3</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41757913"/>
                  </a:ext>
                </a:extLst>
              </a:tr>
              <a:tr h="192454">
                <a:tc>
                  <a:txBody>
                    <a:bodyPr/>
                    <a:lstStyle/>
                    <a:p>
                      <a:pPr marL="91440" algn="l" fontAlgn="b"/>
                      <a:r>
                        <a:rPr lang="en-US" sz="1000" b="0" u="none" strike="noStrike">
                          <a:effectLst/>
                          <a:latin typeface="+mn-lt"/>
                          <a:cs typeface="Levenim MT"/>
                        </a:rPr>
                        <a:t>Enhance</a:t>
                      </a:r>
                      <a:endParaRPr lang="en-US" sz="1000" b="0" i="0" u="none" strike="noStrike">
                        <a:effectLst/>
                        <a:latin typeface="+mn-lt"/>
                        <a:cs typeface="Levenim MT"/>
                      </a:endParaRPr>
                    </a:p>
                  </a:txBody>
                  <a:tcPr marL="9525" marR="9525" marT="9525" marB="0" anchor="b">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91440" algn="l" fontAlgn="b"/>
                      <a:r>
                        <a:rPr lang="en-US" sz="1000" b="0" u="none" strike="noStrike">
                          <a:effectLst/>
                          <a:latin typeface="+mn-lt"/>
                          <a:cs typeface="Levenim MT"/>
                        </a:rPr>
                        <a:t>Sponsor Site</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91440" algn="l" fontAlgn="b"/>
                      <a:r>
                        <a:rPr lang="en-US" sz="1000" b="0" u="none" strike="noStrike">
                          <a:effectLst/>
                          <a:latin typeface="+mn-lt"/>
                          <a:cs typeface="Levenim MT"/>
                        </a:rPr>
                        <a:t>Plan Sponsor</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u="none" strike="noStrike">
                          <a:effectLst/>
                          <a:latin typeface="+mn-lt"/>
                          <a:cs typeface="Levenim MT"/>
                        </a:rPr>
                        <a:t>4</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u="none" strike="noStrike">
                          <a:effectLst/>
                          <a:latin typeface="+mn-lt"/>
                          <a:cs typeface="Levenim MT"/>
                        </a:rPr>
                        <a:t>3</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u="none" strike="noStrike">
                          <a:effectLst/>
                          <a:latin typeface="+mn-lt"/>
                          <a:cs typeface="Levenim MT"/>
                        </a:rPr>
                        <a:t>7</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11500747"/>
                  </a:ext>
                </a:extLst>
              </a:tr>
              <a:tr h="192454">
                <a:tc>
                  <a:txBody>
                    <a:bodyPr/>
                    <a:lstStyle/>
                    <a:p>
                      <a:pPr marL="91440" algn="l" fontAlgn="b"/>
                      <a:r>
                        <a:rPr lang="en-US" sz="1000" b="0" u="none" strike="noStrike">
                          <a:effectLst/>
                          <a:latin typeface="+mn-lt"/>
                          <a:cs typeface="Levenim MT"/>
                        </a:rPr>
                        <a:t>New</a:t>
                      </a:r>
                      <a:endParaRPr lang="en-US" sz="1000" b="0" i="0" u="none" strike="noStrike">
                        <a:effectLst/>
                        <a:latin typeface="+mn-lt"/>
                        <a:cs typeface="Levenim MT"/>
                      </a:endParaRPr>
                    </a:p>
                  </a:txBody>
                  <a:tcPr marL="9525" marR="9525" marT="9525" marB="0" anchor="b">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91440" algn="l" fontAlgn="b"/>
                      <a:r>
                        <a:rPr lang="en-US" sz="1000" b="0" u="none" strike="noStrike">
                          <a:effectLst/>
                          <a:latin typeface="+mn-lt"/>
                          <a:cs typeface="Levenim MT"/>
                        </a:rPr>
                        <a:t>Member Site </a:t>
                      </a:r>
                      <a:endParaRPr lang="en-US" sz="1000" b="0" i="0" u="none" strike="noStrike">
                        <a:solidFill>
                          <a:sysClr val="windowText" lastClr="000000"/>
                        </a:solidFill>
                        <a:effectLst/>
                        <a:latin typeface="+mn-lt"/>
                        <a:cs typeface="Levenim MT" panose="02010502060101010101" pitchFamily="2" charset="-79"/>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91440" algn="l" fontAlgn="b"/>
                      <a:r>
                        <a:rPr lang="en-US" sz="1000" b="0" u="none" strike="noStrike">
                          <a:effectLst/>
                          <a:latin typeface="+mn-lt"/>
                          <a:cs typeface="Levenim MT"/>
                        </a:rPr>
                        <a:t>Participant</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00" b="0" i="0" u="none" strike="noStrike">
                        <a:solidFill>
                          <a:sysClr val="windowText" lastClr="000000"/>
                        </a:solidFill>
                        <a:effectLst/>
                        <a:latin typeface="+mn-lt"/>
                        <a:cs typeface="Levenim MT" panose="02010502060101010101" pitchFamily="2" charset="-79"/>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u="none" strike="noStrike">
                          <a:effectLst/>
                          <a:latin typeface="+mn-lt"/>
                          <a:cs typeface="Levenim MT"/>
                        </a:rPr>
                        <a:t>1</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u="none" strike="noStrike">
                          <a:effectLst/>
                          <a:latin typeface="+mn-lt"/>
                          <a:cs typeface="Levenim MT"/>
                        </a:rPr>
                        <a:t>1</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56163992"/>
                  </a:ext>
                </a:extLst>
              </a:tr>
              <a:tr h="192454">
                <a:tc>
                  <a:txBody>
                    <a:bodyPr/>
                    <a:lstStyle/>
                    <a:p>
                      <a:pPr marL="91440" algn="l" fontAlgn="b"/>
                      <a:r>
                        <a:rPr lang="en-US" sz="1000" b="0" u="none" strike="noStrike">
                          <a:effectLst/>
                          <a:latin typeface="+mn-lt"/>
                          <a:cs typeface="Levenim MT"/>
                        </a:rPr>
                        <a:t>New</a:t>
                      </a:r>
                      <a:endParaRPr lang="en-US" sz="1000" b="0" i="0" u="none" strike="noStrike">
                        <a:effectLst/>
                        <a:latin typeface="+mn-lt"/>
                        <a:cs typeface="Levenim MT"/>
                      </a:endParaRPr>
                    </a:p>
                  </a:txBody>
                  <a:tcPr marL="9525" marR="9525" marT="9525" marB="0" anchor="b">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91440" algn="l" fontAlgn="b"/>
                      <a:r>
                        <a:rPr lang="en-US" sz="1000" b="0" u="none" strike="noStrike">
                          <a:effectLst/>
                          <a:latin typeface="+mn-lt"/>
                          <a:cs typeface="Levenim MT"/>
                        </a:rPr>
                        <a:t>Sponsor Site</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91440" algn="l" fontAlgn="b"/>
                      <a:r>
                        <a:rPr lang="en-US" sz="1000" b="0" u="none" strike="noStrike">
                          <a:effectLst/>
                          <a:latin typeface="+mn-lt"/>
                          <a:cs typeface="Levenim MT"/>
                        </a:rPr>
                        <a:t>Plan Sponsor</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00" b="0" i="0" u="none" strike="noStrike">
                        <a:solidFill>
                          <a:sysClr val="windowText" lastClr="000000"/>
                        </a:solidFill>
                        <a:effectLst/>
                        <a:latin typeface="+mn-lt"/>
                        <a:cs typeface="Levenim MT" panose="02010502060101010101" pitchFamily="2" charset="-79"/>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u="none" strike="noStrike">
                          <a:effectLst/>
                          <a:latin typeface="+mn-lt"/>
                          <a:cs typeface="Levenim MT"/>
                        </a:rPr>
                        <a:t>2</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u="none" strike="noStrike">
                          <a:effectLst/>
                          <a:latin typeface="+mn-lt"/>
                          <a:cs typeface="Levenim MT"/>
                        </a:rPr>
                        <a:t>2</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08232475"/>
                  </a:ext>
                </a:extLst>
              </a:tr>
              <a:tr h="192454">
                <a:tc gridSpan="3">
                  <a:txBody>
                    <a:bodyPr/>
                    <a:lstStyle/>
                    <a:p>
                      <a:pPr marL="91440" algn="ctr" fontAlgn="b"/>
                      <a:r>
                        <a:rPr lang="en-US" sz="1000" b="1" u="none" strike="noStrike">
                          <a:effectLst/>
                          <a:latin typeface="+mn-lt"/>
                          <a:cs typeface="Levenim MT"/>
                        </a:rPr>
                        <a:t>Phase 4</a:t>
                      </a:r>
                      <a:endParaRPr lang="en-US" sz="1000" b="1" i="0" u="none" strike="noStrike">
                        <a:effectLst/>
                        <a:latin typeface="+mn-lt"/>
                        <a:cs typeface="Levenim MT"/>
                      </a:endParaRPr>
                    </a:p>
                  </a:txBody>
                  <a:tcPr marL="9525" marR="9525" marT="9525" marB="0" anchor="b">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CDEDFF"/>
                    </a:solidFill>
                  </a:tcPr>
                </a:tc>
                <a:tc hMerge="1">
                  <a:txBody>
                    <a:bodyPr/>
                    <a:lstStyle/>
                    <a:p>
                      <a:pPr algn="l" fontAlgn="b"/>
                      <a:endParaRPr lang="en-US" sz="900" b="0" i="0" u="none" strike="noStrike">
                        <a:solidFill>
                          <a:srgbClr val="000000"/>
                        </a:solidFill>
                        <a:effectLst/>
                        <a:latin typeface="Calibri" panose="020F0502020204030204" pitchFamily="34" charset="0"/>
                      </a:endParaRPr>
                    </a:p>
                  </a:txBody>
                  <a:tcPr marL="9525" marR="9525" marT="9525" marB="0" anchor="b">
                    <a:lnT w="12700" cap="flat" cmpd="sng" algn="ctr">
                      <a:solidFill>
                        <a:schemeClr val="tx1"/>
                      </a:solidFill>
                      <a:prstDash val="solid"/>
                      <a:round/>
                      <a:headEnd type="none" w="med" len="med"/>
                      <a:tailEnd type="none" w="med" len="med"/>
                    </a:lnT>
                    <a:solidFill>
                      <a:schemeClr val="accent5"/>
                    </a:solidFill>
                  </a:tcPr>
                </a:tc>
                <a:tc hMerge="1">
                  <a:txBody>
                    <a:bodyPr/>
                    <a:lstStyle/>
                    <a:p>
                      <a:pPr algn="l" fontAlgn="b"/>
                      <a:endParaRPr lang="en-US" sz="900" b="0" i="0" u="none" strike="noStrike">
                        <a:solidFill>
                          <a:srgbClr val="000000"/>
                        </a:solidFill>
                        <a:effectLst/>
                        <a:latin typeface="Calibri" panose="020F0502020204030204" pitchFamily="34" charset="0"/>
                      </a:endParaRPr>
                    </a:p>
                  </a:txBody>
                  <a:tcPr marL="9525" marR="9525" marT="9525" marB="0" anchor="b">
                    <a:lnT w="12700" cap="flat" cmpd="sng" algn="ctr">
                      <a:solidFill>
                        <a:schemeClr val="tx1"/>
                      </a:solidFill>
                      <a:prstDash val="solid"/>
                      <a:round/>
                      <a:headEnd type="none" w="med" len="med"/>
                      <a:tailEnd type="none" w="med" len="med"/>
                    </a:lnT>
                    <a:solidFill>
                      <a:schemeClr val="accent5"/>
                    </a:solidFill>
                  </a:tcPr>
                </a:tc>
                <a:tc>
                  <a:txBody>
                    <a:bodyPr/>
                    <a:lstStyle/>
                    <a:p>
                      <a:pPr algn="ctr" fontAlgn="b"/>
                      <a:endParaRPr lang="en-US" sz="1000" b="1" i="0" u="none" strike="noStrike">
                        <a:solidFill>
                          <a:sysClr val="windowText" lastClr="000000"/>
                        </a:solidFill>
                        <a:effectLst/>
                        <a:latin typeface="+mn-lt"/>
                        <a:cs typeface="Levenim MT" panose="02010502060101010101" pitchFamily="2" charset="-79"/>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CDEDFF"/>
                    </a:solidFill>
                  </a:tcPr>
                </a:tc>
                <a:tc>
                  <a:txBody>
                    <a:bodyPr/>
                    <a:lstStyle/>
                    <a:p>
                      <a:pPr algn="ctr" fontAlgn="b"/>
                      <a:r>
                        <a:rPr lang="en-US" sz="1000" b="1" u="none" strike="noStrike">
                          <a:effectLst/>
                          <a:latin typeface="+mn-lt"/>
                          <a:cs typeface="Levenim MT"/>
                        </a:rPr>
                        <a:t>10</a:t>
                      </a:r>
                      <a:endParaRPr lang="en-US" sz="1000" b="1"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CDEDFF"/>
                    </a:solidFill>
                  </a:tcPr>
                </a:tc>
                <a:tc>
                  <a:txBody>
                    <a:bodyPr/>
                    <a:lstStyle/>
                    <a:p>
                      <a:pPr algn="ctr" fontAlgn="b"/>
                      <a:r>
                        <a:rPr lang="en-US" sz="1000" b="1" u="none" strike="noStrike">
                          <a:effectLst/>
                          <a:latin typeface="+mn-lt"/>
                          <a:cs typeface="Levenim MT"/>
                        </a:rPr>
                        <a:t>10</a:t>
                      </a:r>
                      <a:endParaRPr lang="en-US" sz="1000" b="1"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CDEDFF"/>
                    </a:solidFill>
                  </a:tcPr>
                </a:tc>
                <a:extLst>
                  <a:ext uri="{0D108BD9-81ED-4DB2-BD59-A6C34878D82A}">
                    <a16:rowId xmlns:a16="http://schemas.microsoft.com/office/drawing/2014/main" val="3010301511"/>
                  </a:ext>
                </a:extLst>
              </a:tr>
              <a:tr h="192454">
                <a:tc>
                  <a:txBody>
                    <a:bodyPr/>
                    <a:lstStyle/>
                    <a:p>
                      <a:pPr marL="91440" algn="l" fontAlgn="b"/>
                      <a:r>
                        <a:rPr lang="en-US" sz="1000" b="0" u="none" strike="noStrike">
                          <a:effectLst/>
                          <a:latin typeface="+mn-lt"/>
                          <a:cs typeface="Levenim MT"/>
                        </a:rPr>
                        <a:t>New</a:t>
                      </a:r>
                      <a:endParaRPr lang="en-US" sz="1000" b="0" i="0" u="none" strike="noStrike">
                        <a:effectLst/>
                        <a:latin typeface="+mn-lt"/>
                        <a:cs typeface="Levenim MT"/>
                      </a:endParaRPr>
                    </a:p>
                  </a:txBody>
                  <a:tcPr marL="9525" marR="9525" marT="9525" marB="0" anchor="b">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91440" algn="l" fontAlgn="b"/>
                      <a:r>
                        <a:rPr lang="en-US" sz="1000" b="0" u="none" strike="noStrike">
                          <a:effectLst/>
                          <a:latin typeface="+mn-lt"/>
                          <a:cs typeface="Levenim MT"/>
                        </a:rPr>
                        <a:t>Advisor Site </a:t>
                      </a:r>
                      <a:endParaRPr lang="en-US" sz="1000" b="0" i="0" u="none" strike="noStrike">
                        <a:solidFill>
                          <a:sysClr val="windowText" lastClr="000000"/>
                        </a:solidFill>
                        <a:effectLst/>
                        <a:latin typeface="+mn-lt"/>
                        <a:cs typeface="Levenim MT" panose="02010502060101010101" pitchFamily="2" charset="-79"/>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91440" algn="l" fontAlgn="b"/>
                      <a:r>
                        <a:rPr lang="en-US" sz="1000" b="0" u="none" strike="noStrike">
                          <a:effectLst/>
                          <a:latin typeface="+mn-lt"/>
                          <a:cs typeface="Levenim MT"/>
                        </a:rPr>
                        <a:t>Advisor</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00" b="0" i="0" u="none" strike="noStrike">
                        <a:solidFill>
                          <a:sysClr val="windowText" lastClr="000000"/>
                        </a:solidFill>
                        <a:effectLst/>
                        <a:latin typeface="+mn-lt"/>
                        <a:cs typeface="Levenim MT" panose="02010502060101010101" pitchFamily="2" charset="-79"/>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u="none" strike="noStrike">
                          <a:effectLst/>
                          <a:latin typeface="+mn-lt"/>
                          <a:cs typeface="Levenim MT"/>
                        </a:rPr>
                        <a:t>1</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u="none" strike="noStrike">
                          <a:effectLst/>
                          <a:latin typeface="+mn-lt"/>
                          <a:cs typeface="Levenim MT"/>
                        </a:rPr>
                        <a:t>1</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06483372"/>
                  </a:ext>
                </a:extLst>
              </a:tr>
              <a:tr h="192454">
                <a:tc>
                  <a:txBody>
                    <a:bodyPr/>
                    <a:lstStyle/>
                    <a:p>
                      <a:pPr marL="91440" algn="l" fontAlgn="b"/>
                      <a:r>
                        <a:rPr lang="en-US" sz="1000" b="0" u="none" strike="noStrike">
                          <a:effectLst/>
                          <a:latin typeface="+mn-lt"/>
                          <a:cs typeface="Levenim MT"/>
                        </a:rPr>
                        <a:t>New</a:t>
                      </a:r>
                      <a:endParaRPr lang="en-US" sz="1000" b="0" i="0" u="none" strike="noStrike">
                        <a:effectLst/>
                        <a:latin typeface="+mn-lt"/>
                        <a:cs typeface="Levenim MT"/>
                      </a:endParaRPr>
                    </a:p>
                  </a:txBody>
                  <a:tcPr marL="9525" marR="9525" marT="9525" marB="0" anchor="b">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91440" algn="l" fontAlgn="b"/>
                      <a:r>
                        <a:rPr lang="en-US" sz="1000" b="0" u="none" strike="noStrike">
                          <a:effectLst/>
                          <a:latin typeface="+mn-lt"/>
                          <a:cs typeface="Levenim MT"/>
                        </a:rPr>
                        <a:t>Member Enrollment </a:t>
                      </a:r>
                      <a:endParaRPr lang="en-US" sz="1000" b="0" i="0" u="none" strike="noStrike">
                        <a:solidFill>
                          <a:sysClr val="windowText" lastClr="000000"/>
                        </a:solidFill>
                        <a:effectLst/>
                        <a:latin typeface="+mn-lt"/>
                        <a:cs typeface="Levenim MT" panose="02010502060101010101" pitchFamily="2" charset="-79"/>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91440" algn="l" fontAlgn="b"/>
                      <a:r>
                        <a:rPr lang="en-US" sz="1000" b="0" u="none" strike="noStrike">
                          <a:effectLst/>
                          <a:latin typeface="+mn-lt"/>
                          <a:cs typeface="Levenim MT"/>
                        </a:rPr>
                        <a:t>Participant</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00" b="0" i="0" u="none" strike="noStrike">
                        <a:solidFill>
                          <a:sysClr val="windowText" lastClr="000000"/>
                        </a:solidFill>
                        <a:effectLst/>
                        <a:latin typeface="+mn-lt"/>
                        <a:cs typeface="Levenim MT" panose="02010502060101010101" pitchFamily="2" charset="-79"/>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u="none" strike="noStrike">
                          <a:effectLst/>
                          <a:latin typeface="+mn-lt"/>
                          <a:cs typeface="Levenim MT"/>
                        </a:rPr>
                        <a:t>4</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u="none" strike="noStrike">
                          <a:effectLst/>
                          <a:latin typeface="+mn-lt"/>
                          <a:cs typeface="Levenim MT"/>
                        </a:rPr>
                        <a:t>4</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9387231"/>
                  </a:ext>
                </a:extLst>
              </a:tr>
              <a:tr h="192454">
                <a:tc>
                  <a:txBody>
                    <a:bodyPr/>
                    <a:lstStyle/>
                    <a:p>
                      <a:pPr marL="91440" algn="l" fontAlgn="b"/>
                      <a:r>
                        <a:rPr lang="en-US" sz="1000" b="0" u="none" strike="noStrike">
                          <a:effectLst/>
                          <a:latin typeface="+mn-lt"/>
                          <a:cs typeface="Levenim MT"/>
                        </a:rPr>
                        <a:t>New</a:t>
                      </a:r>
                      <a:endParaRPr lang="en-US" sz="1000" b="0" i="0" u="none" strike="noStrike">
                        <a:effectLst/>
                        <a:latin typeface="+mn-lt"/>
                        <a:cs typeface="Levenim MT"/>
                      </a:endParaRPr>
                    </a:p>
                  </a:txBody>
                  <a:tcPr marL="9525" marR="9525" marT="9525" marB="0" anchor="b">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91440" algn="l" fontAlgn="b"/>
                      <a:r>
                        <a:rPr lang="en-US" sz="1000" b="0" u="none" strike="noStrike">
                          <a:effectLst/>
                          <a:latin typeface="+mn-lt"/>
                          <a:cs typeface="Levenim MT"/>
                        </a:rPr>
                        <a:t>Member Site </a:t>
                      </a:r>
                      <a:endParaRPr lang="en-US" sz="1000" b="0" i="0" u="none" strike="noStrike">
                        <a:solidFill>
                          <a:sysClr val="windowText" lastClr="000000"/>
                        </a:solidFill>
                        <a:effectLst/>
                        <a:latin typeface="+mn-lt"/>
                        <a:cs typeface="Levenim MT" panose="02010502060101010101" pitchFamily="2" charset="-79"/>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91440" algn="l" fontAlgn="b"/>
                      <a:r>
                        <a:rPr lang="en-US" sz="1000" b="0" u="none" strike="noStrike">
                          <a:effectLst/>
                          <a:latin typeface="+mn-lt"/>
                          <a:cs typeface="Levenim MT"/>
                        </a:rPr>
                        <a:t>Participant</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00" b="0" i="0" u="none" strike="noStrike">
                        <a:solidFill>
                          <a:sysClr val="windowText" lastClr="000000"/>
                        </a:solidFill>
                        <a:effectLst/>
                        <a:latin typeface="+mn-lt"/>
                        <a:cs typeface="Levenim MT" panose="02010502060101010101" pitchFamily="2" charset="-79"/>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u="none" strike="noStrike">
                          <a:effectLst/>
                          <a:latin typeface="+mn-lt"/>
                          <a:cs typeface="Levenim MT"/>
                        </a:rPr>
                        <a:t>3</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u="none" strike="noStrike">
                          <a:effectLst/>
                          <a:latin typeface="+mn-lt"/>
                          <a:cs typeface="Levenim MT"/>
                        </a:rPr>
                        <a:t>3</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18532635"/>
                  </a:ext>
                </a:extLst>
              </a:tr>
              <a:tr h="192454">
                <a:tc>
                  <a:txBody>
                    <a:bodyPr/>
                    <a:lstStyle/>
                    <a:p>
                      <a:pPr marL="91440" algn="l" fontAlgn="b"/>
                      <a:r>
                        <a:rPr lang="en-US" sz="1000" b="0" u="none" strike="noStrike">
                          <a:effectLst/>
                          <a:latin typeface="+mn-lt"/>
                          <a:cs typeface="Levenim MT"/>
                        </a:rPr>
                        <a:t>New</a:t>
                      </a:r>
                      <a:endParaRPr lang="en-US" sz="1000" b="0" i="0" u="none" strike="noStrike">
                        <a:effectLst/>
                        <a:latin typeface="+mn-lt"/>
                        <a:cs typeface="Levenim MT"/>
                      </a:endParaRPr>
                    </a:p>
                  </a:txBody>
                  <a:tcPr marL="9525" marR="9525" marT="9525" marB="0" anchor="b">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91440" algn="l" fontAlgn="b"/>
                      <a:r>
                        <a:rPr lang="en-US" sz="1000" b="0" u="none" strike="noStrike">
                          <a:effectLst/>
                          <a:latin typeface="+mn-lt"/>
                          <a:cs typeface="Levenim MT"/>
                        </a:rPr>
                        <a:t>Sponsor Site</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91440" algn="l" fontAlgn="b"/>
                      <a:r>
                        <a:rPr lang="en-US" sz="1000" b="0" u="none" strike="noStrike">
                          <a:effectLst/>
                          <a:latin typeface="+mn-lt"/>
                          <a:cs typeface="Levenim MT"/>
                        </a:rPr>
                        <a:t>Plan Sponsor</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00" b="0" i="0" u="none" strike="noStrike">
                        <a:solidFill>
                          <a:sysClr val="windowText" lastClr="000000"/>
                        </a:solidFill>
                        <a:effectLst/>
                        <a:latin typeface="+mn-lt"/>
                        <a:cs typeface="Levenim MT" panose="02010502060101010101" pitchFamily="2" charset="-79"/>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u="none" strike="noStrike">
                          <a:effectLst/>
                          <a:latin typeface="+mn-lt"/>
                          <a:cs typeface="Levenim MT"/>
                        </a:rPr>
                        <a:t>2</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u="none" strike="noStrike">
                          <a:effectLst/>
                          <a:latin typeface="+mn-lt"/>
                          <a:cs typeface="Levenim MT"/>
                        </a:rPr>
                        <a:t>2</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77333202"/>
                  </a:ext>
                </a:extLst>
              </a:tr>
              <a:tr h="192454">
                <a:tc gridSpan="3">
                  <a:txBody>
                    <a:bodyPr/>
                    <a:lstStyle/>
                    <a:p>
                      <a:pPr marL="91440" algn="ctr" defTabSz="1219170" rtl="0" eaLnBrk="1" fontAlgn="b" latinLnBrk="0" hangingPunct="1"/>
                      <a:r>
                        <a:rPr lang="en-US" sz="1000" b="1" u="none" strike="noStrike" kern="1200">
                          <a:effectLst/>
                          <a:latin typeface="+mn-lt"/>
                          <a:ea typeface="+mn-ea"/>
                          <a:cs typeface="Levenim MT"/>
                        </a:rPr>
                        <a:t>Phase 5</a:t>
                      </a:r>
                    </a:p>
                  </a:txBody>
                  <a:tcPr marL="9525" marR="9525" marT="9525" marB="0" anchor="b">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CDEDFF"/>
                    </a:solidFill>
                  </a:tcPr>
                </a:tc>
                <a:tc hMerge="1">
                  <a:txBody>
                    <a:bodyPr/>
                    <a:lstStyle/>
                    <a:p>
                      <a:pPr marL="0" algn="l" defTabSz="1219170" rtl="0" eaLnBrk="1" fontAlgn="b" latinLnBrk="0" hangingPunct="1"/>
                      <a:endParaRPr lang="en-US" sz="900" b="0" u="none" strike="noStrike" kern="1200">
                        <a:solidFill>
                          <a:srgbClr val="000000"/>
                        </a:solidFill>
                        <a:effectLst/>
                        <a:latin typeface="+mn-lt"/>
                        <a:ea typeface="+mn-ea"/>
                        <a:cs typeface="+mn-cs"/>
                      </a:endParaRPr>
                    </a:p>
                  </a:txBody>
                  <a:tcPr marL="9525" marR="9525" marT="9525" marB="0" anchor="b">
                    <a:lnT w="12700" cap="flat" cmpd="sng" algn="ctr">
                      <a:solidFill>
                        <a:schemeClr val="tx1"/>
                      </a:solidFill>
                      <a:prstDash val="solid"/>
                      <a:round/>
                      <a:headEnd type="none" w="med" len="med"/>
                      <a:tailEnd type="none" w="med" len="med"/>
                    </a:lnT>
                    <a:solidFill>
                      <a:schemeClr val="accent5"/>
                    </a:solidFill>
                  </a:tcPr>
                </a:tc>
                <a:tc hMerge="1">
                  <a:txBody>
                    <a:bodyPr/>
                    <a:lstStyle/>
                    <a:p>
                      <a:pPr marL="0" algn="l" defTabSz="1219170" rtl="0" eaLnBrk="1" fontAlgn="b" latinLnBrk="0" hangingPunct="1"/>
                      <a:endParaRPr lang="en-US" sz="900" b="0" u="none" strike="noStrike" kern="1200">
                        <a:solidFill>
                          <a:srgbClr val="000000"/>
                        </a:solidFill>
                        <a:effectLst/>
                        <a:latin typeface="+mn-lt"/>
                        <a:ea typeface="+mn-ea"/>
                        <a:cs typeface="+mn-cs"/>
                      </a:endParaRPr>
                    </a:p>
                  </a:txBody>
                  <a:tcPr marL="9525" marR="9525" marT="9525" marB="0" anchor="b">
                    <a:lnT w="12700" cap="flat" cmpd="sng" algn="ctr">
                      <a:solidFill>
                        <a:schemeClr val="tx1"/>
                      </a:solidFill>
                      <a:prstDash val="solid"/>
                      <a:round/>
                      <a:headEnd type="none" w="med" len="med"/>
                      <a:tailEnd type="none" w="med" len="med"/>
                    </a:lnT>
                    <a:solidFill>
                      <a:schemeClr val="accent5"/>
                    </a:solidFill>
                  </a:tcPr>
                </a:tc>
                <a:tc>
                  <a:txBody>
                    <a:bodyPr/>
                    <a:lstStyle/>
                    <a:p>
                      <a:pPr marL="0" algn="ctr" defTabSz="1219170" rtl="0" eaLnBrk="1" fontAlgn="b" latinLnBrk="0" hangingPunct="1"/>
                      <a:r>
                        <a:rPr lang="en-US" sz="1000" b="1" u="none" strike="noStrike" kern="1200">
                          <a:effectLst/>
                          <a:latin typeface="+mn-lt"/>
                          <a:ea typeface="+mn-ea"/>
                          <a:cs typeface="Levenim MT"/>
                        </a:rPr>
                        <a:t>**7</a:t>
                      </a:r>
                      <a:endParaRPr lang="en-US" sz="1000" b="1" u="none" strike="noStrike" kern="1200">
                        <a:solidFill>
                          <a:sysClr val="windowText" lastClr="000000"/>
                        </a:solidFill>
                        <a:effectLst/>
                        <a:latin typeface="+mn-lt"/>
                        <a:ea typeface="+mn-ea"/>
                        <a:cs typeface="Levenim MT" panose="02010502060101010101" pitchFamily="2" charset="-79"/>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CDEDFF"/>
                    </a:solidFill>
                  </a:tcPr>
                </a:tc>
                <a:tc>
                  <a:txBody>
                    <a:bodyPr/>
                    <a:lstStyle/>
                    <a:p>
                      <a:pPr marL="0" algn="ctr" defTabSz="1219170" rtl="0" eaLnBrk="1" fontAlgn="b" latinLnBrk="0" hangingPunct="1"/>
                      <a:endParaRPr lang="en-US" sz="1000" b="1" u="none" strike="noStrike" kern="1200">
                        <a:solidFill>
                          <a:sysClr val="windowText" lastClr="000000"/>
                        </a:solidFill>
                        <a:effectLst/>
                        <a:latin typeface="+mn-lt"/>
                        <a:ea typeface="+mn-ea"/>
                        <a:cs typeface="Levenim MT" panose="02010502060101010101" pitchFamily="2" charset="-79"/>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CDEDFF"/>
                    </a:solidFill>
                  </a:tcPr>
                </a:tc>
                <a:tc>
                  <a:txBody>
                    <a:bodyPr/>
                    <a:lstStyle/>
                    <a:p>
                      <a:pPr marL="0" algn="ctr" defTabSz="1219170" rtl="0" eaLnBrk="1" fontAlgn="b" latinLnBrk="0" hangingPunct="1"/>
                      <a:r>
                        <a:rPr lang="en-US" sz="1000" b="1" u="none" strike="noStrike" kern="1200">
                          <a:effectLst/>
                          <a:latin typeface="+mn-lt"/>
                          <a:ea typeface="+mn-ea"/>
                          <a:cs typeface="Levenim MT"/>
                        </a:rPr>
                        <a:t>**7</a:t>
                      </a: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CDEDFF"/>
                    </a:solidFill>
                  </a:tcPr>
                </a:tc>
                <a:extLst>
                  <a:ext uri="{0D108BD9-81ED-4DB2-BD59-A6C34878D82A}">
                    <a16:rowId xmlns:a16="http://schemas.microsoft.com/office/drawing/2014/main" val="2617584738"/>
                  </a:ext>
                </a:extLst>
              </a:tr>
              <a:tr h="192454">
                <a:tc>
                  <a:txBody>
                    <a:bodyPr/>
                    <a:lstStyle/>
                    <a:p>
                      <a:pPr marL="91440" algn="l" fontAlgn="b"/>
                      <a:r>
                        <a:rPr lang="en-US" sz="1000" b="0" u="none" strike="noStrike">
                          <a:effectLst/>
                          <a:latin typeface="+mn-lt"/>
                          <a:cs typeface="Levenim MT"/>
                        </a:rPr>
                        <a:t>Enhance</a:t>
                      </a:r>
                      <a:endParaRPr lang="en-US" sz="1000" b="0" i="0" u="none" strike="noStrike">
                        <a:effectLst/>
                        <a:latin typeface="+mn-lt"/>
                        <a:cs typeface="Levenim MT"/>
                      </a:endParaRPr>
                    </a:p>
                  </a:txBody>
                  <a:tcPr marL="9525" marR="9525" marT="9525" marB="0" anchor="b">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tcPr>
                </a:tc>
                <a:tc>
                  <a:txBody>
                    <a:bodyPr/>
                    <a:lstStyle/>
                    <a:p>
                      <a:pPr marL="91440" algn="l" fontAlgn="b"/>
                      <a:r>
                        <a:rPr lang="en-US" sz="1000" b="0" u="none" strike="noStrike">
                          <a:effectLst/>
                          <a:latin typeface="+mn-lt"/>
                          <a:cs typeface="Levenim MT"/>
                        </a:rPr>
                        <a:t>Large</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tcPr>
                </a:tc>
                <a:tc>
                  <a:txBody>
                    <a:bodyPr/>
                    <a:lstStyle/>
                    <a:p>
                      <a:pPr marL="91440" algn="l" fontAlgn="b"/>
                      <a:r>
                        <a:rPr lang="en-US" sz="1000" b="0" u="none" strike="noStrike">
                          <a:effectLst/>
                          <a:latin typeface="+mn-lt"/>
                          <a:cs typeface="Levenim MT"/>
                        </a:rPr>
                        <a:t>Large</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u="none" strike="noStrike">
                          <a:effectLst/>
                          <a:latin typeface="+mn-lt"/>
                          <a:cs typeface="Levenim MT"/>
                        </a:rPr>
                        <a:t>**7</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00" b="0" i="0" u="none" strike="noStrike">
                        <a:solidFill>
                          <a:sysClr val="windowText" lastClr="000000"/>
                        </a:solidFill>
                        <a:effectLst/>
                        <a:latin typeface="+mn-lt"/>
                        <a:cs typeface="Levenim MT" panose="02010502060101010101" pitchFamily="2" charset="-79"/>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u="none" strike="noStrike">
                          <a:effectLst/>
                          <a:latin typeface="+mn-lt"/>
                          <a:cs typeface="Levenim MT"/>
                        </a:rPr>
                        <a:t>**7</a:t>
                      </a:r>
                      <a:endParaRPr lang="en-US" sz="1000" b="0" i="0" u="none" strike="noStrike">
                        <a:effectLst/>
                        <a:latin typeface="+mn-lt"/>
                        <a:cs typeface="Levenim MT"/>
                      </a:endParaRPr>
                    </a:p>
                  </a:txBody>
                  <a:tcPr marL="9525" marR="9525" marT="9525" marB="0" anchor="b">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89755291"/>
                  </a:ext>
                </a:extLst>
              </a:tr>
            </a:tbl>
          </a:graphicData>
        </a:graphic>
      </p:graphicFrame>
      <p:grpSp>
        <p:nvGrpSpPr>
          <p:cNvPr id="6" name="Group 5">
            <a:extLst>
              <a:ext uri="{FF2B5EF4-FFF2-40B4-BE49-F238E27FC236}">
                <a16:creationId xmlns:a16="http://schemas.microsoft.com/office/drawing/2014/main" id="{6EB26C28-3E78-4D01-80C1-F4588E395055}"/>
              </a:ext>
            </a:extLst>
          </p:cNvPr>
          <p:cNvGrpSpPr/>
          <p:nvPr/>
        </p:nvGrpSpPr>
        <p:grpSpPr>
          <a:xfrm>
            <a:off x="5992936" y="1506318"/>
            <a:ext cx="5805947" cy="4570368"/>
            <a:chOff x="5967242" y="1450732"/>
            <a:chExt cx="5805947" cy="4570368"/>
          </a:xfrm>
        </p:grpSpPr>
        <p:sp>
          <p:nvSpPr>
            <p:cNvPr id="19" name="Freeform: Shape 18">
              <a:extLst>
                <a:ext uri="{FF2B5EF4-FFF2-40B4-BE49-F238E27FC236}">
                  <a16:creationId xmlns:a16="http://schemas.microsoft.com/office/drawing/2014/main" id="{F0D861DB-7E07-4FCA-B097-B20A9FAF44AF}"/>
                </a:ext>
              </a:extLst>
            </p:cNvPr>
            <p:cNvSpPr/>
            <p:nvPr/>
          </p:nvSpPr>
          <p:spPr>
            <a:xfrm>
              <a:off x="5967242" y="1690497"/>
              <a:ext cx="862707" cy="613800"/>
            </a:xfrm>
            <a:custGeom>
              <a:avLst/>
              <a:gdLst>
                <a:gd name="connsiteX0" fmla="*/ 0 w 1702780"/>
                <a:gd name="connsiteY0" fmla="*/ 0 h 613800"/>
                <a:gd name="connsiteX1" fmla="*/ 1702780 w 1702780"/>
                <a:gd name="connsiteY1" fmla="*/ 0 h 613800"/>
                <a:gd name="connsiteX2" fmla="*/ 1702780 w 1702780"/>
                <a:gd name="connsiteY2" fmla="*/ 613800 h 613800"/>
                <a:gd name="connsiteX3" fmla="*/ 0 w 1702780"/>
                <a:gd name="connsiteY3" fmla="*/ 613800 h 613800"/>
                <a:gd name="connsiteX4" fmla="*/ 0 w 1702780"/>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2780" h="613800">
                  <a:moveTo>
                    <a:pt x="0" y="0"/>
                  </a:moveTo>
                  <a:lnTo>
                    <a:pt x="1702780" y="0"/>
                  </a:lnTo>
                  <a:lnTo>
                    <a:pt x="1702780" y="613800"/>
                  </a:lnTo>
                  <a:lnTo>
                    <a:pt x="0" y="613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marL="0" lvl="0" indent="0" algn="r" defTabSz="622300">
                <a:lnSpc>
                  <a:spcPct val="90000"/>
                </a:lnSpc>
                <a:spcBef>
                  <a:spcPct val="0"/>
                </a:spcBef>
                <a:spcAft>
                  <a:spcPct val="35000"/>
                </a:spcAft>
                <a:buNone/>
              </a:pPr>
              <a:r>
                <a:rPr lang="en-US" sz="1400" b="1" kern="1200">
                  <a:latin typeface="+mj-lt"/>
                </a:rPr>
                <a:t>Phase 1</a:t>
              </a:r>
              <a:endParaRPr lang="en-GB" sz="1400" b="1" kern="1200">
                <a:latin typeface="+mj-lt"/>
              </a:endParaRPr>
            </a:p>
          </p:txBody>
        </p:sp>
        <p:sp>
          <p:nvSpPr>
            <p:cNvPr id="20" name="Left Brace 19">
              <a:extLst>
                <a:ext uri="{FF2B5EF4-FFF2-40B4-BE49-F238E27FC236}">
                  <a16:creationId xmlns:a16="http://schemas.microsoft.com/office/drawing/2014/main" id="{6EE0D575-91E5-4F38-82BC-345ACA4B26C6}"/>
                </a:ext>
              </a:extLst>
            </p:cNvPr>
            <p:cNvSpPr/>
            <p:nvPr/>
          </p:nvSpPr>
          <p:spPr>
            <a:xfrm>
              <a:off x="6857705" y="1450732"/>
              <a:ext cx="147699" cy="1093331"/>
            </a:xfrm>
            <a:prstGeom prst="leftBrace">
              <a:avLst>
                <a:gd name="adj1" fmla="val 35000"/>
                <a:gd name="adj2" fmla="val 50000"/>
              </a:avLst>
            </a:prstGeom>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21" name="Freeform: Shape 20">
              <a:extLst>
                <a:ext uri="{FF2B5EF4-FFF2-40B4-BE49-F238E27FC236}">
                  <a16:creationId xmlns:a16="http://schemas.microsoft.com/office/drawing/2014/main" id="{A8C20BDB-1D2A-45E8-8A95-AED8050BA788}"/>
                </a:ext>
              </a:extLst>
            </p:cNvPr>
            <p:cNvSpPr/>
            <p:nvPr/>
          </p:nvSpPr>
          <p:spPr>
            <a:xfrm>
              <a:off x="7141628" y="1450732"/>
              <a:ext cx="4631561" cy="1093331"/>
            </a:xfrm>
            <a:custGeom>
              <a:avLst/>
              <a:gdLst>
                <a:gd name="connsiteX0" fmla="*/ 0 w 4631561"/>
                <a:gd name="connsiteY0" fmla="*/ 0 h 1093331"/>
                <a:gd name="connsiteX1" fmla="*/ 4631561 w 4631561"/>
                <a:gd name="connsiteY1" fmla="*/ 0 h 1093331"/>
                <a:gd name="connsiteX2" fmla="*/ 4631561 w 4631561"/>
                <a:gd name="connsiteY2" fmla="*/ 1093331 h 1093331"/>
                <a:gd name="connsiteX3" fmla="*/ 0 w 4631561"/>
                <a:gd name="connsiteY3" fmla="*/ 1093331 h 1093331"/>
                <a:gd name="connsiteX4" fmla="*/ 0 w 4631561"/>
                <a:gd name="connsiteY4" fmla="*/ 0 h 10933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31561" h="1093331">
                  <a:moveTo>
                    <a:pt x="0" y="0"/>
                  </a:moveTo>
                  <a:lnTo>
                    <a:pt x="4631561" y="0"/>
                  </a:lnTo>
                  <a:lnTo>
                    <a:pt x="4631561" y="1093331"/>
                  </a:lnTo>
                  <a:lnTo>
                    <a:pt x="0" y="1093331"/>
                  </a:lnTo>
                  <a:lnTo>
                    <a:pt x="0" y="0"/>
                  </a:lnTo>
                  <a:close/>
                </a:path>
              </a:pathLst>
            </a:custGeom>
            <a:solidFill>
              <a:schemeClr val="bg1"/>
            </a:solidFill>
            <a:effectLst>
              <a:outerShdw blurRad="63500" sx="102000" sy="102000" algn="ctr" rotWithShape="0">
                <a:prstClr val="black">
                  <a:alpha val="40000"/>
                </a:prst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3340" tIns="53340" rIns="53340" bIns="53340" numCol="1" spcCol="1270" anchor="ctr" anchorCtr="0">
              <a:noAutofit/>
            </a:bodyPr>
            <a:lstStyle/>
            <a:p>
              <a:pPr marL="171450" lvl="1" indent="-171450" algn="l" defTabSz="622300">
                <a:lnSpc>
                  <a:spcPct val="90000"/>
                </a:lnSpc>
                <a:spcBef>
                  <a:spcPct val="0"/>
                </a:spcBef>
                <a:spcAft>
                  <a:spcPct val="15000"/>
                </a:spcAft>
                <a:buFont typeface="Wingdings" panose="05000000000000000000" pitchFamily="2" charset="2"/>
                <a:buChar char="§"/>
              </a:pPr>
              <a:r>
                <a:rPr lang="en-US" sz="1200" kern="1200">
                  <a:solidFill>
                    <a:schemeClr val="tx1"/>
                  </a:solidFill>
                  <a:latin typeface="+mj-lt"/>
                  <a:cs typeface="Arial"/>
                </a:rPr>
                <a:t>Focus on Sponsor Site(Contribution Online, General Website and Online Reporting) &amp; Product Site(Stock, Product and Gro)</a:t>
              </a:r>
              <a:endParaRPr lang="en-GB" sz="1200" kern="1200">
                <a:solidFill>
                  <a:schemeClr val="tx1"/>
                </a:solidFill>
                <a:latin typeface="+mj-lt"/>
                <a:cs typeface="Arial"/>
              </a:endParaRPr>
            </a:p>
            <a:p>
              <a:pPr marL="171450" lvl="1" indent="-171450" defTabSz="622300">
                <a:lnSpc>
                  <a:spcPct val="90000"/>
                </a:lnSpc>
                <a:spcBef>
                  <a:spcPct val="0"/>
                </a:spcBef>
                <a:spcAft>
                  <a:spcPct val="15000"/>
                </a:spcAft>
                <a:buFont typeface="Wingdings" panose="05000000000000000000" pitchFamily="2" charset="2"/>
                <a:buChar char="§"/>
              </a:pPr>
              <a:r>
                <a:rPr lang="en-US" sz="1200" kern="1200">
                  <a:solidFill>
                    <a:schemeClr val="tx1"/>
                  </a:solidFill>
                  <a:latin typeface="+mj-lt"/>
                  <a:cs typeface="Arial"/>
                </a:rPr>
                <a:t>High Priority Business Functions with less dependency </a:t>
              </a:r>
              <a:r>
                <a:rPr lang="en-US" sz="1200">
                  <a:solidFill>
                    <a:schemeClr val="tx1"/>
                  </a:solidFill>
                  <a:latin typeface="+mj-lt"/>
                  <a:cs typeface="Arial"/>
                </a:rPr>
                <a:t>on </a:t>
              </a:r>
              <a:r>
                <a:rPr lang="en-US" sz="1200" kern="1200">
                  <a:solidFill>
                    <a:schemeClr val="tx1"/>
                  </a:solidFill>
                  <a:latin typeface="+mj-lt"/>
                  <a:cs typeface="Arial"/>
                </a:rPr>
                <a:t>data migration</a:t>
              </a:r>
            </a:p>
          </p:txBody>
        </p:sp>
        <p:sp>
          <p:nvSpPr>
            <p:cNvPr id="22" name="Freeform: Shape 21">
              <a:extLst>
                <a:ext uri="{FF2B5EF4-FFF2-40B4-BE49-F238E27FC236}">
                  <a16:creationId xmlns:a16="http://schemas.microsoft.com/office/drawing/2014/main" id="{4003590A-3F17-4D7B-A31A-257505103382}"/>
                </a:ext>
              </a:extLst>
            </p:cNvPr>
            <p:cNvSpPr/>
            <p:nvPr/>
          </p:nvSpPr>
          <p:spPr>
            <a:xfrm>
              <a:off x="5967242" y="2895429"/>
              <a:ext cx="862707" cy="613800"/>
            </a:xfrm>
            <a:custGeom>
              <a:avLst/>
              <a:gdLst>
                <a:gd name="connsiteX0" fmla="*/ 0 w 1702780"/>
                <a:gd name="connsiteY0" fmla="*/ 0 h 613800"/>
                <a:gd name="connsiteX1" fmla="*/ 1702780 w 1702780"/>
                <a:gd name="connsiteY1" fmla="*/ 0 h 613800"/>
                <a:gd name="connsiteX2" fmla="*/ 1702780 w 1702780"/>
                <a:gd name="connsiteY2" fmla="*/ 613800 h 613800"/>
                <a:gd name="connsiteX3" fmla="*/ 0 w 1702780"/>
                <a:gd name="connsiteY3" fmla="*/ 613800 h 613800"/>
                <a:gd name="connsiteX4" fmla="*/ 0 w 1702780"/>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2780" h="613800">
                  <a:moveTo>
                    <a:pt x="0" y="0"/>
                  </a:moveTo>
                  <a:lnTo>
                    <a:pt x="1702780" y="0"/>
                  </a:lnTo>
                  <a:lnTo>
                    <a:pt x="1702780" y="613800"/>
                  </a:lnTo>
                  <a:lnTo>
                    <a:pt x="0" y="613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marL="0" lvl="0" indent="0" algn="r" defTabSz="622300">
                <a:lnSpc>
                  <a:spcPct val="90000"/>
                </a:lnSpc>
                <a:spcBef>
                  <a:spcPct val="0"/>
                </a:spcBef>
                <a:spcAft>
                  <a:spcPct val="35000"/>
                </a:spcAft>
                <a:buNone/>
              </a:pPr>
              <a:r>
                <a:rPr lang="en-US" sz="1400" b="1" kern="1200">
                  <a:latin typeface="+mj-lt"/>
                </a:rPr>
                <a:t>Phase 2</a:t>
              </a:r>
              <a:endParaRPr lang="en-GB" sz="1400" b="1" kern="1200">
                <a:latin typeface="+mj-lt"/>
              </a:endParaRPr>
            </a:p>
          </p:txBody>
        </p:sp>
        <p:sp>
          <p:nvSpPr>
            <p:cNvPr id="23" name="Left Brace 22">
              <a:extLst>
                <a:ext uri="{FF2B5EF4-FFF2-40B4-BE49-F238E27FC236}">
                  <a16:creationId xmlns:a16="http://schemas.microsoft.com/office/drawing/2014/main" id="{8AA0F6DB-D2E8-4009-B6D2-D8C377A35BC6}"/>
                </a:ext>
              </a:extLst>
            </p:cNvPr>
            <p:cNvSpPr/>
            <p:nvPr/>
          </p:nvSpPr>
          <p:spPr>
            <a:xfrm>
              <a:off x="6857705" y="2655663"/>
              <a:ext cx="147699" cy="1093331"/>
            </a:xfrm>
            <a:prstGeom prst="leftBrace">
              <a:avLst>
                <a:gd name="adj1" fmla="val 35000"/>
                <a:gd name="adj2" fmla="val 50000"/>
              </a:avLst>
            </a:prstGeom>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24" name="Freeform: Shape 23">
              <a:extLst>
                <a:ext uri="{FF2B5EF4-FFF2-40B4-BE49-F238E27FC236}">
                  <a16:creationId xmlns:a16="http://schemas.microsoft.com/office/drawing/2014/main" id="{C9F3324C-19CE-496F-BBBC-0FCB0061632D}"/>
                </a:ext>
              </a:extLst>
            </p:cNvPr>
            <p:cNvSpPr/>
            <p:nvPr/>
          </p:nvSpPr>
          <p:spPr>
            <a:xfrm>
              <a:off x="7141628" y="2655663"/>
              <a:ext cx="4631561" cy="1093331"/>
            </a:xfrm>
            <a:custGeom>
              <a:avLst/>
              <a:gdLst>
                <a:gd name="connsiteX0" fmla="*/ 0 w 4631561"/>
                <a:gd name="connsiteY0" fmla="*/ 0 h 1093331"/>
                <a:gd name="connsiteX1" fmla="*/ 4631561 w 4631561"/>
                <a:gd name="connsiteY1" fmla="*/ 0 h 1093331"/>
                <a:gd name="connsiteX2" fmla="*/ 4631561 w 4631561"/>
                <a:gd name="connsiteY2" fmla="*/ 1093331 h 1093331"/>
                <a:gd name="connsiteX3" fmla="*/ 0 w 4631561"/>
                <a:gd name="connsiteY3" fmla="*/ 1093331 h 1093331"/>
                <a:gd name="connsiteX4" fmla="*/ 0 w 4631561"/>
                <a:gd name="connsiteY4" fmla="*/ 0 h 10933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31561" h="1093331">
                  <a:moveTo>
                    <a:pt x="0" y="0"/>
                  </a:moveTo>
                  <a:lnTo>
                    <a:pt x="4631561" y="0"/>
                  </a:lnTo>
                  <a:lnTo>
                    <a:pt x="4631561" y="1093331"/>
                  </a:lnTo>
                  <a:lnTo>
                    <a:pt x="0" y="1093331"/>
                  </a:lnTo>
                  <a:lnTo>
                    <a:pt x="0" y="0"/>
                  </a:lnTo>
                  <a:close/>
                </a:path>
              </a:pathLst>
            </a:custGeom>
            <a:solidFill>
              <a:schemeClr val="bg1"/>
            </a:solidFill>
            <a:effectLst>
              <a:outerShdw blurRad="63500" sx="102000" sy="102000" algn="ctr" rotWithShape="0">
                <a:prstClr val="black">
                  <a:alpha val="40000"/>
                </a:prst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3340" tIns="53340" rIns="53340" bIns="53340" numCol="1" spcCol="1270" anchor="ctr" anchorCtr="0">
              <a:noAutofit/>
            </a:bodyPr>
            <a:lstStyle/>
            <a:p>
              <a:pPr marL="171450" lvl="1" indent="-171450" algn="l" defTabSz="622300">
                <a:lnSpc>
                  <a:spcPct val="90000"/>
                </a:lnSpc>
                <a:spcBef>
                  <a:spcPct val="0"/>
                </a:spcBef>
                <a:spcAft>
                  <a:spcPct val="15000"/>
                </a:spcAft>
                <a:buFont typeface="Wingdings" panose="05000000000000000000" pitchFamily="2" charset="2"/>
                <a:buChar char="§"/>
              </a:pPr>
              <a:r>
                <a:rPr lang="en-US" sz="1200" kern="1200">
                  <a:solidFill>
                    <a:schemeClr val="tx1"/>
                  </a:solidFill>
                  <a:latin typeface="+mj-lt"/>
                  <a:cs typeface="Arial" panose="020B0604020202020204" pitchFamily="34" charset="0"/>
                </a:rPr>
                <a:t>Focus on Sponsor Site(General Website, Analytics and Investment Information) &amp; Advisor Site(Reporting and Sales)</a:t>
              </a:r>
              <a:endParaRPr lang="en-GB" sz="1200" kern="1200">
                <a:solidFill>
                  <a:schemeClr val="tx1"/>
                </a:solidFill>
                <a:latin typeface="+mj-lt"/>
              </a:endParaRPr>
            </a:p>
            <a:p>
              <a:pPr marL="171450" lvl="1" indent="-171450" algn="l" defTabSz="622300">
                <a:lnSpc>
                  <a:spcPct val="90000"/>
                </a:lnSpc>
                <a:spcBef>
                  <a:spcPct val="0"/>
                </a:spcBef>
                <a:spcAft>
                  <a:spcPct val="15000"/>
                </a:spcAft>
                <a:buFont typeface="Wingdings" panose="05000000000000000000" pitchFamily="2" charset="2"/>
                <a:buChar char="§"/>
              </a:pPr>
              <a:r>
                <a:rPr lang="en-US" sz="1200" kern="1200">
                  <a:solidFill>
                    <a:schemeClr val="tx1"/>
                  </a:solidFill>
                  <a:latin typeface="+mj-lt"/>
                  <a:cs typeface="Arial" panose="020B0604020202020204" pitchFamily="34" charset="0"/>
                </a:rPr>
                <a:t>Next Level High Priority Business Functions with data migration dependency</a:t>
              </a:r>
            </a:p>
          </p:txBody>
        </p:sp>
        <p:sp>
          <p:nvSpPr>
            <p:cNvPr id="25" name="Freeform: Shape 24">
              <a:extLst>
                <a:ext uri="{FF2B5EF4-FFF2-40B4-BE49-F238E27FC236}">
                  <a16:creationId xmlns:a16="http://schemas.microsoft.com/office/drawing/2014/main" id="{EF837052-138B-400E-9AD6-9CF65542796C}"/>
                </a:ext>
              </a:extLst>
            </p:cNvPr>
            <p:cNvSpPr/>
            <p:nvPr/>
          </p:nvSpPr>
          <p:spPr>
            <a:xfrm>
              <a:off x="5967242" y="3908547"/>
              <a:ext cx="862707" cy="613800"/>
            </a:xfrm>
            <a:custGeom>
              <a:avLst/>
              <a:gdLst>
                <a:gd name="connsiteX0" fmla="*/ 0 w 1702780"/>
                <a:gd name="connsiteY0" fmla="*/ 0 h 613800"/>
                <a:gd name="connsiteX1" fmla="*/ 1702780 w 1702780"/>
                <a:gd name="connsiteY1" fmla="*/ 0 h 613800"/>
                <a:gd name="connsiteX2" fmla="*/ 1702780 w 1702780"/>
                <a:gd name="connsiteY2" fmla="*/ 613800 h 613800"/>
                <a:gd name="connsiteX3" fmla="*/ 0 w 1702780"/>
                <a:gd name="connsiteY3" fmla="*/ 613800 h 613800"/>
                <a:gd name="connsiteX4" fmla="*/ 0 w 1702780"/>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2780" h="613800">
                  <a:moveTo>
                    <a:pt x="0" y="0"/>
                  </a:moveTo>
                  <a:lnTo>
                    <a:pt x="1702780" y="0"/>
                  </a:lnTo>
                  <a:lnTo>
                    <a:pt x="1702780" y="613800"/>
                  </a:lnTo>
                  <a:lnTo>
                    <a:pt x="0" y="613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marL="0" lvl="0" indent="0" algn="r" defTabSz="622300">
                <a:lnSpc>
                  <a:spcPct val="90000"/>
                </a:lnSpc>
                <a:spcBef>
                  <a:spcPct val="0"/>
                </a:spcBef>
                <a:spcAft>
                  <a:spcPct val="35000"/>
                </a:spcAft>
                <a:buNone/>
              </a:pPr>
              <a:r>
                <a:rPr lang="en-US" sz="1400" kern="1200">
                  <a:latin typeface="+mj-lt"/>
                  <a:cs typeface="Arial" panose="020B0604020202020204" pitchFamily="34" charset="0"/>
                </a:rPr>
                <a:t>Phase 3</a:t>
              </a:r>
            </a:p>
          </p:txBody>
        </p:sp>
        <p:sp>
          <p:nvSpPr>
            <p:cNvPr id="26" name="Left Brace 25">
              <a:extLst>
                <a:ext uri="{FF2B5EF4-FFF2-40B4-BE49-F238E27FC236}">
                  <a16:creationId xmlns:a16="http://schemas.microsoft.com/office/drawing/2014/main" id="{B8449E37-0CDF-45EE-BBA2-C998B00DFC83}"/>
                </a:ext>
              </a:extLst>
            </p:cNvPr>
            <p:cNvSpPr/>
            <p:nvPr/>
          </p:nvSpPr>
          <p:spPr>
            <a:xfrm>
              <a:off x="6857705" y="3860594"/>
              <a:ext cx="147699" cy="709706"/>
            </a:xfrm>
            <a:prstGeom prst="leftBrace">
              <a:avLst>
                <a:gd name="adj1" fmla="val 35000"/>
                <a:gd name="adj2" fmla="val 50000"/>
              </a:avLst>
            </a:prstGeom>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27" name="Freeform: Shape 26">
              <a:extLst>
                <a:ext uri="{FF2B5EF4-FFF2-40B4-BE49-F238E27FC236}">
                  <a16:creationId xmlns:a16="http://schemas.microsoft.com/office/drawing/2014/main" id="{D8D77F99-AAFB-4F87-8411-B79294598303}"/>
                </a:ext>
              </a:extLst>
            </p:cNvPr>
            <p:cNvSpPr/>
            <p:nvPr/>
          </p:nvSpPr>
          <p:spPr>
            <a:xfrm>
              <a:off x="7141628" y="3860594"/>
              <a:ext cx="4631561" cy="709706"/>
            </a:xfrm>
            <a:custGeom>
              <a:avLst/>
              <a:gdLst>
                <a:gd name="connsiteX0" fmla="*/ 0 w 4631561"/>
                <a:gd name="connsiteY0" fmla="*/ 0 h 709706"/>
                <a:gd name="connsiteX1" fmla="*/ 4631561 w 4631561"/>
                <a:gd name="connsiteY1" fmla="*/ 0 h 709706"/>
                <a:gd name="connsiteX2" fmla="*/ 4631561 w 4631561"/>
                <a:gd name="connsiteY2" fmla="*/ 709706 h 709706"/>
                <a:gd name="connsiteX3" fmla="*/ 0 w 4631561"/>
                <a:gd name="connsiteY3" fmla="*/ 709706 h 709706"/>
                <a:gd name="connsiteX4" fmla="*/ 0 w 4631561"/>
                <a:gd name="connsiteY4" fmla="*/ 0 h 7097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31561" h="709706">
                  <a:moveTo>
                    <a:pt x="0" y="0"/>
                  </a:moveTo>
                  <a:lnTo>
                    <a:pt x="4631561" y="0"/>
                  </a:lnTo>
                  <a:lnTo>
                    <a:pt x="4631561" y="709706"/>
                  </a:lnTo>
                  <a:lnTo>
                    <a:pt x="0" y="709706"/>
                  </a:lnTo>
                  <a:lnTo>
                    <a:pt x="0" y="0"/>
                  </a:lnTo>
                  <a:close/>
                </a:path>
              </a:pathLst>
            </a:custGeom>
            <a:solidFill>
              <a:schemeClr val="bg1"/>
            </a:solidFill>
            <a:effectLst>
              <a:outerShdw blurRad="63500" sx="102000" sy="102000" algn="ctr" rotWithShape="0">
                <a:prstClr val="black">
                  <a:alpha val="40000"/>
                </a:prst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3340" tIns="53340" rIns="53340" bIns="53340" numCol="1" spcCol="1270" anchor="ctr" anchorCtr="0">
              <a:noAutofit/>
            </a:bodyPr>
            <a:lstStyle/>
            <a:p>
              <a:pPr marL="171450" lvl="1" indent="-171450" algn="l" defTabSz="622300">
                <a:lnSpc>
                  <a:spcPct val="90000"/>
                </a:lnSpc>
                <a:spcBef>
                  <a:spcPct val="0"/>
                </a:spcBef>
                <a:spcAft>
                  <a:spcPct val="15000"/>
                </a:spcAft>
                <a:buFont typeface="Wingdings" panose="05000000000000000000" pitchFamily="2" charset="2"/>
                <a:buChar char="§"/>
              </a:pPr>
              <a:r>
                <a:rPr lang="en-US" sz="1200" kern="1200">
                  <a:solidFill>
                    <a:schemeClr val="tx1"/>
                  </a:solidFill>
                  <a:latin typeface="+mj-lt"/>
                  <a:cs typeface="Arial" panose="020B0604020202020204" pitchFamily="34" charset="0"/>
                </a:rPr>
                <a:t>Focus on Sponsor Site Reporting Functionality(Online Reporting)</a:t>
              </a:r>
            </a:p>
            <a:p>
              <a:pPr marL="171450" lvl="1" indent="-171450" algn="l" defTabSz="622300">
                <a:lnSpc>
                  <a:spcPct val="90000"/>
                </a:lnSpc>
                <a:spcBef>
                  <a:spcPct val="0"/>
                </a:spcBef>
                <a:spcAft>
                  <a:spcPct val="15000"/>
                </a:spcAft>
                <a:buFont typeface="Wingdings" panose="05000000000000000000" pitchFamily="2" charset="2"/>
                <a:buChar char="§"/>
              </a:pPr>
              <a:r>
                <a:rPr lang="en-US" sz="1200" kern="1200">
                  <a:solidFill>
                    <a:schemeClr val="tx1"/>
                  </a:solidFill>
                  <a:latin typeface="+mj-lt"/>
                  <a:cs typeface="Arial" panose="020B0604020202020204" pitchFamily="34" charset="0"/>
                </a:rPr>
                <a:t>Next level Priority Business Functions</a:t>
              </a:r>
            </a:p>
          </p:txBody>
        </p:sp>
        <p:sp>
          <p:nvSpPr>
            <p:cNvPr id="28" name="Freeform: Shape 27">
              <a:extLst>
                <a:ext uri="{FF2B5EF4-FFF2-40B4-BE49-F238E27FC236}">
                  <a16:creationId xmlns:a16="http://schemas.microsoft.com/office/drawing/2014/main" id="{6D12C65C-90F8-488D-85CD-4EC72D58D4D4}"/>
                </a:ext>
              </a:extLst>
            </p:cNvPr>
            <p:cNvSpPr/>
            <p:nvPr/>
          </p:nvSpPr>
          <p:spPr>
            <a:xfrm>
              <a:off x="5967242" y="4681900"/>
              <a:ext cx="862707" cy="613800"/>
            </a:xfrm>
            <a:custGeom>
              <a:avLst/>
              <a:gdLst>
                <a:gd name="connsiteX0" fmla="*/ 0 w 1702780"/>
                <a:gd name="connsiteY0" fmla="*/ 0 h 613800"/>
                <a:gd name="connsiteX1" fmla="*/ 1702780 w 1702780"/>
                <a:gd name="connsiteY1" fmla="*/ 0 h 613800"/>
                <a:gd name="connsiteX2" fmla="*/ 1702780 w 1702780"/>
                <a:gd name="connsiteY2" fmla="*/ 613800 h 613800"/>
                <a:gd name="connsiteX3" fmla="*/ 0 w 1702780"/>
                <a:gd name="connsiteY3" fmla="*/ 613800 h 613800"/>
                <a:gd name="connsiteX4" fmla="*/ 0 w 1702780"/>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2780" h="613800">
                  <a:moveTo>
                    <a:pt x="0" y="0"/>
                  </a:moveTo>
                  <a:lnTo>
                    <a:pt x="1702780" y="0"/>
                  </a:lnTo>
                  <a:lnTo>
                    <a:pt x="1702780" y="613800"/>
                  </a:lnTo>
                  <a:lnTo>
                    <a:pt x="0" y="613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marL="0" lvl="0" indent="0" algn="r" defTabSz="622300">
                <a:lnSpc>
                  <a:spcPct val="90000"/>
                </a:lnSpc>
                <a:spcBef>
                  <a:spcPct val="0"/>
                </a:spcBef>
                <a:spcAft>
                  <a:spcPct val="35000"/>
                </a:spcAft>
                <a:buNone/>
              </a:pPr>
              <a:r>
                <a:rPr lang="en-US" sz="1400" kern="1200">
                  <a:latin typeface="+mj-lt"/>
                  <a:cs typeface="Arial" panose="020B0604020202020204" pitchFamily="34" charset="0"/>
                </a:rPr>
                <a:t>Phase 4</a:t>
              </a:r>
            </a:p>
          </p:txBody>
        </p:sp>
        <p:sp>
          <p:nvSpPr>
            <p:cNvPr id="29" name="Left Brace 28">
              <a:extLst>
                <a:ext uri="{FF2B5EF4-FFF2-40B4-BE49-F238E27FC236}">
                  <a16:creationId xmlns:a16="http://schemas.microsoft.com/office/drawing/2014/main" id="{CD586FA0-0112-4F9E-A466-EFCCE3D5F747}"/>
                </a:ext>
              </a:extLst>
            </p:cNvPr>
            <p:cNvSpPr/>
            <p:nvPr/>
          </p:nvSpPr>
          <p:spPr>
            <a:xfrm>
              <a:off x="6857705" y="4681900"/>
              <a:ext cx="147699" cy="613800"/>
            </a:xfrm>
            <a:prstGeom prst="leftBrace">
              <a:avLst>
                <a:gd name="adj1" fmla="val 35000"/>
                <a:gd name="adj2" fmla="val 50000"/>
              </a:avLst>
            </a:prstGeom>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30" name="Freeform: Shape 29">
              <a:extLst>
                <a:ext uri="{FF2B5EF4-FFF2-40B4-BE49-F238E27FC236}">
                  <a16:creationId xmlns:a16="http://schemas.microsoft.com/office/drawing/2014/main" id="{F71B3596-A00A-4A20-845E-EC078C11958C}"/>
                </a:ext>
              </a:extLst>
            </p:cNvPr>
            <p:cNvSpPr/>
            <p:nvPr/>
          </p:nvSpPr>
          <p:spPr>
            <a:xfrm>
              <a:off x="7141628" y="4681900"/>
              <a:ext cx="4631561" cy="613800"/>
            </a:xfrm>
            <a:custGeom>
              <a:avLst/>
              <a:gdLst>
                <a:gd name="connsiteX0" fmla="*/ 0 w 4631561"/>
                <a:gd name="connsiteY0" fmla="*/ 0 h 613800"/>
                <a:gd name="connsiteX1" fmla="*/ 4631561 w 4631561"/>
                <a:gd name="connsiteY1" fmla="*/ 0 h 613800"/>
                <a:gd name="connsiteX2" fmla="*/ 4631561 w 4631561"/>
                <a:gd name="connsiteY2" fmla="*/ 613800 h 613800"/>
                <a:gd name="connsiteX3" fmla="*/ 0 w 4631561"/>
                <a:gd name="connsiteY3" fmla="*/ 613800 h 613800"/>
                <a:gd name="connsiteX4" fmla="*/ 0 w 4631561"/>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31561" h="613800">
                  <a:moveTo>
                    <a:pt x="0" y="0"/>
                  </a:moveTo>
                  <a:lnTo>
                    <a:pt x="4631561" y="0"/>
                  </a:lnTo>
                  <a:lnTo>
                    <a:pt x="4631561" y="613800"/>
                  </a:lnTo>
                  <a:lnTo>
                    <a:pt x="0" y="613800"/>
                  </a:lnTo>
                  <a:lnTo>
                    <a:pt x="0" y="0"/>
                  </a:lnTo>
                  <a:close/>
                </a:path>
              </a:pathLst>
            </a:custGeom>
            <a:solidFill>
              <a:schemeClr val="bg1"/>
            </a:solidFill>
            <a:effectLst>
              <a:outerShdw blurRad="63500" sx="102000" sy="102000" algn="ctr" rotWithShape="0">
                <a:prstClr val="black">
                  <a:alpha val="40000"/>
                </a:prst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3340" tIns="53340" rIns="53340" bIns="53340" numCol="1" spcCol="1270" anchor="ctr" anchorCtr="0">
              <a:noAutofit/>
            </a:bodyPr>
            <a:lstStyle/>
            <a:p>
              <a:pPr marL="171450" lvl="1" indent="-171450" algn="l" defTabSz="622300">
                <a:lnSpc>
                  <a:spcPct val="90000"/>
                </a:lnSpc>
                <a:spcBef>
                  <a:spcPct val="0"/>
                </a:spcBef>
                <a:spcAft>
                  <a:spcPct val="15000"/>
                </a:spcAft>
                <a:buFont typeface="Wingdings" panose="05000000000000000000" pitchFamily="2" charset="2"/>
                <a:buChar char="§"/>
              </a:pPr>
              <a:r>
                <a:rPr lang="en-US" sz="1200" kern="1200">
                  <a:solidFill>
                    <a:schemeClr val="tx1"/>
                  </a:solidFill>
                  <a:latin typeface="+mj-lt"/>
                  <a:cs typeface="Arial" panose="020B0604020202020204" pitchFamily="34" charset="0"/>
                </a:rPr>
                <a:t>Next Level Low Priority Business Functions</a:t>
              </a:r>
            </a:p>
            <a:p>
              <a:pPr marL="171450" lvl="1" indent="-171450" algn="l" defTabSz="622300">
                <a:lnSpc>
                  <a:spcPct val="90000"/>
                </a:lnSpc>
                <a:spcBef>
                  <a:spcPct val="0"/>
                </a:spcBef>
                <a:spcAft>
                  <a:spcPct val="15000"/>
                </a:spcAft>
                <a:buFont typeface="Wingdings" panose="05000000000000000000" pitchFamily="2" charset="2"/>
                <a:buChar char="§"/>
              </a:pPr>
              <a:r>
                <a:rPr lang="en-US" sz="1200" kern="1200">
                  <a:solidFill>
                    <a:schemeClr val="tx1"/>
                  </a:solidFill>
                  <a:latin typeface="+mj-lt"/>
                  <a:cs typeface="Arial" panose="020B0604020202020204" pitchFamily="34" charset="0"/>
                </a:rPr>
                <a:t>General Functionality that are independent</a:t>
              </a:r>
            </a:p>
          </p:txBody>
        </p:sp>
        <p:sp>
          <p:nvSpPr>
            <p:cNvPr id="31" name="Freeform: Shape 30">
              <a:extLst>
                <a:ext uri="{FF2B5EF4-FFF2-40B4-BE49-F238E27FC236}">
                  <a16:creationId xmlns:a16="http://schemas.microsoft.com/office/drawing/2014/main" id="{A753BF14-ACDB-473A-94E9-1A2AB843C4A1}"/>
                </a:ext>
              </a:extLst>
            </p:cNvPr>
            <p:cNvSpPr/>
            <p:nvPr/>
          </p:nvSpPr>
          <p:spPr>
            <a:xfrm>
              <a:off x="5967242" y="5407300"/>
              <a:ext cx="862707" cy="613800"/>
            </a:xfrm>
            <a:custGeom>
              <a:avLst/>
              <a:gdLst>
                <a:gd name="connsiteX0" fmla="*/ 0 w 1702780"/>
                <a:gd name="connsiteY0" fmla="*/ 0 h 613800"/>
                <a:gd name="connsiteX1" fmla="*/ 1702780 w 1702780"/>
                <a:gd name="connsiteY1" fmla="*/ 0 h 613800"/>
                <a:gd name="connsiteX2" fmla="*/ 1702780 w 1702780"/>
                <a:gd name="connsiteY2" fmla="*/ 613800 h 613800"/>
                <a:gd name="connsiteX3" fmla="*/ 0 w 1702780"/>
                <a:gd name="connsiteY3" fmla="*/ 613800 h 613800"/>
                <a:gd name="connsiteX4" fmla="*/ 0 w 1702780"/>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2780" h="613800">
                  <a:moveTo>
                    <a:pt x="0" y="0"/>
                  </a:moveTo>
                  <a:lnTo>
                    <a:pt x="1702780" y="0"/>
                  </a:lnTo>
                  <a:lnTo>
                    <a:pt x="1702780" y="613800"/>
                  </a:lnTo>
                  <a:lnTo>
                    <a:pt x="0" y="613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9568" tIns="35560" rIns="99568" bIns="35560" numCol="1" spcCol="1270" anchor="ctr" anchorCtr="0">
              <a:noAutofit/>
            </a:bodyPr>
            <a:lstStyle/>
            <a:p>
              <a:pPr marL="0" lvl="0" indent="0" algn="r" defTabSz="622300">
                <a:lnSpc>
                  <a:spcPct val="90000"/>
                </a:lnSpc>
                <a:spcBef>
                  <a:spcPct val="0"/>
                </a:spcBef>
                <a:spcAft>
                  <a:spcPct val="35000"/>
                </a:spcAft>
                <a:buNone/>
              </a:pPr>
              <a:r>
                <a:rPr lang="en-US" sz="1400" kern="1200">
                  <a:latin typeface="+mj-lt"/>
                  <a:cs typeface="Arial" panose="020B0604020202020204" pitchFamily="34" charset="0"/>
                </a:rPr>
                <a:t>Phase 5</a:t>
              </a:r>
            </a:p>
          </p:txBody>
        </p:sp>
        <p:sp>
          <p:nvSpPr>
            <p:cNvPr id="32" name="Left Brace 31">
              <a:extLst>
                <a:ext uri="{FF2B5EF4-FFF2-40B4-BE49-F238E27FC236}">
                  <a16:creationId xmlns:a16="http://schemas.microsoft.com/office/drawing/2014/main" id="{546D304C-60FD-4373-85E9-AF22BA49DD3E}"/>
                </a:ext>
              </a:extLst>
            </p:cNvPr>
            <p:cNvSpPr/>
            <p:nvPr/>
          </p:nvSpPr>
          <p:spPr>
            <a:xfrm>
              <a:off x="6857705" y="5407300"/>
              <a:ext cx="147699" cy="613800"/>
            </a:xfrm>
            <a:prstGeom prst="leftBrace">
              <a:avLst>
                <a:gd name="adj1" fmla="val 35000"/>
                <a:gd name="adj2" fmla="val 50000"/>
              </a:avLst>
            </a:prstGeom>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33" name="Freeform: Shape 32">
              <a:extLst>
                <a:ext uri="{FF2B5EF4-FFF2-40B4-BE49-F238E27FC236}">
                  <a16:creationId xmlns:a16="http://schemas.microsoft.com/office/drawing/2014/main" id="{6BFCF277-D113-44CF-B59D-D1F9D4179864}"/>
                </a:ext>
              </a:extLst>
            </p:cNvPr>
            <p:cNvSpPr/>
            <p:nvPr/>
          </p:nvSpPr>
          <p:spPr>
            <a:xfrm>
              <a:off x="7141628" y="5407300"/>
              <a:ext cx="4631561" cy="613800"/>
            </a:xfrm>
            <a:custGeom>
              <a:avLst/>
              <a:gdLst>
                <a:gd name="connsiteX0" fmla="*/ 0 w 4631561"/>
                <a:gd name="connsiteY0" fmla="*/ 0 h 613800"/>
                <a:gd name="connsiteX1" fmla="*/ 4631561 w 4631561"/>
                <a:gd name="connsiteY1" fmla="*/ 0 h 613800"/>
                <a:gd name="connsiteX2" fmla="*/ 4631561 w 4631561"/>
                <a:gd name="connsiteY2" fmla="*/ 613800 h 613800"/>
                <a:gd name="connsiteX3" fmla="*/ 0 w 4631561"/>
                <a:gd name="connsiteY3" fmla="*/ 613800 h 613800"/>
                <a:gd name="connsiteX4" fmla="*/ 0 w 4631561"/>
                <a:gd name="connsiteY4" fmla="*/ 0 h 61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31561" h="613800">
                  <a:moveTo>
                    <a:pt x="0" y="0"/>
                  </a:moveTo>
                  <a:lnTo>
                    <a:pt x="4631561" y="0"/>
                  </a:lnTo>
                  <a:lnTo>
                    <a:pt x="4631561" y="613800"/>
                  </a:lnTo>
                  <a:lnTo>
                    <a:pt x="0" y="613800"/>
                  </a:lnTo>
                  <a:lnTo>
                    <a:pt x="0" y="0"/>
                  </a:lnTo>
                  <a:close/>
                </a:path>
              </a:pathLst>
            </a:custGeom>
            <a:solidFill>
              <a:schemeClr val="bg1"/>
            </a:solidFill>
            <a:effectLst>
              <a:outerShdw blurRad="63500" sx="102000" sy="102000" algn="ctr" rotWithShape="0">
                <a:prstClr val="black">
                  <a:alpha val="40000"/>
                </a:prst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3340" tIns="53340" rIns="53340" bIns="53340" numCol="1" spcCol="1270" anchor="ctr" anchorCtr="0">
              <a:noAutofit/>
            </a:bodyPr>
            <a:lstStyle/>
            <a:p>
              <a:pPr marL="171450" lvl="1" indent="-171450" defTabSz="622300">
                <a:lnSpc>
                  <a:spcPct val="90000"/>
                </a:lnSpc>
                <a:spcBef>
                  <a:spcPct val="0"/>
                </a:spcBef>
                <a:spcAft>
                  <a:spcPct val="15000"/>
                </a:spcAft>
                <a:buFont typeface="Wingdings" panose="05000000000000000000" pitchFamily="2" charset="2"/>
                <a:buChar char="§"/>
              </a:pPr>
              <a:r>
                <a:rPr lang="en-US" sz="1200" kern="1200">
                  <a:solidFill>
                    <a:schemeClr val="tx1"/>
                  </a:solidFill>
                  <a:latin typeface="+mj-lt"/>
                  <a:cs typeface="Arial"/>
                </a:rPr>
                <a:t>Customization to Large Clients</a:t>
              </a:r>
              <a:r>
                <a:rPr lang="en-US" sz="1200">
                  <a:solidFill>
                    <a:schemeClr val="tx1"/>
                  </a:solidFill>
                  <a:latin typeface="+mj-lt"/>
                  <a:cs typeface="Arial"/>
                </a:rPr>
                <a:t>: </a:t>
              </a:r>
              <a:r>
                <a:rPr lang="en-US" sz="1200">
                  <a:solidFill>
                    <a:schemeClr val="tx1"/>
                  </a:solidFill>
                  <a:ea typeface="+mn-lt"/>
                  <a:cs typeface="+mn-lt"/>
                </a:rPr>
                <a:t>This includes customizations for the top 25 clients from SLX</a:t>
              </a:r>
              <a:endParaRPr lang="en-US" sz="1200" kern="1200">
                <a:solidFill>
                  <a:schemeClr val="tx1"/>
                </a:solidFill>
                <a:latin typeface="+mj-lt"/>
                <a:cs typeface="Arial" panose="020B0604020202020204" pitchFamily="34" charset="0"/>
              </a:endParaRPr>
            </a:p>
          </p:txBody>
        </p:sp>
      </p:grpSp>
    </p:spTree>
    <p:extLst>
      <p:ext uri="{BB962C8B-B14F-4D97-AF65-F5344CB8AC3E}">
        <p14:creationId xmlns:p14="http://schemas.microsoft.com/office/powerpoint/2010/main" val="11612252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F5EBD3A-1450-47DE-A801-7389136A21A6}"/>
              </a:ext>
            </a:extLst>
          </p:cNvPr>
          <p:cNvSpPr>
            <a:spLocks noGrp="1"/>
          </p:cNvSpPr>
          <p:nvPr>
            <p:ph type="title"/>
          </p:nvPr>
        </p:nvSpPr>
        <p:spPr/>
        <p:txBody>
          <a:bodyPr/>
          <a:lstStyle/>
          <a:p>
            <a:r>
              <a:rPr lang="en-US"/>
              <a:t>Agenda</a:t>
            </a:r>
            <a:endParaRPr lang="en-GB"/>
          </a:p>
        </p:txBody>
      </p:sp>
      <p:sp>
        <p:nvSpPr>
          <p:cNvPr id="5" name="Text Placeholder 4">
            <a:extLst>
              <a:ext uri="{FF2B5EF4-FFF2-40B4-BE49-F238E27FC236}">
                <a16:creationId xmlns:a16="http://schemas.microsoft.com/office/drawing/2014/main" id="{D658C753-E65F-441C-B7FA-E04284A6A67C}"/>
              </a:ext>
            </a:extLst>
          </p:cNvPr>
          <p:cNvSpPr>
            <a:spLocks noGrp="1"/>
          </p:cNvSpPr>
          <p:nvPr>
            <p:ph type="body" sz="quarter" idx="10"/>
          </p:nvPr>
        </p:nvSpPr>
        <p:spPr/>
        <p:txBody>
          <a:bodyPr/>
          <a:lstStyle/>
          <a:p>
            <a:r>
              <a:rPr lang="en-US" sz="2000" b="1"/>
              <a:t>Solution Summary &amp; </a:t>
            </a:r>
          </a:p>
          <a:p>
            <a:r>
              <a:rPr lang="en-US" sz="2000" b="1"/>
              <a:t>Atos Value Proposition</a:t>
            </a:r>
          </a:p>
          <a:p>
            <a:endParaRPr lang="en-GB" sz="2000"/>
          </a:p>
        </p:txBody>
      </p:sp>
      <p:sp>
        <p:nvSpPr>
          <p:cNvPr id="6" name="Text Placeholder 5">
            <a:extLst>
              <a:ext uri="{FF2B5EF4-FFF2-40B4-BE49-F238E27FC236}">
                <a16:creationId xmlns:a16="http://schemas.microsoft.com/office/drawing/2014/main" id="{66D48B07-C36E-44E4-803C-BBC6F1ADA540}"/>
              </a:ext>
            </a:extLst>
          </p:cNvPr>
          <p:cNvSpPr>
            <a:spLocks noGrp="1"/>
          </p:cNvSpPr>
          <p:nvPr>
            <p:ph type="body" sz="quarter" idx="11"/>
          </p:nvPr>
        </p:nvSpPr>
        <p:spPr>
          <a:xfrm>
            <a:off x="1316248" y="2538982"/>
            <a:ext cx="4511040" cy="278056"/>
          </a:xfrm>
        </p:spPr>
        <p:txBody>
          <a:bodyPr/>
          <a:lstStyle/>
          <a:p>
            <a:r>
              <a:rPr lang="en-US" sz="2000" b="1" dirty="0"/>
              <a:t>Understanding of requirements</a:t>
            </a:r>
          </a:p>
        </p:txBody>
      </p:sp>
      <p:sp>
        <p:nvSpPr>
          <p:cNvPr id="7" name="Text Placeholder 6">
            <a:extLst>
              <a:ext uri="{FF2B5EF4-FFF2-40B4-BE49-F238E27FC236}">
                <a16:creationId xmlns:a16="http://schemas.microsoft.com/office/drawing/2014/main" id="{75AD63BB-80FA-4C42-A8D5-9ABA04130B2F}"/>
              </a:ext>
            </a:extLst>
          </p:cNvPr>
          <p:cNvSpPr>
            <a:spLocks noGrp="1"/>
          </p:cNvSpPr>
          <p:nvPr>
            <p:ph type="body" sz="quarter" idx="12"/>
          </p:nvPr>
        </p:nvSpPr>
        <p:spPr>
          <a:xfrm>
            <a:off x="1320799" y="3414491"/>
            <a:ext cx="4511040" cy="733908"/>
          </a:xfrm>
        </p:spPr>
        <p:txBody>
          <a:bodyPr vert="horz" lIns="0" tIns="0" rIns="0" bIns="0" rtlCol="0">
            <a:noAutofit/>
          </a:bodyPr>
          <a:lstStyle/>
          <a:p>
            <a:r>
              <a:rPr lang="en-US" sz="2000" b="1"/>
              <a:t>Execution Approach</a:t>
            </a:r>
          </a:p>
          <a:p>
            <a:endParaRPr lang="en-GB" sz="2000" b="1"/>
          </a:p>
        </p:txBody>
      </p:sp>
      <p:sp>
        <p:nvSpPr>
          <p:cNvPr id="8" name="Text Placeholder 7">
            <a:extLst>
              <a:ext uri="{FF2B5EF4-FFF2-40B4-BE49-F238E27FC236}">
                <a16:creationId xmlns:a16="http://schemas.microsoft.com/office/drawing/2014/main" id="{2D9D79D9-3A3D-4426-9BBA-B8B5CB93A016}"/>
              </a:ext>
            </a:extLst>
          </p:cNvPr>
          <p:cNvSpPr>
            <a:spLocks noGrp="1"/>
          </p:cNvSpPr>
          <p:nvPr>
            <p:ph type="body" sz="quarter" idx="13"/>
          </p:nvPr>
        </p:nvSpPr>
        <p:spPr>
          <a:xfrm>
            <a:off x="7267079" y="2465059"/>
            <a:ext cx="4511040" cy="733908"/>
          </a:xfrm>
        </p:spPr>
        <p:txBody>
          <a:bodyPr vert="horz" lIns="0" tIns="0" rIns="0" bIns="0" rtlCol="0">
            <a:noAutofit/>
          </a:bodyPr>
          <a:lstStyle/>
          <a:p>
            <a:r>
              <a:rPr lang="en-US" sz="2000" b="1"/>
              <a:t>Indicative Profiles</a:t>
            </a:r>
          </a:p>
        </p:txBody>
      </p:sp>
      <p:sp>
        <p:nvSpPr>
          <p:cNvPr id="9" name="Text Placeholder 8">
            <a:extLst>
              <a:ext uri="{FF2B5EF4-FFF2-40B4-BE49-F238E27FC236}">
                <a16:creationId xmlns:a16="http://schemas.microsoft.com/office/drawing/2014/main" id="{B9E729CF-A23B-47A9-955E-4D9BA93255D7}"/>
              </a:ext>
            </a:extLst>
          </p:cNvPr>
          <p:cNvSpPr>
            <a:spLocks noGrp="1"/>
          </p:cNvSpPr>
          <p:nvPr>
            <p:ph type="body" sz="quarter" idx="14"/>
          </p:nvPr>
        </p:nvSpPr>
        <p:spPr>
          <a:xfrm>
            <a:off x="7267079" y="3555870"/>
            <a:ext cx="4511040" cy="733908"/>
          </a:xfrm>
        </p:spPr>
        <p:txBody>
          <a:bodyPr vert="horz" lIns="0" tIns="0" rIns="0" bIns="0" rtlCol="0">
            <a:noAutofit/>
          </a:bodyPr>
          <a:lstStyle/>
          <a:p>
            <a:r>
              <a:rPr lang="en-US" sz="2000" b="1" dirty="0"/>
              <a:t>Atos Credentials</a:t>
            </a:r>
          </a:p>
        </p:txBody>
      </p:sp>
      <p:sp>
        <p:nvSpPr>
          <p:cNvPr id="11" name="Text Placeholder 10">
            <a:extLst>
              <a:ext uri="{FF2B5EF4-FFF2-40B4-BE49-F238E27FC236}">
                <a16:creationId xmlns:a16="http://schemas.microsoft.com/office/drawing/2014/main" id="{E31582BA-A5CF-48A8-9B2B-9B77465E2C64}"/>
              </a:ext>
            </a:extLst>
          </p:cNvPr>
          <p:cNvSpPr>
            <a:spLocks noGrp="1"/>
          </p:cNvSpPr>
          <p:nvPr>
            <p:ph type="body" sz="quarter" idx="16"/>
          </p:nvPr>
        </p:nvSpPr>
        <p:spPr>
          <a:xfrm>
            <a:off x="435576" y="1443182"/>
            <a:ext cx="160300" cy="410433"/>
          </a:xfrm>
        </p:spPr>
        <p:txBody>
          <a:bodyPr/>
          <a:lstStyle/>
          <a:p>
            <a:r>
              <a:rPr lang="en-US"/>
              <a:t>1</a:t>
            </a:r>
            <a:endParaRPr lang="en-GB"/>
          </a:p>
        </p:txBody>
      </p:sp>
      <p:sp>
        <p:nvSpPr>
          <p:cNvPr id="12" name="Text Placeholder 11">
            <a:extLst>
              <a:ext uri="{FF2B5EF4-FFF2-40B4-BE49-F238E27FC236}">
                <a16:creationId xmlns:a16="http://schemas.microsoft.com/office/drawing/2014/main" id="{670BECEE-C88F-4CDA-9F10-AF3664DC1842}"/>
              </a:ext>
            </a:extLst>
          </p:cNvPr>
          <p:cNvSpPr>
            <a:spLocks noGrp="1"/>
          </p:cNvSpPr>
          <p:nvPr>
            <p:ph type="body" sz="quarter" idx="17"/>
          </p:nvPr>
        </p:nvSpPr>
        <p:spPr>
          <a:xfrm>
            <a:off x="435577" y="2421580"/>
            <a:ext cx="187552" cy="410433"/>
          </a:xfrm>
        </p:spPr>
        <p:txBody>
          <a:bodyPr/>
          <a:lstStyle/>
          <a:p>
            <a:r>
              <a:rPr lang="en-US"/>
              <a:t>2</a:t>
            </a:r>
            <a:endParaRPr lang="en-GB"/>
          </a:p>
        </p:txBody>
      </p:sp>
      <p:sp>
        <p:nvSpPr>
          <p:cNvPr id="13" name="Text Placeholder 12">
            <a:extLst>
              <a:ext uri="{FF2B5EF4-FFF2-40B4-BE49-F238E27FC236}">
                <a16:creationId xmlns:a16="http://schemas.microsoft.com/office/drawing/2014/main" id="{38259AF1-769F-4D16-8421-47E68656A083}"/>
              </a:ext>
            </a:extLst>
          </p:cNvPr>
          <p:cNvSpPr>
            <a:spLocks noGrp="1"/>
          </p:cNvSpPr>
          <p:nvPr>
            <p:ph type="body" sz="quarter" idx="18"/>
          </p:nvPr>
        </p:nvSpPr>
        <p:spPr>
          <a:xfrm>
            <a:off x="435577" y="3414491"/>
            <a:ext cx="187552" cy="410433"/>
          </a:xfrm>
        </p:spPr>
        <p:txBody>
          <a:bodyPr/>
          <a:lstStyle/>
          <a:p>
            <a:r>
              <a:rPr lang="en-US"/>
              <a:t>3</a:t>
            </a:r>
            <a:endParaRPr lang="en-GB"/>
          </a:p>
        </p:txBody>
      </p:sp>
      <p:sp>
        <p:nvSpPr>
          <p:cNvPr id="14" name="Text Placeholder 13">
            <a:extLst>
              <a:ext uri="{FF2B5EF4-FFF2-40B4-BE49-F238E27FC236}">
                <a16:creationId xmlns:a16="http://schemas.microsoft.com/office/drawing/2014/main" id="{271BCA56-53C8-4D77-9CF3-1D06115D1642}"/>
              </a:ext>
            </a:extLst>
          </p:cNvPr>
          <p:cNvSpPr>
            <a:spLocks noGrp="1"/>
          </p:cNvSpPr>
          <p:nvPr>
            <p:ph type="body" sz="quarter" idx="19"/>
          </p:nvPr>
        </p:nvSpPr>
        <p:spPr>
          <a:xfrm>
            <a:off x="6410715" y="2465059"/>
            <a:ext cx="208390" cy="410433"/>
          </a:xfrm>
        </p:spPr>
        <p:txBody>
          <a:bodyPr/>
          <a:lstStyle/>
          <a:p>
            <a:r>
              <a:rPr lang="en-US"/>
              <a:t>6</a:t>
            </a:r>
            <a:endParaRPr lang="en-GB"/>
          </a:p>
        </p:txBody>
      </p:sp>
      <p:sp>
        <p:nvSpPr>
          <p:cNvPr id="15" name="Text Placeholder 14">
            <a:extLst>
              <a:ext uri="{FF2B5EF4-FFF2-40B4-BE49-F238E27FC236}">
                <a16:creationId xmlns:a16="http://schemas.microsoft.com/office/drawing/2014/main" id="{154C453B-521B-4D0C-9C02-EBE032CB27C3}"/>
              </a:ext>
            </a:extLst>
          </p:cNvPr>
          <p:cNvSpPr>
            <a:spLocks noGrp="1"/>
          </p:cNvSpPr>
          <p:nvPr>
            <p:ph type="body" sz="quarter" idx="20"/>
          </p:nvPr>
        </p:nvSpPr>
        <p:spPr>
          <a:xfrm>
            <a:off x="6410714" y="3443457"/>
            <a:ext cx="187552" cy="410433"/>
          </a:xfrm>
        </p:spPr>
        <p:txBody>
          <a:bodyPr/>
          <a:lstStyle/>
          <a:p>
            <a:r>
              <a:rPr lang="en-US"/>
              <a:t>7</a:t>
            </a:r>
            <a:endParaRPr lang="en-GB"/>
          </a:p>
        </p:txBody>
      </p:sp>
      <p:sp>
        <p:nvSpPr>
          <p:cNvPr id="35" name="Text Placeholder 5">
            <a:extLst>
              <a:ext uri="{FF2B5EF4-FFF2-40B4-BE49-F238E27FC236}">
                <a16:creationId xmlns:a16="http://schemas.microsoft.com/office/drawing/2014/main" id="{A2A27405-12B1-43F6-B971-F1CD9834CE54}"/>
              </a:ext>
            </a:extLst>
          </p:cNvPr>
          <p:cNvSpPr txBox="1">
            <a:spLocks/>
          </p:cNvSpPr>
          <p:nvPr/>
        </p:nvSpPr>
        <p:spPr bwMode="gray">
          <a:xfrm>
            <a:off x="1316248" y="4366076"/>
            <a:ext cx="4511040" cy="733908"/>
          </a:xfrm>
          <a:prstGeom prst="rect">
            <a:avLst/>
          </a:prstGeom>
        </p:spPr>
        <p:txBody>
          <a:bodyPr vert="horz" lIns="0" tIns="0" rIns="0" bIns="0" rtlCol="0">
            <a:noAutofit/>
          </a:bodyPr>
          <a:lstStyle>
            <a:lvl1pPr indent="0" defTabSz="1219170">
              <a:spcBef>
                <a:spcPts val="0"/>
              </a:spcBef>
              <a:spcAft>
                <a:spcPts val="533"/>
              </a:spcAft>
              <a:buClr>
                <a:schemeClr val="tx1"/>
              </a:buClr>
              <a:buSzPct val="100000"/>
              <a:buFont typeface="Arial" panose="020B0604020202020204" pitchFamily="34" charset="0"/>
              <a:buNone/>
              <a:defRPr sz="2000" b="1" baseline="0">
                <a:ea typeface="Verdana" pitchFamily="34" charset="0"/>
                <a:cs typeface="Verdana" pitchFamily="34" charset="0"/>
              </a:defRPr>
            </a:lvl1pPr>
            <a:lvl2pPr marL="438901" indent="-219451" defTabSz="1219170">
              <a:spcBef>
                <a:spcPts val="0"/>
              </a:spcBef>
              <a:spcAft>
                <a:spcPts val="533"/>
              </a:spcAft>
              <a:buClr>
                <a:schemeClr val="tx1"/>
              </a:buClr>
              <a:buFont typeface="Arial" panose="020B0604020202020204" pitchFamily="34" charset="0"/>
              <a:buChar char="•"/>
              <a:defRPr sz="1600" baseline="0">
                <a:latin typeface="Raleway Light" pitchFamily="2" charset="0"/>
                <a:ea typeface="Verdana" pitchFamily="34" charset="0"/>
                <a:cs typeface="Verdana" pitchFamily="34" charset="0"/>
              </a:defRPr>
            </a:lvl2pPr>
            <a:lvl3pPr marL="658352" indent="-219451" defTabSz="1219170">
              <a:spcBef>
                <a:spcPts val="0"/>
              </a:spcBef>
              <a:spcAft>
                <a:spcPts val="533"/>
              </a:spcAft>
              <a:buClr>
                <a:schemeClr val="tx1"/>
              </a:buClr>
              <a:buFont typeface="Arial" pitchFamily="34" charset="0"/>
              <a:buChar char="•"/>
              <a:defRPr sz="1467">
                <a:latin typeface="Raleway Light" pitchFamily="2" charset="0"/>
                <a:ea typeface="Verdana" pitchFamily="34" charset="0"/>
                <a:cs typeface="Verdana" pitchFamily="34" charset="0"/>
              </a:defRPr>
            </a:lvl3pPr>
            <a:lvl4pPr marL="877802" indent="-219451" defTabSz="1219170">
              <a:spcBef>
                <a:spcPts val="0"/>
              </a:spcBef>
              <a:spcAft>
                <a:spcPts val="533"/>
              </a:spcAft>
              <a:buClr>
                <a:schemeClr val="tx1"/>
              </a:buClr>
              <a:buFont typeface="Arial" panose="020B0604020202020204" pitchFamily="34" charset="0"/>
              <a:buChar char="•"/>
              <a:defRPr sz="1333" baseline="0">
                <a:ea typeface="Verdana" pitchFamily="34" charset="0"/>
                <a:cs typeface="Verdana" pitchFamily="34" charset="0"/>
              </a:defRPr>
            </a:lvl4pPr>
            <a:lvl5pPr marL="1799955" indent="-359991" defTabSz="1219170">
              <a:spcBef>
                <a:spcPct val="20000"/>
              </a:spcBef>
              <a:buClr>
                <a:schemeClr val="tx2"/>
              </a:buClr>
              <a:buFont typeface="Arial" pitchFamily="34" charset="0"/>
              <a:buChar char="»"/>
              <a:defRPr sz="2133">
                <a:solidFill>
                  <a:srgbClr val="FFFFFF"/>
                </a:solidFill>
                <a:latin typeface="Verdana" pitchFamily="34" charset="0"/>
                <a:ea typeface="Verdana" pitchFamily="34" charset="0"/>
                <a:cs typeface="Verdana" pitchFamily="34" charset="0"/>
              </a:defRPr>
            </a:lvl5pPr>
            <a:lvl6pPr marL="3352716" indent="-304792" defTabSz="1219170">
              <a:spcBef>
                <a:spcPct val="20000"/>
              </a:spcBef>
              <a:buFont typeface="Arial" pitchFamily="34" charset="0"/>
              <a:buChar char="•"/>
              <a:defRPr sz="2667"/>
            </a:lvl6pPr>
            <a:lvl7pPr marL="3962301" indent="-304792" defTabSz="1219170">
              <a:spcBef>
                <a:spcPct val="20000"/>
              </a:spcBef>
              <a:buFont typeface="Arial" pitchFamily="34" charset="0"/>
              <a:buChar char="•"/>
              <a:defRPr sz="2667"/>
            </a:lvl7pPr>
            <a:lvl8pPr marL="4571886" indent="-304792" defTabSz="1219170">
              <a:spcBef>
                <a:spcPct val="20000"/>
              </a:spcBef>
              <a:buFont typeface="Arial" pitchFamily="34" charset="0"/>
              <a:buChar char="•"/>
              <a:defRPr sz="2667"/>
            </a:lvl8pPr>
            <a:lvl9pPr marL="5181470" indent="-304792" defTabSz="1219170">
              <a:spcBef>
                <a:spcPct val="20000"/>
              </a:spcBef>
              <a:buFont typeface="Arial" pitchFamily="34" charset="0"/>
              <a:buChar char="•"/>
              <a:defRPr sz="2667"/>
            </a:lvl9pPr>
          </a:lstStyle>
          <a:p>
            <a:endParaRPr lang="en-GB"/>
          </a:p>
        </p:txBody>
      </p:sp>
      <p:sp>
        <p:nvSpPr>
          <p:cNvPr id="36" name="Text Placeholder 6">
            <a:extLst>
              <a:ext uri="{FF2B5EF4-FFF2-40B4-BE49-F238E27FC236}">
                <a16:creationId xmlns:a16="http://schemas.microsoft.com/office/drawing/2014/main" id="{AC3130C7-2556-4BDE-97E1-804E6F7C2AB7}"/>
              </a:ext>
            </a:extLst>
          </p:cNvPr>
          <p:cNvSpPr txBox="1">
            <a:spLocks/>
          </p:cNvSpPr>
          <p:nvPr/>
        </p:nvSpPr>
        <p:spPr bwMode="gray">
          <a:xfrm>
            <a:off x="7295936" y="1447169"/>
            <a:ext cx="3575265" cy="733908"/>
          </a:xfrm>
          <a:prstGeom prst="rect">
            <a:avLst/>
          </a:prstGeom>
        </p:spPr>
        <p:txBody>
          <a:bodyPr vert="horz" lIns="0" tIns="0" rIns="0" bIns="0" rtlCol="0">
            <a:noAutofit/>
          </a:bodyPr>
          <a:lstStyle>
            <a:lvl1pPr indent="0" defTabSz="1219170">
              <a:spcBef>
                <a:spcPts val="0"/>
              </a:spcBef>
              <a:spcAft>
                <a:spcPts val="533"/>
              </a:spcAft>
              <a:buClr>
                <a:schemeClr val="tx1"/>
              </a:buClr>
              <a:buSzPct val="100000"/>
              <a:buFont typeface="Arial" panose="020B0604020202020204" pitchFamily="34" charset="0"/>
              <a:buNone/>
              <a:defRPr sz="2000" b="1" baseline="0">
                <a:ea typeface="Verdana" pitchFamily="34" charset="0"/>
                <a:cs typeface="Verdana" pitchFamily="34" charset="0"/>
              </a:defRPr>
            </a:lvl1pPr>
            <a:lvl2pPr marL="438901" indent="-219451" defTabSz="1219170">
              <a:spcBef>
                <a:spcPts val="0"/>
              </a:spcBef>
              <a:spcAft>
                <a:spcPts val="533"/>
              </a:spcAft>
              <a:buClr>
                <a:schemeClr val="tx1"/>
              </a:buClr>
              <a:buFont typeface="Arial" panose="020B0604020202020204" pitchFamily="34" charset="0"/>
              <a:buChar char="•"/>
              <a:defRPr sz="1600" baseline="0">
                <a:latin typeface="Raleway Light" pitchFamily="2" charset="0"/>
                <a:ea typeface="Verdana" pitchFamily="34" charset="0"/>
                <a:cs typeface="Verdana" pitchFamily="34" charset="0"/>
              </a:defRPr>
            </a:lvl2pPr>
            <a:lvl3pPr marL="658352" indent="-219451" defTabSz="1219170">
              <a:spcBef>
                <a:spcPts val="0"/>
              </a:spcBef>
              <a:spcAft>
                <a:spcPts val="533"/>
              </a:spcAft>
              <a:buClr>
                <a:schemeClr val="tx1"/>
              </a:buClr>
              <a:buFont typeface="Arial" pitchFamily="34" charset="0"/>
              <a:buChar char="•"/>
              <a:defRPr sz="1467">
                <a:latin typeface="Raleway Light" pitchFamily="2" charset="0"/>
                <a:ea typeface="Verdana" pitchFamily="34" charset="0"/>
                <a:cs typeface="Verdana" pitchFamily="34" charset="0"/>
              </a:defRPr>
            </a:lvl3pPr>
            <a:lvl4pPr marL="877802" indent="-219451" defTabSz="1219170">
              <a:spcBef>
                <a:spcPts val="0"/>
              </a:spcBef>
              <a:spcAft>
                <a:spcPts val="533"/>
              </a:spcAft>
              <a:buClr>
                <a:schemeClr val="tx1"/>
              </a:buClr>
              <a:buFont typeface="Arial" panose="020B0604020202020204" pitchFamily="34" charset="0"/>
              <a:buChar char="•"/>
              <a:defRPr sz="1333" baseline="0">
                <a:ea typeface="Verdana" pitchFamily="34" charset="0"/>
                <a:cs typeface="Verdana" pitchFamily="34" charset="0"/>
              </a:defRPr>
            </a:lvl4pPr>
            <a:lvl5pPr marL="1799955" indent="-359991" defTabSz="1219170">
              <a:spcBef>
                <a:spcPct val="20000"/>
              </a:spcBef>
              <a:buClr>
                <a:schemeClr val="tx2"/>
              </a:buClr>
              <a:buFont typeface="Arial" pitchFamily="34" charset="0"/>
              <a:buChar char="»"/>
              <a:defRPr sz="2133">
                <a:solidFill>
                  <a:srgbClr val="FFFFFF"/>
                </a:solidFill>
                <a:latin typeface="Verdana" pitchFamily="34" charset="0"/>
                <a:ea typeface="Verdana" pitchFamily="34" charset="0"/>
                <a:cs typeface="Verdana" pitchFamily="34" charset="0"/>
              </a:defRPr>
            </a:lvl5pPr>
            <a:lvl6pPr marL="3352716" indent="-304792" defTabSz="1219170">
              <a:spcBef>
                <a:spcPct val="20000"/>
              </a:spcBef>
              <a:buFont typeface="Arial" pitchFamily="34" charset="0"/>
              <a:buChar char="•"/>
              <a:defRPr sz="2667"/>
            </a:lvl6pPr>
            <a:lvl7pPr marL="3962301" indent="-304792" defTabSz="1219170">
              <a:spcBef>
                <a:spcPct val="20000"/>
              </a:spcBef>
              <a:buFont typeface="Arial" pitchFamily="34" charset="0"/>
              <a:buChar char="•"/>
              <a:defRPr sz="2667"/>
            </a:lvl7pPr>
            <a:lvl8pPr marL="4571886" indent="-304792" defTabSz="1219170">
              <a:spcBef>
                <a:spcPct val="20000"/>
              </a:spcBef>
              <a:buFont typeface="Arial" pitchFamily="34" charset="0"/>
              <a:buChar char="•"/>
              <a:defRPr sz="2667"/>
            </a:lvl8pPr>
            <a:lvl9pPr marL="5181470" indent="-304792" defTabSz="1219170">
              <a:spcBef>
                <a:spcPct val="20000"/>
              </a:spcBef>
              <a:buFont typeface="Arial" pitchFamily="34" charset="0"/>
              <a:buChar char="•"/>
              <a:defRPr sz="2667"/>
            </a:lvl9pPr>
          </a:lstStyle>
          <a:p>
            <a:r>
              <a:rPr lang="en-US"/>
              <a:t>Governance and Engagement Model</a:t>
            </a:r>
          </a:p>
        </p:txBody>
      </p:sp>
      <p:sp>
        <p:nvSpPr>
          <p:cNvPr id="39" name="Text Placeholder 11">
            <a:extLst>
              <a:ext uri="{FF2B5EF4-FFF2-40B4-BE49-F238E27FC236}">
                <a16:creationId xmlns:a16="http://schemas.microsoft.com/office/drawing/2014/main" id="{59619C3B-F5D6-446A-87B0-BF3A4328542F}"/>
              </a:ext>
            </a:extLst>
          </p:cNvPr>
          <p:cNvSpPr txBox="1">
            <a:spLocks/>
          </p:cNvSpPr>
          <p:nvPr/>
        </p:nvSpPr>
        <p:spPr bwMode="gray">
          <a:xfrm>
            <a:off x="431026" y="4366077"/>
            <a:ext cx="192360" cy="410433"/>
          </a:xfrm>
          <a:prstGeom prst="rect">
            <a:avLst/>
          </a:prstGeom>
        </p:spPr>
        <p:txBody>
          <a:bodyPr vert="horz" wrap="none" lIns="0" tIns="0" rIns="0" bIns="0" rtlCol="0">
            <a:spAutoFit/>
          </a:bodyPr>
          <a:lstStyle>
            <a:lvl1pPr indent="0" defTabSz="1219170">
              <a:spcBef>
                <a:spcPts val="0"/>
              </a:spcBef>
              <a:spcAft>
                <a:spcPts val="533"/>
              </a:spcAft>
              <a:buClr>
                <a:schemeClr val="tx1"/>
              </a:buClr>
              <a:buSzPct val="100000"/>
              <a:buFont typeface="Arial" panose="020B0604020202020204" pitchFamily="34" charset="0"/>
              <a:buNone/>
              <a:defRPr sz="2667" baseline="0">
                <a:solidFill>
                  <a:schemeClr val="accent1"/>
                </a:solidFill>
                <a:latin typeface="+mj-lt"/>
                <a:ea typeface="Verdana" pitchFamily="34" charset="0"/>
                <a:cs typeface="Verdana" pitchFamily="34" charset="0"/>
              </a:defRPr>
            </a:lvl1pPr>
            <a:lvl2pPr marL="438901" indent="-219451" defTabSz="1219170">
              <a:spcBef>
                <a:spcPts val="0"/>
              </a:spcBef>
              <a:spcAft>
                <a:spcPts val="533"/>
              </a:spcAft>
              <a:buClr>
                <a:schemeClr val="tx1"/>
              </a:buClr>
              <a:buFont typeface="Arial" panose="020B0604020202020204" pitchFamily="34" charset="0"/>
              <a:buChar char="•"/>
              <a:defRPr sz="1600" baseline="0">
                <a:latin typeface="Raleway Light" pitchFamily="2" charset="0"/>
                <a:ea typeface="Verdana" pitchFamily="34" charset="0"/>
                <a:cs typeface="Verdana" pitchFamily="34" charset="0"/>
              </a:defRPr>
            </a:lvl2pPr>
            <a:lvl3pPr marL="658352" indent="-219451" defTabSz="1219170">
              <a:spcBef>
                <a:spcPts val="0"/>
              </a:spcBef>
              <a:spcAft>
                <a:spcPts val="533"/>
              </a:spcAft>
              <a:buClr>
                <a:schemeClr val="tx1"/>
              </a:buClr>
              <a:buFont typeface="Arial" pitchFamily="34" charset="0"/>
              <a:buChar char="•"/>
              <a:defRPr sz="1467">
                <a:latin typeface="Raleway Light" pitchFamily="2" charset="0"/>
                <a:ea typeface="Verdana" pitchFamily="34" charset="0"/>
                <a:cs typeface="Verdana" pitchFamily="34" charset="0"/>
              </a:defRPr>
            </a:lvl3pPr>
            <a:lvl4pPr marL="877802" indent="-219451" defTabSz="1219170">
              <a:spcBef>
                <a:spcPts val="0"/>
              </a:spcBef>
              <a:spcAft>
                <a:spcPts val="533"/>
              </a:spcAft>
              <a:buClr>
                <a:schemeClr val="tx1"/>
              </a:buClr>
              <a:buFont typeface="Arial" panose="020B0604020202020204" pitchFamily="34" charset="0"/>
              <a:buChar char="•"/>
              <a:defRPr sz="1333" baseline="0">
                <a:ea typeface="Verdana" pitchFamily="34" charset="0"/>
                <a:cs typeface="Verdana" pitchFamily="34" charset="0"/>
              </a:defRPr>
            </a:lvl4pPr>
            <a:lvl5pPr marL="1799955" indent="-359991" defTabSz="1219170">
              <a:spcBef>
                <a:spcPct val="20000"/>
              </a:spcBef>
              <a:buClr>
                <a:schemeClr val="tx2"/>
              </a:buClr>
              <a:buFont typeface="Arial" pitchFamily="34" charset="0"/>
              <a:buChar char="»"/>
              <a:defRPr sz="2133">
                <a:solidFill>
                  <a:srgbClr val="FFFFFF"/>
                </a:solidFill>
                <a:latin typeface="Verdana" pitchFamily="34" charset="0"/>
                <a:ea typeface="Verdana" pitchFamily="34" charset="0"/>
                <a:cs typeface="Verdana" pitchFamily="34" charset="0"/>
              </a:defRPr>
            </a:lvl5pPr>
            <a:lvl6pPr marL="3352716" indent="-304792" defTabSz="1219170">
              <a:spcBef>
                <a:spcPct val="20000"/>
              </a:spcBef>
              <a:buFont typeface="Arial" pitchFamily="34" charset="0"/>
              <a:buChar char="•"/>
              <a:defRPr sz="2667"/>
            </a:lvl6pPr>
            <a:lvl7pPr marL="3962301" indent="-304792" defTabSz="1219170">
              <a:spcBef>
                <a:spcPct val="20000"/>
              </a:spcBef>
              <a:buFont typeface="Arial" pitchFamily="34" charset="0"/>
              <a:buChar char="•"/>
              <a:defRPr sz="2667"/>
            </a:lvl7pPr>
            <a:lvl8pPr marL="4571886" indent="-304792" defTabSz="1219170">
              <a:spcBef>
                <a:spcPct val="20000"/>
              </a:spcBef>
              <a:buFont typeface="Arial" pitchFamily="34" charset="0"/>
              <a:buChar char="•"/>
              <a:defRPr sz="2667"/>
            </a:lvl8pPr>
            <a:lvl9pPr marL="5181470" indent="-304792" defTabSz="1219170">
              <a:spcBef>
                <a:spcPct val="20000"/>
              </a:spcBef>
              <a:buFont typeface="Arial" pitchFamily="34" charset="0"/>
              <a:buChar char="•"/>
              <a:defRPr sz="2667"/>
            </a:lvl9pPr>
          </a:lstStyle>
          <a:p>
            <a:r>
              <a:rPr lang="en-US"/>
              <a:t>4</a:t>
            </a:r>
            <a:endParaRPr lang="en-GB"/>
          </a:p>
        </p:txBody>
      </p:sp>
      <p:sp>
        <p:nvSpPr>
          <p:cNvPr id="40" name="Text Placeholder 12">
            <a:extLst>
              <a:ext uri="{FF2B5EF4-FFF2-40B4-BE49-F238E27FC236}">
                <a16:creationId xmlns:a16="http://schemas.microsoft.com/office/drawing/2014/main" id="{54B395E4-88B3-4A21-B98D-2D065DCC2D74}"/>
              </a:ext>
            </a:extLst>
          </p:cNvPr>
          <p:cNvSpPr txBox="1">
            <a:spLocks/>
          </p:cNvSpPr>
          <p:nvPr/>
        </p:nvSpPr>
        <p:spPr bwMode="gray">
          <a:xfrm>
            <a:off x="6410714" y="1447169"/>
            <a:ext cx="189154" cy="410433"/>
          </a:xfrm>
          <a:prstGeom prst="rect">
            <a:avLst/>
          </a:prstGeom>
        </p:spPr>
        <p:txBody>
          <a:bodyPr vert="horz" wrap="none" lIns="0" tIns="0" rIns="0" bIns="0" rtlCol="0">
            <a:spAutoFit/>
          </a:bodyPr>
          <a:lstStyle>
            <a:lvl1pPr indent="0" defTabSz="1219170">
              <a:spcBef>
                <a:spcPts val="0"/>
              </a:spcBef>
              <a:spcAft>
                <a:spcPts val="533"/>
              </a:spcAft>
              <a:buClr>
                <a:schemeClr val="tx1"/>
              </a:buClr>
              <a:buSzPct val="100000"/>
              <a:buFont typeface="Arial" panose="020B0604020202020204" pitchFamily="34" charset="0"/>
              <a:buNone/>
              <a:defRPr sz="2667" baseline="0">
                <a:solidFill>
                  <a:schemeClr val="accent1"/>
                </a:solidFill>
                <a:latin typeface="+mj-lt"/>
                <a:ea typeface="Verdana" pitchFamily="34" charset="0"/>
                <a:cs typeface="Verdana" pitchFamily="34" charset="0"/>
              </a:defRPr>
            </a:lvl1pPr>
            <a:lvl2pPr marL="438901" indent="-219451" defTabSz="1219170">
              <a:spcBef>
                <a:spcPts val="0"/>
              </a:spcBef>
              <a:spcAft>
                <a:spcPts val="533"/>
              </a:spcAft>
              <a:buClr>
                <a:schemeClr val="tx1"/>
              </a:buClr>
              <a:buFont typeface="Arial" panose="020B0604020202020204" pitchFamily="34" charset="0"/>
              <a:buChar char="•"/>
              <a:defRPr sz="1600" baseline="0">
                <a:latin typeface="Raleway Light" pitchFamily="2" charset="0"/>
                <a:ea typeface="Verdana" pitchFamily="34" charset="0"/>
                <a:cs typeface="Verdana" pitchFamily="34" charset="0"/>
              </a:defRPr>
            </a:lvl2pPr>
            <a:lvl3pPr marL="658352" indent="-219451" defTabSz="1219170">
              <a:spcBef>
                <a:spcPts val="0"/>
              </a:spcBef>
              <a:spcAft>
                <a:spcPts val="533"/>
              </a:spcAft>
              <a:buClr>
                <a:schemeClr val="tx1"/>
              </a:buClr>
              <a:buFont typeface="Arial" pitchFamily="34" charset="0"/>
              <a:buChar char="•"/>
              <a:defRPr sz="1467">
                <a:latin typeface="Raleway Light" pitchFamily="2" charset="0"/>
                <a:ea typeface="Verdana" pitchFamily="34" charset="0"/>
                <a:cs typeface="Verdana" pitchFamily="34" charset="0"/>
              </a:defRPr>
            </a:lvl3pPr>
            <a:lvl4pPr marL="877802" indent="-219451" defTabSz="1219170">
              <a:spcBef>
                <a:spcPts val="0"/>
              </a:spcBef>
              <a:spcAft>
                <a:spcPts val="533"/>
              </a:spcAft>
              <a:buClr>
                <a:schemeClr val="tx1"/>
              </a:buClr>
              <a:buFont typeface="Arial" panose="020B0604020202020204" pitchFamily="34" charset="0"/>
              <a:buChar char="•"/>
              <a:defRPr sz="1333" baseline="0">
                <a:ea typeface="Verdana" pitchFamily="34" charset="0"/>
                <a:cs typeface="Verdana" pitchFamily="34" charset="0"/>
              </a:defRPr>
            </a:lvl4pPr>
            <a:lvl5pPr marL="1799955" indent="-359991" defTabSz="1219170">
              <a:spcBef>
                <a:spcPct val="20000"/>
              </a:spcBef>
              <a:buClr>
                <a:schemeClr val="tx2"/>
              </a:buClr>
              <a:buFont typeface="Arial" pitchFamily="34" charset="0"/>
              <a:buChar char="»"/>
              <a:defRPr sz="2133">
                <a:solidFill>
                  <a:srgbClr val="FFFFFF"/>
                </a:solidFill>
                <a:latin typeface="Verdana" pitchFamily="34" charset="0"/>
                <a:ea typeface="Verdana" pitchFamily="34" charset="0"/>
                <a:cs typeface="Verdana" pitchFamily="34" charset="0"/>
              </a:defRPr>
            </a:lvl5pPr>
            <a:lvl6pPr marL="3352716" indent="-304792" defTabSz="1219170">
              <a:spcBef>
                <a:spcPct val="20000"/>
              </a:spcBef>
              <a:buFont typeface="Arial" pitchFamily="34" charset="0"/>
              <a:buChar char="•"/>
              <a:defRPr sz="2667"/>
            </a:lvl6pPr>
            <a:lvl7pPr marL="3962301" indent="-304792" defTabSz="1219170">
              <a:spcBef>
                <a:spcPct val="20000"/>
              </a:spcBef>
              <a:buFont typeface="Arial" pitchFamily="34" charset="0"/>
              <a:buChar char="•"/>
              <a:defRPr sz="2667"/>
            </a:lvl7pPr>
            <a:lvl8pPr marL="4571886" indent="-304792" defTabSz="1219170">
              <a:spcBef>
                <a:spcPct val="20000"/>
              </a:spcBef>
              <a:buFont typeface="Arial" pitchFamily="34" charset="0"/>
              <a:buChar char="•"/>
              <a:defRPr sz="2667"/>
            </a:lvl8pPr>
            <a:lvl9pPr marL="5181470" indent="-304792" defTabSz="1219170">
              <a:spcBef>
                <a:spcPct val="20000"/>
              </a:spcBef>
              <a:buFont typeface="Arial" pitchFamily="34" charset="0"/>
              <a:buChar char="•"/>
              <a:defRPr sz="2667"/>
            </a:lvl9pPr>
          </a:lstStyle>
          <a:p>
            <a:r>
              <a:rPr lang="en-US"/>
              <a:t>5</a:t>
            </a:r>
            <a:endParaRPr lang="en-GB"/>
          </a:p>
        </p:txBody>
      </p:sp>
      <p:sp>
        <p:nvSpPr>
          <p:cNvPr id="21" name="Text Placeholder 6">
            <a:extLst>
              <a:ext uri="{FF2B5EF4-FFF2-40B4-BE49-F238E27FC236}">
                <a16:creationId xmlns:a16="http://schemas.microsoft.com/office/drawing/2014/main" id="{F41B2A3B-F3D8-4DB7-9185-B421DC88F8F5}"/>
              </a:ext>
            </a:extLst>
          </p:cNvPr>
          <p:cNvSpPr txBox="1">
            <a:spLocks/>
          </p:cNvSpPr>
          <p:nvPr/>
        </p:nvSpPr>
        <p:spPr bwMode="gray">
          <a:xfrm>
            <a:off x="1320799" y="4231158"/>
            <a:ext cx="5089915" cy="733908"/>
          </a:xfrm>
          <a:prstGeom prst="rect">
            <a:avLst/>
          </a:prstGeom>
        </p:spPr>
        <p:txBody>
          <a:bodyPr vert="horz" lIns="0" tIns="0" rIns="0" bIns="0" rtlCol="0">
            <a:noAutofit/>
          </a:bodyPr>
          <a:lstStyle>
            <a:lvl1pPr marL="0" indent="0" algn="l" defTabSz="1219170" rtl="0" eaLnBrk="1" latinLnBrk="0" hangingPunct="1">
              <a:spcBef>
                <a:spcPts val="0"/>
              </a:spcBef>
              <a:spcAft>
                <a:spcPts val="533"/>
              </a:spcAft>
              <a:buClr>
                <a:schemeClr val="tx1"/>
              </a:buClr>
              <a:buSzPct val="100000"/>
              <a:buFont typeface="Arial" panose="020B0604020202020204" pitchFamily="34" charset="0"/>
              <a:buNone/>
              <a:defRPr sz="2667" kern="1200" baseline="0">
                <a:solidFill>
                  <a:schemeClr val="tx1"/>
                </a:solidFill>
                <a:latin typeface="+mn-lt"/>
                <a:ea typeface="Verdana" pitchFamily="34" charset="0"/>
                <a:cs typeface="Verdana" pitchFamily="34" charset="0"/>
              </a:defRPr>
            </a:lvl1pPr>
            <a:lvl2pPr marL="438901" indent="-219451" algn="l" defTabSz="1219170" rtl="0" eaLnBrk="1" latinLnBrk="0" hangingPunct="1">
              <a:spcBef>
                <a:spcPts val="0"/>
              </a:spcBef>
              <a:spcAft>
                <a:spcPts val="533"/>
              </a:spcAft>
              <a:buClr>
                <a:schemeClr val="tx1"/>
              </a:buClr>
              <a:buFont typeface="Arial" panose="020B0604020202020204" pitchFamily="34" charset="0"/>
              <a:buChar char="•"/>
              <a:defRPr sz="1600" kern="1200" baseline="0">
                <a:solidFill>
                  <a:schemeClr val="tx1"/>
                </a:solidFill>
                <a:latin typeface="Raleway Light" pitchFamily="2" charset="0"/>
                <a:ea typeface="Verdana" pitchFamily="34" charset="0"/>
                <a:cs typeface="Verdana" pitchFamily="34" charset="0"/>
              </a:defRPr>
            </a:lvl2pPr>
            <a:lvl3pPr marL="658352" indent="-219451" algn="l" defTabSz="1219170" rtl="0" eaLnBrk="1" latinLnBrk="0" hangingPunct="1">
              <a:spcBef>
                <a:spcPts val="0"/>
              </a:spcBef>
              <a:spcAft>
                <a:spcPts val="533"/>
              </a:spcAft>
              <a:buClr>
                <a:schemeClr val="tx1"/>
              </a:buClr>
              <a:buFont typeface="Arial" pitchFamily="34" charset="0"/>
              <a:buChar char="•"/>
              <a:defRPr sz="1467" kern="1200">
                <a:solidFill>
                  <a:schemeClr val="tx1"/>
                </a:solidFill>
                <a:latin typeface="Raleway Light" pitchFamily="2" charset="0"/>
                <a:ea typeface="Verdana" pitchFamily="34" charset="0"/>
                <a:cs typeface="Verdana" pitchFamily="34" charset="0"/>
              </a:defRPr>
            </a:lvl3pPr>
            <a:lvl4pPr marL="877802" indent="-219451" algn="l" defTabSz="1219170" rtl="0" eaLnBrk="1" latinLnBrk="0" hangingPunct="1">
              <a:spcBef>
                <a:spcPts val="0"/>
              </a:spcBef>
              <a:spcAft>
                <a:spcPts val="533"/>
              </a:spcAft>
              <a:buClr>
                <a:schemeClr val="tx1"/>
              </a:buClr>
              <a:buFont typeface="Arial" panose="020B0604020202020204" pitchFamily="34" charset="0"/>
              <a:buChar char="•"/>
              <a:defRPr sz="1333" kern="1200" baseline="0">
                <a:solidFill>
                  <a:schemeClr val="tx1"/>
                </a:solidFill>
                <a:latin typeface="+mn-lt"/>
                <a:ea typeface="Verdana" pitchFamily="34" charset="0"/>
                <a:cs typeface="Verdana" pitchFamily="34" charset="0"/>
              </a:defRPr>
            </a:lvl4pPr>
            <a:lvl5pPr marL="1799955" indent="-359991" algn="l" defTabSz="1219170" rtl="0" eaLnBrk="1" latinLnBrk="0" hangingPunct="1">
              <a:spcBef>
                <a:spcPct val="20000"/>
              </a:spcBef>
              <a:buClr>
                <a:schemeClr val="tx2"/>
              </a:buClr>
              <a:buFont typeface="Arial" pitchFamily="34" charset="0"/>
              <a:buChar char="»"/>
              <a:defRPr sz="2133" kern="1200">
                <a:solidFill>
                  <a:srgbClr val="FFFFFF"/>
                </a:solidFill>
                <a:latin typeface="Verdana" pitchFamily="34" charset="0"/>
                <a:ea typeface="Verdana" pitchFamily="34" charset="0"/>
                <a:cs typeface="Verdana"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r>
              <a:rPr lang="en-US" sz="2000" b="1" dirty="0"/>
              <a:t>Proposed Solution – Data Migration, Enhancements, Features &amp; Customizations, Process Automation, Testing</a:t>
            </a:r>
          </a:p>
          <a:p>
            <a:endParaRPr lang="en-GB" sz="2000" b="1" dirty="0"/>
          </a:p>
        </p:txBody>
      </p:sp>
    </p:spTree>
    <p:extLst>
      <p:ext uri="{BB962C8B-B14F-4D97-AF65-F5344CB8AC3E}">
        <p14:creationId xmlns:p14="http://schemas.microsoft.com/office/powerpoint/2010/main" val="14455672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E3C5BA2-06DF-4F6E-927D-C6A2D1349AF5}"/>
              </a:ext>
            </a:extLst>
          </p:cNvPr>
          <p:cNvSpPr>
            <a:spLocks noGrp="1"/>
          </p:cNvSpPr>
          <p:nvPr>
            <p:ph type="body" sz="quarter" idx="10"/>
          </p:nvPr>
        </p:nvSpPr>
        <p:spPr/>
        <p:txBody>
          <a:bodyPr/>
          <a:lstStyle/>
          <a:p>
            <a:r>
              <a:rPr lang="en-GB"/>
              <a:t>Proposed Solution - </a:t>
            </a:r>
            <a:br>
              <a:rPr lang="en-GB"/>
            </a:br>
            <a:r>
              <a:rPr lang="en-GB"/>
              <a:t>Scope 4 – Process Automation</a:t>
            </a:r>
          </a:p>
        </p:txBody>
      </p:sp>
      <p:sp>
        <p:nvSpPr>
          <p:cNvPr id="4" name="Text Placeholder 3">
            <a:extLst>
              <a:ext uri="{FF2B5EF4-FFF2-40B4-BE49-F238E27FC236}">
                <a16:creationId xmlns:a16="http://schemas.microsoft.com/office/drawing/2014/main" id="{0B111658-10B2-4140-B0EF-78F4BAA0B0A7}"/>
              </a:ext>
            </a:extLst>
          </p:cNvPr>
          <p:cNvSpPr>
            <a:spLocks noGrp="1"/>
          </p:cNvSpPr>
          <p:nvPr>
            <p:ph type="body" sz="quarter" idx="16"/>
          </p:nvPr>
        </p:nvSpPr>
        <p:spPr>
          <a:xfrm>
            <a:off x="435577" y="2537691"/>
            <a:ext cx="660437" cy="569387"/>
          </a:xfrm>
        </p:spPr>
        <p:txBody>
          <a:bodyPr vert="horz" wrap="none" lIns="0" tIns="0" rIns="0" bIns="0" rtlCol="0" anchor="t">
            <a:spAutoFit/>
          </a:bodyPr>
          <a:lstStyle/>
          <a:p>
            <a:r>
              <a:rPr lang="en-GB" sz="3700">
                <a:ea typeface="Verdana"/>
              </a:rPr>
              <a:t>04.</a:t>
            </a:r>
            <a:endParaRPr lang="en-GB"/>
          </a:p>
        </p:txBody>
      </p:sp>
    </p:spTree>
    <p:extLst>
      <p:ext uri="{BB962C8B-B14F-4D97-AF65-F5344CB8AC3E}">
        <p14:creationId xmlns:p14="http://schemas.microsoft.com/office/powerpoint/2010/main" val="196884914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ounded Rectangle 38"/>
          <p:cNvSpPr/>
          <p:nvPr/>
        </p:nvSpPr>
        <p:spPr>
          <a:xfrm>
            <a:off x="598300" y="1719266"/>
            <a:ext cx="3299017" cy="3125140"/>
          </a:xfrm>
          <a:prstGeom prst="roundRect">
            <a:avLst>
              <a:gd name="adj" fmla="val 3496"/>
            </a:avLst>
          </a:prstGeom>
          <a:gradFill flip="none" rotWithShape="1">
            <a:gsLst>
              <a:gs pos="0">
                <a:schemeClr val="bg1"/>
              </a:gs>
              <a:gs pos="50000">
                <a:schemeClr val="bg1"/>
              </a:gs>
              <a:gs pos="100000">
                <a:schemeClr val="bg1">
                  <a:lumMod val="85000"/>
                </a:schemeClr>
              </a:gs>
            </a:gsLst>
            <a:lin ang="8100000" scaled="1"/>
            <a:tileRect/>
          </a:gradFill>
          <a:ln w="19050">
            <a:noFill/>
            <a:round/>
            <a:headEnd/>
            <a:tailEnd/>
          </a:ln>
          <a:effectLst>
            <a:outerShdw blurRad="342900" dist="76200" dir="1980000" algn="ctr" rotWithShape="0">
              <a:srgbClr val="000000">
                <a:alpha val="41000"/>
              </a:srgbClr>
            </a:outerShdw>
          </a:effectLst>
        </p:spPr>
        <p:txBody>
          <a:bodyPr wrap="square" lIns="46037" tIns="23812" rIns="46037" bIns="23812" anchor="t"/>
          <a:lstStyle/>
          <a:p>
            <a:pPr algn="ctr" defTabSz="228594" eaLnBrk="0" fontAlgn="base" hangingPunct="0">
              <a:spcBef>
                <a:spcPct val="0"/>
              </a:spcBef>
              <a:spcAft>
                <a:spcPct val="0"/>
              </a:spcAft>
              <a:defRPr/>
            </a:pPr>
            <a:endParaRPr lang="en-US" sz="1400">
              <a:solidFill>
                <a:prstClr val="black"/>
              </a:solidFill>
              <a:latin typeface="+mj-lt"/>
              <a:cs typeface="Arial" charset="0"/>
            </a:endParaRPr>
          </a:p>
        </p:txBody>
      </p:sp>
      <p:sp>
        <p:nvSpPr>
          <p:cNvPr id="49" name="Rounded Rectangle 48"/>
          <p:cNvSpPr/>
          <p:nvPr/>
        </p:nvSpPr>
        <p:spPr>
          <a:xfrm>
            <a:off x="4264028" y="1719265"/>
            <a:ext cx="2246313" cy="4197512"/>
          </a:xfrm>
          <a:prstGeom prst="roundRect">
            <a:avLst>
              <a:gd name="adj" fmla="val 2161"/>
            </a:avLst>
          </a:prstGeom>
          <a:gradFill flip="none" rotWithShape="1">
            <a:gsLst>
              <a:gs pos="0">
                <a:schemeClr val="bg1"/>
              </a:gs>
              <a:gs pos="50000">
                <a:schemeClr val="bg1"/>
              </a:gs>
              <a:gs pos="100000">
                <a:schemeClr val="bg1">
                  <a:lumMod val="85000"/>
                </a:schemeClr>
              </a:gs>
            </a:gsLst>
            <a:lin ang="8100000" scaled="1"/>
            <a:tileRect/>
          </a:gradFill>
          <a:ln w="19050">
            <a:noFill/>
            <a:round/>
            <a:headEnd/>
            <a:tailEnd/>
          </a:ln>
          <a:effectLst>
            <a:outerShdw blurRad="342900" dist="76200" dir="1980000" algn="ctr" rotWithShape="0">
              <a:srgbClr val="000000">
                <a:alpha val="41000"/>
              </a:srgbClr>
            </a:outerShdw>
          </a:effectLst>
        </p:spPr>
        <p:txBody>
          <a:bodyPr wrap="square" lIns="46037" tIns="23812" rIns="46037" bIns="23812" anchor="t"/>
          <a:lstStyle/>
          <a:p>
            <a:pPr algn="ctr" defTabSz="228594" eaLnBrk="0" fontAlgn="base" hangingPunct="0">
              <a:spcBef>
                <a:spcPct val="0"/>
              </a:spcBef>
              <a:spcAft>
                <a:spcPct val="0"/>
              </a:spcAft>
              <a:defRPr/>
            </a:pPr>
            <a:endParaRPr lang="en-US" sz="1400">
              <a:solidFill>
                <a:prstClr val="black"/>
              </a:solidFill>
              <a:latin typeface="+mj-lt"/>
              <a:cs typeface="Arial" charset="0"/>
            </a:endParaRPr>
          </a:p>
        </p:txBody>
      </p:sp>
      <p:sp>
        <p:nvSpPr>
          <p:cNvPr id="67" name="Rounded Rectangle 66"/>
          <p:cNvSpPr/>
          <p:nvPr/>
        </p:nvSpPr>
        <p:spPr>
          <a:xfrm>
            <a:off x="6869703" y="1719265"/>
            <a:ext cx="1925572" cy="4197512"/>
          </a:xfrm>
          <a:prstGeom prst="roundRect">
            <a:avLst>
              <a:gd name="adj" fmla="val 2161"/>
            </a:avLst>
          </a:prstGeom>
          <a:gradFill flip="none" rotWithShape="1">
            <a:gsLst>
              <a:gs pos="0">
                <a:schemeClr val="bg1"/>
              </a:gs>
              <a:gs pos="50000">
                <a:schemeClr val="bg1"/>
              </a:gs>
              <a:gs pos="100000">
                <a:schemeClr val="bg1">
                  <a:lumMod val="85000"/>
                </a:schemeClr>
              </a:gs>
            </a:gsLst>
            <a:lin ang="8100000" scaled="1"/>
            <a:tileRect/>
          </a:gradFill>
          <a:ln w="19050">
            <a:noFill/>
            <a:round/>
            <a:headEnd/>
            <a:tailEnd/>
          </a:ln>
          <a:effectLst>
            <a:outerShdw blurRad="342900" dist="76200" dir="1980000" algn="ctr" rotWithShape="0">
              <a:srgbClr val="000000">
                <a:alpha val="41000"/>
              </a:srgbClr>
            </a:outerShdw>
          </a:effectLst>
        </p:spPr>
        <p:txBody>
          <a:bodyPr wrap="square" lIns="46037" tIns="23812" rIns="46037" bIns="23812" anchor="t"/>
          <a:lstStyle/>
          <a:p>
            <a:pPr algn="ctr" defTabSz="228594" eaLnBrk="0" fontAlgn="base" hangingPunct="0">
              <a:spcBef>
                <a:spcPct val="0"/>
              </a:spcBef>
              <a:spcAft>
                <a:spcPct val="0"/>
              </a:spcAft>
              <a:defRPr/>
            </a:pPr>
            <a:endParaRPr lang="en-US" sz="1400">
              <a:solidFill>
                <a:prstClr val="black"/>
              </a:solidFill>
              <a:latin typeface="+mj-lt"/>
              <a:cs typeface="Arial" charset="0"/>
            </a:endParaRPr>
          </a:p>
        </p:txBody>
      </p:sp>
      <p:sp>
        <p:nvSpPr>
          <p:cNvPr id="68" name="Rounded Rectangle 67"/>
          <p:cNvSpPr/>
          <p:nvPr/>
        </p:nvSpPr>
        <p:spPr>
          <a:xfrm>
            <a:off x="9193784" y="1701815"/>
            <a:ext cx="2585840" cy="4197512"/>
          </a:xfrm>
          <a:prstGeom prst="roundRect">
            <a:avLst>
              <a:gd name="adj" fmla="val 2161"/>
            </a:avLst>
          </a:prstGeom>
          <a:gradFill flip="none" rotWithShape="1">
            <a:gsLst>
              <a:gs pos="0">
                <a:schemeClr val="bg1"/>
              </a:gs>
              <a:gs pos="50000">
                <a:schemeClr val="bg1"/>
              </a:gs>
              <a:gs pos="100000">
                <a:schemeClr val="bg1">
                  <a:lumMod val="85000"/>
                </a:schemeClr>
              </a:gs>
            </a:gsLst>
            <a:lin ang="8100000" scaled="1"/>
            <a:tileRect/>
          </a:gradFill>
          <a:ln w="19050">
            <a:noFill/>
            <a:round/>
            <a:headEnd/>
            <a:tailEnd/>
          </a:ln>
          <a:effectLst>
            <a:outerShdw blurRad="342900" dist="76200" dir="1980000" algn="ctr" rotWithShape="0">
              <a:srgbClr val="000000">
                <a:alpha val="41000"/>
              </a:srgbClr>
            </a:outerShdw>
          </a:effectLst>
        </p:spPr>
        <p:txBody>
          <a:bodyPr wrap="square" lIns="46037" tIns="23812" rIns="46037" bIns="23812" anchor="t"/>
          <a:lstStyle/>
          <a:p>
            <a:pPr algn="ctr" defTabSz="228594" eaLnBrk="0" fontAlgn="base" hangingPunct="0">
              <a:spcBef>
                <a:spcPct val="0"/>
              </a:spcBef>
              <a:spcAft>
                <a:spcPct val="0"/>
              </a:spcAft>
              <a:defRPr/>
            </a:pPr>
            <a:endParaRPr lang="en-US" sz="1400">
              <a:solidFill>
                <a:prstClr val="black"/>
              </a:solidFill>
              <a:latin typeface="+mj-lt"/>
              <a:cs typeface="Arial" charset="0"/>
            </a:endParaRPr>
          </a:p>
        </p:txBody>
      </p:sp>
      <p:sp>
        <p:nvSpPr>
          <p:cNvPr id="89090" name="Title 1"/>
          <p:cNvSpPr>
            <a:spLocks noGrp="1"/>
          </p:cNvSpPr>
          <p:nvPr>
            <p:ph type="title"/>
          </p:nvPr>
        </p:nvSpPr>
        <p:spPr>
          <a:xfrm>
            <a:off x="264318" y="130142"/>
            <a:ext cx="11663363" cy="960438"/>
          </a:xfrm>
        </p:spPr>
        <p:txBody>
          <a:bodyPr>
            <a:normAutofit/>
          </a:bodyPr>
          <a:lstStyle/>
          <a:p>
            <a:r>
              <a:rPr lang="en-US" altLang="en-US"/>
              <a:t>Atos’ Process Assessment Framework</a:t>
            </a:r>
          </a:p>
        </p:txBody>
      </p:sp>
      <p:sp>
        <p:nvSpPr>
          <p:cNvPr id="89091" name="TextBox 5"/>
          <p:cNvSpPr txBox="1">
            <a:spLocks noChangeArrowheads="1"/>
          </p:cNvSpPr>
          <p:nvPr/>
        </p:nvSpPr>
        <p:spPr bwMode="auto">
          <a:xfrm rot="-5400000">
            <a:off x="-21583" y="3502995"/>
            <a:ext cx="151676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defTabSz="1219170">
              <a:defRPr/>
            </a:pPr>
            <a:r>
              <a:rPr lang="en-US" altLang="en-US" sz="1200" b="1">
                <a:solidFill>
                  <a:prstClr val="black"/>
                </a:solidFill>
                <a:latin typeface="+mj-lt"/>
              </a:rPr>
              <a:t>Process Inventory</a:t>
            </a:r>
          </a:p>
        </p:txBody>
      </p:sp>
      <p:sp>
        <p:nvSpPr>
          <p:cNvPr id="89092" name="TextBox 9"/>
          <p:cNvSpPr txBox="1">
            <a:spLocks noChangeArrowheads="1"/>
          </p:cNvSpPr>
          <p:nvPr/>
        </p:nvSpPr>
        <p:spPr bwMode="auto">
          <a:xfrm>
            <a:off x="1334483" y="2230581"/>
            <a:ext cx="92766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defTabSz="1219170">
              <a:defRPr/>
            </a:pPr>
            <a:r>
              <a:rPr lang="en-US" altLang="en-US" sz="1200" b="1">
                <a:solidFill>
                  <a:prstClr val="black"/>
                </a:solidFill>
                <a:latin typeface="+mj-lt"/>
              </a:rPr>
              <a:t>Business Areas</a:t>
            </a:r>
          </a:p>
        </p:txBody>
      </p:sp>
      <p:sp>
        <p:nvSpPr>
          <p:cNvPr id="11" name="Rectangle 10"/>
          <p:cNvSpPr/>
          <p:nvPr/>
        </p:nvSpPr>
        <p:spPr>
          <a:xfrm>
            <a:off x="897523" y="2950605"/>
            <a:ext cx="1555767" cy="267944"/>
          </a:xfrm>
          <a:prstGeom prst="rect">
            <a:avLst/>
          </a:prstGeom>
          <a:solidFill>
            <a:schemeClr val="accent2">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r>
              <a:rPr lang="en-US" sz="1051" b="1">
                <a:solidFill>
                  <a:prstClr val="black"/>
                </a:solidFill>
                <a:latin typeface="+mj-lt"/>
                <a:cs typeface="Arial" pitchFamily="34" charset="0"/>
              </a:rPr>
              <a:t>Plan Sponsors</a:t>
            </a:r>
          </a:p>
        </p:txBody>
      </p:sp>
      <p:sp>
        <p:nvSpPr>
          <p:cNvPr id="12" name="Rectangle 11"/>
          <p:cNvSpPr/>
          <p:nvPr/>
        </p:nvSpPr>
        <p:spPr>
          <a:xfrm>
            <a:off x="897523" y="3255405"/>
            <a:ext cx="1555767" cy="267944"/>
          </a:xfrm>
          <a:prstGeom prst="rect">
            <a:avLst/>
          </a:prstGeom>
          <a:solidFill>
            <a:schemeClr val="accent2">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r>
              <a:rPr lang="en-US" sz="1051" b="1">
                <a:solidFill>
                  <a:prstClr val="black"/>
                </a:solidFill>
                <a:latin typeface="+mj-lt"/>
                <a:cs typeface="Arial" pitchFamily="34" charset="0"/>
              </a:rPr>
              <a:t>Advisors</a:t>
            </a:r>
          </a:p>
        </p:txBody>
      </p:sp>
      <p:sp>
        <p:nvSpPr>
          <p:cNvPr id="13" name="Rectangle 12"/>
          <p:cNvSpPr/>
          <p:nvPr/>
        </p:nvSpPr>
        <p:spPr>
          <a:xfrm>
            <a:off x="2546352" y="2323543"/>
            <a:ext cx="1279525" cy="288000"/>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r>
              <a:rPr lang="en-US" sz="900" b="1">
                <a:solidFill>
                  <a:prstClr val="white"/>
                </a:solidFill>
                <a:latin typeface="+mj-lt"/>
                <a:cs typeface="Arial" pitchFamily="34" charset="0"/>
              </a:rPr>
              <a:t>Add change Banking Info</a:t>
            </a:r>
          </a:p>
        </p:txBody>
      </p:sp>
      <p:sp>
        <p:nvSpPr>
          <p:cNvPr id="37" name="Down Arrow 36"/>
          <p:cNvSpPr/>
          <p:nvPr/>
        </p:nvSpPr>
        <p:spPr>
          <a:xfrm>
            <a:off x="1675280" y="2655331"/>
            <a:ext cx="228600" cy="228600"/>
          </a:xfrm>
          <a:prstGeom prst="downArrow">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endParaRPr lang="en-US">
              <a:solidFill>
                <a:prstClr val="white"/>
              </a:solidFill>
              <a:latin typeface="+mj-lt"/>
            </a:endParaRPr>
          </a:p>
        </p:txBody>
      </p:sp>
      <p:sp>
        <p:nvSpPr>
          <p:cNvPr id="89098" name="TextBox 9"/>
          <p:cNvSpPr txBox="1">
            <a:spLocks noChangeArrowheads="1"/>
          </p:cNvSpPr>
          <p:nvPr/>
        </p:nvSpPr>
        <p:spPr bwMode="auto">
          <a:xfrm>
            <a:off x="893851" y="1178114"/>
            <a:ext cx="265104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defTabSz="1219170">
              <a:defRPr/>
            </a:pPr>
            <a:r>
              <a:rPr lang="en-US" altLang="en-US" sz="1200" b="1">
                <a:solidFill>
                  <a:prstClr val="black"/>
                </a:solidFill>
                <a:latin typeface="+mj-lt"/>
              </a:rPr>
              <a:t>Process Clustering </a:t>
            </a:r>
          </a:p>
          <a:p>
            <a:pPr algn="ctr" defTabSz="1219170">
              <a:defRPr/>
            </a:pPr>
            <a:r>
              <a:rPr lang="en-US" altLang="en-US" sz="1200" b="1">
                <a:solidFill>
                  <a:prstClr val="black"/>
                </a:solidFill>
                <a:latin typeface="+mj-lt"/>
              </a:rPr>
              <a:t>(Stage I)</a:t>
            </a:r>
          </a:p>
        </p:txBody>
      </p:sp>
      <p:sp>
        <p:nvSpPr>
          <p:cNvPr id="89099" name="Pentagon 47"/>
          <p:cNvSpPr>
            <a:spLocks noChangeArrowheads="1"/>
          </p:cNvSpPr>
          <p:nvPr/>
        </p:nvSpPr>
        <p:spPr bwMode="auto">
          <a:xfrm>
            <a:off x="3986215" y="2442605"/>
            <a:ext cx="122237" cy="1706563"/>
          </a:xfrm>
          <a:prstGeom prst="homePlate">
            <a:avLst>
              <a:gd name="adj" fmla="val 100000"/>
            </a:avLst>
          </a:prstGeom>
          <a:solidFill>
            <a:srgbClr val="E25E14"/>
          </a:solidFill>
          <a:ln>
            <a:noFill/>
          </a:ln>
          <a:extLst>
            <a:ext uri="{91240B29-F687-4F45-9708-019B960494DF}">
              <a14:hiddenLine xmlns:a14="http://schemas.microsoft.com/office/drawing/2010/main" w="12700" algn="ctr">
                <a:solidFill>
                  <a:srgbClr val="000000"/>
                </a:solidFill>
                <a:round/>
                <a:headEnd/>
                <a:tailEnd/>
              </a14:hiddenLine>
            </a:ext>
          </a:extLst>
        </p:spPr>
        <p:txBody>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defTabSz="1219170">
              <a:defRPr/>
            </a:pPr>
            <a:endParaRPr lang="en-US" altLang="en-US" sz="2400">
              <a:solidFill>
                <a:prstClr val="black"/>
              </a:solidFill>
              <a:latin typeface="+mj-lt"/>
            </a:endParaRPr>
          </a:p>
        </p:txBody>
      </p:sp>
      <p:sp>
        <p:nvSpPr>
          <p:cNvPr id="50" name="Rounded Rectangle 49"/>
          <p:cNvSpPr/>
          <p:nvPr/>
        </p:nvSpPr>
        <p:spPr>
          <a:xfrm>
            <a:off x="6999448" y="3726551"/>
            <a:ext cx="1687843" cy="1078291"/>
          </a:xfrm>
          <a:prstGeom prst="roundRect">
            <a:avLst>
              <a:gd name="adj" fmla="val 5840"/>
            </a:avLst>
          </a:prstGeom>
          <a:noFill/>
          <a:ln w="19050">
            <a:solidFill>
              <a:schemeClr val="accent4"/>
            </a:solidFill>
            <a:prstDash val="solid"/>
          </a:ln>
        </p:spPr>
        <p:style>
          <a:lnRef idx="2">
            <a:schemeClr val="accent1">
              <a:shade val="50000"/>
            </a:schemeClr>
          </a:lnRef>
          <a:fillRef idx="1">
            <a:schemeClr val="accent1"/>
          </a:fillRef>
          <a:effectRef idx="0">
            <a:schemeClr val="accent1"/>
          </a:effectRef>
          <a:fontRef idx="minor">
            <a:schemeClr val="lt1"/>
          </a:fontRef>
        </p:style>
        <p:txBody>
          <a:bodyPr/>
          <a:lstStyle/>
          <a:p>
            <a:pPr algn="ctr" defTabSz="1219170">
              <a:defRPr/>
            </a:pPr>
            <a:r>
              <a:rPr lang="en-US" sz="1100" b="1">
                <a:solidFill>
                  <a:prstClr val="black"/>
                </a:solidFill>
                <a:latin typeface="+mj-lt"/>
              </a:rPr>
              <a:t>Cost Benefit Analysis</a:t>
            </a:r>
          </a:p>
        </p:txBody>
      </p:sp>
      <p:sp>
        <p:nvSpPr>
          <p:cNvPr id="89102" name="TextBox 9"/>
          <p:cNvSpPr txBox="1">
            <a:spLocks noChangeArrowheads="1"/>
          </p:cNvSpPr>
          <p:nvPr/>
        </p:nvSpPr>
        <p:spPr bwMode="auto">
          <a:xfrm>
            <a:off x="4564884" y="1178114"/>
            <a:ext cx="160332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defTabSz="1219170">
              <a:defRPr/>
            </a:pPr>
            <a:r>
              <a:rPr lang="en-US" altLang="en-US" sz="1200" b="1">
                <a:solidFill>
                  <a:prstClr val="black"/>
                </a:solidFill>
                <a:latin typeface="+mj-lt"/>
              </a:rPr>
              <a:t>Process Evaluation </a:t>
            </a:r>
          </a:p>
          <a:p>
            <a:pPr algn="ctr" defTabSz="1219170">
              <a:defRPr/>
            </a:pPr>
            <a:r>
              <a:rPr lang="en-US" altLang="en-US" sz="1200" b="1">
                <a:solidFill>
                  <a:prstClr val="black"/>
                </a:solidFill>
                <a:latin typeface="+mj-lt"/>
              </a:rPr>
              <a:t>(Stage II)</a:t>
            </a:r>
          </a:p>
        </p:txBody>
      </p:sp>
      <p:sp>
        <p:nvSpPr>
          <p:cNvPr id="89103" name="TextBox 9"/>
          <p:cNvSpPr txBox="1">
            <a:spLocks noChangeArrowheads="1"/>
          </p:cNvSpPr>
          <p:nvPr/>
        </p:nvSpPr>
        <p:spPr bwMode="auto">
          <a:xfrm>
            <a:off x="6873975" y="1178114"/>
            <a:ext cx="188014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defTabSz="1219170">
              <a:defRPr/>
            </a:pPr>
            <a:r>
              <a:rPr lang="en-US" altLang="en-US" sz="1200" b="1">
                <a:solidFill>
                  <a:prstClr val="black"/>
                </a:solidFill>
                <a:latin typeface="+mj-lt"/>
              </a:rPr>
              <a:t>Decision Making</a:t>
            </a:r>
          </a:p>
          <a:p>
            <a:pPr algn="ctr" defTabSz="1219170">
              <a:defRPr/>
            </a:pPr>
            <a:r>
              <a:rPr lang="en-US" altLang="en-US" sz="1200" b="1">
                <a:solidFill>
                  <a:prstClr val="black"/>
                </a:solidFill>
                <a:latin typeface="+mj-lt"/>
              </a:rPr>
              <a:t>(Stage III)</a:t>
            </a:r>
          </a:p>
        </p:txBody>
      </p:sp>
      <p:sp>
        <p:nvSpPr>
          <p:cNvPr id="54" name="Rounded Rectangle 53"/>
          <p:cNvSpPr/>
          <p:nvPr/>
        </p:nvSpPr>
        <p:spPr>
          <a:xfrm>
            <a:off x="9327564" y="3720720"/>
            <a:ext cx="2314145" cy="1405253"/>
          </a:xfrm>
          <a:prstGeom prst="roundRect">
            <a:avLst>
              <a:gd name="adj" fmla="val 5840"/>
            </a:avLst>
          </a:prstGeom>
          <a:noFill/>
          <a:ln w="19050">
            <a:solidFill>
              <a:schemeClr val="accent4"/>
            </a:solidFill>
            <a:prstDash val="solid"/>
          </a:ln>
        </p:spPr>
        <p:style>
          <a:lnRef idx="2">
            <a:schemeClr val="accent1">
              <a:shade val="50000"/>
            </a:schemeClr>
          </a:lnRef>
          <a:fillRef idx="1">
            <a:schemeClr val="accent1"/>
          </a:fillRef>
          <a:effectRef idx="0">
            <a:schemeClr val="accent1"/>
          </a:effectRef>
          <a:fontRef idx="minor">
            <a:schemeClr val="lt1"/>
          </a:fontRef>
        </p:style>
        <p:txBody>
          <a:bodyPr/>
          <a:lstStyle/>
          <a:p>
            <a:pPr algn="ctr" defTabSz="1219170">
              <a:defRPr/>
            </a:pPr>
            <a:r>
              <a:rPr lang="en-US" sz="1100" b="1">
                <a:solidFill>
                  <a:prstClr val="black"/>
                </a:solidFill>
                <a:latin typeface="+mj-lt"/>
              </a:rPr>
              <a:t>Implementation Roadmap</a:t>
            </a:r>
          </a:p>
        </p:txBody>
      </p:sp>
      <p:sp>
        <p:nvSpPr>
          <p:cNvPr id="89105" name="Pentagon 54"/>
          <p:cNvSpPr>
            <a:spLocks noChangeArrowheads="1"/>
          </p:cNvSpPr>
          <p:nvPr/>
        </p:nvSpPr>
        <p:spPr bwMode="auto">
          <a:xfrm>
            <a:off x="6675440" y="2967037"/>
            <a:ext cx="122237" cy="1706563"/>
          </a:xfrm>
          <a:prstGeom prst="homePlate">
            <a:avLst>
              <a:gd name="adj" fmla="val 100000"/>
            </a:avLst>
          </a:prstGeom>
          <a:solidFill>
            <a:srgbClr val="E25E14"/>
          </a:solidFill>
          <a:ln>
            <a:noFill/>
          </a:ln>
          <a:extLst>
            <a:ext uri="{91240B29-F687-4F45-9708-019B960494DF}">
              <a14:hiddenLine xmlns:a14="http://schemas.microsoft.com/office/drawing/2010/main" w="12700" algn="ctr">
                <a:solidFill>
                  <a:srgbClr val="000000"/>
                </a:solidFill>
                <a:round/>
                <a:headEnd/>
                <a:tailEnd/>
              </a14:hiddenLine>
            </a:ext>
          </a:extLst>
        </p:spPr>
        <p:txBody>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defTabSz="1219170">
              <a:defRPr/>
            </a:pPr>
            <a:endParaRPr lang="en-US" altLang="en-US" sz="2400">
              <a:solidFill>
                <a:prstClr val="black"/>
              </a:solidFill>
              <a:latin typeface="+mj-lt"/>
            </a:endParaRPr>
          </a:p>
        </p:txBody>
      </p:sp>
      <p:sp>
        <p:nvSpPr>
          <p:cNvPr id="89106" name="Right Arrow 55"/>
          <p:cNvSpPr>
            <a:spLocks noChangeArrowheads="1"/>
          </p:cNvSpPr>
          <p:nvPr/>
        </p:nvSpPr>
        <p:spPr bwMode="auto">
          <a:xfrm>
            <a:off x="4041777" y="1301938"/>
            <a:ext cx="295275" cy="249239"/>
          </a:xfrm>
          <a:prstGeom prst="rightArrow">
            <a:avLst>
              <a:gd name="adj1" fmla="val 50000"/>
              <a:gd name="adj2" fmla="val 49977"/>
            </a:avLst>
          </a:prstGeom>
          <a:solidFill>
            <a:schemeClr val="tx2"/>
          </a:solidFill>
          <a:ln>
            <a:noFill/>
          </a:ln>
        </p:spPr>
        <p:txBody>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defTabSz="1219170">
              <a:defRPr/>
            </a:pPr>
            <a:endParaRPr lang="en-US" altLang="en-US" sz="2400">
              <a:solidFill>
                <a:prstClr val="black"/>
              </a:solidFill>
              <a:latin typeface="+mj-lt"/>
            </a:endParaRPr>
          </a:p>
        </p:txBody>
      </p:sp>
      <p:sp>
        <p:nvSpPr>
          <p:cNvPr id="89107" name="Right Arrow 56"/>
          <p:cNvSpPr>
            <a:spLocks noChangeArrowheads="1"/>
          </p:cNvSpPr>
          <p:nvPr/>
        </p:nvSpPr>
        <p:spPr bwMode="auto">
          <a:xfrm>
            <a:off x="6515101" y="1301938"/>
            <a:ext cx="295275" cy="249239"/>
          </a:xfrm>
          <a:prstGeom prst="rightArrow">
            <a:avLst>
              <a:gd name="adj1" fmla="val 50000"/>
              <a:gd name="adj2" fmla="val 49977"/>
            </a:avLst>
          </a:prstGeom>
          <a:solidFill>
            <a:schemeClr val="tx2"/>
          </a:solidFill>
          <a:ln>
            <a:noFill/>
          </a:ln>
        </p:spPr>
        <p:txBody>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defTabSz="1219170">
              <a:defRPr/>
            </a:pPr>
            <a:endParaRPr lang="en-US" altLang="en-US" sz="2400">
              <a:solidFill>
                <a:prstClr val="black"/>
              </a:solidFill>
              <a:latin typeface="+mj-lt"/>
            </a:endParaRPr>
          </a:p>
        </p:txBody>
      </p:sp>
      <p:pic>
        <p:nvPicPr>
          <p:cNvPr id="8910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436061" y="4084259"/>
            <a:ext cx="2062139" cy="872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0" name="Rounded Rectangle 59"/>
          <p:cNvSpPr/>
          <p:nvPr/>
        </p:nvSpPr>
        <p:spPr>
          <a:xfrm>
            <a:off x="9334438" y="2277505"/>
            <a:ext cx="2307271" cy="1285875"/>
          </a:xfrm>
          <a:prstGeom prst="roundRect">
            <a:avLst>
              <a:gd name="adj" fmla="val 5840"/>
            </a:avLst>
          </a:prstGeom>
          <a:noFill/>
          <a:ln w="19050">
            <a:solidFill>
              <a:schemeClr val="accent4"/>
            </a:solidFill>
            <a:prstDash val="solid"/>
          </a:ln>
        </p:spPr>
        <p:style>
          <a:lnRef idx="2">
            <a:schemeClr val="accent1">
              <a:shade val="50000"/>
            </a:schemeClr>
          </a:lnRef>
          <a:fillRef idx="1">
            <a:schemeClr val="accent1"/>
          </a:fillRef>
          <a:effectRef idx="0">
            <a:schemeClr val="accent1"/>
          </a:effectRef>
          <a:fontRef idx="minor">
            <a:schemeClr val="lt1"/>
          </a:fontRef>
        </p:style>
        <p:txBody>
          <a:bodyPr/>
          <a:lstStyle/>
          <a:p>
            <a:pPr algn="ctr" defTabSz="1219170">
              <a:defRPr/>
            </a:pPr>
            <a:r>
              <a:rPr lang="en-US" sz="1100" b="1">
                <a:solidFill>
                  <a:prstClr val="black"/>
                </a:solidFill>
                <a:latin typeface="+mj-lt"/>
              </a:rPr>
              <a:t>Heat Map</a:t>
            </a:r>
          </a:p>
        </p:txBody>
      </p:sp>
      <p:grpSp>
        <p:nvGrpSpPr>
          <p:cNvPr id="5" name="Group 4">
            <a:extLst>
              <a:ext uri="{FF2B5EF4-FFF2-40B4-BE49-F238E27FC236}">
                <a16:creationId xmlns:a16="http://schemas.microsoft.com/office/drawing/2014/main" id="{846BDD66-5676-4731-B1FD-7A7D729C35C2}"/>
              </a:ext>
            </a:extLst>
          </p:cNvPr>
          <p:cNvGrpSpPr/>
          <p:nvPr/>
        </p:nvGrpSpPr>
        <p:grpSpPr>
          <a:xfrm>
            <a:off x="9482941" y="2442604"/>
            <a:ext cx="2035183" cy="1039983"/>
            <a:chOff x="9482941" y="2442604"/>
            <a:chExt cx="2035183" cy="1039983"/>
          </a:xfrm>
        </p:grpSpPr>
        <p:pic>
          <p:nvPicPr>
            <p:cNvPr id="79" name="Picture 5"/>
            <p:cNvPicPr>
              <a:picLocks noChangeAspect="1" noChangeArrowheads="1"/>
            </p:cNvPicPr>
            <p:nvPr/>
          </p:nvPicPr>
          <p:blipFill>
            <a:blip r:embed="rId4"/>
            <a:srcRect/>
            <a:stretch>
              <a:fillRect/>
            </a:stretch>
          </p:blipFill>
          <p:spPr bwMode="auto">
            <a:xfrm>
              <a:off x="9482941" y="2553241"/>
              <a:ext cx="1985996" cy="929346"/>
            </a:xfrm>
            <a:prstGeom prst="rect">
              <a:avLst/>
            </a:prstGeom>
            <a:noFill/>
            <a:ln w="9525">
              <a:noFill/>
              <a:miter lim="800000"/>
              <a:headEnd/>
              <a:tailEnd/>
            </a:ln>
            <a:effectLst>
              <a:prstShdw prst="shdw17" dist="17961" dir="2700000">
                <a:schemeClr val="accent1">
                  <a:gamma/>
                  <a:shade val="60000"/>
                  <a:invGamma/>
                </a:schemeClr>
              </a:prstShdw>
            </a:effectLst>
          </p:spPr>
        </p:pic>
        <p:sp>
          <p:nvSpPr>
            <p:cNvPr id="80" name="Rectangle 79"/>
            <p:cNvSpPr/>
            <p:nvPr/>
          </p:nvSpPr>
          <p:spPr bwMode="auto">
            <a:xfrm>
              <a:off x="9482941" y="3004638"/>
              <a:ext cx="403931" cy="338547"/>
            </a:xfrm>
            <a:prstGeom prst="rect">
              <a:avLst/>
            </a:prstGeom>
            <a:solidFill>
              <a:schemeClr val="accent2">
                <a:lumMod val="75000"/>
                <a:alpha val="21000"/>
              </a:schemeClr>
            </a:solidFill>
            <a:ln w="12700" cap="flat" cmpd="sng" algn="ctr">
              <a:noFill/>
              <a:prstDash val="solid"/>
              <a:round/>
              <a:headEnd type="none" w="med" len="med"/>
              <a:tailEnd type="none" w="med" len="med"/>
            </a:ln>
            <a:effectLst/>
          </p:spPr>
          <p:txBody>
            <a:bodyPr/>
            <a:lstStyle/>
            <a:p>
              <a:pPr defTabSz="1219170">
                <a:defRPr/>
              </a:pPr>
              <a:endParaRPr lang="en-US">
                <a:solidFill>
                  <a:prstClr val="black"/>
                </a:solidFill>
                <a:latin typeface="+mj-lt"/>
              </a:endParaRPr>
            </a:p>
          </p:txBody>
        </p:sp>
        <p:sp>
          <p:nvSpPr>
            <p:cNvPr id="81" name="Rectangle 80"/>
            <p:cNvSpPr/>
            <p:nvPr/>
          </p:nvSpPr>
          <p:spPr bwMode="auto">
            <a:xfrm>
              <a:off x="11059065" y="2495710"/>
              <a:ext cx="403931" cy="847474"/>
            </a:xfrm>
            <a:prstGeom prst="rect">
              <a:avLst/>
            </a:prstGeom>
            <a:solidFill>
              <a:schemeClr val="accent2">
                <a:lumMod val="75000"/>
                <a:alpha val="21000"/>
              </a:schemeClr>
            </a:solidFill>
            <a:ln w="12700" cap="flat" cmpd="sng" algn="ctr">
              <a:noFill/>
              <a:prstDash val="solid"/>
              <a:round/>
              <a:headEnd type="none" w="med" len="med"/>
              <a:tailEnd type="none" w="med" len="med"/>
            </a:ln>
            <a:effectLst/>
          </p:spPr>
          <p:txBody>
            <a:bodyPr/>
            <a:lstStyle/>
            <a:p>
              <a:pPr defTabSz="1219170">
                <a:defRPr/>
              </a:pPr>
              <a:endParaRPr lang="en-US">
                <a:solidFill>
                  <a:prstClr val="black"/>
                </a:solidFill>
                <a:latin typeface="+mj-lt"/>
              </a:endParaRPr>
            </a:p>
          </p:txBody>
        </p:sp>
        <p:sp>
          <p:nvSpPr>
            <p:cNvPr id="82" name="Rectangle 81"/>
            <p:cNvSpPr/>
            <p:nvPr/>
          </p:nvSpPr>
          <p:spPr bwMode="auto">
            <a:xfrm rot="5400000">
              <a:off x="10910582" y="2790771"/>
              <a:ext cx="338547" cy="766280"/>
            </a:xfrm>
            <a:prstGeom prst="rect">
              <a:avLst/>
            </a:prstGeom>
            <a:solidFill>
              <a:schemeClr val="accent2">
                <a:lumMod val="75000"/>
                <a:alpha val="21000"/>
              </a:schemeClr>
            </a:solidFill>
            <a:ln w="12700" cap="flat" cmpd="sng" algn="ctr">
              <a:noFill/>
              <a:prstDash val="solid"/>
              <a:round/>
              <a:headEnd type="none" w="med" len="med"/>
              <a:tailEnd type="none" w="med" len="med"/>
            </a:ln>
            <a:effectLst/>
          </p:spPr>
          <p:txBody>
            <a:bodyPr/>
            <a:lstStyle/>
            <a:p>
              <a:pPr defTabSz="1219170">
                <a:defRPr/>
              </a:pPr>
              <a:endParaRPr lang="en-US">
                <a:solidFill>
                  <a:prstClr val="black"/>
                </a:solidFill>
                <a:latin typeface="+mj-lt"/>
              </a:endParaRPr>
            </a:p>
          </p:txBody>
        </p:sp>
        <p:sp>
          <p:nvSpPr>
            <p:cNvPr id="83" name="Rectangle 82"/>
            <p:cNvSpPr/>
            <p:nvPr/>
          </p:nvSpPr>
          <p:spPr bwMode="auto">
            <a:xfrm rot="16200000">
              <a:off x="9965001" y="1968464"/>
              <a:ext cx="528841" cy="1477121"/>
            </a:xfrm>
            <a:prstGeom prst="rect">
              <a:avLst/>
            </a:prstGeom>
            <a:solidFill>
              <a:schemeClr val="accent2">
                <a:lumMod val="75000"/>
                <a:alpha val="21000"/>
              </a:schemeClr>
            </a:solidFill>
            <a:ln w="12700" cap="flat" cmpd="sng" algn="ctr">
              <a:noFill/>
              <a:prstDash val="solid"/>
              <a:round/>
              <a:headEnd type="none" w="med" len="med"/>
              <a:tailEnd type="none" w="med" len="med"/>
            </a:ln>
            <a:effectLst/>
          </p:spPr>
          <p:txBody>
            <a:bodyPr/>
            <a:lstStyle/>
            <a:p>
              <a:pPr defTabSz="1219170">
                <a:defRPr/>
              </a:pPr>
              <a:endParaRPr lang="en-US">
                <a:solidFill>
                  <a:prstClr val="black"/>
                </a:solidFill>
                <a:latin typeface="+mj-lt"/>
              </a:endParaRPr>
            </a:p>
          </p:txBody>
        </p:sp>
        <p:sp>
          <p:nvSpPr>
            <p:cNvPr id="84" name="Rectangle 83"/>
            <p:cNvSpPr/>
            <p:nvPr/>
          </p:nvSpPr>
          <p:spPr bwMode="auto">
            <a:xfrm rot="5400000">
              <a:off x="10129684" y="2789547"/>
              <a:ext cx="334121" cy="764301"/>
            </a:xfrm>
            <a:prstGeom prst="rect">
              <a:avLst/>
            </a:prstGeom>
            <a:solidFill>
              <a:schemeClr val="accent2">
                <a:lumMod val="75000"/>
                <a:alpha val="21000"/>
              </a:schemeClr>
            </a:solidFill>
            <a:ln w="12700" cap="flat" cmpd="sng" algn="ctr">
              <a:noFill/>
              <a:prstDash val="solid"/>
              <a:round/>
              <a:headEnd type="none" w="med" len="med"/>
              <a:tailEnd type="none" w="med" len="med"/>
            </a:ln>
            <a:effectLst/>
          </p:spPr>
          <p:txBody>
            <a:bodyPr/>
            <a:lstStyle/>
            <a:p>
              <a:pPr defTabSz="1219170">
                <a:defRPr/>
              </a:pPr>
              <a:endParaRPr lang="en-US">
                <a:solidFill>
                  <a:prstClr val="black"/>
                </a:solidFill>
                <a:latin typeface="+mj-lt"/>
              </a:endParaRPr>
            </a:p>
          </p:txBody>
        </p:sp>
        <p:sp>
          <p:nvSpPr>
            <p:cNvPr id="85" name="Rectangle 84"/>
            <p:cNvSpPr/>
            <p:nvPr/>
          </p:nvSpPr>
          <p:spPr bwMode="auto">
            <a:xfrm>
              <a:off x="10147524" y="3140269"/>
              <a:ext cx="458779" cy="307777"/>
            </a:xfrm>
            <a:prstGeom prst="rect">
              <a:avLst/>
            </a:prstGeom>
            <a:noFill/>
          </p:spPr>
          <p:txBody>
            <a:bodyPr wrap="none">
              <a:spAutoFit/>
            </a:bodyPr>
            <a:lstStyle/>
            <a:p>
              <a:pPr algn="ctr" defTabSz="1219170">
                <a:defRPr/>
              </a:pPr>
              <a:r>
                <a:rPr lang="en-US" sz="1400" b="1">
                  <a:ln w="12700">
                    <a:solidFill>
                      <a:srgbClr val="0066A1">
                        <a:satMod val="155000"/>
                      </a:srgbClr>
                    </a:solidFill>
                    <a:prstDash val="solid"/>
                  </a:ln>
                  <a:solidFill>
                    <a:srgbClr val="FFFFFF">
                      <a:tint val="85000"/>
                      <a:satMod val="155000"/>
                    </a:srgbClr>
                  </a:solidFill>
                  <a:effectLst>
                    <a:outerShdw blurRad="41275" dist="20320" dir="1800000" algn="tl" rotWithShape="0">
                      <a:srgbClr val="000000">
                        <a:alpha val="40000"/>
                      </a:srgbClr>
                    </a:outerShdw>
                  </a:effectLst>
                  <a:latin typeface="+mj-lt"/>
                </a:rPr>
                <a:t>W1</a:t>
              </a:r>
            </a:p>
          </p:txBody>
        </p:sp>
        <p:sp>
          <p:nvSpPr>
            <p:cNvPr id="86" name="Rectangle 85"/>
            <p:cNvSpPr/>
            <p:nvPr/>
          </p:nvSpPr>
          <p:spPr bwMode="auto">
            <a:xfrm>
              <a:off x="10686455" y="3072444"/>
              <a:ext cx="471603" cy="307777"/>
            </a:xfrm>
            <a:prstGeom prst="rect">
              <a:avLst/>
            </a:prstGeom>
            <a:noFill/>
          </p:spPr>
          <p:txBody>
            <a:bodyPr wrap="none">
              <a:spAutoFit/>
            </a:bodyPr>
            <a:lstStyle/>
            <a:p>
              <a:pPr algn="ctr" defTabSz="1219170">
                <a:defRPr/>
              </a:pPr>
              <a:r>
                <a:rPr lang="en-US" sz="1400" b="1">
                  <a:ln w="12700">
                    <a:solidFill>
                      <a:srgbClr val="0066A1">
                        <a:satMod val="155000"/>
                      </a:srgbClr>
                    </a:solidFill>
                    <a:prstDash val="solid"/>
                  </a:ln>
                  <a:solidFill>
                    <a:srgbClr val="FFFFFF">
                      <a:tint val="85000"/>
                      <a:satMod val="155000"/>
                    </a:srgbClr>
                  </a:solidFill>
                  <a:effectLst>
                    <a:outerShdw blurRad="41275" dist="20320" dir="1800000" algn="tl" rotWithShape="0">
                      <a:srgbClr val="000000">
                        <a:alpha val="40000"/>
                      </a:srgbClr>
                    </a:outerShdw>
                  </a:effectLst>
                  <a:latin typeface="+mj-lt"/>
                </a:rPr>
                <a:t>W2</a:t>
              </a:r>
            </a:p>
          </p:txBody>
        </p:sp>
        <p:sp>
          <p:nvSpPr>
            <p:cNvPr id="87" name="Rectangle 86"/>
            <p:cNvSpPr/>
            <p:nvPr/>
          </p:nvSpPr>
          <p:spPr bwMode="auto">
            <a:xfrm>
              <a:off x="11046521" y="2767228"/>
              <a:ext cx="471603" cy="307777"/>
            </a:xfrm>
            <a:prstGeom prst="rect">
              <a:avLst/>
            </a:prstGeom>
            <a:noFill/>
          </p:spPr>
          <p:txBody>
            <a:bodyPr wrap="none">
              <a:spAutoFit/>
            </a:bodyPr>
            <a:lstStyle/>
            <a:p>
              <a:pPr algn="ctr" defTabSz="1219170">
                <a:defRPr/>
              </a:pPr>
              <a:r>
                <a:rPr lang="en-US" sz="1400" b="1">
                  <a:ln w="12700">
                    <a:solidFill>
                      <a:srgbClr val="0066A1">
                        <a:satMod val="155000"/>
                      </a:srgbClr>
                    </a:solidFill>
                    <a:prstDash val="solid"/>
                  </a:ln>
                  <a:solidFill>
                    <a:srgbClr val="FFFFFF">
                      <a:tint val="85000"/>
                      <a:satMod val="155000"/>
                    </a:srgbClr>
                  </a:solidFill>
                  <a:effectLst>
                    <a:outerShdw blurRad="41275" dist="20320" dir="1800000" algn="tl" rotWithShape="0">
                      <a:srgbClr val="000000">
                        <a:alpha val="40000"/>
                      </a:srgbClr>
                    </a:outerShdw>
                  </a:effectLst>
                  <a:latin typeface="+mj-lt"/>
                </a:rPr>
                <a:t>W3</a:t>
              </a:r>
            </a:p>
          </p:txBody>
        </p:sp>
        <p:sp>
          <p:nvSpPr>
            <p:cNvPr id="88" name="Rectangle 87"/>
            <p:cNvSpPr/>
            <p:nvPr/>
          </p:nvSpPr>
          <p:spPr bwMode="auto">
            <a:xfrm>
              <a:off x="9784685" y="2529838"/>
              <a:ext cx="474810" cy="307777"/>
            </a:xfrm>
            <a:prstGeom prst="rect">
              <a:avLst/>
            </a:prstGeom>
            <a:noFill/>
          </p:spPr>
          <p:txBody>
            <a:bodyPr wrap="none">
              <a:spAutoFit/>
            </a:bodyPr>
            <a:lstStyle/>
            <a:p>
              <a:pPr algn="ctr" defTabSz="1219170">
                <a:defRPr/>
              </a:pPr>
              <a:r>
                <a:rPr lang="en-US" sz="1400" b="1">
                  <a:ln w="12700">
                    <a:solidFill>
                      <a:srgbClr val="0066A1">
                        <a:satMod val="155000"/>
                      </a:srgbClr>
                    </a:solidFill>
                    <a:prstDash val="solid"/>
                  </a:ln>
                  <a:solidFill>
                    <a:srgbClr val="FFFFFF">
                      <a:tint val="85000"/>
                      <a:satMod val="155000"/>
                    </a:srgbClr>
                  </a:solidFill>
                  <a:effectLst>
                    <a:outerShdw blurRad="41275" dist="20320" dir="1800000" algn="tl" rotWithShape="0">
                      <a:srgbClr val="000000">
                        <a:alpha val="40000"/>
                      </a:srgbClr>
                    </a:outerShdw>
                  </a:effectLst>
                  <a:latin typeface="+mj-lt"/>
                </a:rPr>
                <a:t>W4</a:t>
              </a:r>
            </a:p>
          </p:txBody>
        </p:sp>
      </p:grpSp>
      <p:sp>
        <p:nvSpPr>
          <p:cNvPr id="89" name="Rounded Rectangle 88"/>
          <p:cNvSpPr/>
          <p:nvPr/>
        </p:nvSpPr>
        <p:spPr>
          <a:xfrm>
            <a:off x="6998190" y="2515630"/>
            <a:ext cx="1689100" cy="1112839"/>
          </a:xfrm>
          <a:prstGeom prst="roundRect">
            <a:avLst>
              <a:gd name="adj" fmla="val 5840"/>
            </a:avLst>
          </a:prstGeom>
          <a:noFill/>
          <a:ln w="19050">
            <a:solidFill>
              <a:schemeClr val="accent4"/>
            </a:solidFill>
            <a:prstDash val="solid"/>
          </a:ln>
        </p:spPr>
        <p:style>
          <a:lnRef idx="2">
            <a:schemeClr val="accent1">
              <a:shade val="50000"/>
            </a:schemeClr>
          </a:lnRef>
          <a:fillRef idx="1">
            <a:schemeClr val="accent1"/>
          </a:fillRef>
          <a:effectRef idx="0">
            <a:schemeClr val="accent1"/>
          </a:effectRef>
          <a:fontRef idx="minor">
            <a:schemeClr val="lt1"/>
          </a:fontRef>
        </p:style>
        <p:txBody>
          <a:bodyPr/>
          <a:lstStyle/>
          <a:p>
            <a:pPr algn="ctr" defTabSz="1219170">
              <a:defRPr/>
            </a:pPr>
            <a:r>
              <a:rPr lang="en-US" sz="1100" b="1">
                <a:solidFill>
                  <a:prstClr val="black"/>
                </a:solidFill>
                <a:latin typeface="+mj-lt"/>
              </a:rPr>
              <a:t>Business Priority Scoring</a:t>
            </a:r>
          </a:p>
        </p:txBody>
      </p:sp>
      <p:pic>
        <p:nvPicPr>
          <p:cNvPr id="89112"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062093" y="2965873"/>
            <a:ext cx="1576388"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0" name="Picture 99"/>
          <p:cNvPicPr>
            <a:picLocks noChangeAspect="1"/>
          </p:cNvPicPr>
          <p:nvPr/>
        </p:nvPicPr>
        <p:blipFill>
          <a:blip r:embed="rId6"/>
          <a:stretch>
            <a:fillRect/>
          </a:stretch>
        </p:blipFill>
        <p:spPr>
          <a:xfrm>
            <a:off x="7139385" y="4144164"/>
            <a:ext cx="557212" cy="541337"/>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89114" name="Picture 2" descr="http://wps.aw.com/wps/media/objects/15335/15703573/img/12_q16_parents.jpg"/>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50545"/>
          <a:stretch>
            <a:fillRect/>
          </a:stretch>
        </p:blipFill>
        <p:spPr bwMode="auto">
          <a:xfrm>
            <a:off x="7955361" y="4094950"/>
            <a:ext cx="661987" cy="652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3" name="Table 2"/>
          <p:cNvGraphicFramePr>
            <a:graphicFrameLocks noGrp="1"/>
          </p:cNvGraphicFramePr>
          <p:nvPr>
            <p:extLst>
              <p:ext uri="{D42A27DB-BD31-4B8C-83A1-F6EECF244321}">
                <p14:modId xmlns:p14="http://schemas.microsoft.com/office/powerpoint/2010/main" val="3318755987"/>
              </p:ext>
            </p:extLst>
          </p:nvPr>
        </p:nvGraphicFramePr>
        <p:xfrm>
          <a:off x="4387853" y="2747960"/>
          <a:ext cx="2060575" cy="2851717"/>
        </p:xfrm>
        <a:graphic>
          <a:graphicData uri="http://schemas.openxmlformats.org/drawingml/2006/table">
            <a:tbl>
              <a:tblPr firstRow="1" bandRow="1">
                <a:tableStyleId>{5C22544A-7EE6-4342-B048-85BDC9FD1C3A}</a:tableStyleId>
              </a:tblPr>
              <a:tblGrid>
                <a:gridCol w="2060575">
                  <a:extLst>
                    <a:ext uri="{9D8B030D-6E8A-4147-A177-3AD203B41FA5}">
                      <a16:colId xmlns:a16="http://schemas.microsoft.com/office/drawing/2014/main" val="20000"/>
                    </a:ext>
                  </a:extLst>
                </a:gridCol>
              </a:tblGrid>
              <a:tr h="387475">
                <a:tc>
                  <a:txBody>
                    <a:bodyPr/>
                    <a:lstStyle/>
                    <a:p>
                      <a:pPr algn="ctr"/>
                      <a:r>
                        <a:rPr lang="en-US" sz="1200" b="1">
                          <a:solidFill>
                            <a:schemeClr val="tx1"/>
                          </a:solidFill>
                        </a:rPr>
                        <a:t>User Experience</a:t>
                      </a:r>
                    </a:p>
                  </a:txBody>
                  <a:tcPr marL="91384" marR="91384" marT="45705" marB="45705" anchor="ctr">
                    <a:lnB w="12700" cap="flat" cmpd="sng" algn="ctr">
                      <a:solidFill>
                        <a:schemeClr val="bg1">
                          <a:lumMod val="75000"/>
                        </a:schemeClr>
                      </a:solidFill>
                      <a:prstDash val="solid"/>
                      <a:round/>
                      <a:headEnd type="none" w="med" len="med"/>
                      <a:tailEnd type="none" w="med" len="med"/>
                    </a:lnB>
                    <a:solidFill>
                      <a:schemeClr val="accent2">
                        <a:lumMod val="60000"/>
                        <a:lumOff val="40000"/>
                        <a:alpha val="74118"/>
                      </a:schemeClr>
                    </a:solidFill>
                  </a:tcPr>
                </a:tc>
                <a:extLst>
                  <a:ext uri="{0D108BD9-81ED-4DB2-BD59-A6C34878D82A}">
                    <a16:rowId xmlns:a16="http://schemas.microsoft.com/office/drawing/2014/main" val="10000"/>
                  </a:ext>
                </a:extLst>
              </a:tr>
              <a:tr h="457171">
                <a:tc>
                  <a:txBody>
                    <a:bodyPr/>
                    <a:lstStyle/>
                    <a:p>
                      <a:pPr algn="ctr"/>
                      <a:r>
                        <a:rPr lang="en-US" sz="1200" b="1">
                          <a:solidFill>
                            <a:schemeClr val="tx1"/>
                          </a:solidFill>
                        </a:rPr>
                        <a:t>Redundancies in Process</a:t>
                      </a:r>
                    </a:p>
                  </a:txBody>
                  <a:tcPr marL="91384" marR="91384" marT="45705" marB="4570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2">
                        <a:lumMod val="60000"/>
                        <a:lumOff val="40000"/>
                        <a:alpha val="74118"/>
                      </a:schemeClr>
                    </a:solidFill>
                  </a:tcPr>
                </a:tc>
                <a:extLst>
                  <a:ext uri="{0D108BD9-81ED-4DB2-BD59-A6C34878D82A}">
                    <a16:rowId xmlns:a16="http://schemas.microsoft.com/office/drawing/2014/main" val="10001"/>
                  </a:ext>
                </a:extLst>
              </a:tr>
              <a:tr h="387475">
                <a:tc>
                  <a:txBody>
                    <a:bodyPr/>
                    <a:lstStyle/>
                    <a:p>
                      <a:pPr algn="ctr"/>
                      <a:r>
                        <a:rPr lang="en-US" sz="1200" b="1">
                          <a:solidFill>
                            <a:schemeClr val="tx1"/>
                          </a:solidFill>
                        </a:rPr>
                        <a:t>Volume</a:t>
                      </a:r>
                    </a:p>
                  </a:txBody>
                  <a:tcPr marL="91384" marR="91384" marT="45705" marB="4570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2">
                        <a:lumMod val="60000"/>
                        <a:lumOff val="40000"/>
                        <a:alpha val="74118"/>
                      </a:schemeClr>
                    </a:solidFill>
                  </a:tcPr>
                </a:tc>
                <a:extLst>
                  <a:ext uri="{0D108BD9-81ED-4DB2-BD59-A6C34878D82A}">
                    <a16:rowId xmlns:a16="http://schemas.microsoft.com/office/drawing/2014/main" val="10002"/>
                  </a:ext>
                </a:extLst>
              </a:tr>
              <a:tr h="387475">
                <a:tc>
                  <a:txBody>
                    <a:bodyPr/>
                    <a:lstStyle/>
                    <a:p>
                      <a:pPr algn="ctr"/>
                      <a:r>
                        <a:rPr lang="en-US" sz="1200" b="1">
                          <a:solidFill>
                            <a:schemeClr val="tx1"/>
                          </a:solidFill>
                        </a:rPr>
                        <a:t>Avg. Handling Time</a:t>
                      </a:r>
                    </a:p>
                  </a:txBody>
                  <a:tcPr marL="91384" marR="91384" marT="45705" marB="4570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2">
                        <a:lumMod val="60000"/>
                        <a:lumOff val="40000"/>
                        <a:alpha val="74118"/>
                      </a:schemeClr>
                    </a:solidFill>
                  </a:tcPr>
                </a:tc>
                <a:extLst>
                  <a:ext uri="{0D108BD9-81ED-4DB2-BD59-A6C34878D82A}">
                    <a16:rowId xmlns:a16="http://schemas.microsoft.com/office/drawing/2014/main" val="10003"/>
                  </a:ext>
                </a:extLst>
              </a:tr>
              <a:tr h="387475">
                <a:tc>
                  <a:txBody>
                    <a:bodyPr/>
                    <a:lstStyle/>
                    <a:p>
                      <a:pPr algn="ctr"/>
                      <a:r>
                        <a:rPr lang="en-US" sz="1200" b="1">
                          <a:solidFill>
                            <a:schemeClr val="tx1"/>
                          </a:solidFill>
                        </a:rPr>
                        <a:t>Business Criticality</a:t>
                      </a:r>
                    </a:p>
                  </a:txBody>
                  <a:tcPr marL="91384" marR="91384" marT="45705" marB="4570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2">
                        <a:lumMod val="60000"/>
                        <a:lumOff val="40000"/>
                        <a:alpha val="74118"/>
                      </a:schemeClr>
                    </a:solidFill>
                  </a:tcPr>
                </a:tc>
                <a:extLst>
                  <a:ext uri="{0D108BD9-81ED-4DB2-BD59-A6C34878D82A}">
                    <a16:rowId xmlns:a16="http://schemas.microsoft.com/office/drawing/2014/main" val="10004"/>
                  </a:ext>
                </a:extLst>
              </a:tr>
              <a:tr h="457171">
                <a:tc>
                  <a:txBody>
                    <a:bodyPr/>
                    <a:lstStyle/>
                    <a:p>
                      <a:pPr algn="ctr"/>
                      <a:r>
                        <a:rPr lang="en-US" sz="1200" b="1">
                          <a:solidFill>
                            <a:schemeClr val="tx1"/>
                          </a:solidFill>
                        </a:rPr>
                        <a:t>Technology Feasibility</a:t>
                      </a:r>
                    </a:p>
                  </a:txBody>
                  <a:tcPr marL="91384" marR="91384" marT="45705" marB="45705"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2">
                        <a:lumMod val="60000"/>
                        <a:lumOff val="40000"/>
                        <a:alpha val="74118"/>
                      </a:schemeClr>
                    </a:solidFill>
                  </a:tcPr>
                </a:tc>
                <a:extLst>
                  <a:ext uri="{0D108BD9-81ED-4DB2-BD59-A6C34878D82A}">
                    <a16:rowId xmlns:a16="http://schemas.microsoft.com/office/drawing/2014/main" val="10005"/>
                  </a:ext>
                </a:extLst>
              </a:tr>
              <a:tr h="387475">
                <a:tc>
                  <a:txBody>
                    <a:bodyPr/>
                    <a:lstStyle/>
                    <a:p>
                      <a:pPr algn="ctr"/>
                      <a:r>
                        <a:rPr lang="en-US" sz="1200" b="1">
                          <a:solidFill>
                            <a:schemeClr val="tx1"/>
                          </a:solidFill>
                        </a:rPr>
                        <a:t>Process Reusability</a:t>
                      </a:r>
                    </a:p>
                  </a:txBody>
                  <a:tcPr marL="91384" marR="91384" marT="45705" marB="45705" anchor="ctr">
                    <a:lnT w="12700" cap="flat" cmpd="sng" algn="ctr">
                      <a:solidFill>
                        <a:schemeClr val="bg1">
                          <a:lumMod val="75000"/>
                        </a:schemeClr>
                      </a:solidFill>
                      <a:prstDash val="solid"/>
                      <a:round/>
                      <a:headEnd type="none" w="med" len="med"/>
                      <a:tailEnd type="none" w="med" len="med"/>
                    </a:lnT>
                    <a:solidFill>
                      <a:schemeClr val="accent2">
                        <a:lumMod val="60000"/>
                        <a:lumOff val="40000"/>
                        <a:alpha val="74118"/>
                      </a:schemeClr>
                    </a:solidFill>
                  </a:tcPr>
                </a:tc>
                <a:extLst>
                  <a:ext uri="{0D108BD9-81ED-4DB2-BD59-A6C34878D82A}">
                    <a16:rowId xmlns:a16="http://schemas.microsoft.com/office/drawing/2014/main" val="10006"/>
                  </a:ext>
                </a:extLst>
              </a:tr>
            </a:tbl>
          </a:graphicData>
        </a:graphic>
      </p:graphicFrame>
      <p:sp>
        <p:nvSpPr>
          <p:cNvPr id="91" name="TextBox 9"/>
          <p:cNvSpPr txBox="1">
            <a:spLocks noChangeArrowheads="1"/>
          </p:cNvSpPr>
          <p:nvPr/>
        </p:nvSpPr>
        <p:spPr bwMode="auto">
          <a:xfrm>
            <a:off x="4451351" y="1913706"/>
            <a:ext cx="2336800" cy="276999"/>
          </a:xfrm>
          <a:prstGeom prst="rect">
            <a:avLst/>
          </a:prstGeom>
          <a:noFill/>
          <a:ln w="9525">
            <a:noFill/>
            <a:miter lim="800000"/>
            <a:headEnd/>
            <a:tailEnd/>
          </a:ln>
        </p:spPr>
        <p:txBody>
          <a:bodyPr>
            <a:spAutoFit/>
          </a:bodyPr>
          <a:lstStyle/>
          <a:p>
            <a:pPr algn="ctr" defTabSz="1219170">
              <a:defRPr/>
            </a:pPr>
            <a:r>
              <a:rPr lang="en-US" sz="1200" b="1">
                <a:solidFill>
                  <a:prstClr val="black"/>
                </a:solidFill>
                <a:latin typeface="+mj-lt"/>
              </a:rPr>
              <a:t>Evaluation Parameters</a:t>
            </a:r>
          </a:p>
        </p:txBody>
      </p:sp>
      <p:sp>
        <p:nvSpPr>
          <p:cNvPr id="92" name="Down Arrow 91"/>
          <p:cNvSpPr/>
          <p:nvPr/>
        </p:nvSpPr>
        <p:spPr>
          <a:xfrm>
            <a:off x="5329239" y="2322980"/>
            <a:ext cx="228600" cy="228600"/>
          </a:xfrm>
          <a:prstGeom prst="downArrow">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endParaRPr lang="en-US">
              <a:solidFill>
                <a:prstClr val="white"/>
              </a:solidFill>
              <a:latin typeface="+mj-lt"/>
            </a:endParaRPr>
          </a:p>
        </p:txBody>
      </p:sp>
      <p:sp>
        <p:nvSpPr>
          <p:cNvPr id="93" name="Rectangle 92"/>
          <p:cNvSpPr/>
          <p:nvPr/>
        </p:nvSpPr>
        <p:spPr>
          <a:xfrm>
            <a:off x="2546352" y="2693979"/>
            <a:ext cx="1279525" cy="288000"/>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r>
              <a:rPr lang="en-US" sz="900" b="1">
                <a:solidFill>
                  <a:prstClr val="white"/>
                </a:solidFill>
                <a:latin typeface="+mj-lt"/>
                <a:cs typeface="Arial" pitchFamily="34" charset="0"/>
              </a:rPr>
              <a:t>Investor Profile change</a:t>
            </a:r>
          </a:p>
        </p:txBody>
      </p:sp>
      <p:sp>
        <p:nvSpPr>
          <p:cNvPr id="94" name="Rectangle 93"/>
          <p:cNvSpPr/>
          <p:nvPr/>
        </p:nvSpPr>
        <p:spPr>
          <a:xfrm>
            <a:off x="2546352" y="3064415"/>
            <a:ext cx="1279525" cy="288000"/>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r>
              <a:rPr lang="en-US" sz="900" b="1">
                <a:solidFill>
                  <a:prstClr val="white"/>
                </a:solidFill>
                <a:latin typeface="+mj-lt"/>
                <a:cs typeface="Arial" pitchFamily="34" charset="0"/>
              </a:rPr>
              <a:t> Beneficiary Change</a:t>
            </a:r>
          </a:p>
        </p:txBody>
      </p:sp>
      <p:sp>
        <p:nvSpPr>
          <p:cNvPr id="95" name="Rectangle 94"/>
          <p:cNvSpPr/>
          <p:nvPr/>
        </p:nvSpPr>
        <p:spPr>
          <a:xfrm>
            <a:off x="2546352" y="3434851"/>
            <a:ext cx="1279525" cy="288000"/>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r>
              <a:rPr lang="en-US" sz="900" b="1">
                <a:solidFill>
                  <a:prstClr val="white"/>
                </a:solidFill>
                <a:latin typeface="+mj-lt"/>
                <a:cs typeface="Arial" pitchFamily="34" charset="0"/>
              </a:rPr>
              <a:t>Contribution</a:t>
            </a:r>
          </a:p>
        </p:txBody>
      </p:sp>
      <p:sp>
        <p:nvSpPr>
          <p:cNvPr id="89138" name="TextBox 9"/>
          <p:cNvSpPr txBox="1">
            <a:spLocks noChangeArrowheads="1"/>
          </p:cNvSpPr>
          <p:nvPr/>
        </p:nvSpPr>
        <p:spPr bwMode="auto">
          <a:xfrm>
            <a:off x="2403285" y="1790144"/>
            <a:ext cx="15544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defTabSz="1219170">
              <a:defRPr/>
            </a:pPr>
            <a:r>
              <a:rPr lang="en-US" altLang="en-US" sz="1200" b="1">
                <a:solidFill>
                  <a:prstClr val="black"/>
                </a:solidFill>
                <a:latin typeface="+mj-lt"/>
              </a:rPr>
              <a:t>Sample Processes</a:t>
            </a:r>
          </a:p>
        </p:txBody>
      </p:sp>
      <p:sp>
        <p:nvSpPr>
          <p:cNvPr id="97" name="Down Arrow 96"/>
          <p:cNvSpPr/>
          <p:nvPr/>
        </p:nvSpPr>
        <p:spPr>
          <a:xfrm>
            <a:off x="3065463" y="2048905"/>
            <a:ext cx="228600" cy="228600"/>
          </a:xfrm>
          <a:prstGeom prst="downArrow">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endParaRPr lang="en-US">
              <a:solidFill>
                <a:prstClr val="white"/>
              </a:solidFill>
              <a:latin typeface="+mj-lt"/>
            </a:endParaRPr>
          </a:p>
        </p:txBody>
      </p:sp>
      <p:sp>
        <p:nvSpPr>
          <p:cNvPr id="53" name="Rectangle 52"/>
          <p:cNvSpPr/>
          <p:nvPr/>
        </p:nvSpPr>
        <p:spPr>
          <a:xfrm>
            <a:off x="2546352" y="3805287"/>
            <a:ext cx="1279525" cy="288000"/>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r>
              <a:rPr lang="en-US" sz="900" b="1">
                <a:solidFill>
                  <a:prstClr val="white"/>
                </a:solidFill>
                <a:latin typeface="+mj-lt"/>
                <a:cs typeface="Arial" pitchFamily="34" charset="0"/>
              </a:rPr>
              <a:t>Online Reporting</a:t>
            </a:r>
          </a:p>
        </p:txBody>
      </p:sp>
      <p:sp>
        <p:nvSpPr>
          <p:cNvPr id="46" name="Rectangle 45"/>
          <p:cNvSpPr/>
          <p:nvPr/>
        </p:nvSpPr>
        <p:spPr>
          <a:xfrm>
            <a:off x="893850" y="3563380"/>
            <a:ext cx="1558020" cy="267944"/>
          </a:xfrm>
          <a:prstGeom prst="rect">
            <a:avLst/>
          </a:prstGeom>
          <a:solidFill>
            <a:schemeClr val="accent2">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r>
              <a:rPr lang="en-US" sz="1051" b="1">
                <a:solidFill>
                  <a:prstClr val="black"/>
                </a:solidFill>
                <a:latin typeface="+mj-lt"/>
                <a:cs typeface="Arial" pitchFamily="34" charset="0"/>
              </a:rPr>
              <a:t>Participants </a:t>
            </a:r>
          </a:p>
        </p:txBody>
      </p:sp>
      <p:sp>
        <p:nvSpPr>
          <p:cNvPr id="47" name="Rectangle 46"/>
          <p:cNvSpPr/>
          <p:nvPr/>
        </p:nvSpPr>
        <p:spPr>
          <a:xfrm>
            <a:off x="2544764" y="4546156"/>
            <a:ext cx="1279525" cy="288000"/>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r>
              <a:rPr lang="en-US" sz="900" b="1">
                <a:solidFill>
                  <a:prstClr val="white"/>
                </a:solidFill>
                <a:latin typeface="+mj-lt"/>
                <a:cs typeface="Arial" pitchFamily="34" charset="0"/>
              </a:rPr>
              <a:t>Others</a:t>
            </a:r>
          </a:p>
        </p:txBody>
      </p:sp>
      <p:sp>
        <p:nvSpPr>
          <p:cNvPr id="89143" name="Pentagon 57"/>
          <p:cNvSpPr>
            <a:spLocks noChangeArrowheads="1"/>
          </p:cNvSpPr>
          <p:nvPr/>
        </p:nvSpPr>
        <p:spPr bwMode="auto">
          <a:xfrm>
            <a:off x="8933051" y="2940052"/>
            <a:ext cx="122237" cy="1706563"/>
          </a:xfrm>
          <a:prstGeom prst="homePlate">
            <a:avLst>
              <a:gd name="adj" fmla="val 100000"/>
            </a:avLst>
          </a:prstGeom>
          <a:solidFill>
            <a:srgbClr val="E25E14"/>
          </a:solidFill>
          <a:ln>
            <a:noFill/>
          </a:ln>
          <a:extLst>
            <a:ext uri="{91240B29-F687-4F45-9708-019B960494DF}">
              <a14:hiddenLine xmlns:a14="http://schemas.microsoft.com/office/drawing/2010/main" w="12700" algn="ctr">
                <a:solidFill>
                  <a:srgbClr val="000000"/>
                </a:solidFill>
                <a:round/>
                <a:headEnd/>
                <a:tailEnd/>
              </a14:hiddenLine>
            </a:ext>
          </a:extLst>
        </p:spPr>
        <p:txBody>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defTabSz="1219170">
              <a:defRPr/>
            </a:pPr>
            <a:endParaRPr lang="en-US" altLang="en-US" sz="2400">
              <a:solidFill>
                <a:prstClr val="black"/>
              </a:solidFill>
              <a:latin typeface="+mj-lt"/>
            </a:endParaRPr>
          </a:p>
        </p:txBody>
      </p:sp>
      <p:sp>
        <p:nvSpPr>
          <p:cNvPr id="55" name="TextBox 9"/>
          <p:cNvSpPr txBox="1">
            <a:spLocks noChangeArrowheads="1"/>
          </p:cNvSpPr>
          <p:nvPr/>
        </p:nvSpPr>
        <p:spPr bwMode="auto">
          <a:xfrm>
            <a:off x="9153396" y="1194285"/>
            <a:ext cx="258214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defTabSz="1219170">
              <a:defRPr/>
            </a:pPr>
            <a:r>
              <a:rPr lang="en-US" altLang="en-US" sz="1200" b="1">
                <a:solidFill>
                  <a:prstClr val="black"/>
                </a:solidFill>
                <a:latin typeface="+mj-lt"/>
              </a:rPr>
              <a:t>Implementation Roadmap</a:t>
            </a:r>
          </a:p>
          <a:p>
            <a:pPr algn="ctr" defTabSz="1219170">
              <a:defRPr/>
            </a:pPr>
            <a:r>
              <a:rPr lang="en-US" altLang="en-US" sz="1200" b="1">
                <a:solidFill>
                  <a:prstClr val="black"/>
                </a:solidFill>
                <a:latin typeface="+mj-lt"/>
              </a:rPr>
              <a:t>(Stage IV)</a:t>
            </a:r>
          </a:p>
        </p:txBody>
      </p:sp>
      <p:sp>
        <p:nvSpPr>
          <p:cNvPr id="57" name="Rectangle 56"/>
          <p:cNvSpPr/>
          <p:nvPr/>
        </p:nvSpPr>
        <p:spPr>
          <a:xfrm>
            <a:off x="893850" y="3910811"/>
            <a:ext cx="1558020" cy="267944"/>
          </a:xfrm>
          <a:prstGeom prst="rect">
            <a:avLst/>
          </a:prstGeom>
          <a:solidFill>
            <a:schemeClr val="accent2">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r>
              <a:rPr lang="en-US" sz="1051" b="1">
                <a:solidFill>
                  <a:prstClr val="black"/>
                </a:solidFill>
                <a:latin typeface="+mj-lt"/>
                <a:cs typeface="Arial" pitchFamily="34" charset="0"/>
              </a:rPr>
              <a:t>Enrollment</a:t>
            </a:r>
          </a:p>
        </p:txBody>
      </p:sp>
      <p:sp>
        <p:nvSpPr>
          <p:cNvPr id="59" name="Rounded Rectangle 58"/>
          <p:cNvSpPr/>
          <p:nvPr/>
        </p:nvSpPr>
        <p:spPr>
          <a:xfrm>
            <a:off x="744819" y="4957202"/>
            <a:ext cx="3152496" cy="959575"/>
          </a:xfrm>
          <a:prstGeom prst="roundRect">
            <a:avLst>
              <a:gd name="adj" fmla="val 3496"/>
            </a:avLst>
          </a:prstGeom>
          <a:noFill/>
          <a:ln w="19050">
            <a:solidFill>
              <a:schemeClr val="accent2">
                <a:lumMod val="60000"/>
                <a:lumOff val="4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endParaRPr lang="en-US">
              <a:solidFill>
                <a:prstClr val="white"/>
              </a:solidFill>
              <a:latin typeface="+mj-lt"/>
            </a:endParaRPr>
          </a:p>
        </p:txBody>
      </p:sp>
      <p:sp>
        <p:nvSpPr>
          <p:cNvPr id="64" name="Rounded Rectangle 63"/>
          <p:cNvSpPr/>
          <p:nvPr/>
        </p:nvSpPr>
        <p:spPr>
          <a:xfrm>
            <a:off x="1105526" y="5092951"/>
            <a:ext cx="2439365" cy="334268"/>
          </a:xfrm>
          <a:prstGeom prst="round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r>
              <a:rPr lang="en-US" sz="1400" b="1">
                <a:solidFill>
                  <a:prstClr val="white"/>
                </a:solidFill>
                <a:latin typeface="+mj-lt"/>
                <a:cs typeface="Arial" pitchFamily="34" charset="0"/>
              </a:rPr>
              <a:t>Process Recorder</a:t>
            </a:r>
          </a:p>
        </p:txBody>
      </p:sp>
      <p:sp>
        <p:nvSpPr>
          <p:cNvPr id="65" name="Rectangle 64"/>
          <p:cNvSpPr/>
          <p:nvPr/>
        </p:nvSpPr>
        <p:spPr>
          <a:xfrm>
            <a:off x="893850" y="5536237"/>
            <a:ext cx="2849757" cy="355801"/>
          </a:xfrm>
          <a:prstGeom prst="rect">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r>
              <a:rPr lang="en-US" sz="1051" b="1">
                <a:solidFill>
                  <a:schemeClr val="bg1"/>
                </a:solidFill>
                <a:latin typeface="+mj-lt"/>
                <a:cs typeface="Arial" pitchFamily="34" charset="0"/>
              </a:rPr>
              <a:t>Process Maps, BPMN, Time-in-Motion</a:t>
            </a:r>
          </a:p>
        </p:txBody>
      </p:sp>
      <p:sp>
        <p:nvSpPr>
          <p:cNvPr id="66" name="Pentagon 47"/>
          <p:cNvSpPr>
            <a:spLocks noChangeArrowheads="1"/>
          </p:cNvSpPr>
          <p:nvPr/>
        </p:nvSpPr>
        <p:spPr bwMode="auto">
          <a:xfrm>
            <a:off x="3990698" y="5109465"/>
            <a:ext cx="122237" cy="657955"/>
          </a:xfrm>
          <a:prstGeom prst="homePlate">
            <a:avLst>
              <a:gd name="adj" fmla="val 100000"/>
            </a:avLst>
          </a:prstGeom>
          <a:solidFill>
            <a:srgbClr val="E25E14"/>
          </a:solidFill>
          <a:ln>
            <a:noFill/>
          </a:ln>
          <a:extLst>
            <a:ext uri="{91240B29-F687-4F45-9708-019B960494DF}">
              <a14:hiddenLine xmlns:a14="http://schemas.microsoft.com/office/drawing/2010/main" w="12700" algn="ctr">
                <a:solidFill>
                  <a:srgbClr val="000000"/>
                </a:solidFill>
                <a:round/>
                <a:headEnd/>
                <a:tailEnd/>
              </a14:hiddenLine>
            </a:ext>
          </a:extLst>
        </p:spPr>
        <p:txBody>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defTabSz="1219170">
              <a:defRPr/>
            </a:pPr>
            <a:endParaRPr lang="en-US" altLang="en-US" sz="2400">
              <a:solidFill>
                <a:prstClr val="black"/>
              </a:solidFill>
              <a:latin typeface="+mj-lt"/>
            </a:endParaRPr>
          </a:p>
        </p:txBody>
      </p:sp>
      <p:sp>
        <p:nvSpPr>
          <p:cNvPr id="69" name="TextBox 9"/>
          <p:cNvSpPr txBox="1">
            <a:spLocks noChangeArrowheads="1"/>
          </p:cNvSpPr>
          <p:nvPr/>
        </p:nvSpPr>
        <p:spPr bwMode="auto">
          <a:xfrm>
            <a:off x="6858671" y="1913706"/>
            <a:ext cx="2336800" cy="276999"/>
          </a:xfrm>
          <a:prstGeom prst="rect">
            <a:avLst/>
          </a:prstGeom>
          <a:noFill/>
          <a:ln w="9525">
            <a:noFill/>
            <a:miter lim="800000"/>
            <a:headEnd/>
            <a:tailEnd/>
          </a:ln>
        </p:spPr>
        <p:txBody>
          <a:bodyPr>
            <a:spAutoFit/>
          </a:bodyPr>
          <a:lstStyle/>
          <a:p>
            <a:pPr algn="ctr" defTabSz="1219170">
              <a:defRPr/>
            </a:pPr>
            <a:r>
              <a:rPr lang="en-US" sz="1200" b="1">
                <a:solidFill>
                  <a:prstClr val="black"/>
                </a:solidFill>
                <a:latin typeface="+mj-lt"/>
              </a:rPr>
              <a:t>FTE Saves Analysis</a:t>
            </a:r>
          </a:p>
        </p:txBody>
      </p:sp>
      <p:sp>
        <p:nvSpPr>
          <p:cNvPr id="70" name="Rectangle 69"/>
          <p:cNvSpPr/>
          <p:nvPr/>
        </p:nvSpPr>
        <p:spPr>
          <a:xfrm>
            <a:off x="7006828" y="4896614"/>
            <a:ext cx="1680461" cy="229359"/>
          </a:xfrm>
          <a:prstGeom prst="rect">
            <a:avLst/>
          </a:prstGeom>
          <a:solidFill>
            <a:schemeClr val="tx2">
              <a:lumMod val="90000"/>
              <a:lumOff val="1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r>
              <a:rPr lang="en-US" sz="1000" b="1">
                <a:solidFill>
                  <a:prstClr val="white"/>
                </a:solidFill>
                <a:latin typeface="+mj-lt"/>
                <a:cs typeface="Arial" pitchFamily="34" charset="0"/>
              </a:rPr>
              <a:t>LEAN Opportunities</a:t>
            </a:r>
          </a:p>
        </p:txBody>
      </p:sp>
      <p:sp>
        <p:nvSpPr>
          <p:cNvPr id="71" name="Rectangle 70"/>
          <p:cNvSpPr/>
          <p:nvPr/>
        </p:nvSpPr>
        <p:spPr>
          <a:xfrm>
            <a:off x="7006828" y="5230929"/>
            <a:ext cx="1680461" cy="229359"/>
          </a:xfrm>
          <a:prstGeom prst="rect">
            <a:avLst/>
          </a:prstGeom>
          <a:solidFill>
            <a:schemeClr val="tx2">
              <a:lumMod val="90000"/>
              <a:lumOff val="1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r>
              <a:rPr lang="en-US" sz="1000" b="1">
                <a:solidFill>
                  <a:prstClr val="white"/>
                </a:solidFill>
                <a:latin typeface="+mj-lt"/>
                <a:cs typeface="Arial" pitchFamily="34" charset="0"/>
              </a:rPr>
              <a:t>Automation Processes</a:t>
            </a:r>
          </a:p>
        </p:txBody>
      </p:sp>
      <p:sp>
        <p:nvSpPr>
          <p:cNvPr id="72" name="Rectangle 71"/>
          <p:cNvSpPr/>
          <p:nvPr/>
        </p:nvSpPr>
        <p:spPr>
          <a:xfrm>
            <a:off x="7006828" y="5565243"/>
            <a:ext cx="1680461" cy="229359"/>
          </a:xfrm>
          <a:prstGeom prst="rect">
            <a:avLst/>
          </a:prstGeom>
          <a:solidFill>
            <a:schemeClr val="tx2">
              <a:lumMod val="90000"/>
              <a:lumOff val="1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r>
              <a:rPr lang="en-US" sz="1000" b="1">
                <a:solidFill>
                  <a:prstClr val="white"/>
                </a:solidFill>
                <a:latin typeface="+mj-lt"/>
                <a:cs typeface="Arial" pitchFamily="34" charset="0"/>
              </a:rPr>
              <a:t>BPO Opportunities</a:t>
            </a:r>
          </a:p>
        </p:txBody>
      </p:sp>
      <p:sp>
        <p:nvSpPr>
          <p:cNvPr id="63" name="Rectangle 62">
            <a:extLst>
              <a:ext uri="{FF2B5EF4-FFF2-40B4-BE49-F238E27FC236}">
                <a16:creationId xmlns:a16="http://schemas.microsoft.com/office/drawing/2014/main" id="{FDF1AD34-D75F-475F-BC5D-1E2B0D023A80}"/>
              </a:ext>
            </a:extLst>
          </p:cNvPr>
          <p:cNvSpPr/>
          <p:nvPr/>
        </p:nvSpPr>
        <p:spPr>
          <a:xfrm>
            <a:off x="878302" y="4253408"/>
            <a:ext cx="1558020" cy="267944"/>
          </a:xfrm>
          <a:prstGeom prst="rect">
            <a:avLst/>
          </a:prstGeom>
          <a:solidFill>
            <a:schemeClr val="accent2">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r>
              <a:rPr lang="en-US" sz="1051" b="1">
                <a:solidFill>
                  <a:prstClr val="black"/>
                </a:solidFill>
                <a:latin typeface="+mj-lt"/>
                <a:cs typeface="Arial" pitchFamily="34" charset="0"/>
              </a:rPr>
              <a:t>Member Site</a:t>
            </a:r>
          </a:p>
        </p:txBody>
      </p:sp>
      <p:sp>
        <p:nvSpPr>
          <p:cNvPr id="73" name="Rectangle 72">
            <a:extLst>
              <a:ext uri="{FF2B5EF4-FFF2-40B4-BE49-F238E27FC236}">
                <a16:creationId xmlns:a16="http://schemas.microsoft.com/office/drawing/2014/main" id="{B5610CFF-AC0B-41B8-9BE6-F40EA4ABEE18}"/>
              </a:ext>
            </a:extLst>
          </p:cNvPr>
          <p:cNvSpPr/>
          <p:nvPr/>
        </p:nvSpPr>
        <p:spPr>
          <a:xfrm>
            <a:off x="878302" y="4568344"/>
            <a:ext cx="1558020" cy="267944"/>
          </a:xfrm>
          <a:prstGeom prst="rect">
            <a:avLst/>
          </a:prstGeom>
          <a:solidFill>
            <a:schemeClr val="accent2">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r>
              <a:rPr lang="en-US" sz="1051" b="1">
                <a:solidFill>
                  <a:prstClr val="black"/>
                </a:solidFill>
                <a:latin typeface="+mj-lt"/>
                <a:cs typeface="Arial" pitchFamily="34" charset="0"/>
              </a:rPr>
              <a:t>Others…</a:t>
            </a:r>
          </a:p>
        </p:txBody>
      </p:sp>
      <p:sp>
        <p:nvSpPr>
          <p:cNvPr id="74" name="Rectangle 73">
            <a:extLst>
              <a:ext uri="{FF2B5EF4-FFF2-40B4-BE49-F238E27FC236}">
                <a16:creationId xmlns:a16="http://schemas.microsoft.com/office/drawing/2014/main" id="{B5173AF7-F944-4F47-B0FF-FD271B9E51F0}"/>
              </a:ext>
            </a:extLst>
          </p:cNvPr>
          <p:cNvSpPr/>
          <p:nvPr/>
        </p:nvSpPr>
        <p:spPr>
          <a:xfrm>
            <a:off x="2534977" y="4175723"/>
            <a:ext cx="1279525" cy="288000"/>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r>
              <a:rPr lang="en-US" sz="900" b="1">
                <a:solidFill>
                  <a:prstClr val="white"/>
                </a:solidFill>
                <a:latin typeface="+mj-lt"/>
                <a:cs typeface="Arial" pitchFamily="34" charset="0"/>
              </a:rPr>
              <a:t>Beneficiaries</a:t>
            </a:r>
          </a:p>
        </p:txBody>
      </p:sp>
    </p:spTree>
    <p:extLst>
      <p:ext uri="{BB962C8B-B14F-4D97-AF65-F5344CB8AC3E}">
        <p14:creationId xmlns:p14="http://schemas.microsoft.com/office/powerpoint/2010/main" val="175734490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3548" y="164637"/>
            <a:ext cx="11436096" cy="756000"/>
          </a:xfrm>
        </p:spPr>
        <p:txBody>
          <a:bodyPr vert="horz" lIns="0" tIns="0" rIns="0" bIns="0" rtlCol="0" anchor="ctr" anchorCtr="0">
            <a:noAutofit/>
          </a:bodyPr>
          <a:lstStyle/>
          <a:p>
            <a:r>
              <a:rPr lang="en-US"/>
              <a:t>IP: Process Recorder</a:t>
            </a:r>
            <a:br>
              <a:rPr lang="en-US"/>
            </a:br>
            <a:r>
              <a:rPr lang="en-US" sz="2133">
                <a:solidFill>
                  <a:srgbClr val="0596FF"/>
                </a:solidFill>
                <a:latin typeface="+mj-lt"/>
              </a:rPr>
              <a:t>Intelligent Recording and Process Mapping</a:t>
            </a:r>
          </a:p>
        </p:txBody>
      </p:sp>
      <p:sp>
        <p:nvSpPr>
          <p:cNvPr id="95" name="Rectangle 94"/>
          <p:cNvSpPr/>
          <p:nvPr/>
        </p:nvSpPr>
        <p:spPr>
          <a:xfrm>
            <a:off x="29465" y="5789069"/>
            <a:ext cx="12180575" cy="337603"/>
          </a:xfrm>
          <a:prstGeom prst="rect">
            <a:avLst/>
          </a:prstGeom>
          <a:gradFill flip="none" rotWithShape="1">
            <a:gsLst>
              <a:gs pos="0">
                <a:schemeClr val="bg1"/>
              </a:gs>
              <a:gs pos="50000">
                <a:schemeClr val="bg1"/>
              </a:gs>
              <a:gs pos="100000">
                <a:schemeClr val="bg1">
                  <a:lumMod val="85000"/>
                </a:schemeClr>
              </a:gs>
            </a:gsLst>
            <a:lin ang="8100000" scaled="1"/>
            <a:tileRect/>
          </a:gradFill>
          <a:ln w="34925">
            <a:noFill/>
            <a:round/>
            <a:headEnd/>
            <a:tailEnd/>
          </a:ln>
          <a:effectLst>
            <a:outerShdw blurRad="342900" dist="76200" dir="1980000" algn="ctr" rotWithShape="0">
              <a:srgbClr val="000000">
                <a:alpha val="41000"/>
              </a:srgbClr>
            </a:outerShdw>
          </a:effectLst>
        </p:spPr>
        <p:txBody>
          <a:bodyPr wrap="square" lIns="54864" rIns="54864" rtlCol="0" anchor="ctr">
            <a:noAutofit/>
          </a:bodyPr>
          <a:lstStyle/>
          <a:p>
            <a:pPr algn="ctr" defTabSz="914354" eaLnBrk="0" hangingPunct="0">
              <a:defRPr/>
            </a:pPr>
            <a:r>
              <a:rPr lang="en-US" sz="1400" b="1" kern="0" spc="100">
                <a:solidFill>
                  <a:srgbClr val="0070C0"/>
                </a:solidFill>
              </a:rPr>
              <a:t>Automated, Non-invasive Process Capture | 100% Coverage | Significant reduction in due diligence cycle time  </a:t>
            </a:r>
          </a:p>
        </p:txBody>
      </p:sp>
      <p:grpSp>
        <p:nvGrpSpPr>
          <p:cNvPr id="85" name="Group 84"/>
          <p:cNvGrpSpPr/>
          <p:nvPr/>
        </p:nvGrpSpPr>
        <p:grpSpPr>
          <a:xfrm>
            <a:off x="11174130" y="85785"/>
            <a:ext cx="1007008" cy="886920"/>
            <a:chOff x="8380593" y="64338"/>
            <a:chExt cx="755255" cy="665190"/>
          </a:xfrm>
        </p:grpSpPr>
        <p:sp>
          <p:nvSpPr>
            <p:cNvPr id="86" name="Freeform 10"/>
            <p:cNvSpPr>
              <a:spLocks noChangeAspect="1" noEditPoints="1"/>
            </p:cNvSpPr>
            <p:nvPr/>
          </p:nvSpPr>
          <p:spPr bwMode="auto">
            <a:xfrm>
              <a:off x="8571126" y="64338"/>
              <a:ext cx="322701" cy="398964"/>
            </a:xfrm>
            <a:custGeom>
              <a:avLst/>
              <a:gdLst>
                <a:gd name="T0" fmla="*/ 947 w 957"/>
                <a:gd name="T1" fmla="*/ 1184 h 1184"/>
                <a:gd name="T2" fmla="*/ 758 w 957"/>
                <a:gd name="T3" fmla="*/ 858 h 1184"/>
                <a:gd name="T4" fmla="*/ 943 w 957"/>
                <a:gd name="T5" fmla="*/ 359 h 1184"/>
                <a:gd name="T6" fmla="*/ 547 w 957"/>
                <a:gd name="T7" fmla="*/ 0 h 1184"/>
                <a:gd name="T8" fmla="*/ 166 w 957"/>
                <a:gd name="T9" fmla="*/ 132 h 1184"/>
                <a:gd name="T10" fmla="*/ 105 w 957"/>
                <a:gd name="T11" fmla="*/ 497 h 1184"/>
                <a:gd name="T12" fmla="*/ 4 w 957"/>
                <a:gd name="T13" fmla="*/ 694 h 1184"/>
                <a:gd name="T14" fmla="*/ 94 w 957"/>
                <a:gd name="T15" fmla="*/ 854 h 1184"/>
                <a:gd name="T16" fmla="*/ 108 w 957"/>
                <a:gd name="T17" fmla="*/ 969 h 1184"/>
                <a:gd name="T18" fmla="*/ 355 w 957"/>
                <a:gd name="T19" fmla="*/ 1002 h 1184"/>
                <a:gd name="T20" fmla="*/ 716 w 957"/>
                <a:gd name="T21" fmla="*/ 433 h 1184"/>
                <a:gd name="T22" fmla="*/ 651 w 957"/>
                <a:gd name="T23" fmla="*/ 405 h 1184"/>
                <a:gd name="T24" fmla="*/ 691 w 957"/>
                <a:gd name="T25" fmla="*/ 408 h 1184"/>
                <a:gd name="T26" fmla="*/ 744 w 957"/>
                <a:gd name="T27" fmla="*/ 327 h 1184"/>
                <a:gd name="T28" fmla="*/ 687 w 957"/>
                <a:gd name="T29" fmla="*/ 314 h 1184"/>
                <a:gd name="T30" fmla="*/ 669 w 957"/>
                <a:gd name="T31" fmla="*/ 226 h 1184"/>
                <a:gd name="T32" fmla="*/ 716 w 957"/>
                <a:gd name="T33" fmla="*/ 219 h 1184"/>
                <a:gd name="T34" fmla="*/ 651 w 957"/>
                <a:gd name="T35" fmla="*/ 250 h 1184"/>
                <a:gd name="T36" fmla="*/ 592 w 957"/>
                <a:gd name="T37" fmla="*/ 183 h 1184"/>
                <a:gd name="T38" fmla="*/ 640 w 957"/>
                <a:gd name="T39" fmla="*/ 152 h 1184"/>
                <a:gd name="T40" fmla="*/ 599 w 957"/>
                <a:gd name="T41" fmla="*/ 199 h 1184"/>
                <a:gd name="T42" fmla="*/ 634 w 957"/>
                <a:gd name="T43" fmla="*/ 322 h 1184"/>
                <a:gd name="T44" fmla="*/ 589 w 957"/>
                <a:gd name="T45" fmla="*/ 430 h 1184"/>
                <a:gd name="T46" fmla="*/ 565 w 957"/>
                <a:gd name="T47" fmla="*/ 491 h 1184"/>
                <a:gd name="T48" fmla="*/ 562 w 957"/>
                <a:gd name="T49" fmla="*/ 525 h 1184"/>
                <a:gd name="T50" fmla="*/ 541 w 957"/>
                <a:gd name="T51" fmla="*/ 547 h 1184"/>
                <a:gd name="T52" fmla="*/ 523 w 957"/>
                <a:gd name="T53" fmla="*/ 556 h 1184"/>
                <a:gd name="T54" fmla="*/ 484 w 957"/>
                <a:gd name="T55" fmla="*/ 529 h 1184"/>
                <a:gd name="T56" fmla="*/ 483 w 957"/>
                <a:gd name="T57" fmla="*/ 508 h 1184"/>
                <a:gd name="T58" fmla="*/ 479 w 957"/>
                <a:gd name="T59" fmla="*/ 475 h 1184"/>
                <a:gd name="T60" fmla="*/ 455 w 957"/>
                <a:gd name="T61" fmla="*/ 424 h 1184"/>
                <a:gd name="T62" fmla="*/ 518 w 957"/>
                <a:gd name="T63" fmla="*/ 216 h 1184"/>
                <a:gd name="T64" fmla="*/ 522 w 957"/>
                <a:gd name="T65" fmla="*/ 106 h 1184"/>
                <a:gd name="T66" fmla="*/ 537 w 957"/>
                <a:gd name="T67" fmla="*/ 117 h 1184"/>
                <a:gd name="T68" fmla="*/ 523 w 957"/>
                <a:gd name="T69" fmla="*/ 178 h 1184"/>
                <a:gd name="T70" fmla="*/ 430 w 957"/>
                <a:gd name="T71" fmla="*/ 139 h 1184"/>
                <a:gd name="T72" fmla="*/ 448 w 957"/>
                <a:gd name="T73" fmla="*/ 199 h 1184"/>
                <a:gd name="T74" fmla="*/ 407 w 957"/>
                <a:gd name="T75" fmla="*/ 153 h 1184"/>
                <a:gd name="T76" fmla="*/ 331 w 957"/>
                <a:gd name="T77" fmla="*/ 220 h 1184"/>
                <a:gd name="T78" fmla="*/ 376 w 957"/>
                <a:gd name="T79" fmla="*/ 226 h 1184"/>
                <a:gd name="T80" fmla="*/ 352 w 957"/>
                <a:gd name="T81" fmla="*/ 245 h 1184"/>
                <a:gd name="T82" fmla="*/ 303 w 957"/>
                <a:gd name="T83" fmla="*/ 328 h 1184"/>
                <a:gd name="T84" fmla="*/ 375 w 957"/>
                <a:gd name="T85" fmla="*/ 327 h 1184"/>
                <a:gd name="T86" fmla="*/ 331 w 957"/>
                <a:gd name="T87" fmla="*/ 434 h 1184"/>
                <a:gd name="T88" fmla="*/ 378 w 957"/>
                <a:gd name="T89" fmla="*/ 396 h 1184"/>
                <a:gd name="T90" fmla="*/ 375 w 957"/>
                <a:gd name="T91" fmla="*/ 43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57" h="1184">
                  <a:moveTo>
                    <a:pt x="284" y="1184"/>
                  </a:moveTo>
                  <a:cubicBezTo>
                    <a:pt x="505" y="1184"/>
                    <a:pt x="726" y="1184"/>
                    <a:pt x="947" y="1184"/>
                  </a:cubicBezTo>
                  <a:cubicBezTo>
                    <a:pt x="907" y="1145"/>
                    <a:pt x="861" y="1103"/>
                    <a:pt x="825" y="1050"/>
                  </a:cubicBezTo>
                  <a:cubicBezTo>
                    <a:pt x="791" y="1001"/>
                    <a:pt x="754" y="932"/>
                    <a:pt x="758" y="858"/>
                  </a:cubicBezTo>
                  <a:cubicBezTo>
                    <a:pt x="760" y="813"/>
                    <a:pt x="796" y="776"/>
                    <a:pt x="820" y="740"/>
                  </a:cubicBezTo>
                  <a:cubicBezTo>
                    <a:pt x="886" y="642"/>
                    <a:pt x="957" y="521"/>
                    <a:pt x="943" y="359"/>
                  </a:cubicBezTo>
                  <a:cubicBezTo>
                    <a:pt x="934" y="258"/>
                    <a:pt x="873" y="167"/>
                    <a:pt x="813" y="111"/>
                  </a:cubicBezTo>
                  <a:cubicBezTo>
                    <a:pt x="746" y="47"/>
                    <a:pt x="668" y="9"/>
                    <a:pt x="547" y="0"/>
                  </a:cubicBezTo>
                  <a:cubicBezTo>
                    <a:pt x="510" y="0"/>
                    <a:pt x="472" y="0"/>
                    <a:pt x="434" y="0"/>
                  </a:cubicBezTo>
                  <a:cubicBezTo>
                    <a:pt x="323" y="13"/>
                    <a:pt x="224" y="47"/>
                    <a:pt x="166" y="132"/>
                  </a:cubicBezTo>
                  <a:cubicBezTo>
                    <a:pt x="142" y="166"/>
                    <a:pt x="122" y="214"/>
                    <a:pt x="105" y="261"/>
                  </a:cubicBezTo>
                  <a:cubicBezTo>
                    <a:pt x="80" y="337"/>
                    <a:pt x="58" y="437"/>
                    <a:pt x="105" y="497"/>
                  </a:cubicBezTo>
                  <a:cubicBezTo>
                    <a:pt x="90" y="523"/>
                    <a:pt x="71" y="555"/>
                    <a:pt x="50" y="592"/>
                  </a:cubicBezTo>
                  <a:cubicBezTo>
                    <a:pt x="34" y="620"/>
                    <a:pt x="0" y="667"/>
                    <a:pt x="4" y="694"/>
                  </a:cubicBezTo>
                  <a:cubicBezTo>
                    <a:pt x="8" y="725"/>
                    <a:pt x="56" y="725"/>
                    <a:pt x="85" y="738"/>
                  </a:cubicBezTo>
                  <a:cubicBezTo>
                    <a:pt x="82" y="784"/>
                    <a:pt x="70" y="814"/>
                    <a:pt x="94" y="854"/>
                  </a:cubicBezTo>
                  <a:cubicBezTo>
                    <a:pt x="101" y="866"/>
                    <a:pt x="115" y="879"/>
                    <a:pt x="117" y="893"/>
                  </a:cubicBezTo>
                  <a:cubicBezTo>
                    <a:pt x="121" y="921"/>
                    <a:pt x="102" y="946"/>
                    <a:pt x="108" y="969"/>
                  </a:cubicBezTo>
                  <a:cubicBezTo>
                    <a:pt x="116" y="1001"/>
                    <a:pt x="156" y="1022"/>
                    <a:pt x="189" y="1025"/>
                  </a:cubicBezTo>
                  <a:cubicBezTo>
                    <a:pt x="244" y="1030"/>
                    <a:pt x="302" y="1002"/>
                    <a:pt x="355" y="1002"/>
                  </a:cubicBezTo>
                  <a:cubicBezTo>
                    <a:pt x="392" y="1081"/>
                    <a:pt x="341" y="1157"/>
                    <a:pt x="284" y="1184"/>
                  </a:cubicBezTo>
                  <a:close/>
                  <a:moveTo>
                    <a:pt x="716" y="433"/>
                  </a:moveTo>
                  <a:cubicBezTo>
                    <a:pt x="714" y="456"/>
                    <a:pt x="683" y="435"/>
                    <a:pt x="673" y="430"/>
                  </a:cubicBezTo>
                  <a:cubicBezTo>
                    <a:pt x="665" y="425"/>
                    <a:pt x="649" y="420"/>
                    <a:pt x="651" y="405"/>
                  </a:cubicBezTo>
                  <a:cubicBezTo>
                    <a:pt x="652" y="399"/>
                    <a:pt x="656" y="397"/>
                    <a:pt x="661" y="396"/>
                  </a:cubicBezTo>
                  <a:cubicBezTo>
                    <a:pt x="673" y="393"/>
                    <a:pt x="680" y="401"/>
                    <a:pt x="691" y="408"/>
                  </a:cubicBezTo>
                  <a:cubicBezTo>
                    <a:pt x="702" y="414"/>
                    <a:pt x="718" y="418"/>
                    <a:pt x="716" y="433"/>
                  </a:cubicBezTo>
                  <a:close/>
                  <a:moveTo>
                    <a:pt x="744" y="327"/>
                  </a:moveTo>
                  <a:cubicBezTo>
                    <a:pt x="745" y="349"/>
                    <a:pt x="673" y="348"/>
                    <a:pt x="672" y="328"/>
                  </a:cubicBezTo>
                  <a:cubicBezTo>
                    <a:pt x="672" y="318"/>
                    <a:pt x="680" y="315"/>
                    <a:pt x="687" y="314"/>
                  </a:cubicBezTo>
                  <a:cubicBezTo>
                    <a:pt x="705" y="310"/>
                    <a:pt x="744" y="308"/>
                    <a:pt x="744" y="327"/>
                  </a:cubicBezTo>
                  <a:close/>
                  <a:moveTo>
                    <a:pt x="669" y="226"/>
                  </a:moveTo>
                  <a:cubicBezTo>
                    <a:pt x="678" y="222"/>
                    <a:pt x="687" y="214"/>
                    <a:pt x="698" y="212"/>
                  </a:cubicBezTo>
                  <a:cubicBezTo>
                    <a:pt x="703" y="211"/>
                    <a:pt x="714" y="210"/>
                    <a:pt x="716" y="219"/>
                  </a:cubicBezTo>
                  <a:cubicBezTo>
                    <a:pt x="719" y="232"/>
                    <a:pt x="705" y="239"/>
                    <a:pt x="695" y="245"/>
                  </a:cubicBezTo>
                  <a:cubicBezTo>
                    <a:pt x="685" y="251"/>
                    <a:pt x="656" y="270"/>
                    <a:pt x="651" y="250"/>
                  </a:cubicBezTo>
                  <a:cubicBezTo>
                    <a:pt x="648" y="238"/>
                    <a:pt x="661" y="231"/>
                    <a:pt x="669" y="226"/>
                  </a:cubicBezTo>
                  <a:close/>
                  <a:moveTo>
                    <a:pt x="592" y="183"/>
                  </a:moveTo>
                  <a:cubicBezTo>
                    <a:pt x="593" y="173"/>
                    <a:pt x="610" y="144"/>
                    <a:pt x="616" y="139"/>
                  </a:cubicBezTo>
                  <a:cubicBezTo>
                    <a:pt x="625" y="131"/>
                    <a:pt x="642" y="133"/>
                    <a:pt x="640" y="152"/>
                  </a:cubicBezTo>
                  <a:cubicBezTo>
                    <a:pt x="638" y="161"/>
                    <a:pt x="630" y="171"/>
                    <a:pt x="625" y="181"/>
                  </a:cubicBezTo>
                  <a:cubicBezTo>
                    <a:pt x="618" y="191"/>
                    <a:pt x="613" y="201"/>
                    <a:pt x="599" y="199"/>
                  </a:cubicBezTo>
                  <a:cubicBezTo>
                    <a:pt x="595" y="195"/>
                    <a:pt x="591" y="194"/>
                    <a:pt x="592" y="183"/>
                  </a:cubicBezTo>
                  <a:close/>
                  <a:moveTo>
                    <a:pt x="634" y="322"/>
                  </a:moveTo>
                  <a:cubicBezTo>
                    <a:pt x="634" y="348"/>
                    <a:pt x="627" y="367"/>
                    <a:pt x="618" y="382"/>
                  </a:cubicBezTo>
                  <a:cubicBezTo>
                    <a:pt x="609" y="398"/>
                    <a:pt x="596" y="412"/>
                    <a:pt x="589" y="430"/>
                  </a:cubicBezTo>
                  <a:cubicBezTo>
                    <a:pt x="582" y="448"/>
                    <a:pt x="588" y="469"/>
                    <a:pt x="567" y="475"/>
                  </a:cubicBezTo>
                  <a:cubicBezTo>
                    <a:pt x="572" y="481"/>
                    <a:pt x="570" y="487"/>
                    <a:pt x="565" y="491"/>
                  </a:cubicBezTo>
                  <a:cubicBezTo>
                    <a:pt x="574" y="493"/>
                    <a:pt x="571" y="506"/>
                    <a:pt x="565" y="508"/>
                  </a:cubicBezTo>
                  <a:cubicBezTo>
                    <a:pt x="574" y="510"/>
                    <a:pt x="571" y="524"/>
                    <a:pt x="562" y="525"/>
                  </a:cubicBezTo>
                  <a:cubicBezTo>
                    <a:pt x="563" y="528"/>
                    <a:pt x="566" y="530"/>
                    <a:pt x="565" y="535"/>
                  </a:cubicBezTo>
                  <a:cubicBezTo>
                    <a:pt x="561" y="544"/>
                    <a:pt x="549" y="543"/>
                    <a:pt x="541" y="547"/>
                  </a:cubicBezTo>
                  <a:cubicBezTo>
                    <a:pt x="535" y="549"/>
                    <a:pt x="532" y="557"/>
                    <a:pt x="525" y="556"/>
                  </a:cubicBezTo>
                  <a:cubicBezTo>
                    <a:pt x="524" y="556"/>
                    <a:pt x="523" y="556"/>
                    <a:pt x="523" y="556"/>
                  </a:cubicBezTo>
                  <a:cubicBezTo>
                    <a:pt x="516" y="555"/>
                    <a:pt x="512" y="551"/>
                    <a:pt x="508" y="547"/>
                  </a:cubicBezTo>
                  <a:cubicBezTo>
                    <a:pt x="497" y="545"/>
                    <a:pt x="480" y="541"/>
                    <a:pt x="484" y="529"/>
                  </a:cubicBezTo>
                  <a:cubicBezTo>
                    <a:pt x="486" y="523"/>
                    <a:pt x="483" y="524"/>
                    <a:pt x="480" y="521"/>
                  </a:cubicBezTo>
                  <a:cubicBezTo>
                    <a:pt x="476" y="516"/>
                    <a:pt x="477" y="510"/>
                    <a:pt x="483" y="508"/>
                  </a:cubicBezTo>
                  <a:cubicBezTo>
                    <a:pt x="476" y="503"/>
                    <a:pt x="476" y="495"/>
                    <a:pt x="483" y="490"/>
                  </a:cubicBezTo>
                  <a:cubicBezTo>
                    <a:pt x="475" y="489"/>
                    <a:pt x="477" y="478"/>
                    <a:pt x="479" y="475"/>
                  </a:cubicBezTo>
                  <a:cubicBezTo>
                    <a:pt x="461" y="470"/>
                    <a:pt x="464" y="451"/>
                    <a:pt x="459" y="435"/>
                  </a:cubicBezTo>
                  <a:cubicBezTo>
                    <a:pt x="458" y="431"/>
                    <a:pt x="456" y="427"/>
                    <a:pt x="455" y="424"/>
                  </a:cubicBezTo>
                  <a:cubicBezTo>
                    <a:pt x="438" y="390"/>
                    <a:pt x="412" y="372"/>
                    <a:pt x="413" y="322"/>
                  </a:cubicBezTo>
                  <a:cubicBezTo>
                    <a:pt x="413" y="258"/>
                    <a:pt x="464" y="219"/>
                    <a:pt x="518" y="216"/>
                  </a:cubicBezTo>
                  <a:cubicBezTo>
                    <a:pt x="578" y="213"/>
                    <a:pt x="634" y="256"/>
                    <a:pt x="634" y="322"/>
                  </a:cubicBezTo>
                  <a:close/>
                  <a:moveTo>
                    <a:pt x="522" y="106"/>
                  </a:moveTo>
                  <a:cubicBezTo>
                    <a:pt x="523" y="106"/>
                    <a:pt x="524" y="106"/>
                    <a:pt x="525" y="106"/>
                  </a:cubicBezTo>
                  <a:cubicBezTo>
                    <a:pt x="530" y="108"/>
                    <a:pt x="535" y="112"/>
                    <a:pt x="537" y="117"/>
                  </a:cubicBezTo>
                  <a:cubicBezTo>
                    <a:pt x="539" y="127"/>
                    <a:pt x="540" y="153"/>
                    <a:pt x="537" y="165"/>
                  </a:cubicBezTo>
                  <a:cubicBezTo>
                    <a:pt x="536" y="172"/>
                    <a:pt x="529" y="178"/>
                    <a:pt x="523" y="178"/>
                  </a:cubicBezTo>
                  <a:cubicBezTo>
                    <a:pt x="502" y="178"/>
                    <a:pt x="504" y="107"/>
                    <a:pt x="522" y="106"/>
                  </a:cubicBezTo>
                  <a:close/>
                  <a:moveTo>
                    <a:pt x="430" y="139"/>
                  </a:moveTo>
                  <a:cubicBezTo>
                    <a:pt x="435" y="143"/>
                    <a:pt x="454" y="175"/>
                    <a:pt x="455" y="183"/>
                  </a:cubicBezTo>
                  <a:cubicBezTo>
                    <a:pt x="456" y="192"/>
                    <a:pt x="452" y="196"/>
                    <a:pt x="448" y="199"/>
                  </a:cubicBezTo>
                  <a:cubicBezTo>
                    <a:pt x="433" y="201"/>
                    <a:pt x="428" y="191"/>
                    <a:pt x="422" y="181"/>
                  </a:cubicBezTo>
                  <a:cubicBezTo>
                    <a:pt x="417" y="171"/>
                    <a:pt x="409" y="161"/>
                    <a:pt x="407" y="153"/>
                  </a:cubicBezTo>
                  <a:cubicBezTo>
                    <a:pt x="405" y="136"/>
                    <a:pt x="418" y="129"/>
                    <a:pt x="430" y="139"/>
                  </a:cubicBezTo>
                  <a:close/>
                  <a:moveTo>
                    <a:pt x="331" y="220"/>
                  </a:moveTo>
                  <a:cubicBezTo>
                    <a:pt x="332" y="214"/>
                    <a:pt x="335" y="213"/>
                    <a:pt x="340" y="212"/>
                  </a:cubicBezTo>
                  <a:cubicBezTo>
                    <a:pt x="353" y="209"/>
                    <a:pt x="364" y="219"/>
                    <a:pt x="376" y="226"/>
                  </a:cubicBezTo>
                  <a:cubicBezTo>
                    <a:pt x="385" y="231"/>
                    <a:pt x="399" y="238"/>
                    <a:pt x="396" y="250"/>
                  </a:cubicBezTo>
                  <a:cubicBezTo>
                    <a:pt x="391" y="269"/>
                    <a:pt x="364" y="252"/>
                    <a:pt x="352" y="245"/>
                  </a:cubicBezTo>
                  <a:cubicBezTo>
                    <a:pt x="343" y="240"/>
                    <a:pt x="329" y="234"/>
                    <a:pt x="331" y="220"/>
                  </a:cubicBezTo>
                  <a:close/>
                  <a:moveTo>
                    <a:pt x="303" y="328"/>
                  </a:moveTo>
                  <a:cubicBezTo>
                    <a:pt x="302" y="318"/>
                    <a:pt x="310" y="315"/>
                    <a:pt x="318" y="314"/>
                  </a:cubicBezTo>
                  <a:cubicBezTo>
                    <a:pt x="336" y="310"/>
                    <a:pt x="374" y="309"/>
                    <a:pt x="375" y="327"/>
                  </a:cubicBezTo>
                  <a:cubicBezTo>
                    <a:pt x="375" y="349"/>
                    <a:pt x="304" y="349"/>
                    <a:pt x="303" y="328"/>
                  </a:cubicBezTo>
                  <a:close/>
                  <a:moveTo>
                    <a:pt x="331" y="434"/>
                  </a:moveTo>
                  <a:cubicBezTo>
                    <a:pt x="328" y="419"/>
                    <a:pt x="346" y="413"/>
                    <a:pt x="355" y="408"/>
                  </a:cubicBezTo>
                  <a:cubicBezTo>
                    <a:pt x="364" y="403"/>
                    <a:pt x="369" y="398"/>
                    <a:pt x="378" y="396"/>
                  </a:cubicBezTo>
                  <a:cubicBezTo>
                    <a:pt x="383" y="395"/>
                    <a:pt x="394" y="395"/>
                    <a:pt x="396" y="403"/>
                  </a:cubicBezTo>
                  <a:cubicBezTo>
                    <a:pt x="400" y="417"/>
                    <a:pt x="384" y="424"/>
                    <a:pt x="375" y="430"/>
                  </a:cubicBezTo>
                  <a:cubicBezTo>
                    <a:pt x="365" y="435"/>
                    <a:pt x="334" y="455"/>
                    <a:pt x="331" y="434"/>
                  </a:cubicBezTo>
                  <a:close/>
                </a:path>
              </a:pathLst>
            </a:custGeom>
            <a:solidFill>
              <a:schemeClr val="bg1"/>
            </a:solidFill>
            <a:ln w="15875">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sp>
          <p:nvSpPr>
            <p:cNvPr id="87" name="TextBox 86"/>
            <p:cNvSpPr txBox="1"/>
            <p:nvPr/>
          </p:nvSpPr>
          <p:spPr>
            <a:xfrm>
              <a:off x="8380593" y="444931"/>
              <a:ext cx="755255" cy="284597"/>
            </a:xfrm>
            <a:prstGeom prst="rect">
              <a:avLst/>
            </a:prstGeom>
            <a:noFill/>
          </p:spPr>
          <p:txBody>
            <a:bodyPr wrap="none" rtlCol="0">
              <a:spAutoFit/>
            </a:bodyPr>
            <a:lstStyle/>
            <a:p>
              <a:pPr algn="ctr"/>
              <a:r>
                <a:rPr lang="en-GB" sz="933" b="1" i="1">
                  <a:solidFill>
                    <a:schemeClr val="accent2"/>
                  </a:solidFill>
                </a:rPr>
                <a:t>Intellectual </a:t>
              </a:r>
            </a:p>
            <a:p>
              <a:pPr algn="ctr"/>
              <a:r>
                <a:rPr lang="en-GB" sz="933" b="1" i="1">
                  <a:solidFill>
                    <a:schemeClr val="accent2"/>
                  </a:solidFill>
                </a:rPr>
                <a:t>Property</a:t>
              </a:r>
              <a:endParaRPr lang="en-GB" sz="1467" b="1">
                <a:solidFill>
                  <a:schemeClr val="accent2"/>
                </a:solidFill>
              </a:endParaRPr>
            </a:p>
          </p:txBody>
        </p:sp>
      </p:grpSp>
      <p:grpSp>
        <p:nvGrpSpPr>
          <p:cNvPr id="76" name="Group 75"/>
          <p:cNvGrpSpPr/>
          <p:nvPr/>
        </p:nvGrpSpPr>
        <p:grpSpPr>
          <a:xfrm>
            <a:off x="239349" y="1373833"/>
            <a:ext cx="9507020" cy="4236136"/>
            <a:chOff x="1037690" y="1292156"/>
            <a:chExt cx="7130265" cy="3177102"/>
          </a:xfrm>
        </p:grpSpPr>
        <p:grpSp>
          <p:nvGrpSpPr>
            <p:cNvPr id="74" name="Group 73"/>
            <p:cNvGrpSpPr/>
            <p:nvPr/>
          </p:nvGrpSpPr>
          <p:grpSpPr>
            <a:xfrm>
              <a:off x="1125688" y="1350801"/>
              <a:ext cx="6958654" cy="3067088"/>
              <a:chOff x="618744" y="952171"/>
              <a:chExt cx="8102663" cy="3571320"/>
            </a:xfrm>
          </p:grpSpPr>
          <p:sp>
            <p:nvSpPr>
              <p:cNvPr id="3" name="Freeform 5"/>
              <p:cNvSpPr>
                <a:spLocks/>
              </p:cNvSpPr>
              <p:nvPr/>
            </p:nvSpPr>
            <p:spPr bwMode="auto">
              <a:xfrm>
                <a:off x="5815067" y="1644649"/>
                <a:ext cx="1383707" cy="1077709"/>
              </a:xfrm>
              <a:custGeom>
                <a:avLst/>
                <a:gdLst>
                  <a:gd name="T0" fmla="*/ 0 w 828"/>
                  <a:gd name="T1" fmla="*/ 296 h 644"/>
                  <a:gd name="T2" fmla="*/ 111 w 828"/>
                  <a:gd name="T3" fmla="*/ 328 h 644"/>
                  <a:gd name="T4" fmla="*/ 111 w 828"/>
                  <a:gd name="T5" fmla="*/ 453 h 644"/>
                  <a:gd name="T6" fmla="*/ 691 w 828"/>
                  <a:gd name="T7" fmla="*/ 644 h 644"/>
                  <a:gd name="T8" fmla="*/ 828 w 828"/>
                  <a:gd name="T9" fmla="*/ 618 h 644"/>
                  <a:gd name="T10" fmla="*/ 824 w 828"/>
                  <a:gd name="T11" fmla="*/ 490 h 644"/>
                  <a:gd name="T12" fmla="*/ 0 w 828"/>
                  <a:gd name="T13" fmla="*/ 296 h 644"/>
                </a:gdLst>
                <a:ahLst/>
                <a:cxnLst>
                  <a:cxn ang="0">
                    <a:pos x="T0" y="T1"/>
                  </a:cxn>
                  <a:cxn ang="0">
                    <a:pos x="T2" y="T3"/>
                  </a:cxn>
                  <a:cxn ang="0">
                    <a:pos x="T4" y="T5"/>
                  </a:cxn>
                  <a:cxn ang="0">
                    <a:pos x="T6" y="T7"/>
                  </a:cxn>
                  <a:cxn ang="0">
                    <a:pos x="T8" y="T9"/>
                  </a:cxn>
                  <a:cxn ang="0">
                    <a:pos x="T10" y="T11"/>
                  </a:cxn>
                  <a:cxn ang="0">
                    <a:pos x="T12" y="T13"/>
                  </a:cxn>
                </a:cxnLst>
                <a:rect l="0" t="0" r="r" b="b"/>
                <a:pathLst>
                  <a:path w="828" h="644">
                    <a:moveTo>
                      <a:pt x="0" y="296"/>
                    </a:moveTo>
                    <a:cubicBezTo>
                      <a:pt x="111" y="328"/>
                      <a:pt x="111" y="328"/>
                      <a:pt x="111" y="328"/>
                    </a:cubicBezTo>
                    <a:cubicBezTo>
                      <a:pt x="111" y="453"/>
                      <a:pt x="111" y="453"/>
                      <a:pt x="111" y="453"/>
                    </a:cubicBezTo>
                    <a:cubicBezTo>
                      <a:pt x="111" y="453"/>
                      <a:pt x="423" y="249"/>
                      <a:pt x="691" y="644"/>
                    </a:cubicBezTo>
                    <a:cubicBezTo>
                      <a:pt x="828" y="618"/>
                      <a:pt x="828" y="618"/>
                      <a:pt x="828" y="618"/>
                    </a:cubicBezTo>
                    <a:cubicBezTo>
                      <a:pt x="824" y="490"/>
                      <a:pt x="824" y="490"/>
                      <a:pt x="824" y="490"/>
                    </a:cubicBezTo>
                    <a:cubicBezTo>
                      <a:pt x="824" y="490"/>
                      <a:pt x="492" y="0"/>
                      <a:pt x="0" y="296"/>
                    </a:cubicBezTo>
                    <a:close/>
                  </a:path>
                </a:pathLst>
              </a:custGeom>
              <a:solidFill>
                <a:schemeClr val="bg1">
                  <a:lumMod val="50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467"/>
              </a:p>
            </p:txBody>
          </p:sp>
          <p:sp>
            <p:nvSpPr>
              <p:cNvPr id="4" name="Freeform 6"/>
              <p:cNvSpPr>
                <a:spLocks/>
              </p:cNvSpPr>
              <p:nvPr/>
            </p:nvSpPr>
            <p:spPr bwMode="auto">
              <a:xfrm>
                <a:off x="7118213" y="2225552"/>
                <a:ext cx="1383001" cy="1077709"/>
              </a:xfrm>
              <a:custGeom>
                <a:avLst/>
                <a:gdLst>
                  <a:gd name="T0" fmla="*/ 0 w 828"/>
                  <a:gd name="T1" fmla="*/ 346 h 644"/>
                  <a:gd name="T2" fmla="*/ 111 w 828"/>
                  <a:gd name="T3" fmla="*/ 314 h 644"/>
                  <a:gd name="T4" fmla="*/ 112 w 828"/>
                  <a:gd name="T5" fmla="*/ 190 h 644"/>
                  <a:gd name="T6" fmla="*/ 692 w 828"/>
                  <a:gd name="T7" fmla="*/ 0 h 644"/>
                  <a:gd name="T8" fmla="*/ 828 w 828"/>
                  <a:gd name="T9" fmla="*/ 27 h 644"/>
                  <a:gd name="T10" fmla="*/ 825 w 828"/>
                  <a:gd name="T11" fmla="*/ 156 h 644"/>
                  <a:gd name="T12" fmla="*/ 0 w 828"/>
                  <a:gd name="T13" fmla="*/ 346 h 644"/>
                </a:gdLst>
                <a:ahLst/>
                <a:cxnLst>
                  <a:cxn ang="0">
                    <a:pos x="T0" y="T1"/>
                  </a:cxn>
                  <a:cxn ang="0">
                    <a:pos x="T2" y="T3"/>
                  </a:cxn>
                  <a:cxn ang="0">
                    <a:pos x="T4" y="T5"/>
                  </a:cxn>
                  <a:cxn ang="0">
                    <a:pos x="T6" y="T7"/>
                  </a:cxn>
                  <a:cxn ang="0">
                    <a:pos x="T8" y="T9"/>
                  </a:cxn>
                  <a:cxn ang="0">
                    <a:pos x="T10" y="T11"/>
                  </a:cxn>
                  <a:cxn ang="0">
                    <a:pos x="T12" y="T13"/>
                  </a:cxn>
                </a:cxnLst>
                <a:rect l="0" t="0" r="r" b="b"/>
                <a:pathLst>
                  <a:path w="828" h="644">
                    <a:moveTo>
                      <a:pt x="0" y="346"/>
                    </a:moveTo>
                    <a:cubicBezTo>
                      <a:pt x="111" y="314"/>
                      <a:pt x="111" y="314"/>
                      <a:pt x="111" y="314"/>
                    </a:cubicBezTo>
                    <a:cubicBezTo>
                      <a:pt x="112" y="190"/>
                      <a:pt x="112" y="190"/>
                      <a:pt x="112" y="190"/>
                    </a:cubicBezTo>
                    <a:cubicBezTo>
                      <a:pt x="112" y="190"/>
                      <a:pt x="423" y="394"/>
                      <a:pt x="692" y="0"/>
                    </a:cubicBezTo>
                    <a:cubicBezTo>
                      <a:pt x="828" y="27"/>
                      <a:pt x="828" y="27"/>
                      <a:pt x="828" y="27"/>
                    </a:cubicBezTo>
                    <a:cubicBezTo>
                      <a:pt x="825" y="156"/>
                      <a:pt x="825" y="156"/>
                      <a:pt x="825" y="156"/>
                    </a:cubicBezTo>
                    <a:cubicBezTo>
                      <a:pt x="825" y="156"/>
                      <a:pt x="491" y="644"/>
                      <a:pt x="0" y="346"/>
                    </a:cubicBezTo>
                    <a:close/>
                  </a:path>
                </a:pathLst>
              </a:custGeom>
              <a:solidFill>
                <a:schemeClr val="bg1">
                  <a:lumMod val="50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467"/>
              </a:p>
            </p:txBody>
          </p:sp>
          <p:sp>
            <p:nvSpPr>
              <p:cNvPr id="5" name="Freeform 7"/>
              <p:cNvSpPr>
                <a:spLocks/>
              </p:cNvSpPr>
              <p:nvPr/>
            </p:nvSpPr>
            <p:spPr bwMode="auto">
              <a:xfrm>
                <a:off x="618744" y="1644649"/>
                <a:ext cx="1381587" cy="1077709"/>
              </a:xfrm>
              <a:custGeom>
                <a:avLst/>
                <a:gdLst>
                  <a:gd name="T0" fmla="*/ 0 w 827"/>
                  <a:gd name="T1" fmla="*/ 296 h 644"/>
                  <a:gd name="T2" fmla="*/ 111 w 827"/>
                  <a:gd name="T3" fmla="*/ 328 h 644"/>
                  <a:gd name="T4" fmla="*/ 111 w 827"/>
                  <a:gd name="T5" fmla="*/ 453 h 644"/>
                  <a:gd name="T6" fmla="*/ 691 w 827"/>
                  <a:gd name="T7" fmla="*/ 644 h 644"/>
                  <a:gd name="T8" fmla="*/ 827 w 827"/>
                  <a:gd name="T9" fmla="*/ 618 h 644"/>
                  <a:gd name="T10" fmla="*/ 824 w 827"/>
                  <a:gd name="T11" fmla="*/ 490 h 644"/>
                  <a:gd name="T12" fmla="*/ 0 w 827"/>
                  <a:gd name="T13" fmla="*/ 296 h 644"/>
                </a:gdLst>
                <a:ahLst/>
                <a:cxnLst>
                  <a:cxn ang="0">
                    <a:pos x="T0" y="T1"/>
                  </a:cxn>
                  <a:cxn ang="0">
                    <a:pos x="T2" y="T3"/>
                  </a:cxn>
                  <a:cxn ang="0">
                    <a:pos x="T4" y="T5"/>
                  </a:cxn>
                  <a:cxn ang="0">
                    <a:pos x="T6" y="T7"/>
                  </a:cxn>
                  <a:cxn ang="0">
                    <a:pos x="T8" y="T9"/>
                  </a:cxn>
                  <a:cxn ang="0">
                    <a:pos x="T10" y="T11"/>
                  </a:cxn>
                  <a:cxn ang="0">
                    <a:pos x="T12" y="T13"/>
                  </a:cxn>
                </a:cxnLst>
                <a:rect l="0" t="0" r="r" b="b"/>
                <a:pathLst>
                  <a:path w="827" h="644">
                    <a:moveTo>
                      <a:pt x="0" y="296"/>
                    </a:moveTo>
                    <a:cubicBezTo>
                      <a:pt x="111" y="328"/>
                      <a:pt x="111" y="328"/>
                      <a:pt x="111" y="328"/>
                    </a:cubicBezTo>
                    <a:cubicBezTo>
                      <a:pt x="111" y="453"/>
                      <a:pt x="111" y="453"/>
                      <a:pt x="111" y="453"/>
                    </a:cubicBezTo>
                    <a:cubicBezTo>
                      <a:pt x="111" y="453"/>
                      <a:pt x="423" y="249"/>
                      <a:pt x="691" y="644"/>
                    </a:cubicBezTo>
                    <a:cubicBezTo>
                      <a:pt x="827" y="618"/>
                      <a:pt x="827" y="618"/>
                      <a:pt x="827" y="618"/>
                    </a:cubicBezTo>
                    <a:cubicBezTo>
                      <a:pt x="824" y="490"/>
                      <a:pt x="824" y="490"/>
                      <a:pt x="824" y="490"/>
                    </a:cubicBezTo>
                    <a:cubicBezTo>
                      <a:pt x="824" y="490"/>
                      <a:pt x="492" y="0"/>
                      <a:pt x="0" y="296"/>
                    </a:cubicBezTo>
                    <a:close/>
                  </a:path>
                </a:pathLst>
              </a:custGeom>
              <a:solidFill>
                <a:schemeClr val="bg1">
                  <a:lumMod val="50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467"/>
              </a:p>
            </p:txBody>
          </p:sp>
          <p:sp>
            <p:nvSpPr>
              <p:cNvPr id="6" name="Freeform 8"/>
              <p:cNvSpPr>
                <a:spLocks/>
              </p:cNvSpPr>
              <p:nvPr/>
            </p:nvSpPr>
            <p:spPr bwMode="auto">
              <a:xfrm>
                <a:off x="1919768" y="2225552"/>
                <a:ext cx="1385120" cy="1077709"/>
              </a:xfrm>
              <a:custGeom>
                <a:avLst/>
                <a:gdLst>
                  <a:gd name="T0" fmla="*/ 0 w 829"/>
                  <a:gd name="T1" fmla="*/ 346 h 644"/>
                  <a:gd name="T2" fmla="*/ 112 w 829"/>
                  <a:gd name="T3" fmla="*/ 314 h 644"/>
                  <a:gd name="T4" fmla="*/ 112 w 829"/>
                  <a:gd name="T5" fmla="*/ 190 h 644"/>
                  <a:gd name="T6" fmla="*/ 693 w 829"/>
                  <a:gd name="T7" fmla="*/ 0 h 644"/>
                  <a:gd name="T8" fmla="*/ 829 w 829"/>
                  <a:gd name="T9" fmla="*/ 27 h 644"/>
                  <a:gd name="T10" fmla="*/ 825 w 829"/>
                  <a:gd name="T11" fmla="*/ 156 h 644"/>
                  <a:gd name="T12" fmla="*/ 0 w 829"/>
                  <a:gd name="T13" fmla="*/ 346 h 644"/>
                </a:gdLst>
                <a:ahLst/>
                <a:cxnLst>
                  <a:cxn ang="0">
                    <a:pos x="T0" y="T1"/>
                  </a:cxn>
                  <a:cxn ang="0">
                    <a:pos x="T2" y="T3"/>
                  </a:cxn>
                  <a:cxn ang="0">
                    <a:pos x="T4" y="T5"/>
                  </a:cxn>
                  <a:cxn ang="0">
                    <a:pos x="T6" y="T7"/>
                  </a:cxn>
                  <a:cxn ang="0">
                    <a:pos x="T8" y="T9"/>
                  </a:cxn>
                  <a:cxn ang="0">
                    <a:pos x="T10" y="T11"/>
                  </a:cxn>
                  <a:cxn ang="0">
                    <a:pos x="T12" y="T13"/>
                  </a:cxn>
                </a:cxnLst>
                <a:rect l="0" t="0" r="r" b="b"/>
                <a:pathLst>
                  <a:path w="829" h="644">
                    <a:moveTo>
                      <a:pt x="0" y="346"/>
                    </a:moveTo>
                    <a:cubicBezTo>
                      <a:pt x="112" y="314"/>
                      <a:pt x="112" y="314"/>
                      <a:pt x="112" y="314"/>
                    </a:cubicBezTo>
                    <a:cubicBezTo>
                      <a:pt x="112" y="190"/>
                      <a:pt x="112" y="190"/>
                      <a:pt x="112" y="190"/>
                    </a:cubicBezTo>
                    <a:cubicBezTo>
                      <a:pt x="112" y="190"/>
                      <a:pt x="423" y="394"/>
                      <a:pt x="693" y="0"/>
                    </a:cubicBezTo>
                    <a:cubicBezTo>
                      <a:pt x="829" y="27"/>
                      <a:pt x="829" y="27"/>
                      <a:pt x="829" y="27"/>
                    </a:cubicBezTo>
                    <a:cubicBezTo>
                      <a:pt x="825" y="156"/>
                      <a:pt x="825" y="156"/>
                      <a:pt x="825" y="156"/>
                    </a:cubicBezTo>
                    <a:cubicBezTo>
                      <a:pt x="825" y="156"/>
                      <a:pt x="491" y="644"/>
                      <a:pt x="0" y="346"/>
                    </a:cubicBezTo>
                    <a:close/>
                  </a:path>
                </a:pathLst>
              </a:custGeom>
              <a:solidFill>
                <a:schemeClr val="bg1">
                  <a:lumMod val="50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467"/>
              </a:p>
            </p:txBody>
          </p:sp>
          <p:sp>
            <p:nvSpPr>
              <p:cNvPr id="7" name="Freeform 9"/>
              <p:cNvSpPr>
                <a:spLocks/>
              </p:cNvSpPr>
              <p:nvPr/>
            </p:nvSpPr>
            <p:spPr bwMode="auto">
              <a:xfrm>
                <a:off x="3226449" y="1644649"/>
                <a:ext cx="1380881" cy="1077709"/>
              </a:xfrm>
              <a:custGeom>
                <a:avLst/>
                <a:gdLst>
                  <a:gd name="T0" fmla="*/ 0 w 827"/>
                  <a:gd name="T1" fmla="*/ 296 h 644"/>
                  <a:gd name="T2" fmla="*/ 111 w 827"/>
                  <a:gd name="T3" fmla="*/ 328 h 644"/>
                  <a:gd name="T4" fmla="*/ 111 w 827"/>
                  <a:gd name="T5" fmla="*/ 453 h 644"/>
                  <a:gd name="T6" fmla="*/ 691 w 827"/>
                  <a:gd name="T7" fmla="*/ 644 h 644"/>
                  <a:gd name="T8" fmla="*/ 827 w 827"/>
                  <a:gd name="T9" fmla="*/ 618 h 644"/>
                  <a:gd name="T10" fmla="*/ 824 w 827"/>
                  <a:gd name="T11" fmla="*/ 490 h 644"/>
                  <a:gd name="T12" fmla="*/ 0 w 827"/>
                  <a:gd name="T13" fmla="*/ 296 h 644"/>
                </a:gdLst>
                <a:ahLst/>
                <a:cxnLst>
                  <a:cxn ang="0">
                    <a:pos x="T0" y="T1"/>
                  </a:cxn>
                  <a:cxn ang="0">
                    <a:pos x="T2" y="T3"/>
                  </a:cxn>
                  <a:cxn ang="0">
                    <a:pos x="T4" y="T5"/>
                  </a:cxn>
                  <a:cxn ang="0">
                    <a:pos x="T6" y="T7"/>
                  </a:cxn>
                  <a:cxn ang="0">
                    <a:pos x="T8" y="T9"/>
                  </a:cxn>
                  <a:cxn ang="0">
                    <a:pos x="T10" y="T11"/>
                  </a:cxn>
                  <a:cxn ang="0">
                    <a:pos x="T12" y="T13"/>
                  </a:cxn>
                </a:cxnLst>
                <a:rect l="0" t="0" r="r" b="b"/>
                <a:pathLst>
                  <a:path w="827" h="644">
                    <a:moveTo>
                      <a:pt x="0" y="296"/>
                    </a:moveTo>
                    <a:cubicBezTo>
                      <a:pt x="111" y="328"/>
                      <a:pt x="111" y="328"/>
                      <a:pt x="111" y="328"/>
                    </a:cubicBezTo>
                    <a:cubicBezTo>
                      <a:pt x="111" y="453"/>
                      <a:pt x="111" y="453"/>
                      <a:pt x="111" y="453"/>
                    </a:cubicBezTo>
                    <a:cubicBezTo>
                      <a:pt x="111" y="453"/>
                      <a:pt x="423" y="249"/>
                      <a:pt x="691" y="644"/>
                    </a:cubicBezTo>
                    <a:cubicBezTo>
                      <a:pt x="827" y="618"/>
                      <a:pt x="827" y="618"/>
                      <a:pt x="827" y="618"/>
                    </a:cubicBezTo>
                    <a:cubicBezTo>
                      <a:pt x="824" y="490"/>
                      <a:pt x="824" y="490"/>
                      <a:pt x="824" y="490"/>
                    </a:cubicBezTo>
                    <a:cubicBezTo>
                      <a:pt x="824" y="490"/>
                      <a:pt x="492" y="0"/>
                      <a:pt x="0" y="296"/>
                    </a:cubicBezTo>
                    <a:close/>
                  </a:path>
                </a:pathLst>
              </a:custGeom>
              <a:solidFill>
                <a:schemeClr val="bg1">
                  <a:lumMod val="50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467"/>
              </a:p>
            </p:txBody>
          </p:sp>
          <p:sp>
            <p:nvSpPr>
              <p:cNvPr id="8" name="Freeform 10"/>
              <p:cNvSpPr>
                <a:spLocks/>
              </p:cNvSpPr>
              <p:nvPr/>
            </p:nvSpPr>
            <p:spPr bwMode="auto">
              <a:xfrm>
                <a:off x="4527470" y="2225552"/>
                <a:ext cx="1385120" cy="1077709"/>
              </a:xfrm>
              <a:custGeom>
                <a:avLst/>
                <a:gdLst>
                  <a:gd name="T0" fmla="*/ 0 w 829"/>
                  <a:gd name="T1" fmla="*/ 346 h 644"/>
                  <a:gd name="T2" fmla="*/ 112 w 829"/>
                  <a:gd name="T3" fmla="*/ 314 h 644"/>
                  <a:gd name="T4" fmla="*/ 112 w 829"/>
                  <a:gd name="T5" fmla="*/ 190 h 644"/>
                  <a:gd name="T6" fmla="*/ 693 w 829"/>
                  <a:gd name="T7" fmla="*/ 0 h 644"/>
                  <a:gd name="T8" fmla="*/ 829 w 829"/>
                  <a:gd name="T9" fmla="*/ 27 h 644"/>
                  <a:gd name="T10" fmla="*/ 825 w 829"/>
                  <a:gd name="T11" fmla="*/ 156 h 644"/>
                  <a:gd name="T12" fmla="*/ 0 w 829"/>
                  <a:gd name="T13" fmla="*/ 346 h 644"/>
                </a:gdLst>
                <a:ahLst/>
                <a:cxnLst>
                  <a:cxn ang="0">
                    <a:pos x="T0" y="T1"/>
                  </a:cxn>
                  <a:cxn ang="0">
                    <a:pos x="T2" y="T3"/>
                  </a:cxn>
                  <a:cxn ang="0">
                    <a:pos x="T4" y="T5"/>
                  </a:cxn>
                  <a:cxn ang="0">
                    <a:pos x="T6" y="T7"/>
                  </a:cxn>
                  <a:cxn ang="0">
                    <a:pos x="T8" y="T9"/>
                  </a:cxn>
                  <a:cxn ang="0">
                    <a:pos x="T10" y="T11"/>
                  </a:cxn>
                  <a:cxn ang="0">
                    <a:pos x="T12" y="T13"/>
                  </a:cxn>
                </a:cxnLst>
                <a:rect l="0" t="0" r="r" b="b"/>
                <a:pathLst>
                  <a:path w="829" h="644">
                    <a:moveTo>
                      <a:pt x="0" y="346"/>
                    </a:moveTo>
                    <a:cubicBezTo>
                      <a:pt x="112" y="314"/>
                      <a:pt x="112" y="314"/>
                      <a:pt x="112" y="314"/>
                    </a:cubicBezTo>
                    <a:cubicBezTo>
                      <a:pt x="112" y="190"/>
                      <a:pt x="112" y="190"/>
                      <a:pt x="112" y="190"/>
                    </a:cubicBezTo>
                    <a:cubicBezTo>
                      <a:pt x="112" y="190"/>
                      <a:pt x="423" y="394"/>
                      <a:pt x="693" y="0"/>
                    </a:cubicBezTo>
                    <a:cubicBezTo>
                      <a:pt x="829" y="27"/>
                      <a:pt x="829" y="27"/>
                      <a:pt x="829" y="27"/>
                    </a:cubicBezTo>
                    <a:cubicBezTo>
                      <a:pt x="825" y="156"/>
                      <a:pt x="825" y="156"/>
                      <a:pt x="825" y="156"/>
                    </a:cubicBezTo>
                    <a:cubicBezTo>
                      <a:pt x="825" y="156"/>
                      <a:pt x="491" y="644"/>
                      <a:pt x="0" y="346"/>
                    </a:cubicBezTo>
                    <a:close/>
                  </a:path>
                </a:pathLst>
              </a:custGeom>
              <a:solidFill>
                <a:schemeClr val="bg1">
                  <a:lumMod val="50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467"/>
              </a:p>
            </p:txBody>
          </p:sp>
          <p:sp>
            <p:nvSpPr>
              <p:cNvPr id="9" name="Oval 12"/>
              <p:cNvSpPr>
                <a:spLocks noChangeArrowheads="1"/>
              </p:cNvSpPr>
              <p:nvPr/>
            </p:nvSpPr>
            <p:spPr bwMode="auto">
              <a:xfrm>
                <a:off x="670336" y="2504696"/>
                <a:ext cx="880541" cy="881954"/>
              </a:xfrm>
              <a:prstGeom prst="ellipse">
                <a:avLst/>
              </a:prstGeom>
              <a:solidFill>
                <a:schemeClr val="bg1"/>
              </a:solidFill>
              <a:ln w="15875" cap="flat">
                <a:noFill/>
                <a:prstDash val="solid"/>
                <a:miter lim="800000"/>
                <a:headEnd/>
                <a:tailEnd/>
              </a:ln>
              <a:effectLst>
                <a:outerShdw blurRad="50800" dist="38100" dir="5400000" algn="t" rotWithShape="0">
                  <a:prstClr val="black">
                    <a:alpha val="46000"/>
                  </a:prstClr>
                </a:outerShdw>
              </a:effectLst>
            </p:spPr>
            <p:txBody>
              <a:bodyPr vert="horz" wrap="square" lIns="91440" tIns="45720" rIns="91440" bIns="45720" numCol="1" anchor="t" anchorCtr="0" compatLnSpc="1">
                <a:prstTxWarp prst="textNoShape">
                  <a:avLst/>
                </a:prstTxWarp>
              </a:bodyPr>
              <a:lstStyle/>
              <a:p>
                <a:endParaRPr lang="en-US" sz="1467"/>
              </a:p>
            </p:txBody>
          </p:sp>
          <p:sp>
            <p:nvSpPr>
              <p:cNvPr id="10" name="Oval 11"/>
              <p:cNvSpPr>
                <a:spLocks noChangeArrowheads="1"/>
              </p:cNvSpPr>
              <p:nvPr/>
            </p:nvSpPr>
            <p:spPr bwMode="auto">
              <a:xfrm>
                <a:off x="757260" y="2591616"/>
                <a:ext cx="706694" cy="708108"/>
              </a:xfrm>
              <a:prstGeom prst="ellipse">
                <a:avLst/>
              </a:prstGeom>
              <a:solidFill>
                <a:schemeClr val="accent2"/>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sz="1467"/>
              </a:p>
            </p:txBody>
          </p:sp>
          <p:sp>
            <p:nvSpPr>
              <p:cNvPr id="11" name="Oval 14"/>
              <p:cNvSpPr>
                <a:spLocks noChangeArrowheads="1"/>
              </p:cNvSpPr>
              <p:nvPr/>
            </p:nvSpPr>
            <p:spPr bwMode="auto">
              <a:xfrm>
                <a:off x="2006694" y="1540765"/>
                <a:ext cx="878421" cy="880541"/>
              </a:xfrm>
              <a:prstGeom prst="ellipse">
                <a:avLst/>
              </a:prstGeom>
              <a:solidFill>
                <a:schemeClr val="bg1"/>
              </a:solidFill>
              <a:ln w="15875" cap="flat">
                <a:noFill/>
                <a:prstDash val="solid"/>
                <a:miter lim="800000"/>
                <a:headEnd/>
                <a:tailEnd/>
              </a:ln>
              <a:effectLst>
                <a:outerShdw blurRad="50800" dist="38100" dir="5400000" algn="t" rotWithShape="0">
                  <a:prstClr val="black">
                    <a:alpha val="46000"/>
                  </a:prstClr>
                </a:outerShdw>
              </a:effectLst>
            </p:spPr>
            <p:txBody>
              <a:bodyPr vert="horz" wrap="square" lIns="91440" tIns="45720" rIns="91440" bIns="45720" numCol="1" anchor="t" anchorCtr="0" compatLnSpc="1">
                <a:prstTxWarp prst="textNoShape">
                  <a:avLst/>
                </a:prstTxWarp>
              </a:bodyPr>
              <a:lstStyle/>
              <a:p>
                <a:endParaRPr lang="en-US" sz="1467"/>
              </a:p>
            </p:txBody>
          </p:sp>
          <p:sp>
            <p:nvSpPr>
              <p:cNvPr id="12" name="Oval 13"/>
              <p:cNvSpPr>
                <a:spLocks noChangeArrowheads="1"/>
              </p:cNvSpPr>
              <p:nvPr/>
            </p:nvSpPr>
            <p:spPr bwMode="auto">
              <a:xfrm>
                <a:off x="2092201" y="1626272"/>
                <a:ext cx="705988" cy="709521"/>
              </a:xfrm>
              <a:prstGeom prst="ellipse">
                <a:avLst/>
              </a:prstGeom>
              <a:solidFill>
                <a:schemeClr val="tx2"/>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sz="1467"/>
              </a:p>
            </p:txBody>
          </p:sp>
          <p:sp>
            <p:nvSpPr>
              <p:cNvPr id="13" name="Oval 16"/>
              <p:cNvSpPr>
                <a:spLocks noChangeArrowheads="1"/>
              </p:cNvSpPr>
              <p:nvPr/>
            </p:nvSpPr>
            <p:spPr bwMode="auto">
              <a:xfrm>
                <a:off x="3263197" y="2504696"/>
                <a:ext cx="878421" cy="881954"/>
              </a:xfrm>
              <a:prstGeom prst="ellipse">
                <a:avLst/>
              </a:prstGeom>
              <a:solidFill>
                <a:schemeClr val="bg1"/>
              </a:solidFill>
              <a:ln w="15875" cap="flat">
                <a:noFill/>
                <a:prstDash val="solid"/>
                <a:miter lim="800000"/>
                <a:headEnd/>
                <a:tailEnd/>
              </a:ln>
              <a:effectLst>
                <a:outerShdw blurRad="50800" dist="38100" dir="5400000" algn="t" rotWithShape="0">
                  <a:prstClr val="black">
                    <a:alpha val="46000"/>
                  </a:prstClr>
                </a:outerShdw>
              </a:effectLst>
            </p:spPr>
            <p:txBody>
              <a:bodyPr vert="horz" wrap="square" lIns="91440" tIns="45720" rIns="91440" bIns="45720" numCol="1" anchor="t" anchorCtr="0" compatLnSpc="1">
                <a:prstTxWarp prst="textNoShape">
                  <a:avLst/>
                </a:prstTxWarp>
              </a:bodyPr>
              <a:lstStyle/>
              <a:p>
                <a:endParaRPr lang="en-US" sz="1467"/>
              </a:p>
            </p:txBody>
          </p:sp>
          <p:sp>
            <p:nvSpPr>
              <p:cNvPr id="14" name="Oval 15"/>
              <p:cNvSpPr>
                <a:spLocks noChangeArrowheads="1"/>
              </p:cNvSpPr>
              <p:nvPr/>
            </p:nvSpPr>
            <p:spPr bwMode="auto">
              <a:xfrm>
                <a:off x="3348001" y="2591616"/>
                <a:ext cx="706694" cy="708108"/>
              </a:xfrm>
              <a:prstGeom prst="ellipse">
                <a:avLst/>
              </a:prstGeom>
              <a:solidFill>
                <a:schemeClr val="accent2"/>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sz="1467"/>
              </a:p>
            </p:txBody>
          </p:sp>
          <p:sp>
            <p:nvSpPr>
              <p:cNvPr id="15" name="Oval 18"/>
              <p:cNvSpPr>
                <a:spLocks noChangeArrowheads="1"/>
              </p:cNvSpPr>
              <p:nvPr/>
            </p:nvSpPr>
            <p:spPr bwMode="auto">
              <a:xfrm>
                <a:off x="4607329" y="1540765"/>
                <a:ext cx="880541" cy="880541"/>
              </a:xfrm>
              <a:prstGeom prst="ellipse">
                <a:avLst/>
              </a:prstGeom>
              <a:solidFill>
                <a:schemeClr val="bg1"/>
              </a:solidFill>
              <a:ln w="15875" cap="flat">
                <a:noFill/>
                <a:prstDash val="solid"/>
                <a:miter lim="800000"/>
                <a:headEnd/>
                <a:tailEnd/>
              </a:ln>
              <a:effectLst>
                <a:outerShdw blurRad="50800" dist="38100" dir="5400000" algn="t" rotWithShape="0">
                  <a:prstClr val="black">
                    <a:alpha val="46000"/>
                  </a:prstClr>
                </a:outerShdw>
              </a:effectLst>
            </p:spPr>
            <p:txBody>
              <a:bodyPr vert="horz" wrap="square" lIns="91440" tIns="45720" rIns="91440" bIns="45720" numCol="1" anchor="t" anchorCtr="0" compatLnSpc="1">
                <a:prstTxWarp prst="textNoShape">
                  <a:avLst/>
                </a:prstTxWarp>
              </a:bodyPr>
              <a:lstStyle/>
              <a:p>
                <a:endParaRPr lang="en-US" sz="1467"/>
              </a:p>
            </p:txBody>
          </p:sp>
          <p:sp>
            <p:nvSpPr>
              <p:cNvPr id="16" name="Oval 17"/>
              <p:cNvSpPr>
                <a:spLocks noChangeArrowheads="1"/>
              </p:cNvSpPr>
              <p:nvPr/>
            </p:nvSpPr>
            <p:spPr bwMode="auto">
              <a:xfrm>
                <a:off x="4694253" y="1626272"/>
                <a:ext cx="706694" cy="709521"/>
              </a:xfrm>
              <a:prstGeom prst="ellipse">
                <a:avLst/>
              </a:prstGeom>
              <a:solidFill>
                <a:schemeClr val="tx2"/>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sz="1467"/>
              </a:p>
            </p:txBody>
          </p:sp>
          <p:sp>
            <p:nvSpPr>
              <p:cNvPr id="17" name="Oval 20"/>
              <p:cNvSpPr>
                <a:spLocks noChangeArrowheads="1"/>
              </p:cNvSpPr>
              <p:nvPr/>
            </p:nvSpPr>
            <p:spPr bwMode="auto">
              <a:xfrm>
                <a:off x="5865244" y="2504696"/>
                <a:ext cx="880541" cy="881954"/>
              </a:xfrm>
              <a:prstGeom prst="ellipse">
                <a:avLst/>
              </a:prstGeom>
              <a:solidFill>
                <a:schemeClr val="bg1"/>
              </a:solidFill>
              <a:ln w="15875" cap="flat">
                <a:noFill/>
                <a:prstDash val="solid"/>
                <a:miter lim="800000"/>
                <a:headEnd/>
                <a:tailEnd/>
              </a:ln>
              <a:effectLst>
                <a:outerShdw blurRad="50800" dist="38100" dir="5400000" algn="t" rotWithShape="0">
                  <a:prstClr val="black">
                    <a:alpha val="46000"/>
                  </a:prstClr>
                </a:outerShdw>
              </a:effectLst>
            </p:spPr>
            <p:txBody>
              <a:bodyPr vert="horz" wrap="square" lIns="91440" tIns="45720" rIns="91440" bIns="45720" numCol="1" anchor="t" anchorCtr="0" compatLnSpc="1">
                <a:prstTxWarp prst="textNoShape">
                  <a:avLst/>
                </a:prstTxWarp>
              </a:bodyPr>
              <a:lstStyle/>
              <a:p>
                <a:endParaRPr lang="en-US" sz="1467"/>
              </a:p>
            </p:txBody>
          </p:sp>
          <p:sp>
            <p:nvSpPr>
              <p:cNvPr id="18" name="Oval 19"/>
              <p:cNvSpPr>
                <a:spLocks noChangeArrowheads="1"/>
              </p:cNvSpPr>
              <p:nvPr/>
            </p:nvSpPr>
            <p:spPr bwMode="auto">
              <a:xfrm>
                <a:off x="5952168" y="2591616"/>
                <a:ext cx="706694" cy="708108"/>
              </a:xfrm>
              <a:prstGeom prst="ellipse">
                <a:avLst/>
              </a:prstGeom>
              <a:solidFill>
                <a:schemeClr val="accent2"/>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sz="1467"/>
              </a:p>
            </p:txBody>
          </p:sp>
          <p:sp>
            <p:nvSpPr>
              <p:cNvPr id="19" name="Oval 22"/>
              <p:cNvSpPr>
                <a:spLocks noChangeArrowheads="1"/>
              </p:cNvSpPr>
              <p:nvPr/>
            </p:nvSpPr>
            <p:spPr bwMode="auto">
              <a:xfrm>
                <a:off x="7198777" y="1540765"/>
                <a:ext cx="878421" cy="880541"/>
              </a:xfrm>
              <a:prstGeom prst="ellipse">
                <a:avLst/>
              </a:prstGeom>
              <a:solidFill>
                <a:schemeClr val="bg1"/>
              </a:solidFill>
              <a:ln w="15875" cap="flat">
                <a:noFill/>
                <a:prstDash val="solid"/>
                <a:miter lim="800000"/>
                <a:headEnd/>
                <a:tailEnd/>
              </a:ln>
              <a:effectLst>
                <a:outerShdw blurRad="50800" dist="38100" dir="5400000" algn="t" rotWithShape="0">
                  <a:prstClr val="black">
                    <a:alpha val="46000"/>
                  </a:prstClr>
                </a:outerShdw>
              </a:effectLst>
            </p:spPr>
            <p:txBody>
              <a:bodyPr vert="horz" wrap="square" lIns="91440" tIns="45720" rIns="91440" bIns="45720" numCol="1" anchor="t" anchorCtr="0" compatLnSpc="1">
                <a:prstTxWarp prst="textNoShape">
                  <a:avLst/>
                </a:prstTxWarp>
              </a:bodyPr>
              <a:lstStyle/>
              <a:p>
                <a:endParaRPr lang="en-US" sz="1467"/>
              </a:p>
            </p:txBody>
          </p:sp>
          <p:sp>
            <p:nvSpPr>
              <p:cNvPr id="20" name="Oval 21"/>
              <p:cNvSpPr>
                <a:spLocks noChangeArrowheads="1"/>
              </p:cNvSpPr>
              <p:nvPr/>
            </p:nvSpPr>
            <p:spPr bwMode="auto">
              <a:xfrm>
                <a:off x="7283580" y="1626272"/>
                <a:ext cx="706694" cy="709521"/>
              </a:xfrm>
              <a:prstGeom prst="ellipse">
                <a:avLst/>
              </a:prstGeom>
              <a:solidFill>
                <a:schemeClr val="tx2"/>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sz="1467"/>
              </a:p>
            </p:txBody>
          </p:sp>
          <p:sp>
            <p:nvSpPr>
              <p:cNvPr id="21" name="TextBox 20"/>
              <p:cNvSpPr txBox="1"/>
              <p:nvPr/>
            </p:nvSpPr>
            <p:spPr>
              <a:xfrm>
                <a:off x="868371" y="1047420"/>
                <a:ext cx="621557" cy="197162"/>
              </a:xfrm>
              <a:prstGeom prst="rect">
                <a:avLst/>
              </a:prstGeom>
              <a:noFill/>
            </p:spPr>
            <p:txBody>
              <a:bodyPr wrap="none" lIns="0" tIns="0" rIns="0" bIns="0" rtlCol="0">
                <a:spAutoFit/>
              </a:bodyPr>
              <a:lstStyle/>
              <a:p>
                <a:r>
                  <a:rPr lang="en-US" sz="1467" b="1">
                    <a:latin typeface="Arial" panose="020B0604020202020204" pitchFamily="34" charset="0"/>
                    <a:cs typeface="Arial" panose="020B0604020202020204" pitchFamily="34" charset="0"/>
                  </a:rPr>
                  <a:t>Capture</a:t>
                </a:r>
              </a:p>
            </p:txBody>
          </p:sp>
          <p:sp>
            <p:nvSpPr>
              <p:cNvPr id="22" name="TextBox 21"/>
              <p:cNvSpPr txBox="1"/>
              <p:nvPr/>
            </p:nvSpPr>
            <p:spPr>
              <a:xfrm>
                <a:off x="868372" y="1252677"/>
                <a:ext cx="1405449" cy="564441"/>
              </a:xfrm>
              <a:prstGeom prst="rect">
                <a:avLst/>
              </a:prstGeom>
              <a:noFill/>
            </p:spPr>
            <p:txBody>
              <a:bodyPr wrap="square" lIns="0" tIns="0" rIns="0" bIns="0" rtlCol="0">
                <a:spAutoFit/>
              </a:bodyPr>
              <a:lstStyle/>
              <a:p>
                <a:r>
                  <a:rPr lang="en-US" sz="1400" i="1">
                    <a:latin typeface="Arial" panose="020B0604020202020204" pitchFamily="34" charset="0"/>
                    <a:cs typeface="Arial" panose="020B0604020202020204" pitchFamily="34" charset="0"/>
                  </a:rPr>
                  <a:t>Record user actions for a particular workflow</a:t>
                </a:r>
              </a:p>
            </p:txBody>
          </p:sp>
          <p:sp>
            <p:nvSpPr>
              <p:cNvPr id="23" name="TextBox 22"/>
              <p:cNvSpPr txBox="1"/>
              <p:nvPr/>
            </p:nvSpPr>
            <p:spPr>
              <a:xfrm>
                <a:off x="1911537" y="3084907"/>
                <a:ext cx="1299111" cy="197162"/>
              </a:xfrm>
              <a:prstGeom prst="rect">
                <a:avLst/>
              </a:prstGeom>
              <a:noFill/>
            </p:spPr>
            <p:txBody>
              <a:bodyPr wrap="none" lIns="0" tIns="0" rIns="0" bIns="0" rtlCol="0">
                <a:spAutoFit/>
              </a:bodyPr>
              <a:lstStyle/>
              <a:p>
                <a:r>
                  <a:rPr lang="en-US" sz="1467" b="1">
                    <a:latin typeface="Arial" panose="020B0604020202020204" pitchFamily="34" charset="0"/>
                    <a:cs typeface="Arial" panose="020B0604020202020204" pitchFamily="34" charset="0"/>
                  </a:rPr>
                  <a:t>Noise Reduction</a:t>
                </a:r>
              </a:p>
            </p:txBody>
          </p:sp>
          <p:sp>
            <p:nvSpPr>
              <p:cNvPr id="24" name="TextBox 23"/>
              <p:cNvSpPr txBox="1"/>
              <p:nvPr/>
            </p:nvSpPr>
            <p:spPr>
              <a:xfrm>
                <a:off x="1911537" y="3314085"/>
                <a:ext cx="1191158" cy="564441"/>
              </a:xfrm>
              <a:prstGeom prst="rect">
                <a:avLst/>
              </a:prstGeom>
              <a:noFill/>
            </p:spPr>
            <p:txBody>
              <a:bodyPr wrap="square" lIns="0" tIns="0" rIns="0" bIns="0" rtlCol="0">
                <a:spAutoFit/>
              </a:bodyPr>
              <a:lstStyle>
                <a:defPPr>
                  <a:defRPr lang="en-US"/>
                </a:defPPr>
                <a:lvl1pPr>
                  <a:defRPr sz="1600">
                    <a:latin typeface="Calibri" panose="020F0502020204030204" pitchFamily="34" charset="0"/>
                  </a:defRPr>
                </a:lvl1pPr>
              </a:lstStyle>
              <a:p>
                <a:r>
                  <a:rPr lang="en-US" sz="1400" i="1">
                    <a:latin typeface="Arial" panose="020B0604020202020204" pitchFamily="34" charset="0"/>
                    <a:cs typeface="Arial" panose="020B0604020202020204" pitchFamily="34" charset="0"/>
                  </a:rPr>
                  <a:t>Keep only relevant screens (captures)</a:t>
                </a:r>
              </a:p>
            </p:txBody>
          </p:sp>
          <p:sp>
            <p:nvSpPr>
              <p:cNvPr id="25" name="TextBox 24"/>
              <p:cNvSpPr txBox="1"/>
              <p:nvPr/>
            </p:nvSpPr>
            <p:spPr>
              <a:xfrm>
                <a:off x="3470209" y="1047420"/>
                <a:ext cx="869340" cy="197162"/>
              </a:xfrm>
              <a:prstGeom prst="rect">
                <a:avLst/>
              </a:prstGeom>
              <a:noFill/>
            </p:spPr>
            <p:txBody>
              <a:bodyPr wrap="none" lIns="0" tIns="0" rIns="0" bIns="0" rtlCol="0">
                <a:spAutoFit/>
              </a:bodyPr>
              <a:lstStyle/>
              <a:p>
                <a:r>
                  <a:rPr lang="en-US" sz="1467" b="1">
                    <a:latin typeface="Arial" panose="020B0604020202020204" pitchFamily="34" charset="0"/>
                    <a:cs typeface="Arial" panose="020B0604020202020204" pitchFamily="34" charset="0"/>
                  </a:rPr>
                  <a:t>Annotation</a:t>
                </a:r>
              </a:p>
            </p:txBody>
          </p:sp>
          <p:sp>
            <p:nvSpPr>
              <p:cNvPr id="26" name="TextBox 25"/>
              <p:cNvSpPr txBox="1"/>
              <p:nvPr/>
            </p:nvSpPr>
            <p:spPr>
              <a:xfrm>
                <a:off x="3470206" y="1252677"/>
                <a:ext cx="1191158" cy="752588"/>
              </a:xfrm>
              <a:prstGeom prst="rect">
                <a:avLst/>
              </a:prstGeom>
              <a:noFill/>
            </p:spPr>
            <p:txBody>
              <a:bodyPr wrap="square" lIns="0" tIns="0" rIns="0" bIns="0" rtlCol="0">
                <a:spAutoFit/>
              </a:bodyPr>
              <a:lstStyle>
                <a:defPPr>
                  <a:defRPr lang="en-US"/>
                </a:defPPr>
                <a:lvl1pPr>
                  <a:defRPr sz="1600">
                    <a:latin typeface="Calibri" panose="020F0502020204030204" pitchFamily="34" charset="0"/>
                  </a:defRPr>
                </a:lvl1pPr>
              </a:lstStyle>
              <a:p>
                <a:r>
                  <a:rPr lang="en-US" sz="1400" i="1">
                    <a:latin typeface="Arial" panose="020B0604020202020204" pitchFamily="34" charset="0"/>
                    <a:cs typeface="Arial" panose="020B0604020202020204" pitchFamily="34" charset="0"/>
                  </a:rPr>
                  <a:t>Assign meaningful captions to each screens</a:t>
                </a:r>
              </a:p>
            </p:txBody>
          </p:sp>
          <p:sp>
            <p:nvSpPr>
              <p:cNvPr id="27" name="TextBox 26"/>
              <p:cNvSpPr txBox="1"/>
              <p:nvPr/>
            </p:nvSpPr>
            <p:spPr>
              <a:xfrm>
                <a:off x="4741971" y="3227784"/>
                <a:ext cx="1059728" cy="197162"/>
              </a:xfrm>
              <a:prstGeom prst="rect">
                <a:avLst/>
              </a:prstGeom>
              <a:noFill/>
            </p:spPr>
            <p:txBody>
              <a:bodyPr wrap="none" lIns="0" tIns="0" rIns="0" bIns="0" rtlCol="0">
                <a:spAutoFit/>
              </a:bodyPr>
              <a:lstStyle/>
              <a:p>
                <a:r>
                  <a:rPr lang="en-US" sz="1467" b="1">
                    <a:latin typeface="Arial" panose="020B0604020202020204" pitchFamily="34" charset="0"/>
                    <a:cs typeface="Arial" panose="020B0604020202020204" pitchFamily="34" charset="0"/>
                  </a:rPr>
                  <a:t>Data Masking</a:t>
                </a:r>
              </a:p>
            </p:txBody>
          </p:sp>
          <p:sp>
            <p:nvSpPr>
              <p:cNvPr id="28" name="TextBox 27"/>
              <p:cNvSpPr txBox="1"/>
              <p:nvPr/>
            </p:nvSpPr>
            <p:spPr>
              <a:xfrm>
                <a:off x="4741969" y="3456960"/>
                <a:ext cx="1191158" cy="752588"/>
              </a:xfrm>
              <a:prstGeom prst="rect">
                <a:avLst/>
              </a:prstGeom>
              <a:noFill/>
            </p:spPr>
            <p:txBody>
              <a:bodyPr wrap="square" lIns="0" tIns="0" rIns="0" bIns="0" rtlCol="0">
                <a:spAutoFit/>
              </a:bodyPr>
              <a:lstStyle>
                <a:defPPr>
                  <a:defRPr lang="en-US"/>
                </a:defPPr>
                <a:lvl1pPr>
                  <a:defRPr sz="1600">
                    <a:latin typeface="Calibri" panose="020F0502020204030204" pitchFamily="34" charset="0"/>
                  </a:defRPr>
                </a:lvl1pPr>
              </a:lstStyle>
              <a:p>
                <a:r>
                  <a:rPr lang="en-US" sz="1400" i="1">
                    <a:latin typeface="Arial" panose="020B0604020202020204" pitchFamily="34" charset="0"/>
                    <a:cs typeface="Arial" panose="020B0604020202020204" pitchFamily="34" charset="0"/>
                  </a:rPr>
                  <a:t>Mask the sensitive information in the workflow</a:t>
                </a:r>
              </a:p>
            </p:txBody>
          </p:sp>
          <p:sp>
            <p:nvSpPr>
              <p:cNvPr id="29" name="TextBox 28"/>
              <p:cNvSpPr txBox="1"/>
              <p:nvPr/>
            </p:nvSpPr>
            <p:spPr>
              <a:xfrm>
                <a:off x="5938511" y="952171"/>
                <a:ext cx="1306110" cy="197162"/>
              </a:xfrm>
              <a:prstGeom prst="rect">
                <a:avLst/>
              </a:prstGeom>
              <a:noFill/>
            </p:spPr>
            <p:txBody>
              <a:bodyPr wrap="none" lIns="0" tIns="0" rIns="0" bIns="0" rtlCol="0">
                <a:spAutoFit/>
              </a:bodyPr>
              <a:lstStyle/>
              <a:p>
                <a:r>
                  <a:rPr lang="en-US" sz="1467" b="1">
                    <a:latin typeface="Arial" panose="020B0604020202020204" pitchFamily="34" charset="0"/>
                    <a:cs typeface="Arial" panose="020B0604020202020204" pitchFamily="34" charset="0"/>
                  </a:rPr>
                  <a:t>Data Enrichment</a:t>
                </a:r>
              </a:p>
            </p:txBody>
          </p:sp>
          <p:sp>
            <p:nvSpPr>
              <p:cNvPr id="30" name="TextBox 29"/>
              <p:cNvSpPr txBox="1"/>
              <p:nvPr/>
            </p:nvSpPr>
            <p:spPr>
              <a:xfrm>
                <a:off x="5938511" y="1157426"/>
                <a:ext cx="1415775" cy="752588"/>
              </a:xfrm>
              <a:prstGeom prst="rect">
                <a:avLst/>
              </a:prstGeom>
              <a:noFill/>
            </p:spPr>
            <p:txBody>
              <a:bodyPr wrap="square" lIns="0" tIns="0" rIns="0" bIns="0" rtlCol="0">
                <a:spAutoFit/>
              </a:bodyPr>
              <a:lstStyle>
                <a:defPPr>
                  <a:defRPr lang="en-US"/>
                </a:defPPr>
                <a:lvl1pPr>
                  <a:defRPr sz="1600">
                    <a:latin typeface="Calibri" panose="020F0502020204030204" pitchFamily="34" charset="0"/>
                  </a:defRPr>
                </a:lvl1pPr>
              </a:lstStyle>
              <a:p>
                <a:r>
                  <a:rPr lang="en-US" sz="1400" i="1">
                    <a:latin typeface="Arial" panose="020B0604020202020204" pitchFamily="34" charset="0"/>
                    <a:cs typeface="Arial" panose="020B0604020202020204" pitchFamily="34" charset="0"/>
                  </a:rPr>
                  <a:t>Override application name, screen names and Platform description</a:t>
                </a:r>
              </a:p>
            </p:txBody>
          </p:sp>
          <p:sp>
            <p:nvSpPr>
              <p:cNvPr id="31" name="TextBox 30"/>
              <p:cNvSpPr txBox="1"/>
              <p:nvPr/>
            </p:nvSpPr>
            <p:spPr>
              <a:xfrm>
                <a:off x="7334102" y="3227784"/>
                <a:ext cx="1387305" cy="197162"/>
              </a:xfrm>
              <a:prstGeom prst="rect">
                <a:avLst/>
              </a:prstGeom>
              <a:noFill/>
            </p:spPr>
            <p:txBody>
              <a:bodyPr wrap="none" lIns="0" tIns="0" rIns="0" bIns="0" rtlCol="0">
                <a:spAutoFit/>
              </a:bodyPr>
              <a:lstStyle>
                <a:defPPr>
                  <a:defRPr lang="en-US"/>
                </a:defPPr>
                <a:lvl1pPr>
                  <a:defRPr b="1">
                    <a:latin typeface="Calibri" panose="020F0502020204030204" pitchFamily="34" charset="0"/>
                  </a:defRPr>
                </a:lvl1pPr>
              </a:lstStyle>
              <a:p>
                <a:r>
                  <a:rPr lang="en-US" sz="1467">
                    <a:latin typeface="Arial" panose="020B0604020202020204" pitchFamily="34" charset="0"/>
                    <a:cs typeface="Arial" panose="020B0604020202020204" pitchFamily="34" charset="0"/>
                  </a:rPr>
                  <a:t>Generate Outputs</a:t>
                </a:r>
              </a:p>
            </p:txBody>
          </p:sp>
          <p:sp>
            <p:nvSpPr>
              <p:cNvPr id="32" name="TextBox 31"/>
              <p:cNvSpPr txBox="1"/>
              <p:nvPr/>
            </p:nvSpPr>
            <p:spPr>
              <a:xfrm>
                <a:off x="7334098" y="3456960"/>
                <a:ext cx="1284922" cy="376294"/>
              </a:xfrm>
              <a:prstGeom prst="rect">
                <a:avLst/>
              </a:prstGeom>
              <a:noFill/>
            </p:spPr>
            <p:txBody>
              <a:bodyPr wrap="square" lIns="0" tIns="0" rIns="0" bIns="0" rtlCol="0">
                <a:spAutoFit/>
              </a:bodyPr>
              <a:lstStyle>
                <a:defPPr>
                  <a:defRPr lang="en-US"/>
                </a:defPPr>
                <a:lvl1pPr>
                  <a:defRPr sz="1600">
                    <a:latin typeface="Calibri" panose="020F0502020204030204" pitchFamily="34" charset="0"/>
                  </a:defRPr>
                </a:lvl1pPr>
              </a:lstStyle>
              <a:p>
                <a:r>
                  <a:rPr lang="en-US" sz="1400" i="1">
                    <a:latin typeface="Arial" panose="020B0604020202020204" pitchFamily="34" charset="0"/>
                    <a:cs typeface="Arial" panose="020B0604020202020204" pitchFamily="34" charset="0"/>
                  </a:rPr>
                  <a:t>Business &amp; Technical Outputs</a:t>
                </a:r>
              </a:p>
            </p:txBody>
          </p:sp>
          <p:grpSp>
            <p:nvGrpSpPr>
              <p:cNvPr id="33" name="Group 32"/>
              <p:cNvGrpSpPr/>
              <p:nvPr/>
            </p:nvGrpSpPr>
            <p:grpSpPr>
              <a:xfrm>
                <a:off x="7525970" y="1877507"/>
                <a:ext cx="215504" cy="215504"/>
                <a:chOff x="4319588" y="2492375"/>
                <a:chExt cx="287338" cy="287338"/>
              </a:xfrm>
              <a:solidFill>
                <a:schemeClr val="bg1"/>
              </a:solidFill>
              <a:effectLst>
                <a:outerShdw blurRad="38100" dist="25400" dir="5400000" algn="ctr" rotWithShape="0">
                  <a:srgbClr val="000000">
                    <a:alpha val="20000"/>
                  </a:srgbClr>
                </a:outerShdw>
              </a:effectLst>
            </p:grpSpPr>
            <p:sp>
              <p:nvSpPr>
                <p:cNvPr id="34" name="Freeform 372"/>
                <p:cNvSpPr>
                  <a:spLocks/>
                </p:cNvSpPr>
                <p:nvPr/>
              </p:nvSpPr>
              <p:spPr bwMode="auto">
                <a:xfrm>
                  <a:off x="4319588" y="2587625"/>
                  <a:ext cx="287338" cy="192088"/>
                </a:xfrm>
                <a:custGeom>
                  <a:avLst/>
                  <a:gdLst>
                    <a:gd name="T0" fmla="*/ 843 w 904"/>
                    <a:gd name="T1" fmla="*/ 572 h 602"/>
                    <a:gd name="T2" fmla="*/ 843 w 904"/>
                    <a:gd name="T3" fmla="*/ 12 h 602"/>
                    <a:gd name="T4" fmla="*/ 841 w 904"/>
                    <a:gd name="T5" fmla="*/ 7 h 602"/>
                    <a:gd name="T6" fmla="*/ 836 w 904"/>
                    <a:gd name="T7" fmla="*/ 3 h 602"/>
                    <a:gd name="T8" fmla="*/ 831 w 904"/>
                    <a:gd name="T9" fmla="*/ 1 h 602"/>
                    <a:gd name="T10" fmla="*/ 708 w 904"/>
                    <a:gd name="T11" fmla="*/ 0 h 602"/>
                    <a:gd name="T12" fmla="*/ 702 w 904"/>
                    <a:gd name="T13" fmla="*/ 2 h 602"/>
                    <a:gd name="T14" fmla="*/ 697 w 904"/>
                    <a:gd name="T15" fmla="*/ 5 h 602"/>
                    <a:gd name="T16" fmla="*/ 694 w 904"/>
                    <a:gd name="T17" fmla="*/ 9 h 602"/>
                    <a:gd name="T18" fmla="*/ 693 w 904"/>
                    <a:gd name="T19" fmla="*/ 16 h 602"/>
                    <a:gd name="T20" fmla="*/ 632 w 904"/>
                    <a:gd name="T21" fmla="*/ 572 h 602"/>
                    <a:gd name="T22" fmla="*/ 632 w 904"/>
                    <a:gd name="T23" fmla="*/ 283 h 602"/>
                    <a:gd name="T24" fmla="*/ 630 w 904"/>
                    <a:gd name="T25" fmla="*/ 277 h 602"/>
                    <a:gd name="T26" fmla="*/ 626 w 904"/>
                    <a:gd name="T27" fmla="*/ 274 h 602"/>
                    <a:gd name="T28" fmla="*/ 621 w 904"/>
                    <a:gd name="T29" fmla="*/ 271 h 602"/>
                    <a:gd name="T30" fmla="*/ 497 w 904"/>
                    <a:gd name="T31" fmla="*/ 271 h 602"/>
                    <a:gd name="T32" fmla="*/ 491 w 904"/>
                    <a:gd name="T33" fmla="*/ 272 h 602"/>
                    <a:gd name="T34" fmla="*/ 487 w 904"/>
                    <a:gd name="T35" fmla="*/ 275 h 602"/>
                    <a:gd name="T36" fmla="*/ 483 w 904"/>
                    <a:gd name="T37" fmla="*/ 281 h 602"/>
                    <a:gd name="T38" fmla="*/ 482 w 904"/>
                    <a:gd name="T39" fmla="*/ 286 h 602"/>
                    <a:gd name="T40" fmla="*/ 421 w 904"/>
                    <a:gd name="T41" fmla="*/ 572 h 602"/>
                    <a:gd name="T42" fmla="*/ 421 w 904"/>
                    <a:gd name="T43" fmla="*/ 193 h 602"/>
                    <a:gd name="T44" fmla="*/ 419 w 904"/>
                    <a:gd name="T45" fmla="*/ 187 h 602"/>
                    <a:gd name="T46" fmla="*/ 415 w 904"/>
                    <a:gd name="T47" fmla="*/ 183 h 602"/>
                    <a:gd name="T48" fmla="*/ 409 w 904"/>
                    <a:gd name="T49" fmla="*/ 181 h 602"/>
                    <a:gd name="T50" fmla="*/ 286 w 904"/>
                    <a:gd name="T51" fmla="*/ 181 h 602"/>
                    <a:gd name="T52" fmla="*/ 281 w 904"/>
                    <a:gd name="T53" fmla="*/ 182 h 602"/>
                    <a:gd name="T54" fmla="*/ 275 w 904"/>
                    <a:gd name="T55" fmla="*/ 185 h 602"/>
                    <a:gd name="T56" fmla="*/ 272 w 904"/>
                    <a:gd name="T57" fmla="*/ 190 h 602"/>
                    <a:gd name="T58" fmla="*/ 271 w 904"/>
                    <a:gd name="T59" fmla="*/ 196 h 602"/>
                    <a:gd name="T60" fmla="*/ 211 w 904"/>
                    <a:gd name="T61" fmla="*/ 572 h 602"/>
                    <a:gd name="T62" fmla="*/ 211 w 904"/>
                    <a:gd name="T63" fmla="*/ 404 h 602"/>
                    <a:gd name="T64" fmla="*/ 209 w 904"/>
                    <a:gd name="T65" fmla="*/ 399 h 602"/>
                    <a:gd name="T66" fmla="*/ 205 w 904"/>
                    <a:gd name="T67" fmla="*/ 394 h 602"/>
                    <a:gd name="T68" fmla="*/ 199 w 904"/>
                    <a:gd name="T69" fmla="*/ 392 h 602"/>
                    <a:gd name="T70" fmla="*/ 76 w 904"/>
                    <a:gd name="T71" fmla="*/ 391 h 602"/>
                    <a:gd name="T72" fmla="*/ 69 w 904"/>
                    <a:gd name="T73" fmla="*/ 392 h 602"/>
                    <a:gd name="T74" fmla="*/ 65 w 904"/>
                    <a:gd name="T75" fmla="*/ 396 h 602"/>
                    <a:gd name="T76" fmla="*/ 62 w 904"/>
                    <a:gd name="T77" fmla="*/ 401 h 602"/>
                    <a:gd name="T78" fmla="*/ 61 w 904"/>
                    <a:gd name="T79" fmla="*/ 406 h 602"/>
                    <a:gd name="T80" fmla="*/ 15 w 904"/>
                    <a:gd name="T81" fmla="*/ 572 h 602"/>
                    <a:gd name="T82" fmla="*/ 9 w 904"/>
                    <a:gd name="T83" fmla="*/ 573 h 602"/>
                    <a:gd name="T84" fmla="*/ 5 w 904"/>
                    <a:gd name="T85" fmla="*/ 577 h 602"/>
                    <a:gd name="T86" fmla="*/ 2 w 904"/>
                    <a:gd name="T87" fmla="*/ 581 h 602"/>
                    <a:gd name="T88" fmla="*/ 0 w 904"/>
                    <a:gd name="T89" fmla="*/ 587 h 602"/>
                    <a:gd name="T90" fmla="*/ 2 w 904"/>
                    <a:gd name="T91" fmla="*/ 593 h 602"/>
                    <a:gd name="T92" fmla="*/ 5 w 904"/>
                    <a:gd name="T93" fmla="*/ 598 h 602"/>
                    <a:gd name="T94" fmla="*/ 9 w 904"/>
                    <a:gd name="T95" fmla="*/ 601 h 602"/>
                    <a:gd name="T96" fmla="*/ 15 w 904"/>
                    <a:gd name="T97" fmla="*/ 602 h 602"/>
                    <a:gd name="T98" fmla="*/ 196 w 904"/>
                    <a:gd name="T99" fmla="*/ 602 h 602"/>
                    <a:gd name="T100" fmla="*/ 406 w 904"/>
                    <a:gd name="T101" fmla="*/ 602 h 602"/>
                    <a:gd name="T102" fmla="*/ 617 w 904"/>
                    <a:gd name="T103" fmla="*/ 602 h 602"/>
                    <a:gd name="T104" fmla="*/ 828 w 904"/>
                    <a:gd name="T105" fmla="*/ 602 h 602"/>
                    <a:gd name="T106" fmla="*/ 891 w 904"/>
                    <a:gd name="T107" fmla="*/ 602 h 602"/>
                    <a:gd name="T108" fmla="*/ 896 w 904"/>
                    <a:gd name="T109" fmla="*/ 600 h 602"/>
                    <a:gd name="T110" fmla="*/ 901 w 904"/>
                    <a:gd name="T111" fmla="*/ 596 h 602"/>
                    <a:gd name="T112" fmla="*/ 903 w 904"/>
                    <a:gd name="T113" fmla="*/ 591 h 602"/>
                    <a:gd name="T114" fmla="*/ 903 w 904"/>
                    <a:gd name="T115" fmla="*/ 584 h 602"/>
                    <a:gd name="T116" fmla="*/ 901 w 904"/>
                    <a:gd name="T117" fmla="*/ 579 h 602"/>
                    <a:gd name="T118" fmla="*/ 896 w 904"/>
                    <a:gd name="T119" fmla="*/ 575 h 602"/>
                    <a:gd name="T120" fmla="*/ 891 w 904"/>
                    <a:gd name="T121" fmla="*/ 572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4" h="602">
                      <a:moveTo>
                        <a:pt x="889" y="572"/>
                      </a:moveTo>
                      <a:lnTo>
                        <a:pt x="843" y="572"/>
                      </a:lnTo>
                      <a:lnTo>
                        <a:pt x="843" y="16"/>
                      </a:lnTo>
                      <a:lnTo>
                        <a:pt x="843" y="12"/>
                      </a:lnTo>
                      <a:lnTo>
                        <a:pt x="842" y="9"/>
                      </a:lnTo>
                      <a:lnTo>
                        <a:pt x="841" y="7"/>
                      </a:lnTo>
                      <a:lnTo>
                        <a:pt x="838" y="5"/>
                      </a:lnTo>
                      <a:lnTo>
                        <a:pt x="836" y="3"/>
                      </a:lnTo>
                      <a:lnTo>
                        <a:pt x="834" y="2"/>
                      </a:lnTo>
                      <a:lnTo>
                        <a:pt x="831" y="1"/>
                      </a:lnTo>
                      <a:lnTo>
                        <a:pt x="828" y="1"/>
                      </a:lnTo>
                      <a:lnTo>
                        <a:pt x="708" y="0"/>
                      </a:lnTo>
                      <a:lnTo>
                        <a:pt x="704" y="1"/>
                      </a:lnTo>
                      <a:lnTo>
                        <a:pt x="702" y="2"/>
                      </a:lnTo>
                      <a:lnTo>
                        <a:pt x="699" y="3"/>
                      </a:lnTo>
                      <a:lnTo>
                        <a:pt x="697" y="5"/>
                      </a:lnTo>
                      <a:lnTo>
                        <a:pt x="695" y="7"/>
                      </a:lnTo>
                      <a:lnTo>
                        <a:pt x="694" y="9"/>
                      </a:lnTo>
                      <a:lnTo>
                        <a:pt x="693" y="12"/>
                      </a:lnTo>
                      <a:lnTo>
                        <a:pt x="693" y="16"/>
                      </a:lnTo>
                      <a:lnTo>
                        <a:pt x="693" y="572"/>
                      </a:lnTo>
                      <a:lnTo>
                        <a:pt x="632" y="572"/>
                      </a:lnTo>
                      <a:lnTo>
                        <a:pt x="632" y="286"/>
                      </a:lnTo>
                      <a:lnTo>
                        <a:pt x="632" y="283"/>
                      </a:lnTo>
                      <a:lnTo>
                        <a:pt x="631" y="281"/>
                      </a:lnTo>
                      <a:lnTo>
                        <a:pt x="630" y="277"/>
                      </a:lnTo>
                      <a:lnTo>
                        <a:pt x="628" y="275"/>
                      </a:lnTo>
                      <a:lnTo>
                        <a:pt x="626" y="274"/>
                      </a:lnTo>
                      <a:lnTo>
                        <a:pt x="623" y="272"/>
                      </a:lnTo>
                      <a:lnTo>
                        <a:pt x="621" y="271"/>
                      </a:lnTo>
                      <a:lnTo>
                        <a:pt x="617" y="271"/>
                      </a:lnTo>
                      <a:lnTo>
                        <a:pt x="497" y="271"/>
                      </a:lnTo>
                      <a:lnTo>
                        <a:pt x="494" y="271"/>
                      </a:lnTo>
                      <a:lnTo>
                        <a:pt x="491" y="272"/>
                      </a:lnTo>
                      <a:lnTo>
                        <a:pt x="489" y="274"/>
                      </a:lnTo>
                      <a:lnTo>
                        <a:pt x="487" y="275"/>
                      </a:lnTo>
                      <a:lnTo>
                        <a:pt x="484" y="277"/>
                      </a:lnTo>
                      <a:lnTo>
                        <a:pt x="483" y="281"/>
                      </a:lnTo>
                      <a:lnTo>
                        <a:pt x="482" y="283"/>
                      </a:lnTo>
                      <a:lnTo>
                        <a:pt x="482" y="286"/>
                      </a:lnTo>
                      <a:lnTo>
                        <a:pt x="482" y="572"/>
                      </a:lnTo>
                      <a:lnTo>
                        <a:pt x="421" y="572"/>
                      </a:lnTo>
                      <a:lnTo>
                        <a:pt x="421" y="196"/>
                      </a:lnTo>
                      <a:lnTo>
                        <a:pt x="421" y="193"/>
                      </a:lnTo>
                      <a:lnTo>
                        <a:pt x="420" y="190"/>
                      </a:lnTo>
                      <a:lnTo>
                        <a:pt x="419" y="187"/>
                      </a:lnTo>
                      <a:lnTo>
                        <a:pt x="417" y="185"/>
                      </a:lnTo>
                      <a:lnTo>
                        <a:pt x="415" y="183"/>
                      </a:lnTo>
                      <a:lnTo>
                        <a:pt x="413" y="182"/>
                      </a:lnTo>
                      <a:lnTo>
                        <a:pt x="409" y="181"/>
                      </a:lnTo>
                      <a:lnTo>
                        <a:pt x="406" y="181"/>
                      </a:lnTo>
                      <a:lnTo>
                        <a:pt x="286" y="181"/>
                      </a:lnTo>
                      <a:lnTo>
                        <a:pt x="283" y="181"/>
                      </a:lnTo>
                      <a:lnTo>
                        <a:pt x="281" y="182"/>
                      </a:lnTo>
                      <a:lnTo>
                        <a:pt x="277" y="183"/>
                      </a:lnTo>
                      <a:lnTo>
                        <a:pt x="275" y="185"/>
                      </a:lnTo>
                      <a:lnTo>
                        <a:pt x="273" y="187"/>
                      </a:lnTo>
                      <a:lnTo>
                        <a:pt x="272" y="190"/>
                      </a:lnTo>
                      <a:lnTo>
                        <a:pt x="271" y="193"/>
                      </a:lnTo>
                      <a:lnTo>
                        <a:pt x="271" y="196"/>
                      </a:lnTo>
                      <a:lnTo>
                        <a:pt x="271" y="572"/>
                      </a:lnTo>
                      <a:lnTo>
                        <a:pt x="211" y="572"/>
                      </a:lnTo>
                      <a:lnTo>
                        <a:pt x="211" y="406"/>
                      </a:lnTo>
                      <a:lnTo>
                        <a:pt x="211" y="404"/>
                      </a:lnTo>
                      <a:lnTo>
                        <a:pt x="210" y="401"/>
                      </a:lnTo>
                      <a:lnTo>
                        <a:pt x="209" y="399"/>
                      </a:lnTo>
                      <a:lnTo>
                        <a:pt x="207" y="396"/>
                      </a:lnTo>
                      <a:lnTo>
                        <a:pt x="205" y="394"/>
                      </a:lnTo>
                      <a:lnTo>
                        <a:pt x="201" y="393"/>
                      </a:lnTo>
                      <a:lnTo>
                        <a:pt x="199" y="392"/>
                      </a:lnTo>
                      <a:lnTo>
                        <a:pt x="196" y="391"/>
                      </a:lnTo>
                      <a:lnTo>
                        <a:pt x="76" y="391"/>
                      </a:lnTo>
                      <a:lnTo>
                        <a:pt x="73" y="392"/>
                      </a:lnTo>
                      <a:lnTo>
                        <a:pt x="69" y="392"/>
                      </a:lnTo>
                      <a:lnTo>
                        <a:pt x="67" y="394"/>
                      </a:lnTo>
                      <a:lnTo>
                        <a:pt x="65" y="396"/>
                      </a:lnTo>
                      <a:lnTo>
                        <a:pt x="63" y="399"/>
                      </a:lnTo>
                      <a:lnTo>
                        <a:pt x="62" y="401"/>
                      </a:lnTo>
                      <a:lnTo>
                        <a:pt x="61" y="404"/>
                      </a:lnTo>
                      <a:lnTo>
                        <a:pt x="61" y="406"/>
                      </a:lnTo>
                      <a:lnTo>
                        <a:pt x="61" y="572"/>
                      </a:lnTo>
                      <a:lnTo>
                        <a:pt x="15" y="572"/>
                      </a:lnTo>
                      <a:lnTo>
                        <a:pt x="13" y="572"/>
                      </a:lnTo>
                      <a:lnTo>
                        <a:pt x="9" y="573"/>
                      </a:lnTo>
                      <a:lnTo>
                        <a:pt x="7" y="575"/>
                      </a:lnTo>
                      <a:lnTo>
                        <a:pt x="5" y="577"/>
                      </a:lnTo>
                      <a:lnTo>
                        <a:pt x="3" y="579"/>
                      </a:lnTo>
                      <a:lnTo>
                        <a:pt x="2" y="581"/>
                      </a:lnTo>
                      <a:lnTo>
                        <a:pt x="1" y="584"/>
                      </a:lnTo>
                      <a:lnTo>
                        <a:pt x="0" y="587"/>
                      </a:lnTo>
                      <a:lnTo>
                        <a:pt x="1" y="591"/>
                      </a:lnTo>
                      <a:lnTo>
                        <a:pt x="2" y="593"/>
                      </a:lnTo>
                      <a:lnTo>
                        <a:pt x="3" y="596"/>
                      </a:lnTo>
                      <a:lnTo>
                        <a:pt x="5" y="598"/>
                      </a:lnTo>
                      <a:lnTo>
                        <a:pt x="7" y="600"/>
                      </a:lnTo>
                      <a:lnTo>
                        <a:pt x="9" y="601"/>
                      </a:lnTo>
                      <a:lnTo>
                        <a:pt x="13" y="602"/>
                      </a:lnTo>
                      <a:lnTo>
                        <a:pt x="15" y="602"/>
                      </a:lnTo>
                      <a:lnTo>
                        <a:pt x="76" y="602"/>
                      </a:lnTo>
                      <a:lnTo>
                        <a:pt x="196" y="602"/>
                      </a:lnTo>
                      <a:lnTo>
                        <a:pt x="286" y="602"/>
                      </a:lnTo>
                      <a:lnTo>
                        <a:pt x="406" y="602"/>
                      </a:lnTo>
                      <a:lnTo>
                        <a:pt x="497" y="602"/>
                      </a:lnTo>
                      <a:lnTo>
                        <a:pt x="617" y="602"/>
                      </a:lnTo>
                      <a:lnTo>
                        <a:pt x="708" y="602"/>
                      </a:lnTo>
                      <a:lnTo>
                        <a:pt x="828" y="602"/>
                      </a:lnTo>
                      <a:lnTo>
                        <a:pt x="889" y="602"/>
                      </a:lnTo>
                      <a:lnTo>
                        <a:pt x="891" y="602"/>
                      </a:lnTo>
                      <a:lnTo>
                        <a:pt x="894" y="601"/>
                      </a:lnTo>
                      <a:lnTo>
                        <a:pt x="896" y="600"/>
                      </a:lnTo>
                      <a:lnTo>
                        <a:pt x="898" y="598"/>
                      </a:lnTo>
                      <a:lnTo>
                        <a:pt x="901" y="596"/>
                      </a:lnTo>
                      <a:lnTo>
                        <a:pt x="902" y="593"/>
                      </a:lnTo>
                      <a:lnTo>
                        <a:pt x="903" y="591"/>
                      </a:lnTo>
                      <a:lnTo>
                        <a:pt x="904" y="587"/>
                      </a:lnTo>
                      <a:lnTo>
                        <a:pt x="903" y="584"/>
                      </a:lnTo>
                      <a:lnTo>
                        <a:pt x="902" y="581"/>
                      </a:lnTo>
                      <a:lnTo>
                        <a:pt x="901" y="579"/>
                      </a:lnTo>
                      <a:lnTo>
                        <a:pt x="898" y="577"/>
                      </a:lnTo>
                      <a:lnTo>
                        <a:pt x="896" y="575"/>
                      </a:lnTo>
                      <a:lnTo>
                        <a:pt x="894" y="573"/>
                      </a:lnTo>
                      <a:lnTo>
                        <a:pt x="891" y="572"/>
                      </a:lnTo>
                      <a:lnTo>
                        <a:pt x="889" y="5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67"/>
                </a:p>
              </p:txBody>
            </p:sp>
            <p:sp>
              <p:nvSpPr>
                <p:cNvPr id="35" name="Freeform 373"/>
                <p:cNvSpPr>
                  <a:spLocks/>
                </p:cNvSpPr>
                <p:nvPr/>
              </p:nvSpPr>
              <p:spPr bwMode="auto">
                <a:xfrm>
                  <a:off x="4338638" y="2492375"/>
                  <a:ext cx="252413" cy="157163"/>
                </a:xfrm>
                <a:custGeom>
                  <a:avLst/>
                  <a:gdLst>
                    <a:gd name="T0" fmla="*/ 77 w 797"/>
                    <a:gd name="T1" fmla="*/ 494 h 497"/>
                    <a:gd name="T2" fmla="*/ 97 w 797"/>
                    <a:gd name="T3" fmla="*/ 483 h 497"/>
                    <a:gd name="T4" fmla="*/ 112 w 797"/>
                    <a:gd name="T5" fmla="*/ 466 h 497"/>
                    <a:gd name="T6" fmla="*/ 120 w 797"/>
                    <a:gd name="T7" fmla="*/ 443 h 497"/>
                    <a:gd name="T8" fmla="*/ 116 w 797"/>
                    <a:gd name="T9" fmla="*/ 416 h 497"/>
                    <a:gd name="T10" fmla="*/ 267 w 797"/>
                    <a:gd name="T11" fmla="*/ 298 h 497"/>
                    <a:gd name="T12" fmla="*/ 300 w 797"/>
                    <a:gd name="T13" fmla="*/ 299 h 497"/>
                    <a:gd name="T14" fmla="*/ 325 w 797"/>
                    <a:gd name="T15" fmla="*/ 287 h 497"/>
                    <a:gd name="T16" fmla="*/ 451 w 797"/>
                    <a:gd name="T17" fmla="*/ 327 h 497"/>
                    <a:gd name="T18" fmla="*/ 454 w 797"/>
                    <a:gd name="T19" fmla="*/ 349 h 497"/>
                    <a:gd name="T20" fmla="*/ 464 w 797"/>
                    <a:gd name="T21" fmla="*/ 369 h 497"/>
                    <a:gd name="T22" fmla="*/ 482 w 797"/>
                    <a:gd name="T23" fmla="*/ 384 h 497"/>
                    <a:gd name="T24" fmla="*/ 505 w 797"/>
                    <a:gd name="T25" fmla="*/ 391 h 497"/>
                    <a:gd name="T26" fmla="*/ 529 w 797"/>
                    <a:gd name="T27" fmla="*/ 389 h 497"/>
                    <a:gd name="T28" fmla="*/ 550 w 797"/>
                    <a:gd name="T29" fmla="*/ 378 h 497"/>
                    <a:gd name="T30" fmla="*/ 564 w 797"/>
                    <a:gd name="T31" fmla="*/ 360 h 497"/>
                    <a:gd name="T32" fmla="*/ 571 w 797"/>
                    <a:gd name="T33" fmla="*/ 337 h 497"/>
                    <a:gd name="T34" fmla="*/ 565 w 797"/>
                    <a:gd name="T35" fmla="*/ 304 h 497"/>
                    <a:gd name="T36" fmla="*/ 724 w 797"/>
                    <a:gd name="T37" fmla="*/ 119 h 497"/>
                    <a:gd name="T38" fmla="*/ 750 w 797"/>
                    <a:gd name="T39" fmla="*/ 119 h 497"/>
                    <a:gd name="T40" fmla="*/ 771 w 797"/>
                    <a:gd name="T41" fmla="*/ 110 h 497"/>
                    <a:gd name="T42" fmla="*/ 787 w 797"/>
                    <a:gd name="T43" fmla="*/ 94 h 497"/>
                    <a:gd name="T44" fmla="*/ 796 w 797"/>
                    <a:gd name="T45" fmla="*/ 72 h 497"/>
                    <a:gd name="T46" fmla="*/ 796 w 797"/>
                    <a:gd name="T47" fmla="*/ 48 h 497"/>
                    <a:gd name="T48" fmla="*/ 787 w 797"/>
                    <a:gd name="T49" fmla="*/ 27 h 497"/>
                    <a:gd name="T50" fmla="*/ 771 w 797"/>
                    <a:gd name="T51" fmla="*/ 10 h 497"/>
                    <a:gd name="T52" fmla="*/ 750 w 797"/>
                    <a:gd name="T53" fmla="*/ 1 h 497"/>
                    <a:gd name="T54" fmla="*/ 725 w 797"/>
                    <a:gd name="T55" fmla="*/ 1 h 497"/>
                    <a:gd name="T56" fmla="*/ 703 w 797"/>
                    <a:gd name="T57" fmla="*/ 10 h 497"/>
                    <a:gd name="T58" fmla="*/ 687 w 797"/>
                    <a:gd name="T59" fmla="*/ 27 h 497"/>
                    <a:gd name="T60" fmla="*/ 678 w 797"/>
                    <a:gd name="T61" fmla="*/ 48 h 497"/>
                    <a:gd name="T62" fmla="*/ 680 w 797"/>
                    <a:gd name="T63" fmla="*/ 79 h 497"/>
                    <a:gd name="T64" fmla="*/ 531 w 797"/>
                    <a:gd name="T65" fmla="*/ 275 h 497"/>
                    <a:gd name="T66" fmla="*/ 504 w 797"/>
                    <a:gd name="T67" fmla="*/ 272 h 497"/>
                    <a:gd name="T68" fmla="*/ 478 w 797"/>
                    <a:gd name="T69" fmla="*/ 281 h 497"/>
                    <a:gd name="T70" fmla="*/ 345 w 797"/>
                    <a:gd name="T71" fmla="*/ 248 h 497"/>
                    <a:gd name="T72" fmla="*/ 344 w 797"/>
                    <a:gd name="T73" fmla="*/ 229 h 497"/>
                    <a:gd name="T74" fmla="*/ 336 w 797"/>
                    <a:gd name="T75" fmla="*/ 207 h 497"/>
                    <a:gd name="T76" fmla="*/ 319 w 797"/>
                    <a:gd name="T77" fmla="*/ 191 h 497"/>
                    <a:gd name="T78" fmla="*/ 298 w 797"/>
                    <a:gd name="T79" fmla="*/ 181 h 497"/>
                    <a:gd name="T80" fmla="*/ 273 w 797"/>
                    <a:gd name="T81" fmla="*/ 181 h 497"/>
                    <a:gd name="T82" fmla="*/ 252 w 797"/>
                    <a:gd name="T83" fmla="*/ 191 h 497"/>
                    <a:gd name="T84" fmla="*/ 236 w 797"/>
                    <a:gd name="T85" fmla="*/ 207 h 497"/>
                    <a:gd name="T86" fmla="*/ 226 w 797"/>
                    <a:gd name="T87" fmla="*/ 229 h 497"/>
                    <a:gd name="T88" fmla="*/ 227 w 797"/>
                    <a:gd name="T89" fmla="*/ 254 h 497"/>
                    <a:gd name="T90" fmla="*/ 86 w 797"/>
                    <a:gd name="T91" fmla="*/ 382 h 497"/>
                    <a:gd name="T92" fmla="*/ 53 w 797"/>
                    <a:gd name="T93" fmla="*/ 377 h 497"/>
                    <a:gd name="T94" fmla="*/ 31 w 797"/>
                    <a:gd name="T95" fmla="*/ 383 h 497"/>
                    <a:gd name="T96" fmla="*/ 13 w 797"/>
                    <a:gd name="T97" fmla="*/ 398 h 497"/>
                    <a:gd name="T98" fmla="*/ 2 w 797"/>
                    <a:gd name="T99" fmla="*/ 419 h 497"/>
                    <a:gd name="T100" fmla="*/ 0 w 797"/>
                    <a:gd name="T101" fmla="*/ 443 h 497"/>
                    <a:gd name="T102" fmla="*/ 6 w 797"/>
                    <a:gd name="T103" fmla="*/ 466 h 497"/>
                    <a:gd name="T104" fmla="*/ 21 w 797"/>
                    <a:gd name="T105" fmla="*/ 483 h 497"/>
                    <a:gd name="T106" fmla="*/ 42 w 797"/>
                    <a:gd name="T107" fmla="*/ 494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97" h="497">
                      <a:moveTo>
                        <a:pt x="60" y="497"/>
                      </a:moveTo>
                      <a:lnTo>
                        <a:pt x="65" y="497"/>
                      </a:lnTo>
                      <a:lnTo>
                        <a:pt x="72" y="496"/>
                      </a:lnTo>
                      <a:lnTo>
                        <a:pt x="77" y="494"/>
                      </a:lnTo>
                      <a:lnTo>
                        <a:pt x="83" y="493"/>
                      </a:lnTo>
                      <a:lnTo>
                        <a:pt x="89" y="489"/>
                      </a:lnTo>
                      <a:lnTo>
                        <a:pt x="93" y="486"/>
                      </a:lnTo>
                      <a:lnTo>
                        <a:pt x="97" y="483"/>
                      </a:lnTo>
                      <a:lnTo>
                        <a:pt x="102" y="480"/>
                      </a:lnTo>
                      <a:lnTo>
                        <a:pt x="106" y="475"/>
                      </a:lnTo>
                      <a:lnTo>
                        <a:pt x="109" y="470"/>
                      </a:lnTo>
                      <a:lnTo>
                        <a:pt x="112" y="466"/>
                      </a:lnTo>
                      <a:lnTo>
                        <a:pt x="115" y="460"/>
                      </a:lnTo>
                      <a:lnTo>
                        <a:pt x="117" y="455"/>
                      </a:lnTo>
                      <a:lnTo>
                        <a:pt x="119" y="449"/>
                      </a:lnTo>
                      <a:lnTo>
                        <a:pt x="120" y="443"/>
                      </a:lnTo>
                      <a:lnTo>
                        <a:pt x="120" y="437"/>
                      </a:lnTo>
                      <a:lnTo>
                        <a:pt x="119" y="429"/>
                      </a:lnTo>
                      <a:lnTo>
                        <a:pt x="118" y="423"/>
                      </a:lnTo>
                      <a:lnTo>
                        <a:pt x="116" y="416"/>
                      </a:lnTo>
                      <a:lnTo>
                        <a:pt x="114" y="410"/>
                      </a:lnTo>
                      <a:lnTo>
                        <a:pt x="251" y="290"/>
                      </a:lnTo>
                      <a:lnTo>
                        <a:pt x="259" y="295"/>
                      </a:lnTo>
                      <a:lnTo>
                        <a:pt x="267" y="298"/>
                      </a:lnTo>
                      <a:lnTo>
                        <a:pt x="277" y="301"/>
                      </a:lnTo>
                      <a:lnTo>
                        <a:pt x="285" y="302"/>
                      </a:lnTo>
                      <a:lnTo>
                        <a:pt x="293" y="301"/>
                      </a:lnTo>
                      <a:lnTo>
                        <a:pt x="300" y="299"/>
                      </a:lnTo>
                      <a:lnTo>
                        <a:pt x="307" y="297"/>
                      </a:lnTo>
                      <a:lnTo>
                        <a:pt x="313" y="294"/>
                      </a:lnTo>
                      <a:lnTo>
                        <a:pt x="318" y="291"/>
                      </a:lnTo>
                      <a:lnTo>
                        <a:pt x="325" y="287"/>
                      </a:lnTo>
                      <a:lnTo>
                        <a:pt x="329" y="282"/>
                      </a:lnTo>
                      <a:lnTo>
                        <a:pt x="333" y="277"/>
                      </a:lnTo>
                      <a:lnTo>
                        <a:pt x="451" y="324"/>
                      </a:lnTo>
                      <a:lnTo>
                        <a:pt x="451" y="327"/>
                      </a:lnTo>
                      <a:lnTo>
                        <a:pt x="451" y="332"/>
                      </a:lnTo>
                      <a:lnTo>
                        <a:pt x="451" y="337"/>
                      </a:lnTo>
                      <a:lnTo>
                        <a:pt x="452" y="343"/>
                      </a:lnTo>
                      <a:lnTo>
                        <a:pt x="454" y="349"/>
                      </a:lnTo>
                      <a:lnTo>
                        <a:pt x="456" y="354"/>
                      </a:lnTo>
                      <a:lnTo>
                        <a:pt x="458" y="360"/>
                      </a:lnTo>
                      <a:lnTo>
                        <a:pt x="461" y="365"/>
                      </a:lnTo>
                      <a:lnTo>
                        <a:pt x="464" y="369"/>
                      </a:lnTo>
                      <a:lnTo>
                        <a:pt x="469" y="374"/>
                      </a:lnTo>
                      <a:lnTo>
                        <a:pt x="473" y="378"/>
                      </a:lnTo>
                      <a:lnTo>
                        <a:pt x="477" y="381"/>
                      </a:lnTo>
                      <a:lnTo>
                        <a:pt x="482" y="384"/>
                      </a:lnTo>
                      <a:lnTo>
                        <a:pt x="488" y="386"/>
                      </a:lnTo>
                      <a:lnTo>
                        <a:pt x="493" y="389"/>
                      </a:lnTo>
                      <a:lnTo>
                        <a:pt x="499" y="391"/>
                      </a:lnTo>
                      <a:lnTo>
                        <a:pt x="505" y="391"/>
                      </a:lnTo>
                      <a:lnTo>
                        <a:pt x="511" y="392"/>
                      </a:lnTo>
                      <a:lnTo>
                        <a:pt x="518" y="391"/>
                      </a:lnTo>
                      <a:lnTo>
                        <a:pt x="523" y="391"/>
                      </a:lnTo>
                      <a:lnTo>
                        <a:pt x="529" y="389"/>
                      </a:lnTo>
                      <a:lnTo>
                        <a:pt x="535" y="386"/>
                      </a:lnTo>
                      <a:lnTo>
                        <a:pt x="540" y="384"/>
                      </a:lnTo>
                      <a:lnTo>
                        <a:pt x="545" y="381"/>
                      </a:lnTo>
                      <a:lnTo>
                        <a:pt x="550" y="378"/>
                      </a:lnTo>
                      <a:lnTo>
                        <a:pt x="553" y="374"/>
                      </a:lnTo>
                      <a:lnTo>
                        <a:pt x="558" y="369"/>
                      </a:lnTo>
                      <a:lnTo>
                        <a:pt x="561" y="365"/>
                      </a:lnTo>
                      <a:lnTo>
                        <a:pt x="564" y="360"/>
                      </a:lnTo>
                      <a:lnTo>
                        <a:pt x="567" y="354"/>
                      </a:lnTo>
                      <a:lnTo>
                        <a:pt x="568" y="349"/>
                      </a:lnTo>
                      <a:lnTo>
                        <a:pt x="570" y="343"/>
                      </a:lnTo>
                      <a:lnTo>
                        <a:pt x="571" y="337"/>
                      </a:lnTo>
                      <a:lnTo>
                        <a:pt x="571" y="332"/>
                      </a:lnTo>
                      <a:lnTo>
                        <a:pt x="570" y="322"/>
                      </a:lnTo>
                      <a:lnTo>
                        <a:pt x="568" y="312"/>
                      </a:lnTo>
                      <a:lnTo>
                        <a:pt x="565" y="304"/>
                      </a:lnTo>
                      <a:lnTo>
                        <a:pt x="560" y="296"/>
                      </a:lnTo>
                      <a:lnTo>
                        <a:pt x="711" y="114"/>
                      </a:lnTo>
                      <a:lnTo>
                        <a:pt x="717" y="117"/>
                      </a:lnTo>
                      <a:lnTo>
                        <a:pt x="724" y="119"/>
                      </a:lnTo>
                      <a:lnTo>
                        <a:pt x="730" y="120"/>
                      </a:lnTo>
                      <a:lnTo>
                        <a:pt x="737" y="120"/>
                      </a:lnTo>
                      <a:lnTo>
                        <a:pt x="743" y="120"/>
                      </a:lnTo>
                      <a:lnTo>
                        <a:pt x="750" y="119"/>
                      </a:lnTo>
                      <a:lnTo>
                        <a:pt x="755" y="118"/>
                      </a:lnTo>
                      <a:lnTo>
                        <a:pt x="760" y="116"/>
                      </a:lnTo>
                      <a:lnTo>
                        <a:pt x="766" y="113"/>
                      </a:lnTo>
                      <a:lnTo>
                        <a:pt x="771" y="110"/>
                      </a:lnTo>
                      <a:lnTo>
                        <a:pt x="775" y="106"/>
                      </a:lnTo>
                      <a:lnTo>
                        <a:pt x="780" y="103"/>
                      </a:lnTo>
                      <a:lnTo>
                        <a:pt x="784" y="99"/>
                      </a:lnTo>
                      <a:lnTo>
                        <a:pt x="787" y="94"/>
                      </a:lnTo>
                      <a:lnTo>
                        <a:pt x="790" y="89"/>
                      </a:lnTo>
                      <a:lnTo>
                        <a:pt x="792" y="84"/>
                      </a:lnTo>
                      <a:lnTo>
                        <a:pt x="795" y="79"/>
                      </a:lnTo>
                      <a:lnTo>
                        <a:pt x="796" y="72"/>
                      </a:lnTo>
                      <a:lnTo>
                        <a:pt x="797" y="67"/>
                      </a:lnTo>
                      <a:lnTo>
                        <a:pt x="797" y="60"/>
                      </a:lnTo>
                      <a:lnTo>
                        <a:pt x="797" y="54"/>
                      </a:lnTo>
                      <a:lnTo>
                        <a:pt x="796" y="48"/>
                      </a:lnTo>
                      <a:lnTo>
                        <a:pt x="795" y="42"/>
                      </a:lnTo>
                      <a:lnTo>
                        <a:pt x="792" y="37"/>
                      </a:lnTo>
                      <a:lnTo>
                        <a:pt x="790" y="31"/>
                      </a:lnTo>
                      <a:lnTo>
                        <a:pt x="787" y="27"/>
                      </a:lnTo>
                      <a:lnTo>
                        <a:pt x="784" y="22"/>
                      </a:lnTo>
                      <a:lnTo>
                        <a:pt x="780" y="17"/>
                      </a:lnTo>
                      <a:lnTo>
                        <a:pt x="775" y="14"/>
                      </a:lnTo>
                      <a:lnTo>
                        <a:pt x="771" y="10"/>
                      </a:lnTo>
                      <a:lnTo>
                        <a:pt x="766" y="8"/>
                      </a:lnTo>
                      <a:lnTo>
                        <a:pt x="760" y="5"/>
                      </a:lnTo>
                      <a:lnTo>
                        <a:pt x="755" y="2"/>
                      </a:lnTo>
                      <a:lnTo>
                        <a:pt x="750" y="1"/>
                      </a:lnTo>
                      <a:lnTo>
                        <a:pt x="743" y="0"/>
                      </a:lnTo>
                      <a:lnTo>
                        <a:pt x="737" y="0"/>
                      </a:lnTo>
                      <a:lnTo>
                        <a:pt x="731" y="0"/>
                      </a:lnTo>
                      <a:lnTo>
                        <a:pt x="725" y="1"/>
                      </a:lnTo>
                      <a:lnTo>
                        <a:pt x="719" y="2"/>
                      </a:lnTo>
                      <a:lnTo>
                        <a:pt x="713" y="5"/>
                      </a:lnTo>
                      <a:lnTo>
                        <a:pt x="709" y="8"/>
                      </a:lnTo>
                      <a:lnTo>
                        <a:pt x="703" y="10"/>
                      </a:lnTo>
                      <a:lnTo>
                        <a:pt x="699" y="14"/>
                      </a:lnTo>
                      <a:lnTo>
                        <a:pt x="695" y="17"/>
                      </a:lnTo>
                      <a:lnTo>
                        <a:pt x="691" y="22"/>
                      </a:lnTo>
                      <a:lnTo>
                        <a:pt x="687" y="27"/>
                      </a:lnTo>
                      <a:lnTo>
                        <a:pt x="684" y="31"/>
                      </a:lnTo>
                      <a:lnTo>
                        <a:pt x="682" y="37"/>
                      </a:lnTo>
                      <a:lnTo>
                        <a:pt x="680" y="42"/>
                      </a:lnTo>
                      <a:lnTo>
                        <a:pt x="678" y="48"/>
                      </a:lnTo>
                      <a:lnTo>
                        <a:pt x="677" y="54"/>
                      </a:lnTo>
                      <a:lnTo>
                        <a:pt x="677" y="60"/>
                      </a:lnTo>
                      <a:lnTo>
                        <a:pt x="678" y="70"/>
                      </a:lnTo>
                      <a:lnTo>
                        <a:pt x="680" y="79"/>
                      </a:lnTo>
                      <a:lnTo>
                        <a:pt x="683" y="87"/>
                      </a:lnTo>
                      <a:lnTo>
                        <a:pt x="688" y="96"/>
                      </a:lnTo>
                      <a:lnTo>
                        <a:pt x="537" y="277"/>
                      </a:lnTo>
                      <a:lnTo>
                        <a:pt x="531" y="275"/>
                      </a:lnTo>
                      <a:lnTo>
                        <a:pt x="524" y="273"/>
                      </a:lnTo>
                      <a:lnTo>
                        <a:pt x="518" y="272"/>
                      </a:lnTo>
                      <a:lnTo>
                        <a:pt x="511" y="271"/>
                      </a:lnTo>
                      <a:lnTo>
                        <a:pt x="504" y="272"/>
                      </a:lnTo>
                      <a:lnTo>
                        <a:pt x="496" y="273"/>
                      </a:lnTo>
                      <a:lnTo>
                        <a:pt x="490" y="275"/>
                      </a:lnTo>
                      <a:lnTo>
                        <a:pt x="484" y="278"/>
                      </a:lnTo>
                      <a:lnTo>
                        <a:pt x="478" y="281"/>
                      </a:lnTo>
                      <a:lnTo>
                        <a:pt x="472" y="286"/>
                      </a:lnTo>
                      <a:lnTo>
                        <a:pt x="467" y="291"/>
                      </a:lnTo>
                      <a:lnTo>
                        <a:pt x="463" y="295"/>
                      </a:lnTo>
                      <a:lnTo>
                        <a:pt x="345" y="248"/>
                      </a:lnTo>
                      <a:lnTo>
                        <a:pt x="345" y="245"/>
                      </a:lnTo>
                      <a:lnTo>
                        <a:pt x="345" y="240"/>
                      </a:lnTo>
                      <a:lnTo>
                        <a:pt x="345" y="235"/>
                      </a:lnTo>
                      <a:lnTo>
                        <a:pt x="344" y="229"/>
                      </a:lnTo>
                      <a:lnTo>
                        <a:pt x="343" y="223"/>
                      </a:lnTo>
                      <a:lnTo>
                        <a:pt x="341" y="218"/>
                      </a:lnTo>
                      <a:lnTo>
                        <a:pt x="339" y="213"/>
                      </a:lnTo>
                      <a:lnTo>
                        <a:pt x="336" y="207"/>
                      </a:lnTo>
                      <a:lnTo>
                        <a:pt x="332" y="203"/>
                      </a:lnTo>
                      <a:lnTo>
                        <a:pt x="328" y="199"/>
                      </a:lnTo>
                      <a:lnTo>
                        <a:pt x="324" y="194"/>
                      </a:lnTo>
                      <a:lnTo>
                        <a:pt x="319" y="191"/>
                      </a:lnTo>
                      <a:lnTo>
                        <a:pt x="314" y="188"/>
                      </a:lnTo>
                      <a:lnTo>
                        <a:pt x="309" y="186"/>
                      </a:lnTo>
                      <a:lnTo>
                        <a:pt x="303" y="184"/>
                      </a:lnTo>
                      <a:lnTo>
                        <a:pt x="298" y="181"/>
                      </a:lnTo>
                      <a:lnTo>
                        <a:pt x="292" y="181"/>
                      </a:lnTo>
                      <a:lnTo>
                        <a:pt x="285" y="180"/>
                      </a:lnTo>
                      <a:lnTo>
                        <a:pt x="280" y="181"/>
                      </a:lnTo>
                      <a:lnTo>
                        <a:pt x="273" y="181"/>
                      </a:lnTo>
                      <a:lnTo>
                        <a:pt x="268" y="184"/>
                      </a:lnTo>
                      <a:lnTo>
                        <a:pt x="262" y="186"/>
                      </a:lnTo>
                      <a:lnTo>
                        <a:pt x="257" y="188"/>
                      </a:lnTo>
                      <a:lnTo>
                        <a:pt x="252" y="191"/>
                      </a:lnTo>
                      <a:lnTo>
                        <a:pt x="248" y="194"/>
                      </a:lnTo>
                      <a:lnTo>
                        <a:pt x="243" y="199"/>
                      </a:lnTo>
                      <a:lnTo>
                        <a:pt x="239" y="203"/>
                      </a:lnTo>
                      <a:lnTo>
                        <a:pt x="236" y="207"/>
                      </a:lnTo>
                      <a:lnTo>
                        <a:pt x="233" y="213"/>
                      </a:lnTo>
                      <a:lnTo>
                        <a:pt x="230" y="218"/>
                      </a:lnTo>
                      <a:lnTo>
                        <a:pt x="228" y="223"/>
                      </a:lnTo>
                      <a:lnTo>
                        <a:pt x="226" y="229"/>
                      </a:lnTo>
                      <a:lnTo>
                        <a:pt x="225" y="235"/>
                      </a:lnTo>
                      <a:lnTo>
                        <a:pt x="225" y="240"/>
                      </a:lnTo>
                      <a:lnTo>
                        <a:pt x="226" y="248"/>
                      </a:lnTo>
                      <a:lnTo>
                        <a:pt x="227" y="254"/>
                      </a:lnTo>
                      <a:lnTo>
                        <a:pt x="229" y="261"/>
                      </a:lnTo>
                      <a:lnTo>
                        <a:pt x="231" y="267"/>
                      </a:lnTo>
                      <a:lnTo>
                        <a:pt x="94" y="387"/>
                      </a:lnTo>
                      <a:lnTo>
                        <a:pt x="86" y="382"/>
                      </a:lnTo>
                      <a:lnTo>
                        <a:pt x="78" y="379"/>
                      </a:lnTo>
                      <a:lnTo>
                        <a:pt x="68" y="377"/>
                      </a:lnTo>
                      <a:lnTo>
                        <a:pt x="60" y="377"/>
                      </a:lnTo>
                      <a:lnTo>
                        <a:pt x="53" y="377"/>
                      </a:lnTo>
                      <a:lnTo>
                        <a:pt x="47" y="378"/>
                      </a:lnTo>
                      <a:lnTo>
                        <a:pt x="42" y="379"/>
                      </a:lnTo>
                      <a:lnTo>
                        <a:pt x="36" y="381"/>
                      </a:lnTo>
                      <a:lnTo>
                        <a:pt x="31" y="383"/>
                      </a:lnTo>
                      <a:lnTo>
                        <a:pt x="26" y="386"/>
                      </a:lnTo>
                      <a:lnTo>
                        <a:pt x="21" y="391"/>
                      </a:lnTo>
                      <a:lnTo>
                        <a:pt x="17" y="394"/>
                      </a:lnTo>
                      <a:lnTo>
                        <a:pt x="13" y="398"/>
                      </a:lnTo>
                      <a:lnTo>
                        <a:pt x="9" y="402"/>
                      </a:lnTo>
                      <a:lnTo>
                        <a:pt x="6" y="408"/>
                      </a:lnTo>
                      <a:lnTo>
                        <a:pt x="4" y="413"/>
                      </a:lnTo>
                      <a:lnTo>
                        <a:pt x="2" y="419"/>
                      </a:lnTo>
                      <a:lnTo>
                        <a:pt x="1" y="425"/>
                      </a:lnTo>
                      <a:lnTo>
                        <a:pt x="0" y="430"/>
                      </a:lnTo>
                      <a:lnTo>
                        <a:pt x="0" y="437"/>
                      </a:lnTo>
                      <a:lnTo>
                        <a:pt x="0" y="443"/>
                      </a:lnTo>
                      <a:lnTo>
                        <a:pt x="1" y="449"/>
                      </a:lnTo>
                      <a:lnTo>
                        <a:pt x="2" y="455"/>
                      </a:lnTo>
                      <a:lnTo>
                        <a:pt x="4" y="460"/>
                      </a:lnTo>
                      <a:lnTo>
                        <a:pt x="6" y="466"/>
                      </a:lnTo>
                      <a:lnTo>
                        <a:pt x="9" y="470"/>
                      </a:lnTo>
                      <a:lnTo>
                        <a:pt x="13" y="475"/>
                      </a:lnTo>
                      <a:lnTo>
                        <a:pt x="17" y="480"/>
                      </a:lnTo>
                      <a:lnTo>
                        <a:pt x="21" y="483"/>
                      </a:lnTo>
                      <a:lnTo>
                        <a:pt x="26" y="486"/>
                      </a:lnTo>
                      <a:lnTo>
                        <a:pt x="31" y="489"/>
                      </a:lnTo>
                      <a:lnTo>
                        <a:pt x="36" y="493"/>
                      </a:lnTo>
                      <a:lnTo>
                        <a:pt x="42" y="494"/>
                      </a:lnTo>
                      <a:lnTo>
                        <a:pt x="47" y="496"/>
                      </a:lnTo>
                      <a:lnTo>
                        <a:pt x="53" y="497"/>
                      </a:lnTo>
                      <a:lnTo>
                        <a:pt x="60" y="4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67"/>
                </a:p>
              </p:txBody>
            </p:sp>
          </p:grpSp>
          <p:grpSp>
            <p:nvGrpSpPr>
              <p:cNvPr id="36" name="Group 35"/>
              <p:cNvGrpSpPr/>
              <p:nvPr/>
            </p:nvGrpSpPr>
            <p:grpSpPr>
              <a:xfrm>
                <a:off x="3588016" y="2883766"/>
                <a:ext cx="213122" cy="196454"/>
                <a:chOff x="4313201" y="1920875"/>
                <a:chExt cx="284163" cy="261938"/>
              </a:xfrm>
              <a:solidFill>
                <a:schemeClr val="bg1"/>
              </a:solidFill>
              <a:effectLst>
                <a:outerShdw blurRad="38100" dist="25400" dir="5400000" algn="ctr" rotWithShape="0">
                  <a:srgbClr val="000000">
                    <a:alpha val="20000"/>
                  </a:srgbClr>
                </a:outerShdw>
              </a:effectLst>
            </p:grpSpPr>
            <p:sp>
              <p:nvSpPr>
                <p:cNvPr id="37" name="Freeform 3131"/>
                <p:cNvSpPr>
                  <a:spLocks/>
                </p:cNvSpPr>
                <p:nvPr/>
              </p:nvSpPr>
              <p:spPr bwMode="auto">
                <a:xfrm>
                  <a:off x="4313201" y="1920875"/>
                  <a:ext cx="236538" cy="200025"/>
                </a:xfrm>
                <a:custGeom>
                  <a:avLst/>
                  <a:gdLst>
                    <a:gd name="T0" fmla="*/ 599 w 599"/>
                    <a:gd name="T1" fmla="*/ 12 h 503"/>
                    <a:gd name="T2" fmla="*/ 599 w 599"/>
                    <a:gd name="T3" fmla="*/ 7 h 503"/>
                    <a:gd name="T4" fmla="*/ 595 w 599"/>
                    <a:gd name="T5" fmla="*/ 3 h 503"/>
                    <a:gd name="T6" fmla="*/ 592 w 599"/>
                    <a:gd name="T7" fmla="*/ 1 h 503"/>
                    <a:gd name="T8" fmla="*/ 587 w 599"/>
                    <a:gd name="T9" fmla="*/ 0 h 503"/>
                    <a:gd name="T10" fmla="*/ 12 w 599"/>
                    <a:gd name="T11" fmla="*/ 0 h 503"/>
                    <a:gd name="T12" fmla="*/ 8 w 599"/>
                    <a:gd name="T13" fmla="*/ 1 h 503"/>
                    <a:gd name="T14" fmla="*/ 4 w 599"/>
                    <a:gd name="T15" fmla="*/ 3 h 503"/>
                    <a:gd name="T16" fmla="*/ 2 w 599"/>
                    <a:gd name="T17" fmla="*/ 7 h 503"/>
                    <a:gd name="T18" fmla="*/ 0 w 599"/>
                    <a:gd name="T19" fmla="*/ 12 h 503"/>
                    <a:gd name="T20" fmla="*/ 0 w 599"/>
                    <a:gd name="T21" fmla="*/ 371 h 503"/>
                    <a:gd name="T22" fmla="*/ 2 w 599"/>
                    <a:gd name="T23" fmla="*/ 376 h 503"/>
                    <a:gd name="T24" fmla="*/ 4 w 599"/>
                    <a:gd name="T25" fmla="*/ 379 h 503"/>
                    <a:gd name="T26" fmla="*/ 8 w 599"/>
                    <a:gd name="T27" fmla="*/ 382 h 503"/>
                    <a:gd name="T28" fmla="*/ 12 w 599"/>
                    <a:gd name="T29" fmla="*/ 383 h 503"/>
                    <a:gd name="T30" fmla="*/ 96 w 599"/>
                    <a:gd name="T31" fmla="*/ 383 h 503"/>
                    <a:gd name="T32" fmla="*/ 96 w 599"/>
                    <a:gd name="T33" fmla="*/ 490 h 503"/>
                    <a:gd name="T34" fmla="*/ 97 w 599"/>
                    <a:gd name="T35" fmla="*/ 493 h 503"/>
                    <a:gd name="T36" fmla="*/ 98 w 599"/>
                    <a:gd name="T37" fmla="*/ 497 h 503"/>
                    <a:gd name="T38" fmla="*/ 100 w 599"/>
                    <a:gd name="T39" fmla="*/ 499 h 503"/>
                    <a:gd name="T40" fmla="*/ 104 w 599"/>
                    <a:gd name="T41" fmla="*/ 502 h 503"/>
                    <a:gd name="T42" fmla="*/ 106 w 599"/>
                    <a:gd name="T43" fmla="*/ 502 h 503"/>
                    <a:gd name="T44" fmla="*/ 109 w 599"/>
                    <a:gd name="T45" fmla="*/ 503 h 503"/>
                    <a:gd name="T46" fmla="*/ 112 w 599"/>
                    <a:gd name="T47" fmla="*/ 502 h 503"/>
                    <a:gd name="T48" fmla="*/ 117 w 599"/>
                    <a:gd name="T49" fmla="*/ 499 h 503"/>
                    <a:gd name="T50" fmla="*/ 232 w 599"/>
                    <a:gd name="T51" fmla="*/ 383 h 503"/>
                    <a:gd name="T52" fmla="*/ 288 w 599"/>
                    <a:gd name="T53" fmla="*/ 383 h 503"/>
                    <a:gd name="T54" fmla="*/ 288 w 599"/>
                    <a:gd name="T55" fmla="*/ 251 h 503"/>
                    <a:gd name="T56" fmla="*/ 288 w 599"/>
                    <a:gd name="T57" fmla="*/ 246 h 503"/>
                    <a:gd name="T58" fmla="*/ 291 w 599"/>
                    <a:gd name="T59" fmla="*/ 242 h 503"/>
                    <a:gd name="T60" fmla="*/ 295 w 599"/>
                    <a:gd name="T61" fmla="*/ 240 h 503"/>
                    <a:gd name="T62" fmla="*/ 300 w 599"/>
                    <a:gd name="T63" fmla="*/ 239 h 503"/>
                    <a:gd name="T64" fmla="*/ 599 w 599"/>
                    <a:gd name="T65" fmla="*/ 239 h 503"/>
                    <a:gd name="T66" fmla="*/ 599 w 599"/>
                    <a:gd name="T67" fmla="*/ 1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99" h="503">
                      <a:moveTo>
                        <a:pt x="599" y="12"/>
                      </a:moveTo>
                      <a:lnTo>
                        <a:pt x="599" y="7"/>
                      </a:lnTo>
                      <a:lnTo>
                        <a:pt x="595" y="3"/>
                      </a:lnTo>
                      <a:lnTo>
                        <a:pt x="592" y="1"/>
                      </a:lnTo>
                      <a:lnTo>
                        <a:pt x="587" y="0"/>
                      </a:lnTo>
                      <a:lnTo>
                        <a:pt x="12" y="0"/>
                      </a:lnTo>
                      <a:lnTo>
                        <a:pt x="8" y="1"/>
                      </a:lnTo>
                      <a:lnTo>
                        <a:pt x="4" y="3"/>
                      </a:lnTo>
                      <a:lnTo>
                        <a:pt x="2" y="7"/>
                      </a:lnTo>
                      <a:lnTo>
                        <a:pt x="0" y="12"/>
                      </a:lnTo>
                      <a:lnTo>
                        <a:pt x="0" y="371"/>
                      </a:lnTo>
                      <a:lnTo>
                        <a:pt x="2" y="376"/>
                      </a:lnTo>
                      <a:lnTo>
                        <a:pt x="4" y="379"/>
                      </a:lnTo>
                      <a:lnTo>
                        <a:pt x="8" y="382"/>
                      </a:lnTo>
                      <a:lnTo>
                        <a:pt x="12" y="383"/>
                      </a:lnTo>
                      <a:lnTo>
                        <a:pt x="96" y="383"/>
                      </a:lnTo>
                      <a:lnTo>
                        <a:pt x="96" y="490"/>
                      </a:lnTo>
                      <a:lnTo>
                        <a:pt x="97" y="493"/>
                      </a:lnTo>
                      <a:lnTo>
                        <a:pt x="98" y="497"/>
                      </a:lnTo>
                      <a:lnTo>
                        <a:pt x="100" y="499"/>
                      </a:lnTo>
                      <a:lnTo>
                        <a:pt x="104" y="502"/>
                      </a:lnTo>
                      <a:lnTo>
                        <a:pt x="106" y="502"/>
                      </a:lnTo>
                      <a:lnTo>
                        <a:pt x="109" y="503"/>
                      </a:lnTo>
                      <a:lnTo>
                        <a:pt x="112" y="502"/>
                      </a:lnTo>
                      <a:lnTo>
                        <a:pt x="117" y="499"/>
                      </a:lnTo>
                      <a:lnTo>
                        <a:pt x="232" y="383"/>
                      </a:lnTo>
                      <a:lnTo>
                        <a:pt x="288" y="383"/>
                      </a:lnTo>
                      <a:lnTo>
                        <a:pt x="288" y="251"/>
                      </a:lnTo>
                      <a:lnTo>
                        <a:pt x="288" y="246"/>
                      </a:lnTo>
                      <a:lnTo>
                        <a:pt x="291" y="242"/>
                      </a:lnTo>
                      <a:lnTo>
                        <a:pt x="295" y="240"/>
                      </a:lnTo>
                      <a:lnTo>
                        <a:pt x="300" y="239"/>
                      </a:lnTo>
                      <a:lnTo>
                        <a:pt x="599" y="239"/>
                      </a:lnTo>
                      <a:lnTo>
                        <a:pt x="599"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67"/>
                </a:p>
              </p:txBody>
            </p:sp>
            <p:sp>
              <p:nvSpPr>
                <p:cNvPr id="38" name="Freeform 3132"/>
                <p:cNvSpPr>
                  <a:spLocks/>
                </p:cNvSpPr>
                <p:nvPr/>
              </p:nvSpPr>
              <p:spPr bwMode="auto">
                <a:xfrm>
                  <a:off x="4437026" y="2025650"/>
                  <a:ext cx="160338" cy="157163"/>
                </a:xfrm>
                <a:custGeom>
                  <a:avLst/>
                  <a:gdLst>
                    <a:gd name="T0" fmla="*/ 395 w 407"/>
                    <a:gd name="T1" fmla="*/ 0 h 394"/>
                    <a:gd name="T2" fmla="*/ 12 w 407"/>
                    <a:gd name="T3" fmla="*/ 0 h 394"/>
                    <a:gd name="T4" fmla="*/ 0 w 407"/>
                    <a:gd name="T5" fmla="*/ 0 h 394"/>
                    <a:gd name="T6" fmla="*/ 0 w 407"/>
                    <a:gd name="T7" fmla="*/ 11 h 394"/>
                    <a:gd name="T8" fmla="*/ 0 w 407"/>
                    <a:gd name="T9" fmla="*/ 252 h 394"/>
                    <a:gd name="T10" fmla="*/ 0 w 407"/>
                    <a:gd name="T11" fmla="*/ 255 h 394"/>
                    <a:gd name="T12" fmla="*/ 4 w 407"/>
                    <a:gd name="T13" fmla="*/ 260 h 394"/>
                    <a:gd name="T14" fmla="*/ 7 w 407"/>
                    <a:gd name="T15" fmla="*/ 262 h 394"/>
                    <a:gd name="T16" fmla="*/ 12 w 407"/>
                    <a:gd name="T17" fmla="*/ 264 h 394"/>
                    <a:gd name="T18" fmla="*/ 193 w 407"/>
                    <a:gd name="T19" fmla="*/ 264 h 394"/>
                    <a:gd name="T20" fmla="*/ 198 w 407"/>
                    <a:gd name="T21" fmla="*/ 264 h 394"/>
                    <a:gd name="T22" fmla="*/ 314 w 407"/>
                    <a:gd name="T23" fmla="*/ 391 h 394"/>
                    <a:gd name="T24" fmla="*/ 319 w 407"/>
                    <a:gd name="T25" fmla="*/ 394 h 394"/>
                    <a:gd name="T26" fmla="*/ 324 w 407"/>
                    <a:gd name="T27" fmla="*/ 394 h 394"/>
                    <a:gd name="T28" fmla="*/ 325 w 407"/>
                    <a:gd name="T29" fmla="*/ 394 h 394"/>
                    <a:gd name="T30" fmla="*/ 327 w 407"/>
                    <a:gd name="T31" fmla="*/ 394 h 394"/>
                    <a:gd name="T32" fmla="*/ 331 w 407"/>
                    <a:gd name="T33" fmla="*/ 392 h 394"/>
                    <a:gd name="T34" fmla="*/ 333 w 407"/>
                    <a:gd name="T35" fmla="*/ 390 h 394"/>
                    <a:gd name="T36" fmla="*/ 334 w 407"/>
                    <a:gd name="T37" fmla="*/ 386 h 394"/>
                    <a:gd name="T38" fmla="*/ 336 w 407"/>
                    <a:gd name="T39" fmla="*/ 383 h 394"/>
                    <a:gd name="T40" fmla="*/ 336 w 407"/>
                    <a:gd name="T41" fmla="*/ 276 h 394"/>
                    <a:gd name="T42" fmla="*/ 336 w 407"/>
                    <a:gd name="T43" fmla="*/ 264 h 394"/>
                    <a:gd name="T44" fmla="*/ 347 w 407"/>
                    <a:gd name="T45" fmla="*/ 264 h 394"/>
                    <a:gd name="T46" fmla="*/ 395 w 407"/>
                    <a:gd name="T47" fmla="*/ 264 h 394"/>
                    <a:gd name="T48" fmla="*/ 400 w 407"/>
                    <a:gd name="T49" fmla="*/ 262 h 394"/>
                    <a:gd name="T50" fmla="*/ 403 w 407"/>
                    <a:gd name="T51" fmla="*/ 260 h 394"/>
                    <a:gd name="T52" fmla="*/ 406 w 407"/>
                    <a:gd name="T53" fmla="*/ 257 h 394"/>
                    <a:gd name="T54" fmla="*/ 407 w 407"/>
                    <a:gd name="T55" fmla="*/ 252 h 394"/>
                    <a:gd name="T56" fmla="*/ 407 w 407"/>
                    <a:gd name="T57" fmla="*/ 11 h 394"/>
                    <a:gd name="T58" fmla="*/ 406 w 407"/>
                    <a:gd name="T59" fmla="*/ 7 h 394"/>
                    <a:gd name="T60" fmla="*/ 403 w 407"/>
                    <a:gd name="T61" fmla="*/ 3 h 394"/>
                    <a:gd name="T62" fmla="*/ 400 w 407"/>
                    <a:gd name="T63" fmla="*/ 1 h 394"/>
                    <a:gd name="T64" fmla="*/ 395 w 407"/>
                    <a:gd name="T65" fmla="*/ 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7" h="394">
                      <a:moveTo>
                        <a:pt x="395" y="0"/>
                      </a:moveTo>
                      <a:lnTo>
                        <a:pt x="12" y="0"/>
                      </a:lnTo>
                      <a:lnTo>
                        <a:pt x="0" y="0"/>
                      </a:lnTo>
                      <a:lnTo>
                        <a:pt x="0" y="11"/>
                      </a:lnTo>
                      <a:lnTo>
                        <a:pt x="0" y="252"/>
                      </a:lnTo>
                      <a:lnTo>
                        <a:pt x="0" y="255"/>
                      </a:lnTo>
                      <a:lnTo>
                        <a:pt x="4" y="260"/>
                      </a:lnTo>
                      <a:lnTo>
                        <a:pt x="7" y="262"/>
                      </a:lnTo>
                      <a:lnTo>
                        <a:pt x="12" y="264"/>
                      </a:lnTo>
                      <a:lnTo>
                        <a:pt x="193" y="264"/>
                      </a:lnTo>
                      <a:lnTo>
                        <a:pt x="198" y="264"/>
                      </a:lnTo>
                      <a:lnTo>
                        <a:pt x="314" y="391"/>
                      </a:lnTo>
                      <a:lnTo>
                        <a:pt x="319" y="394"/>
                      </a:lnTo>
                      <a:lnTo>
                        <a:pt x="324" y="394"/>
                      </a:lnTo>
                      <a:lnTo>
                        <a:pt x="325" y="394"/>
                      </a:lnTo>
                      <a:lnTo>
                        <a:pt x="327" y="394"/>
                      </a:lnTo>
                      <a:lnTo>
                        <a:pt x="331" y="392"/>
                      </a:lnTo>
                      <a:lnTo>
                        <a:pt x="333" y="390"/>
                      </a:lnTo>
                      <a:lnTo>
                        <a:pt x="334" y="386"/>
                      </a:lnTo>
                      <a:lnTo>
                        <a:pt x="336" y="383"/>
                      </a:lnTo>
                      <a:lnTo>
                        <a:pt x="336" y="276"/>
                      </a:lnTo>
                      <a:lnTo>
                        <a:pt x="336" y="264"/>
                      </a:lnTo>
                      <a:lnTo>
                        <a:pt x="347" y="264"/>
                      </a:lnTo>
                      <a:lnTo>
                        <a:pt x="395" y="264"/>
                      </a:lnTo>
                      <a:lnTo>
                        <a:pt x="400" y="262"/>
                      </a:lnTo>
                      <a:lnTo>
                        <a:pt x="403" y="260"/>
                      </a:lnTo>
                      <a:lnTo>
                        <a:pt x="406" y="257"/>
                      </a:lnTo>
                      <a:lnTo>
                        <a:pt x="407" y="252"/>
                      </a:lnTo>
                      <a:lnTo>
                        <a:pt x="407" y="11"/>
                      </a:lnTo>
                      <a:lnTo>
                        <a:pt x="406" y="7"/>
                      </a:lnTo>
                      <a:lnTo>
                        <a:pt x="403" y="3"/>
                      </a:lnTo>
                      <a:lnTo>
                        <a:pt x="400" y="1"/>
                      </a:lnTo>
                      <a:lnTo>
                        <a:pt x="39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67"/>
                </a:p>
              </p:txBody>
            </p:sp>
          </p:grpSp>
          <p:sp>
            <p:nvSpPr>
              <p:cNvPr id="39" name="Rectangle 38"/>
              <p:cNvSpPr/>
              <p:nvPr/>
            </p:nvSpPr>
            <p:spPr>
              <a:xfrm>
                <a:off x="628532" y="4297348"/>
                <a:ext cx="1234440" cy="222960"/>
              </a:xfrm>
              <a:prstGeom prst="rect">
                <a:avLst/>
              </a:prstGeom>
              <a:solidFill>
                <a:srgbClr val="7C7C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67">
                    <a:latin typeface="Arial Black" panose="020B0A04020102020204" pitchFamily="34" charset="0"/>
                    <a:cs typeface="Arial" panose="020B0604020202020204" pitchFamily="34" charset="0"/>
                  </a:rPr>
                  <a:t>Recording</a:t>
                </a:r>
              </a:p>
            </p:txBody>
          </p:sp>
          <p:sp>
            <p:nvSpPr>
              <p:cNvPr id="40" name="Rectangle 39"/>
              <p:cNvSpPr/>
              <p:nvPr/>
            </p:nvSpPr>
            <p:spPr>
              <a:xfrm>
                <a:off x="1909073" y="4296312"/>
                <a:ext cx="5143500" cy="227179"/>
              </a:xfrm>
              <a:prstGeom prst="rect">
                <a:avLst/>
              </a:prstGeom>
              <a:solidFill>
                <a:srgbClr val="AAAA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67">
                    <a:latin typeface="Arial Black" panose="020B0A04020102020204" pitchFamily="34" charset="0"/>
                    <a:cs typeface="Arial" panose="020B0604020202020204" pitchFamily="34" charset="0"/>
                  </a:rPr>
                  <a:t>Clean up</a:t>
                </a:r>
              </a:p>
            </p:txBody>
          </p:sp>
          <p:sp>
            <p:nvSpPr>
              <p:cNvPr id="41" name="Rectangle 40"/>
              <p:cNvSpPr/>
              <p:nvPr/>
            </p:nvSpPr>
            <p:spPr>
              <a:xfrm>
                <a:off x="7094657" y="4296312"/>
                <a:ext cx="1508760" cy="22717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67">
                    <a:solidFill>
                      <a:schemeClr val="tx1"/>
                    </a:solidFill>
                    <a:latin typeface="Arial Black" panose="020B0A04020102020204" pitchFamily="34" charset="0"/>
                    <a:cs typeface="Arial" panose="020B0604020202020204" pitchFamily="34" charset="0"/>
                  </a:rPr>
                  <a:t>Outputs</a:t>
                </a:r>
              </a:p>
            </p:txBody>
          </p:sp>
          <p:cxnSp>
            <p:nvCxnSpPr>
              <p:cNvPr id="42" name="Straight Connector 41"/>
              <p:cNvCxnSpPr/>
              <p:nvPr/>
            </p:nvCxnSpPr>
            <p:spPr bwMode="auto">
              <a:xfrm rot="5400000">
                <a:off x="344347" y="2968963"/>
                <a:ext cx="3086100" cy="1413"/>
              </a:xfrm>
              <a:prstGeom prst="line">
                <a:avLst/>
              </a:prstGeom>
              <a:solidFill>
                <a:schemeClr val="accent1"/>
              </a:solidFill>
              <a:ln w="3175" cap="flat" cmpd="sng" algn="ctr">
                <a:solidFill>
                  <a:schemeClr val="bg1">
                    <a:lumMod val="65000"/>
                  </a:schemeClr>
                </a:solidFill>
                <a:prstDash val="dash"/>
                <a:round/>
                <a:headEnd type="none" w="med" len="med"/>
                <a:tailEnd type="none" w="med" len="med"/>
              </a:ln>
              <a:effectLst/>
            </p:spPr>
          </p:cxnSp>
          <p:cxnSp>
            <p:nvCxnSpPr>
              <p:cNvPr id="43" name="Straight Connector 42"/>
              <p:cNvCxnSpPr/>
              <p:nvPr/>
            </p:nvCxnSpPr>
            <p:spPr bwMode="auto">
              <a:xfrm rot="5400000">
                <a:off x="5557503" y="2984254"/>
                <a:ext cx="3017520" cy="1413"/>
              </a:xfrm>
              <a:prstGeom prst="line">
                <a:avLst/>
              </a:prstGeom>
              <a:solidFill>
                <a:schemeClr val="accent1"/>
              </a:solidFill>
              <a:ln w="3175" cap="flat" cmpd="sng" algn="ctr">
                <a:solidFill>
                  <a:schemeClr val="bg1">
                    <a:lumMod val="65000"/>
                  </a:schemeClr>
                </a:solidFill>
                <a:prstDash val="dash"/>
                <a:round/>
                <a:headEnd type="none" w="med" len="med"/>
                <a:tailEnd type="none" w="med" len="med"/>
              </a:ln>
              <a:effectLst/>
            </p:spPr>
          </p:cxnSp>
          <p:grpSp>
            <p:nvGrpSpPr>
              <p:cNvPr id="44" name="Group 43"/>
              <p:cNvGrpSpPr/>
              <p:nvPr/>
            </p:nvGrpSpPr>
            <p:grpSpPr>
              <a:xfrm>
                <a:off x="962651" y="2809279"/>
                <a:ext cx="269349" cy="271700"/>
                <a:chOff x="1295127" y="2643071"/>
                <a:chExt cx="379068" cy="378853"/>
              </a:xfrm>
              <a:solidFill>
                <a:schemeClr val="bg1"/>
              </a:solidFill>
              <a:effectLst>
                <a:outerShdw blurRad="38100" dist="25400" dir="5400000" algn="ctr" rotWithShape="0">
                  <a:srgbClr val="000000">
                    <a:alpha val="20000"/>
                  </a:srgbClr>
                </a:outerShdw>
              </a:effectLst>
            </p:grpSpPr>
            <p:sp>
              <p:nvSpPr>
                <p:cNvPr id="45" name="Freeform 2131"/>
                <p:cNvSpPr>
                  <a:spLocks/>
                </p:cNvSpPr>
                <p:nvPr/>
              </p:nvSpPr>
              <p:spPr bwMode="auto">
                <a:xfrm>
                  <a:off x="1457837" y="2980090"/>
                  <a:ext cx="55781" cy="13946"/>
                </a:xfrm>
                <a:custGeom>
                  <a:avLst/>
                  <a:gdLst>
                    <a:gd name="T0" fmla="*/ 105 w 120"/>
                    <a:gd name="T1" fmla="*/ 0 h 29"/>
                    <a:gd name="T2" fmla="*/ 14 w 120"/>
                    <a:gd name="T3" fmla="*/ 0 h 29"/>
                    <a:gd name="T4" fmla="*/ 8 w 120"/>
                    <a:gd name="T5" fmla="*/ 1 h 29"/>
                    <a:gd name="T6" fmla="*/ 3 w 120"/>
                    <a:gd name="T7" fmla="*/ 4 h 29"/>
                    <a:gd name="T8" fmla="*/ 1 w 120"/>
                    <a:gd name="T9" fmla="*/ 9 h 29"/>
                    <a:gd name="T10" fmla="*/ 0 w 120"/>
                    <a:gd name="T11" fmla="*/ 15 h 29"/>
                    <a:gd name="T12" fmla="*/ 1 w 120"/>
                    <a:gd name="T13" fmla="*/ 21 h 29"/>
                    <a:gd name="T14" fmla="*/ 3 w 120"/>
                    <a:gd name="T15" fmla="*/ 26 h 29"/>
                    <a:gd name="T16" fmla="*/ 8 w 120"/>
                    <a:gd name="T17" fmla="*/ 28 h 29"/>
                    <a:gd name="T18" fmla="*/ 14 w 120"/>
                    <a:gd name="T19" fmla="*/ 29 h 29"/>
                    <a:gd name="T20" fmla="*/ 105 w 120"/>
                    <a:gd name="T21" fmla="*/ 29 h 29"/>
                    <a:gd name="T22" fmla="*/ 111 w 120"/>
                    <a:gd name="T23" fmla="*/ 28 h 29"/>
                    <a:gd name="T24" fmla="*/ 116 w 120"/>
                    <a:gd name="T25" fmla="*/ 26 h 29"/>
                    <a:gd name="T26" fmla="*/ 118 w 120"/>
                    <a:gd name="T27" fmla="*/ 21 h 29"/>
                    <a:gd name="T28" fmla="*/ 120 w 120"/>
                    <a:gd name="T29" fmla="*/ 15 h 29"/>
                    <a:gd name="T30" fmla="*/ 118 w 120"/>
                    <a:gd name="T31" fmla="*/ 9 h 29"/>
                    <a:gd name="T32" fmla="*/ 116 w 120"/>
                    <a:gd name="T33" fmla="*/ 4 h 29"/>
                    <a:gd name="T34" fmla="*/ 111 w 120"/>
                    <a:gd name="T35" fmla="*/ 1 h 29"/>
                    <a:gd name="T36" fmla="*/ 105 w 120"/>
                    <a:gd name="T3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29">
                      <a:moveTo>
                        <a:pt x="105" y="0"/>
                      </a:moveTo>
                      <a:lnTo>
                        <a:pt x="14" y="0"/>
                      </a:lnTo>
                      <a:lnTo>
                        <a:pt x="8" y="1"/>
                      </a:lnTo>
                      <a:lnTo>
                        <a:pt x="3" y="4"/>
                      </a:lnTo>
                      <a:lnTo>
                        <a:pt x="1" y="9"/>
                      </a:lnTo>
                      <a:lnTo>
                        <a:pt x="0" y="15"/>
                      </a:lnTo>
                      <a:lnTo>
                        <a:pt x="1" y="21"/>
                      </a:lnTo>
                      <a:lnTo>
                        <a:pt x="3" y="26"/>
                      </a:lnTo>
                      <a:lnTo>
                        <a:pt x="8" y="28"/>
                      </a:lnTo>
                      <a:lnTo>
                        <a:pt x="14" y="29"/>
                      </a:lnTo>
                      <a:lnTo>
                        <a:pt x="105" y="29"/>
                      </a:lnTo>
                      <a:lnTo>
                        <a:pt x="111" y="28"/>
                      </a:lnTo>
                      <a:lnTo>
                        <a:pt x="116" y="26"/>
                      </a:lnTo>
                      <a:lnTo>
                        <a:pt x="118" y="21"/>
                      </a:lnTo>
                      <a:lnTo>
                        <a:pt x="120" y="15"/>
                      </a:lnTo>
                      <a:lnTo>
                        <a:pt x="118" y="9"/>
                      </a:lnTo>
                      <a:lnTo>
                        <a:pt x="116" y="4"/>
                      </a:lnTo>
                      <a:lnTo>
                        <a:pt x="111" y="1"/>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67">
                    <a:solidFill>
                      <a:prstClr val="white">
                        <a:lumMod val="75000"/>
                      </a:prstClr>
                    </a:solidFill>
                  </a:endParaRPr>
                </a:p>
              </p:txBody>
            </p:sp>
            <p:sp>
              <p:nvSpPr>
                <p:cNvPr id="46" name="Freeform 2132"/>
                <p:cNvSpPr>
                  <a:spLocks/>
                </p:cNvSpPr>
                <p:nvPr/>
              </p:nvSpPr>
              <p:spPr bwMode="auto">
                <a:xfrm>
                  <a:off x="1471783" y="3007978"/>
                  <a:ext cx="27891" cy="13946"/>
                </a:xfrm>
                <a:custGeom>
                  <a:avLst/>
                  <a:gdLst>
                    <a:gd name="T0" fmla="*/ 45 w 61"/>
                    <a:gd name="T1" fmla="*/ 0 h 30"/>
                    <a:gd name="T2" fmla="*/ 16 w 61"/>
                    <a:gd name="T3" fmla="*/ 0 h 30"/>
                    <a:gd name="T4" fmla="*/ 10 w 61"/>
                    <a:gd name="T5" fmla="*/ 1 h 30"/>
                    <a:gd name="T6" fmla="*/ 5 w 61"/>
                    <a:gd name="T7" fmla="*/ 5 h 30"/>
                    <a:gd name="T8" fmla="*/ 1 w 61"/>
                    <a:gd name="T9" fmla="*/ 8 h 30"/>
                    <a:gd name="T10" fmla="*/ 0 w 61"/>
                    <a:gd name="T11" fmla="*/ 14 h 30"/>
                    <a:gd name="T12" fmla="*/ 1 w 61"/>
                    <a:gd name="T13" fmla="*/ 21 h 30"/>
                    <a:gd name="T14" fmla="*/ 5 w 61"/>
                    <a:gd name="T15" fmla="*/ 25 h 30"/>
                    <a:gd name="T16" fmla="*/ 10 w 61"/>
                    <a:gd name="T17" fmla="*/ 29 h 30"/>
                    <a:gd name="T18" fmla="*/ 16 w 61"/>
                    <a:gd name="T19" fmla="*/ 30 h 30"/>
                    <a:gd name="T20" fmla="*/ 45 w 61"/>
                    <a:gd name="T21" fmla="*/ 30 h 30"/>
                    <a:gd name="T22" fmla="*/ 51 w 61"/>
                    <a:gd name="T23" fmla="*/ 29 h 30"/>
                    <a:gd name="T24" fmla="*/ 56 w 61"/>
                    <a:gd name="T25" fmla="*/ 25 h 30"/>
                    <a:gd name="T26" fmla="*/ 60 w 61"/>
                    <a:gd name="T27" fmla="*/ 21 h 30"/>
                    <a:gd name="T28" fmla="*/ 61 w 61"/>
                    <a:gd name="T29" fmla="*/ 14 h 30"/>
                    <a:gd name="T30" fmla="*/ 60 w 61"/>
                    <a:gd name="T31" fmla="*/ 8 h 30"/>
                    <a:gd name="T32" fmla="*/ 56 w 61"/>
                    <a:gd name="T33" fmla="*/ 5 h 30"/>
                    <a:gd name="T34" fmla="*/ 51 w 61"/>
                    <a:gd name="T35" fmla="*/ 1 h 30"/>
                    <a:gd name="T36" fmla="*/ 45 w 61"/>
                    <a:gd name="T3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30">
                      <a:moveTo>
                        <a:pt x="45" y="0"/>
                      </a:moveTo>
                      <a:lnTo>
                        <a:pt x="16" y="0"/>
                      </a:lnTo>
                      <a:lnTo>
                        <a:pt x="10" y="1"/>
                      </a:lnTo>
                      <a:lnTo>
                        <a:pt x="5" y="5"/>
                      </a:lnTo>
                      <a:lnTo>
                        <a:pt x="1" y="8"/>
                      </a:lnTo>
                      <a:lnTo>
                        <a:pt x="0" y="14"/>
                      </a:lnTo>
                      <a:lnTo>
                        <a:pt x="1" y="21"/>
                      </a:lnTo>
                      <a:lnTo>
                        <a:pt x="5" y="25"/>
                      </a:lnTo>
                      <a:lnTo>
                        <a:pt x="10" y="29"/>
                      </a:lnTo>
                      <a:lnTo>
                        <a:pt x="16" y="30"/>
                      </a:lnTo>
                      <a:lnTo>
                        <a:pt x="45" y="30"/>
                      </a:lnTo>
                      <a:lnTo>
                        <a:pt x="51" y="29"/>
                      </a:lnTo>
                      <a:lnTo>
                        <a:pt x="56" y="25"/>
                      </a:lnTo>
                      <a:lnTo>
                        <a:pt x="60" y="21"/>
                      </a:lnTo>
                      <a:lnTo>
                        <a:pt x="61" y="14"/>
                      </a:lnTo>
                      <a:lnTo>
                        <a:pt x="60" y="8"/>
                      </a:lnTo>
                      <a:lnTo>
                        <a:pt x="56" y="5"/>
                      </a:lnTo>
                      <a:lnTo>
                        <a:pt x="51" y="1"/>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67">
                    <a:solidFill>
                      <a:prstClr val="white">
                        <a:lumMod val="75000"/>
                      </a:prstClr>
                    </a:solidFill>
                  </a:endParaRPr>
                </a:p>
              </p:txBody>
            </p:sp>
            <p:sp>
              <p:nvSpPr>
                <p:cNvPr id="47" name="Freeform 2133"/>
                <p:cNvSpPr>
                  <a:spLocks/>
                </p:cNvSpPr>
                <p:nvPr/>
              </p:nvSpPr>
              <p:spPr bwMode="auto">
                <a:xfrm>
                  <a:off x="1367192" y="2705826"/>
                  <a:ext cx="237074" cy="260316"/>
                </a:xfrm>
                <a:custGeom>
                  <a:avLst/>
                  <a:gdLst>
                    <a:gd name="T0" fmla="*/ 242 w 511"/>
                    <a:gd name="T1" fmla="*/ 1 h 556"/>
                    <a:gd name="T2" fmla="*/ 217 w 511"/>
                    <a:gd name="T3" fmla="*/ 3 h 556"/>
                    <a:gd name="T4" fmla="*/ 192 w 511"/>
                    <a:gd name="T5" fmla="*/ 8 h 556"/>
                    <a:gd name="T6" fmla="*/ 168 w 511"/>
                    <a:gd name="T7" fmla="*/ 15 h 556"/>
                    <a:gd name="T8" fmla="*/ 134 w 511"/>
                    <a:gd name="T9" fmla="*/ 31 h 556"/>
                    <a:gd name="T10" fmla="*/ 93 w 511"/>
                    <a:gd name="T11" fmla="*/ 58 h 556"/>
                    <a:gd name="T12" fmla="*/ 59 w 511"/>
                    <a:gd name="T13" fmla="*/ 94 h 556"/>
                    <a:gd name="T14" fmla="*/ 31 w 511"/>
                    <a:gd name="T15" fmla="*/ 134 h 556"/>
                    <a:gd name="T16" fmla="*/ 15 w 511"/>
                    <a:gd name="T17" fmla="*/ 168 h 556"/>
                    <a:gd name="T18" fmla="*/ 8 w 511"/>
                    <a:gd name="T19" fmla="*/ 191 h 556"/>
                    <a:gd name="T20" fmla="*/ 3 w 511"/>
                    <a:gd name="T21" fmla="*/ 217 h 556"/>
                    <a:gd name="T22" fmla="*/ 0 w 511"/>
                    <a:gd name="T23" fmla="*/ 243 h 556"/>
                    <a:gd name="T24" fmla="*/ 0 w 511"/>
                    <a:gd name="T25" fmla="*/ 277 h 556"/>
                    <a:gd name="T26" fmla="*/ 8 w 511"/>
                    <a:gd name="T27" fmla="*/ 317 h 556"/>
                    <a:gd name="T28" fmla="*/ 20 w 511"/>
                    <a:gd name="T29" fmla="*/ 355 h 556"/>
                    <a:gd name="T30" fmla="*/ 39 w 511"/>
                    <a:gd name="T31" fmla="*/ 392 h 556"/>
                    <a:gd name="T32" fmla="*/ 63 w 511"/>
                    <a:gd name="T33" fmla="*/ 423 h 556"/>
                    <a:gd name="T34" fmla="*/ 91 w 511"/>
                    <a:gd name="T35" fmla="*/ 451 h 556"/>
                    <a:gd name="T36" fmla="*/ 124 w 511"/>
                    <a:gd name="T37" fmla="*/ 475 h 556"/>
                    <a:gd name="T38" fmla="*/ 160 w 511"/>
                    <a:gd name="T39" fmla="*/ 493 h 556"/>
                    <a:gd name="T40" fmla="*/ 180 w 511"/>
                    <a:gd name="T41" fmla="*/ 542 h 556"/>
                    <a:gd name="T42" fmla="*/ 185 w 511"/>
                    <a:gd name="T43" fmla="*/ 552 h 556"/>
                    <a:gd name="T44" fmla="*/ 196 w 511"/>
                    <a:gd name="T45" fmla="*/ 556 h 556"/>
                    <a:gd name="T46" fmla="*/ 322 w 511"/>
                    <a:gd name="T47" fmla="*/ 555 h 556"/>
                    <a:gd name="T48" fmla="*/ 330 w 511"/>
                    <a:gd name="T49" fmla="*/ 547 h 556"/>
                    <a:gd name="T50" fmla="*/ 331 w 511"/>
                    <a:gd name="T51" fmla="*/ 500 h 556"/>
                    <a:gd name="T52" fmla="*/ 369 w 511"/>
                    <a:gd name="T53" fmla="*/ 484 h 556"/>
                    <a:gd name="T54" fmla="*/ 405 w 511"/>
                    <a:gd name="T55" fmla="*/ 464 h 556"/>
                    <a:gd name="T56" fmla="*/ 435 w 511"/>
                    <a:gd name="T57" fmla="*/ 438 h 556"/>
                    <a:gd name="T58" fmla="*/ 461 w 511"/>
                    <a:gd name="T59" fmla="*/ 407 h 556"/>
                    <a:gd name="T60" fmla="*/ 483 w 511"/>
                    <a:gd name="T61" fmla="*/ 373 h 556"/>
                    <a:gd name="T62" fmla="*/ 499 w 511"/>
                    <a:gd name="T63" fmla="*/ 337 h 556"/>
                    <a:gd name="T64" fmla="*/ 508 w 511"/>
                    <a:gd name="T65" fmla="*/ 298 h 556"/>
                    <a:gd name="T66" fmla="*/ 511 w 511"/>
                    <a:gd name="T67" fmla="*/ 256 h 556"/>
                    <a:gd name="T68" fmla="*/ 510 w 511"/>
                    <a:gd name="T69" fmla="*/ 229 h 556"/>
                    <a:gd name="T70" fmla="*/ 506 w 511"/>
                    <a:gd name="T71" fmla="*/ 205 h 556"/>
                    <a:gd name="T72" fmla="*/ 500 w 511"/>
                    <a:gd name="T73" fmla="*/ 179 h 556"/>
                    <a:gd name="T74" fmla="*/ 491 w 511"/>
                    <a:gd name="T75" fmla="*/ 156 h 556"/>
                    <a:gd name="T76" fmla="*/ 468 w 511"/>
                    <a:gd name="T77" fmla="*/ 113 h 556"/>
                    <a:gd name="T78" fmla="*/ 436 w 511"/>
                    <a:gd name="T79" fmla="*/ 75 h 556"/>
                    <a:gd name="T80" fmla="*/ 399 w 511"/>
                    <a:gd name="T81" fmla="*/ 44 h 556"/>
                    <a:gd name="T82" fmla="*/ 355 w 511"/>
                    <a:gd name="T83" fmla="*/ 20 h 556"/>
                    <a:gd name="T84" fmla="*/ 331 w 511"/>
                    <a:gd name="T85" fmla="*/ 12 h 556"/>
                    <a:gd name="T86" fmla="*/ 307 w 511"/>
                    <a:gd name="T87" fmla="*/ 6 h 556"/>
                    <a:gd name="T88" fmla="*/ 281 w 511"/>
                    <a:gd name="T89" fmla="*/ 1 h 556"/>
                    <a:gd name="T90" fmla="*/ 256 w 511"/>
                    <a:gd name="T91" fmla="*/ 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1" h="556">
                      <a:moveTo>
                        <a:pt x="256" y="0"/>
                      </a:moveTo>
                      <a:lnTo>
                        <a:pt x="242" y="1"/>
                      </a:lnTo>
                      <a:lnTo>
                        <a:pt x="230" y="1"/>
                      </a:lnTo>
                      <a:lnTo>
                        <a:pt x="217" y="3"/>
                      </a:lnTo>
                      <a:lnTo>
                        <a:pt x="204" y="6"/>
                      </a:lnTo>
                      <a:lnTo>
                        <a:pt x="192" y="8"/>
                      </a:lnTo>
                      <a:lnTo>
                        <a:pt x="180" y="12"/>
                      </a:lnTo>
                      <a:lnTo>
                        <a:pt x="168" y="15"/>
                      </a:lnTo>
                      <a:lnTo>
                        <a:pt x="157" y="20"/>
                      </a:lnTo>
                      <a:lnTo>
                        <a:pt x="134" y="31"/>
                      </a:lnTo>
                      <a:lnTo>
                        <a:pt x="113" y="44"/>
                      </a:lnTo>
                      <a:lnTo>
                        <a:pt x="93" y="58"/>
                      </a:lnTo>
                      <a:lnTo>
                        <a:pt x="75" y="75"/>
                      </a:lnTo>
                      <a:lnTo>
                        <a:pt x="59" y="94"/>
                      </a:lnTo>
                      <a:lnTo>
                        <a:pt x="43" y="113"/>
                      </a:lnTo>
                      <a:lnTo>
                        <a:pt x="31" y="134"/>
                      </a:lnTo>
                      <a:lnTo>
                        <a:pt x="20" y="156"/>
                      </a:lnTo>
                      <a:lnTo>
                        <a:pt x="15" y="168"/>
                      </a:lnTo>
                      <a:lnTo>
                        <a:pt x="11" y="179"/>
                      </a:lnTo>
                      <a:lnTo>
                        <a:pt x="8" y="191"/>
                      </a:lnTo>
                      <a:lnTo>
                        <a:pt x="5" y="205"/>
                      </a:lnTo>
                      <a:lnTo>
                        <a:pt x="3" y="217"/>
                      </a:lnTo>
                      <a:lnTo>
                        <a:pt x="2" y="229"/>
                      </a:lnTo>
                      <a:lnTo>
                        <a:pt x="0" y="243"/>
                      </a:lnTo>
                      <a:lnTo>
                        <a:pt x="0" y="256"/>
                      </a:lnTo>
                      <a:lnTo>
                        <a:pt x="0" y="277"/>
                      </a:lnTo>
                      <a:lnTo>
                        <a:pt x="3" y="298"/>
                      </a:lnTo>
                      <a:lnTo>
                        <a:pt x="8" y="317"/>
                      </a:lnTo>
                      <a:lnTo>
                        <a:pt x="13" y="337"/>
                      </a:lnTo>
                      <a:lnTo>
                        <a:pt x="20" y="355"/>
                      </a:lnTo>
                      <a:lnTo>
                        <a:pt x="28" y="373"/>
                      </a:lnTo>
                      <a:lnTo>
                        <a:pt x="39" y="392"/>
                      </a:lnTo>
                      <a:lnTo>
                        <a:pt x="50" y="407"/>
                      </a:lnTo>
                      <a:lnTo>
                        <a:pt x="63" y="423"/>
                      </a:lnTo>
                      <a:lnTo>
                        <a:pt x="76" y="438"/>
                      </a:lnTo>
                      <a:lnTo>
                        <a:pt x="91" y="451"/>
                      </a:lnTo>
                      <a:lnTo>
                        <a:pt x="107" y="464"/>
                      </a:lnTo>
                      <a:lnTo>
                        <a:pt x="124" y="475"/>
                      </a:lnTo>
                      <a:lnTo>
                        <a:pt x="142" y="484"/>
                      </a:lnTo>
                      <a:lnTo>
                        <a:pt x="160" y="493"/>
                      </a:lnTo>
                      <a:lnTo>
                        <a:pt x="180" y="500"/>
                      </a:lnTo>
                      <a:lnTo>
                        <a:pt x="180" y="542"/>
                      </a:lnTo>
                      <a:lnTo>
                        <a:pt x="181" y="547"/>
                      </a:lnTo>
                      <a:lnTo>
                        <a:pt x="185" y="552"/>
                      </a:lnTo>
                      <a:lnTo>
                        <a:pt x="190" y="555"/>
                      </a:lnTo>
                      <a:lnTo>
                        <a:pt x="196" y="556"/>
                      </a:lnTo>
                      <a:lnTo>
                        <a:pt x="316" y="556"/>
                      </a:lnTo>
                      <a:lnTo>
                        <a:pt x="322" y="555"/>
                      </a:lnTo>
                      <a:lnTo>
                        <a:pt x="327" y="552"/>
                      </a:lnTo>
                      <a:lnTo>
                        <a:pt x="330" y="547"/>
                      </a:lnTo>
                      <a:lnTo>
                        <a:pt x="331" y="542"/>
                      </a:lnTo>
                      <a:lnTo>
                        <a:pt x="331" y="500"/>
                      </a:lnTo>
                      <a:lnTo>
                        <a:pt x="351" y="493"/>
                      </a:lnTo>
                      <a:lnTo>
                        <a:pt x="369" y="484"/>
                      </a:lnTo>
                      <a:lnTo>
                        <a:pt x="388" y="475"/>
                      </a:lnTo>
                      <a:lnTo>
                        <a:pt x="405" y="464"/>
                      </a:lnTo>
                      <a:lnTo>
                        <a:pt x="421" y="451"/>
                      </a:lnTo>
                      <a:lnTo>
                        <a:pt x="435" y="438"/>
                      </a:lnTo>
                      <a:lnTo>
                        <a:pt x="449" y="423"/>
                      </a:lnTo>
                      <a:lnTo>
                        <a:pt x="461" y="407"/>
                      </a:lnTo>
                      <a:lnTo>
                        <a:pt x="473" y="392"/>
                      </a:lnTo>
                      <a:lnTo>
                        <a:pt x="483" y="373"/>
                      </a:lnTo>
                      <a:lnTo>
                        <a:pt x="491" y="355"/>
                      </a:lnTo>
                      <a:lnTo>
                        <a:pt x="499" y="337"/>
                      </a:lnTo>
                      <a:lnTo>
                        <a:pt x="504" y="317"/>
                      </a:lnTo>
                      <a:lnTo>
                        <a:pt x="508" y="298"/>
                      </a:lnTo>
                      <a:lnTo>
                        <a:pt x="511" y="277"/>
                      </a:lnTo>
                      <a:lnTo>
                        <a:pt x="511" y="256"/>
                      </a:lnTo>
                      <a:lnTo>
                        <a:pt x="511" y="243"/>
                      </a:lnTo>
                      <a:lnTo>
                        <a:pt x="510" y="229"/>
                      </a:lnTo>
                      <a:lnTo>
                        <a:pt x="508" y="217"/>
                      </a:lnTo>
                      <a:lnTo>
                        <a:pt x="506" y="205"/>
                      </a:lnTo>
                      <a:lnTo>
                        <a:pt x="504" y="191"/>
                      </a:lnTo>
                      <a:lnTo>
                        <a:pt x="500" y="179"/>
                      </a:lnTo>
                      <a:lnTo>
                        <a:pt x="496" y="168"/>
                      </a:lnTo>
                      <a:lnTo>
                        <a:pt x="491" y="156"/>
                      </a:lnTo>
                      <a:lnTo>
                        <a:pt x="480" y="134"/>
                      </a:lnTo>
                      <a:lnTo>
                        <a:pt x="468" y="113"/>
                      </a:lnTo>
                      <a:lnTo>
                        <a:pt x="452" y="94"/>
                      </a:lnTo>
                      <a:lnTo>
                        <a:pt x="436" y="75"/>
                      </a:lnTo>
                      <a:lnTo>
                        <a:pt x="418" y="58"/>
                      </a:lnTo>
                      <a:lnTo>
                        <a:pt x="399" y="44"/>
                      </a:lnTo>
                      <a:lnTo>
                        <a:pt x="378" y="31"/>
                      </a:lnTo>
                      <a:lnTo>
                        <a:pt x="355" y="20"/>
                      </a:lnTo>
                      <a:lnTo>
                        <a:pt x="344" y="15"/>
                      </a:lnTo>
                      <a:lnTo>
                        <a:pt x="331" y="12"/>
                      </a:lnTo>
                      <a:lnTo>
                        <a:pt x="319" y="8"/>
                      </a:lnTo>
                      <a:lnTo>
                        <a:pt x="307" y="6"/>
                      </a:lnTo>
                      <a:lnTo>
                        <a:pt x="295" y="3"/>
                      </a:lnTo>
                      <a:lnTo>
                        <a:pt x="281" y="1"/>
                      </a:lnTo>
                      <a:lnTo>
                        <a:pt x="269" y="1"/>
                      </a:lnTo>
                      <a:lnTo>
                        <a:pt x="2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67">
                    <a:solidFill>
                      <a:prstClr val="white">
                        <a:lumMod val="75000"/>
                      </a:prstClr>
                    </a:solidFill>
                  </a:endParaRPr>
                </a:p>
              </p:txBody>
            </p:sp>
            <p:sp>
              <p:nvSpPr>
                <p:cNvPr id="48" name="Freeform 2134"/>
                <p:cNvSpPr>
                  <a:spLocks/>
                </p:cNvSpPr>
                <p:nvPr/>
              </p:nvSpPr>
              <p:spPr bwMode="auto">
                <a:xfrm>
                  <a:off x="1295127" y="2810415"/>
                  <a:ext cx="41837" cy="16271"/>
                </a:xfrm>
                <a:custGeom>
                  <a:avLst/>
                  <a:gdLst>
                    <a:gd name="T0" fmla="*/ 76 w 90"/>
                    <a:gd name="T1" fmla="*/ 0 h 31"/>
                    <a:gd name="T2" fmla="*/ 16 w 90"/>
                    <a:gd name="T3" fmla="*/ 0 h 31"/>
                    <a:gd name="T4" fmla="*/ 10 w 90"/>
                    <a:gd name="T5" fmla="*/ 2 h 31"/>
                    <a:gd name="T6" fmla="*/ 5 w 90"/>
                    <a:gd name="T7" fmla="*/ 5 h 31"/>
                    <a:gd name="T8" fmla="*/ 1 w 90"/>
                    <a:gd name="T9" fmla="*/ 10 h 31"/>
                    <a:gd name="T10" fmla="*/ 0 w 90"/>
                    <a:gd name="T11" fmla="*/ 15 h 31"/>
                    <a:gd name="T12" fmla="*/ 1 w 90"/>
                    <a:gd name="T13" fmla="*/ 21 h 31"/>
                    <a:gd name="T14" fmla="*/ 5 w 90"/>
                    <a:gd name="T15" fmla="*/ 26 h 31"/>
                    <a:gd name="T16" fmla="*/ 10 w 90"/>
                    <a:gd name="T17" fmla="*/ 30 h 31"/>
                    <a:gd name="T18" fmla="*/ 16 w 90"/>
                    <a:gd name="T19" fmla="*/ 31 h 31"/>
                    <a:gd name="T20" fmla="*/ 76 w 90"/>
                    <a:gd name="T21" fmla="*/ 31 h 31"/>
                    <a:gd name="T22" fmla="*/ 82 w 90"/>
                    <a:gd name="T23" fmla="*/ 30 h 31"/>
                    <a:gd name="T24" fmla="*/ 87 w 90"/>
                    <a:gd name="T25" fmla="*/ 26 h 31"/>
                    <a:gd name="T26" fmla="*/ 89 w 90"/>
                    <a:gd name="T27" fmla="*/ 21 h 31"/>
                    <a:gd name="T28" fmla="*/ 90 w 90"/>
                    <a:gd name="T29" fmla="*/ 15 h 31"/>
                    <a:gd name="T30" fmla="*/ 89 w 90"/>
                    <a:gd name="T31" fmla="*/ 10 h 31"/>
                    <a:gd name="T32" fmla="*/ 87 w 90"/>
                    <a:gd name="T33" fmla="*/ 5 h 31"/>
                    <a:gd name="T34" fmla="*/ 82 w 90"/>
                    <a:gd name="T35" fmla="*/ 2 h 31"/>
                    <a:gd name="T36" fmla="*/ 76 w 90"/>
                    <a:gd name="T3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0" h="31">
                      <a:moveTo>
                        <a:pt x="76" y="0"/>
                      </a:moveTo>
                      <a:lnTo>
                        <a:pt x="16" y="0"/>
                      </a:lnTo>
                      <a:lnTo>
                        <a:pt x="10" y="2"/>
                      </a:lnTo>
                      <a:lnTo>
                        <a:pt x="5" y="5"/>
                      </a:lnTo>
                      <a:lnTo>
                        <a:pt x="1" y="10"/>
                      </a:lnTo>
                      <a:lnTo>
                        <a:pt x="0" y="15"/>
                      </a:lnTo>
                      <a:lnTo>
                        <a:pt x="1" y="21"/>
                      </a:lnTo>
                      <a:lnTo>
                        <a:pt x="5" y="26"/>
                      </a:lnTo>
                      <a:lnTo>
                        <a:pt x="10" y="30"/>
                      </a:lnTo>
                      <a:lnTo>
                        <a:pt x="16" y="31"/>
                      </a:lnTo>
                      <a:lnTo>
                        <a:pt x="76" y="31"/>
                      </a:lnTo>
                      <a:lnTo>
                        <a:pt x="82" y="30"/>
                      </a:lnTo>
                      <a:lnTo>
                        <a:pt x="87" y="26"/>
                      </a:lnTo>
                      <a:lnTo>
                        <a:pt x="89" y="21"/>
                      </a:lnTo>
                      <a:lnTo>
                        <a:pt x="90" y="15"/>
                      </a:lnTo>
                      <a:lnTo>
                        <a:pt x="89" y="10"/>
                      </a:lnTo>
                      <a:lnTo>
                        <a:pt x="87" y="5"/>
                      </a:lnTo>
                      <a:lnTo>
                        <a:pt x="82" y="2"/>
                      </a:lnTo>
                      <a:lnTo>
                        <a:pt x="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67">
                    <a:solidFill>
                      <a:prstClr val="white">
                        <a:lumMod val="75000"/>
                      </a:prstClr>
                    </a:solidFill>
                  </a:endParaRPr>
                </a:p>
              </p:txBody>
            </p:sp>
            <p:sp>
              <p:nvSpPr>
                <p:cNvPr id="49" name="Freeform 2135"/>
                <p:cNvSpPr>
                  <a:spLocks/>
                </p:cNvSpPr>
                <p:nvPr/>
              </p:nvSpPr>
              <p:spPr bwMode="auto">
                <a:xfrm>
                  <a:off x="1336977" y="2684907"/>
                  <a:ext cx="51134" cy="51134"/>
                </a:xfrm>
                <a:custGeom>
                  <a:avLst/>
                  <a:gdLst>
                    <a:gd name="T0" fmla="*/ 91 w 107"/>
                    <a:gd name="T1" fmla="*/ 107 h 107"/>
                    <a:gd name="T2" fmla="*/ 97 w 107"/>
                    <a:gd name="T3" fmla="*/ 105 h 107"/>
                    <a:gd name="T4" fmla="*/ 102 w 107"/>
                    <a:gd name="T5" fmla="*/ 102 h 107"/>
                    <a:gd name="T6" fmla="*/ 105 w 107"/>
                    <a:gd name="T7" fmla="*/ 97 h 107"/>
                    <a:gd name="T8" fmla="*/ 107 w 107"/>
                    <a:gd name="T9" fmla="*/ 91 h 107"/>
                    <a:gd name="T10" fmla="*/ 105 w 107"/>
                    <a:gd name="T11" fmla="*/ 86 h 107"/>
                    <a:gd name="T12" fmla="*/ 102 w 107"/>
                    <a:gd name="T13" fmla="*/ 81 h 107"/>
                    <a:gd name="T14" fmla="*/ 26 w 107"/>
                    <a:gd name="T15" fmla="*/ 5 h 107"/>
                    <a:gd name="T16" fmla="*/ 21 w 107"/>
                    <a:gd name="T17" fmla="*/ 2 h 107"/>
                    <a:gd name="T18" fmla="*/ 16 w 107"/>
                    <a:gd name="T19" fmla="*/ 0 h 107"/>
                    <a:gd name="T20" fmla="*/ 10 w 107"/>
                    <a:gd name="T21" fmla="*/ 2 h 107"/>
                    <a:gd name="T22" fmla="*/ 5 w 107"/>
                    <a:gd name="T23" fmla="*/ 5 h 107"/>
                    <a:gd name="T24" fmla="*/ 2 w 107"/>
                    <a:gd name="T25" fmla="*/ 10 h 107"/>
                    <a:gd name="T26" fmla="*/ 0 w 107"/>
                    <a:gd name="T27" fmla="*/ 16 h 107"/>
                    <a:gd name="T28" fmla="*/ 2 w 107"/>
                    <a:gd name="T29" fmla="*/ 21 h 107"/>
                    <a:gd name="T30" fmla="*/ 5 w 107"/>
                    <a:gd name="T31" fmla="*/ 26 h 107"/>
                    <a:gd name="T32" fmla="*/ 81 w 107"/>
                    <a:gd name="T33" fmla="*/ 102 h 107"/>
                    <a:gd name="T34" fmla="*/ 86 w 107"/>
                    <a:gd name="T35" fmla="*/ 105 h 107"/>
                    <a:gd name="T36" fmla="*/ 91 w 107"/>
                    <a:gd name="T37"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 h="107">
                      <a:moveTo>
                        <a:pt x="91" y="107"/>
                      </a:moveTo>
                      <a:lnTo>
                        <a:pt x="97" y="105"/>
                      </a:lnTo>
                      <a:lnTo>
                        <a:pt x="102" y="102"/>
                      </a:lnTo>
                      <a:lnTo>
                        <a:pt x="105" y="97"/>
                      </a:lnTo>
                      <a:lnTo>
                        <a:pt x="107" y="91"/>
                      </a:lnTo>
                      <a:lnTo>
                        <a:pt x="105" y="86"/>
                      </a:lnTo>
                      <a:lnTo>
                        <a:pt x="102" y="81"/>
                      </a:lnTo>
                      <a:lnTo>
                        <a:pt x="26" y="5"/>
                      </a:lnTo>
                      <a:lnTo>
                        <a:pt x="21" y="2"/>
                      </a:lnTo>
                      <a:lnTo>
                        <a:pt x="16" y="0"/>
                      </a:lnTo>
                      <a:lnTo>
                        <a:pt x="10" y="2"/>
                      </a:lnTo>
                      <a:lnTo>
                        <a:pt x="5" y="5"/>
                      </a:lnTo>
                      <a:lnTo>
                        <a:pt x="2" y="10"/>
                      </a:lnTo>
                      <a:lnTo>
                        <a:pt x="0" y="16"/>
                      </a:lnTo>
                      <a:lnTo>
                        <a:pt x="2" y="21"/>
                      </a:lnTo>
                      <a:lnTo>
                        <a:pt x="5" y="26"/>
                      </a:lnTo>
                      <a:lnTo>
                        <a:pt x="81" y="102"/>
                      </a:lnTo>
                      <a:lnTo>
                        <a:pt x="86" y="105"/>
                      </a:lnTo>
                      <a:lnTo>
                        <a:pt x="91" y="1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67">
                    <a:solidFill>
                      <a:prstClr val="white">
                        <a:lumMod val="75000"/>
                      </a:prstClr>
                    </a:solidFill>
                  </a:endParaRPr>
                </a:p>
              </p:txBody>
            </p:sp>
            <p:sp>
              <p:nvSpPr>
                <p:cNvPr id="50" name="Freeform 2136"/>
                <p:cNvSpPr>
                  <a:spLocks/>
                </p:cNvSpPr>
                <p:nvPr/>
              </p:nvSpPr>
              <p:spPr bwMode="auto">
                <a:xfrm>
                  <a:off x="1478746" y="2643071"/>
                  <a:ext cx="13946" cy="41836"/>
                </a:xfrm>
                <a:custGeom>
                  <a:avLst/>
                  <a:gdLst>
                    <a:gd name="T0" fmla="*/ 15 w 29"/>
                    <a:gd name="T1" fmla="*/ 90 h 90"/>
                    <a:gd name="T2" fmla="*/ 21 w 29"/>
                    <a:gd name="T3" fmla="*/ 89 h 90"/>
                    <a:gd name="T4" fmla="*/ 26 w 29"/>
                    <a:gd name="T5" fmla="*/ 87 h 90"/>
                    <a:gd name="T6" fmla="*/ 28 w 29"/>
                    <a:gd name="T7" fmla="*/ 82 h 90"/>
                    <a:gd name="T8" fmla="*/ 29 w 29"/>
                    <a:gd name="T9" fmla="*/ 76 h 90"/>
                    <a:gd name="T10" fmla="*/ 29 w 29"/>
                    <a:gd name="T11" fmla="*/ 16 h 90"/>
                    <a:gd name="T12" fmla="*/ 28 w 29"/>
                    <a:gd name="T13" fmla="*/ 10 h 90"/>
                    <a:gd name="T14" fmla="*/ 26 w 29"/>
                    <a:gd name="T15" fmla="*/ 5 h 90"/>
                    <a:gd name="T16" fmla="*/ 21 w 29"/>
                    <a:gd name="T17" fmla="*/ 1 h 90"/>
                    <a:gd name="T18" fmla="*/ 15 w 29"/>
                    <a:gd name="T19" fmla="*/ 0 h 90"/>
                    <a:gd name="T20" fmla="*/ 9 w 29"/>
                    <a:gd name="T21" fmla="*/ 1 h 90"/>
                    <a:gd name="T22" fmla="*/ 4 w 29"/>
                    <a:gd name="T23" fmla="*/ 5 h 90"/>
                    <a:gd name="T24" fmla="*/ 1 w 29"/>
                    <a:gd name="T25" fmla="*/ 10 h 90"/>
                    <a:gd name="T26" fmla="*/ 0 w 29"/>
                    <a:gd name="T27" fmla="*/ 16 h 90"/>
                    <a:gd name="T28" fmla="*/ 0 w 29"/>
                    <a:gd name="T29" fmla="*/ 76 h 90"/>
                    <a:gd name="T30" fmla="*/ 1 w 29"/>
                    <a:gd name="T31" fmla="*/ 82 h 90"/>
                    <a:gd name="T32" fmla="*/ 4 w 29"/>
                    <a:gd name="T33" fmla="*/ 87 h 90"/>
                    <a:gd name="T34" fmla="*/ 9 w 29"/>
                    <a:gd name="T35" fmla="*/ 89 h 90"/>
                    <a:gd name="T36" fmla="*/ 15 w 29"/>
                    <a:gd name="T3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90">
                      <a:moveTo>
                        <a:pt x="15" y="90"/>
                      </a:moveTo>
                      <a:lnTo>
                        <a:pt x="21" y="89"/>
                      </a:lnTo>
                      <a:lnTo>
                        <a:pt x="26" y="87"/>
                      </a:lnTo>
                      <a:lnTo>
                        <a:pt x="28" y="82"/>
                      </a:lnTo>
                      <a:lnTo>
                        <a:pt x="29" y="76"/>
                      </a:lnTo>
                      <a:lnTo>
                        <a:pt x="29" y="16"/>
                      </a:lnTo>
                      <a:lnTo>
                        <a:pt x="28" y="10"/>
                      </a:lnTo>
                      <a:lnTo>
                        <a:pt x="26" y="5"/>
                      </a:lnTo>
                      <a:lnTo>
                        <a:pt x="21" y="1"/>
                      </a:lnTo>
                      <a:lnTo>
                        <a:pt x="15" y="0"/>
                      </a:lnTo>
                      <a:lnTo>
                        <a:pt x="9" y="1"/>
                      </a:lnTo>
                      <a:lnTo>
                        <a:pt x="4" y="5"/>
                      </a:lnTo>
                      <a:lnTo>
                        <a:pt x="1" y="10"/>
                      </a:lnTo>
                      <a:lnTo>
                        <a:pt x="0" y="16"/>
                      </a:lnTo>
                      <a:lnTo>
                        <a:pt x="0" y="76"/>
                      </a:lnTo>
                      <a:lnTo>
                        <a:pt x="1" y="82"/>
                      </a:lnTo>
                      <a:lnTo>
                        <a:pt x="4" y="87"/>
                      </a:lnTo>
                      <a:lnTo>
                        <a:pt x="9" y="89"/>
                      </a:lnTo>
                      <a:lnTo>
                        <a:pt x="15"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67">
                    <a:solidFill>
                      <a:prstClr val="white">
                        <a:lumMod val="75000"/>
                      </a:prstClr>
                    </a:solidFill>
                  </a:endParaRPr>
                </a:p>
              </p:txBody>
            </p:sp>
            <p:sp>
              <p:nvSpPr>
                <p:cNvPr id="51" name="Freeform 2137"/>
                <p:cNvSpPr>
                  <a:spLocks/>
                </p:cNvSpPr>
                <p:nvPr/>
              </p:nvSpPr>
              <p:spPr bwMode="auto">
                <a:xfrm>
                  <a:off x="1583373" y="2684912"/>
                  <a:ext cx="48811" cy="51134"/>
                </a:xfrm>
                <a:custGeom>
                  <a:avLst/>
                  <a:gdLst>
                    <a:gd name="T0" fmla="*/ 101 w 106"/>
                    <a:gd name="T1" fmla="*/ 5 h 107"/>
                    <a:gd name="T2" fmla="*/ 96 w 106"/>
                    <a:gd name="T3" fmla="*/ 2 h 107"/>
                    <a:gd name="T4" fmla="*/ 90 w 106"/>
                    <a:gd name="T5" fmla="*/ 0 h 107"/>
                    <a:gd name="T6" fmla="*/ 85 w 106"/>
                    <a:gd name="T7" fmla="*/ 2 h 107"/>
                    <a:gd name="T8" fmla="*/ 80 w 106"/>
                    <a:gd name="T9" fmla="*/ 5 h 107"/>
                    <a:gd name="T10" fmla="*/ 5 w 106"/>
                    <a:gd name="T11" fmla="*/ 80 h 107"/>
                    <a:gd name="T12" fmla="*/ 1 w 106"/>
                    <a:gd name="T13" fmla="*/ 86 h 107"/>
                    <a:gd name="T14" fmla="*/ 0 w 106"/>
                    <a:gd name="T15" fmla="*/ 91 h 107"/>
                    <a:gd name="T16" fmla="*/ 1 w 106"/>
                    <a:gd name="T17" fmla="*/ 97 h 107"/>
                    <a:gd name="T18" fmla="*/ 5 w 106"/>
                    <a:gd name="T19" fmla="*/ 102 h 107"/>
                    <a:gd name="T20" fmla="*/ 10 w 106"/>
                    <a:gd name="T21" fmla="*/ 105 h 107"/>
                    <a:gd name="T22" fmla="*/ 16 w 106"/>
                    <a:gd name="T23" fmla="*/ 107 h 107"/>
                    <a:gd name="T24" fmla="*/ 21 w 106"/>
                    <a:gd name="T25" fmla="*/ 105 h 107"/>
                    <a:gd name="T26" fmla="*/ 25 w 106"/>
                    <a:gd name="T27" fmla="*/ 102 h 107"/>
                    <a:gd name="T28" fmla="*/ 101 w 106"/>
                    <a:gd name="T29" fmla="*/ 26 h 107"/>
                    <a:gd name="T30" fmla="*/ 105 w 106"/>
                    <a:gd name="T31" fmla="*/ 21 h 107"/>
                    <a:gd name="T32" fmla="*/ 106 w 106"/>
                    <a:gd name="T33" fmla="*/ 16 h 107"/>
                    <a:gd name="T34" fmla="*/ 105 w 106"/>
                    <a:gd name="T35" fmla="*/ 10 h 107"/>
                    <a:gd name="T36" fmla="*/ 101 w 106"/>
                    <a:gd name="T37" fmla="*/ 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6" h="107">
                      <a:moveTo>
                        <a:pt x="101" y="5"/>
                      </a:moveTo>
                      <a:lnTo>
                        <a:pt x="96" y="2"/>
                      </a:lnTo>
                      <a:lnTo>
                        <a:pt x="90" y="0"/>
                      </a:lnTo>
                      <a:lnTo>
                        <a:pt x="85" y="2"/>
                      </a:lnTo>
                      <a:lnTo>
                        <a:pt x="80" y="5"/>
                      </a:lnTo>
                      <a:lnTo>
                        <a:pt x="5" y="80"/>
                      </a:lnTo>
                      <a:lnTo>
                        <a:pt x="1" y="86"/>
                      </a:lnTo>
                      <a:lnTo>
                        <a:pt x="0" y="91"/>
                      </a:lnTo>
                      <a:lnTo>
                        <a:pt x="1" y="97"/>
                      </a:lnTo>
                      <a:lnTo>
                        <a:pt x="5" y="102"/>
                      </a:lnTo>
                      <a:lnTo>
                        <a:pt x="10" y="105"/>
                      </a:lnTo>
                      <a:lnTo>
                        <a:pt x="16" y="107"/>
                      </a:lnTo>
                      <a:lnTo>
                        <a:pt x="21" y="105"/>
                      </a:lnTo>
                      <a:lnTo>
                        <a:pt x="25" y="102"/>
                      </a:lnTo>
                      <a:lnTo>
                        <a:pt x="101" y="26"/>
                      </a:lnTo>
                      <a:lnTo>
                        <a:pt x="105" y="21"/>
                      </a:lnTo>
                      <a:lnTo>
                        <a:pt x="106" y="16"/>
                      </a:lnTo>
                      <a:lnTo>
                        <a:pt x="105" y="10"/>
                      </a:lnTo>
                      <a:lnTo>
                        <a:pt x="101"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67">
                    <a:solidFill>
                      <a:prstClr val="white">
                        <a:lumMod val="75000"/>
                      </a:prstClr>
                    </a:solidFill>
                  </a:endParaRPr>
                </a:p>
              </p:txBody>
            </p:sp>
            <p:sp>
              <p:nvSpPr>
                <p:cNvPr id="52" name="Freeform 2138"/>
                <p:cNvSpPr>
                  <a:spLocks/>
                </p:cNvSpPr>
                <p:nvPr/>
              </p:nvSpPr>
              <p:spPr bwMode="auto">
                <a:xfrm>
                  <a:off x="1632358" y="2810464"/>
                  <a:ext cx="41837" cy="16271"/>
                </a:xfrm>
                <a:custGeom>
                  <a:avLst/>
                  <a:gdLst>
                    <a:gd name="T0" fmla="*/ 75 w 90"/>
                    <a:gd name="T1" fmla="*/ 0 h 31"/>
                    <a:gd name="T2" fmla="*/ 15 w 90"/>
                    <a:gd name="T3" fmla="*/ 0 h 31"/>
                    <a:gd name="T4" fmla="*/ 9 w 90"/>
                    <a:gd name="T5" fmla="*/ 2 h 31"/>
                    <a:gd name="T6" fmla="*/ 4 w 90"/>
                    <a:gd name="T7" fmla="*/ 5 h 31"/>
                    <a:gd name="T8" fmla="*/ 1 w 90"/>
                    <a:gd name="T9" fmla="*/ 10 h 31"/>
                    <a:gd name="T10" fmla="*/ 0 w 90"/>
                    <a:gd name="T11" fmla="*/ 15 h 31"/>
                    <a:gd name="T12" fmla="*/ 1 w 90"/>
                    <a:gd name="T13" fmla="*/ 21 h 31"/>
                    <a:gd name="T14" fmla="*/ 4 w 90"/>
                    <a:gd name="T15" fmla="*/ 26 h 31"/>
                    <a:gd name="T16" fmla="*/ 9 w 90"/>
                    <a:gd name="T17" fmla="*/ 30 h 31"/>
                    <a:gd name="T18" fmla="*/ 15 w 90"/>
                    <a:gd name="T19" fmla="*/ 31 h 31"/>
                    <a:gd name="T20" fmla="*/ 75 w 90"/>
                    <a:gd name="T21" fmla="*/ 31 h 31"/>
                    <a:gd name="T22" fmla="*/ 81 w 90"/>
                    <a:gd name="T23" fmla="*/ 30 h 31"/>
                    <a:gd name="T24" fmla="*/ 86 w 90"/>
                    <a:gd name="T25" fmla="*/ 26 h 31"/>
                    <a:gd name="T26" fmla="*/ 89 w 90"/>
                    <a:gd name="T27" fmla="*/ 21 h 31"/>
                    <a:gd name="T28" fmla="*/ 90 w 90"/>
                    <a:gd name="T29" fmla="*/ 15 h 31"/>
                    <a:gd name="T30" fmla="*/ 89 w 90"/>
                    <a:gd name="T31" fmla="*/ 10 h 31"/>
                    <a:gd name="T32" fmla="*/ 86 w 90"/>
                    <a:gd name="T33" fmla="*/ 5 h 31"/>
                    <a:gd name="T34" fmla="*/ 81 w 90"/>
                    <a:gd name="T35" fmla="*/ 2 h 31"/>
                    <a:gd name="T36" fmla="*/ 75 w 90"/>
                    <a:gd name="T3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0" h="31">
                      <a:moveTo>
                        <a:pt x="75" y="0"/>
                      </a:moveTo>
                      <a:lnTo>
                        <a:pt x="15" y="0"/>
                      </a:lnTo>
                      <a:lnTo>
                        <a:pt x="9" y="2"/>
                      </a:lnTo>
                      <a:lnTo>
                        <a:pt x="4" y="5"/>
                      </a:lnTo>
                      <a:lnTo>
                        <a:pt x="1" y="10"/>
                      </a:lnTo>
                      <a:lnTo>
                        <a:pt x="0" y="15"/>
                      </a:lnTo>
                      <a:lnTo>
                        <a:pt x="1" y="21"/>
                      </a:lnTo>
                      <a:lnTo>
                        <a:pt x="4" y="26"/>
                      </a:lnTo>
                      <a:lnTo>
                        <a:pt x="9" y="30"/>
                      </a:lnTo>
                      <a:lnTo>
                        <a:pt x="15" y="31"/>
                      </a:lnTo>
                      <a:lnTo>
                        <a:pt x="75" y="31"/>
                      </a:lnTo>
                      <a:lnTo>
                        <a:pt x="81" y="30"/>
                      </a:lnTo>
                      <a:lnTo>
                        <a:pt x="86" y="26"/>
                      </a:lnTo>
                      <a:lnTo>
                        <a:pt x="89" y="21"/>
                      </a:lnTo>
                      <a:lnTo>
                        <a:pt x="90" y="15"/>
                      </a:lnTo>
                      <a:lnTo>
                        <a:pt x="89" y="10"/>
                      </a:lnTo>
                      <a:lnTo>
                        <a:pt x="86" y="5"/>
                      </a:lnTo>
                      <a:lnTo>
                        <a:pt x="81" y="2"/>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67">
                    <a:solidFill>
                      <a:prstClr val="white">
                        <a:lumMod val="75000"/>
                      </a:prstClr>
                    </a:solidFill>
                  </a:endParaRPr>
                </a:p>
              </p:txBody>
            </p:sp>
          </p:grpSp>
          <p:grpSp>
            <p:nvGrpSpPr>
              <p:cNvPr id="53" name="Group 52"/>
              <p:cNvGrpSpPr/>
              <p:nvPr/>
            </p:nvGrpSpPr>
            <p:grpSpPr>
              <a:xfrm>
                <a:off x="2348809" y="1895092"/>
                <a:ext cx="215504" cy="186929"/>
                <a:chOff x="5465763" y="1385888"/>
                <a:chExt cx="287338" cy="249238"/>
              </a:xfrm>
              <a:solidFill>
                <a:schemeClr val="bg1"/>
              </a:solidFill>
              <a:effectLst>
                <a:outerShdw blurRad="38100" dist="25400" dir="5400000" algn="ctr" rotWithShape="0">
                  <a:srgbClr val="000000">
                    <a:alpha val="20000"/>
                  </a:srgbClr>
                </a:outerShdw>
              </a:effectLst>
            </p:grpSpPr>
            <p:sp>
              <p:nvSpPr>
                <p:cNvPr id="54" name="Freeform 683"/>
                <p:cNvSpPr>
                  <a:spLocks/>
                </p:cNvSpPr>
                <p:nvPr/>
              </p:nvSpPr>
              <p:spPr bwMode="auto">
                <a:xfrm>
                  <a:off x="5494338" y="1414463"/>
                  <a:ext cx="134938" cy="9525"/>
                </a:xfrm>
                <a:custGeom>
                  <a:avLst/>
                  <a:gdLst>
                    <a:gd name="T0" fmla="*/ 15 w 422"/>
                    <a:gd name="T1" fmla="*/ 0 h 30"/>
                    <a:gd name="T2" fmla="*/ 12 w 422"/>
                    <a:gd name="T3" fmla="*/ 0 h 30"/>
                    <a:gd name="T4" fmla="*/ 10 w 422"/>
                    <a:gd name="T5" fmla="*/ 2 h 30"/>
                    <a:gd name="T6" fmla="*/ 6 w 422"/>
                    <a:gd name="T7" fmla="*/ 3 h 30"/>
                    <a:gd name="T8" fmla="*/ 4 w 422"/>
                    <a:gd name="T9" fmla="*/ 5 h 30"/>
                    <a:gd name="T10" fmla="*/ 3 w 422"/>
                    <a:gd name="T11" fmla="*/ 7 h 30"/>
                    <a:gd name="T12" fmla="*/ 1 w 422"/>
                    <a:gd name="T13" fmla="*/ 10 h 30"/>
                    <a:gd name="T14" fmla="*/ 0 w 422"/>
                    <a:gd name="T15" fmla="*/ 12 h 30"/>
                    <a:gd name="T16" fmla="*/ 0 w 422"/>
                    <a:gd name="T17" fmla="*/ 15 h 30"/>
                    <a:gd name="T18" fmla="*/ 0 w 422"/>
                    <a:gd name="T19" fmla="*/ 19 h 30"/>
                    <a:gd name="T20" fmla="*/ 1 w 422"/>
                    <a:gd name="T21" fmla="*/ 22 h 30"/>
                    <a:gd name="T22" fmla="*/ 3 w 422"/>
                    <a:gd name="T23" fmla="*/ 24 h 30"/>
                    <a:gd name="T24" fmla="*/ 4 w 422"/>
                    <a:gd name="T25" fmla="*/ 26 h 30"/>
                    <a:gd name="T26" fmla="*/ 6 w 422"/>
                    <a:gd name="T27" fmla="*/ 28 h 30"/>
                    <a:gd name="T28" fmla="*/ 10 w 422"/>
                    <a:gd name="T29" fmla="*/ 29 h 30"/>
                    <a:gd name="T30" fmla="*/ 12 w 422"/>
                    <a:gd name="T31" fmla="*/ 30 h 30"/>
                    <a:gd name="T32" fmla="*/ 15 w 422"/>
                    <a:gd name="T33" fmla="*/ 30 h 30"/>
                    <a:gd name="T34" fmla="*/ 407 w 422"/>
                    <a:gd name="T35" fmla="*/ 30 h 30"/>
                    <a:gd name="T36" fmla="*/ 410 w 422"/>
                    <a:gd name="T37" fmla="*/ 30 h 30"/>
                    <a:gd name="T38" fmla="*/ 413 w 422"/>
                    <a:gd name="T39" fmla="*/ 29 h 30"/>
                    <a:gd name="T40" fmla="*/ 415 w 422"/>
                    <a:gd name="T41" fmla="*/ 28 h 30"/>
                    <a:gd name="T42" fmla="*/ 417 w 422"/>
                    <a:gd name="T43" fmla="*/ 26 h 30"/>
                    <a:gd name="T44" fmla="*/ 419 w 422"/>
                    <a:gd name="T45" fmla="*/ 24 h 30"/>
                    <a:gd name="T46" fmla="*/ 420 w 422"/>
                    <a:gd name="T47" fmla="*/ 22 h 30"/>
                    <a:gd name="T48" fmla="*/ 422 w 422"/>
                    <a:gd name="T49" fmla="*/ 19 h 30"/>
                    <a:gd name="T50" fmla="*/ 422 w 422"/>
                    <a:gd name="T51" fmla="*/ 15 h 30"/>
                    <a:gd name="T52" fmla="*/ 422 w 422"/>
                    <a:gd name="T53" fmla="*/ 12 h 30"/>
                    <a:gd name="T54" fmla="*/ 420 w 422"/>
                    <a:gd name="T55" fmla="*/ 10 h 30"/>
                    <a:gd name="T56" fmla="*/ 419 w 422"/>
                    <a:gd name="T57" fmla="*/ 7 h 30"/>
                    <a:gd name="T58" fmla="*/ 417 w 422"/>
                    <a:gd name="T59" fmla="*/ 5 h 30"/>
                    <a:gd name="T60" fmla="*/ 415 w 422"/>
                    <a:gd name="T61" fmla="*/ 3 h 30"/>
                    <a:gd name="T62" fmla="*/ 412 w 422"/>
                    <a:gd name="T63" fmla="*/ 2 h 30"/>
                    <a:gd name="T64" fmla="*/ 410 w 422"/>
                    <a:gd name="T65" fmla="*/ 0 h 30"/>
                    <a:gd name="T66" fmla="*/ 407 w 422"/>
                    <a:gd name="T67" fmla="*/ 0 h 30"/>
                    <a:gd name="T68" fmla="*/ 15 w 422"/>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22" h="30">
                      <a:moveTo>
                        <a:pt x="15" y="0"/>
                      </a:moveTo>
                      <a:lnTo>
                        <a:pt x="12" y="0"/>
                      </a:lnTo>
                      <a:lnTo>
                        <a:pt x="10" y="2"/>
                      </a:lnTo>
                      <a:lnTo>
                        <a:pt x="6" y="3"/>
                      </a:lnTo>
                      <a:lnTo>
                        <a:pt x="4" y="5"/>
                      </a:lnTo>
                      <a:lnTo>
                        <a:pt x="3" y="7"/>
                      </a:lnTo>
                      <a:lnTo>
                        <a:pt x="1" y="10"/>
                      </a:lnTo>
                      <a:lnTo>
                        <a:pt x="0" y="12"/>
                      </a:lnTo>
                      <a:lnTo>
                        <a:pt x="0" y="15"/>
                      </a:lnTo>
                      <a:lnTo>
                        <a:pt x="0" y="19"/>
                      </a:lnTo>
                      <a:lnTo>
                        <a:pt x="1" y="22"/>
                      </a:lnTo>
                      <a:lnTo>
                        <a:pt x="3" y="24"/>
                      </a:lnTo>
                      <a:lnTo>
                        <a:pt x="4" y="26"/>
                      </a:lnTo>
                      <a:lnTo>
                        <a:pt x="6" y="28"/>
                      </a:lnTo>
                      <a:lnTo>
                        <a:pt x="10" y="29"/>
                      </a:lnTo>
                      <a:lnTo>
                        <a:pt x="12" y="30"/>
                      </a:lnTo>
                      <a:lnTo>
                        <a:pt x="15" y="30"/>
                      </a:lnTo>
                      <a:lnTo>
                        <a:pt x="407" y="30"/>
                      </a:lnTo>
                      <a:lnTo>
                        <a:pt x="410" y="30"/>
                      </a:lnTo>
                      <a:lnTo>
                        <a:pt x="413" y="29"/>
                      </a:lnTo>
                      <a:lnTo>
                        <a:pt x="415" y="28"/>
                      </a:lnTo>
                      <a:lnTo>
                        <a:pt x="417" y="26"/>
                      </a:lnTo>
                      <a:lnTo>
                        <a:pt x="419" y="24"/>
                      </a:lnTo>
                      <a:lnTo>
                        <a:pt x="420" y="22"/>
                      </a:lnTo>
                      <a:lnTo>
                        <a:pt x="422" y="19"/>
                      </a:lnTo>
                      <a:lnTo>
                        <a:pt x="422" y="15"/>
                      </a:lnTo>
                      <a:lnTo>
                        <a:pt x="422" y="12"/>
                      </a:lnTo>
                      <a:lnTo>
                        <a:pt x="420" y="10"/>
                      </a:lnTo>
                      <a:lnTo>
                        <a:pt x="419" y="7"/>
                      </a:lnTo>
                      <a:lnTo>
                        <a:pt x="417" y="5"/>
                      </a:lnTo>
                      <a:lnTo>
                        <a:pt x="415" y="3"/>
                      </a:lnTo>
                      <a:lnTo>
                        <a:pt x="412" y="2"/>
                      </a:lnTo>
                      <a:lnTo>
                        <a:pt x="410" y="0"/>
                      </a:lnTo>
                      <a:lnTo>
                        <a:pt x="407"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67"/>
                </a:p>
              </p:txBody>
            </p:sp>
            <p:sp>
              <p:nvSpPr>
                <p:cNvPr id="55" name="Freeform 684"/>
                <p:cNvSpPr>
                  <a:spLocks/>
                </p:cNvSpPr>
                <p:nvPr/>
              </p:nvSpPr>
              <p:spPr bwMode="auto">
                <a:xfrm>
                  <a:off x="5691188" y="1474788"/>
                  <a:ext cx="31750" cy="120650"/>
                </a:xfrm>
                <a:custGeom>
                  <a:avLst/>
                  <a:gdLst>
                    <a:gd name="T0" fmla="*/ 23 w 103"/>
                    <a:gd name="T1" fmla="*/ 2 h 379"/>
                    <a:gd name="T2" fmla="*/ 18 w 103"/>
                    <a:gd name="T3" fmla="*/ 0 h 379"/>
                    <a:gd name="T4" fmla="*/ 11 w 103"/>
                    <a:gd name="T5" fmla="*/ 0 h 379"/>
                    <a:gd name="T6" fmla="*/ 6 w 103"/>
                    <a:gd name="T7" fmla="*/ 2 h 379"/>
                    <a:gd name="T8" fmla="*/ 2 w 103"/>
                    <a:gd name="T9" fmla="*/ 7 h 379"/>
                    <a:gd name="T10" fmla="*/ 0 w 103"/>
                    <a:gd name="T11" fmla="*/ 12 h 379"/>
                    <a:gd name="T12" fmla="*/ 0 w 103"/>
                    <a:gd name="T13" fmla="*/ 18 h 379"/>
                    <a:gd name="T14" fmla="*/ 2 w 103"/>
                    <a:gd name="T15" fmla="*/ 24 h 379"/>
                    <a:gd name="T16" fmla="*/ 13 w 103"/>
                    <a:gd name="T17" fmla="*/ 35 h 379"/>
                    <a:gd name="T18" fmla="*/ 26 w 103"/>
                    <a:gd name="T19" fmla="*/ 52 h 379"/>
                    <a:gd name="T20" fmla="*/ 39 w 103"/>
                    <a:gd name="T21" fmla="*/ 71 h 379"/>
                    <a:gd name="T22" fmla="*/ 50 w 103"/>
                    <a:gd name="T23" fmla="*/ 90 h 379"/>
                    <a:gd name="T24" fmla="*/ 59 w 103"/>
                    <a:gd name="T25" fmla="*/ 112 h 379"/>
                    <a:gd name="T26" fmla="*/ 65 w 103"/>
                    <a:gd name="T27" fmla="*/ 133 h 379"/>
                    <a:gd name="T28" fmla="*/ 69 w 103"/>
                    <a:gd name="T29" fmla="*/ 155 h 379"/>
                    <a:gd name="T30" fmla="*/ 72 w 103"/>
                    <a:gd name="T31" fmla="*/ 178 h 379"/>
                    <a:gd name="T32" fmla="*/ 72 w 103"/>
                    <a:gd name="T33" fmla="*/ 201 h 379"/>
                    <a:gd name="T34" fmla="*/ 69 w 103"/>
                    <a:gd name="T35" fmla="*/ 224 h 379"/>
                    <a:gd name="T36" fmla="*/ 65 w 103"/>
                    <a:gd name="T37" fmla="*/ 246 h 379"/>
                    <a:gd name="T38" fmla="*/ 59 w 103"/>
                    <a:gd name="T39" fmla="*/ 267 h 379"/>
                    <a:gd name="T40" fmla="*/ 50 w 103"/>
                    <a:gd name="T41" fmla="*/ 289 h 379"/>
                    <a:gd name="T42" fmla="*/ 39 w 103"/>
                    <a:gd name="T43" fmla="*/ 308 h 379"/>
                    <a:gd name="T44" fmla="*/ 26 w 103"/>
                    <a:gd name="T45" fmla="*/ 327 h 379"/>
                    <a:gd name="T46" fmla="*/ 13 w 103"/>
                    <a:gd name="T47" fmla="*/ 345 h 379"/>
                    <a:gd name="T48" fmla="*/ 2 w 103"/>
                    <a:gd name="T49" fmla="*/ 355 h 379"/>
                    <a:gd name="T50" fmla="*/ 0 w 103"/>
                    <a:gd name="T51" fmla="*/ 361 h 379"/>
                    <a:gd name="T52" fmla="*/ 0 w 103"/>
                    <a:gd name="T53" fmla="*/ 367 h 379"/>
                    <a:gd name="T54" fmla="*/ 2 w 103"/>
                    <a:gd name="T55" fmla="*/ 372 h 379"/>
                    <a:gd name="T56" fmla="*/ 6 w 103"/>
                    <a:gd name="T57" fmla="*/ 377 h 379"/>
                    <a:gd name="T58" fmla="*/ 11 w 103"/>
                    <a:gd name="T59" fmla="*/ 379 h 379"/>
                    <a:gd name="T60" fmla="*/ 18 w 103"/>
                    <a:gd name="T61" fmla="*/ 379 h 379"/>
                    <a:gd name="T62" fmla="*/ 23 w 103"/>
                    <a:gd name="T63" fmla="*/ 377 h 379"/>
                    <a:gd name="T64" fmla="*/ 34 w 103"/>
                    <a:gd name="T65" fmla="*/ 365 h 379"/>
                    <a:gd name="T66" fmla="*/ 51 w 103"/>
                    <a:gd name="T67" fmla="*/ 346 h 379"/>
                    <a:gd name="T68" fmla="*/ 65 w 103"/>
                    <a:gd name="T69" fmla="*/ 324 h 379"/>
                    <a:gd name="T70" fmla="*/ 77 w 103"/>
                    <a:gd name="T71" fmla="*/ 302 h 379"/>
                    <a:gd name="T72" fmla="*/ 87 w 103"/>
                    <a:gd name="T73" fmla="*/ 278 h 379"/>
                    <a:gd name="T74" fmla="*/ 94 w 103"/>
                    <a:gd name="T75" fmla="*/ 253 h 379"/>
                    <a:gd name="T76" fmla="*/ 99 w 103"/>
                    <a:gd name="T77" fmla="*/ 229 h 379"/>
                    <a:gd name="T78" fmla="*/ 102 w 103"/>
                    <a:gd name="T79" fmla="*/ 203 h 379"/>
                    <a:gd name="T80" fmla="*/ 102 w 103"/>
                    <a:gd name="T81" fmla="*/ 176 h 379"/>
                    <a:gd name="T82" fmla="*/ 99 w 103"/>
                    <a:gd name="T83" fmla="*/ 150 h 379"/>
                    <a:gd name="T84" fmla="*/ 94 w 103"/>
                    <a:gd name="T85" fmla="*/ 126 h 379"/>
                    <a:gd name="T86" fmla="*/ 87 w 103"/>
                    <a:gd name="T87" fmla="*/ 101 h 379"/>
                    <a:gd name="T88" fmla="*/ 77 w 103"/>
                    <a:gd name="T89" fmla="*/ 77 h 379"/>
                    <a:gd name="T90" fmla="*/ 65 w 103"/>
                    <a:gd name="T91" fmla="*/ 55 h 379"/>
                    <a:gd name="T92" fmla="*/ 51 w 103"/>
                    <a:gd name="T93" fmla="*/ 33 h 379"/>
                    <a:gd name="T94" fmla="*/ 34 w 103"/>
                    <a:gd name="T95" fmla="*/ 14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 h="379">
                      <a:moveTo>
                        <a:pt x="25" y="5"/>
                      </a:moveTo>
                      <a:lnTo>
                        <a:pt x="23" y="2"/>
                      </a:lnTo>
                      <a:lnTo>
                        <a:pt x="20" y="1"/>
                      </a:lnTo>
                      <a:lnTo>
                        <a:pt x="18" y="0"/>
                      </a:lnTo>
                      <a:lnTo>
                        <a:pt x="15" y="0"/>
                      </a:lnTo>
                      <a:lnTo>
                        <a:pt x="11" y="0"/>
                      </a:lnTo>
                      <a:lnTo>
                        <a:pt x="9" y="1"/>
                      </a:lnTo>
                      <a:lnTo>
                        <a:pt x="6" y="2"/>
                      </a:lnTo>
                      <a:lnTo>
                        <a:pt x="4" y="5"/>
                      </a:lnTo>
                      <a:lnTo>
                        <a:pt x="2" y="7"/>
                      </a:lnTo>
                      <a:lnTo>
                        <a:pt x="1" y="9"/>
                      </a:lnTo>
                      <a:lnTo>
                        <a:pt x="0" y="12"/>
                      </a:lnTo>
                      <a:lnTo>
                        <a:pt x="0" y="15"/>
                      </a:lnTo>
                      <a:lnTo>
                        <a:pt x="0" y="18"/>
                      </a:lnTo>
                      <a:lnTo>
                        <a:pt x="1" y="21"/>
                      </a:lnTo>
                      <a:lnTo>
                        <a:pt x="2" y="24"/>
                      </a:lnTo>
                      <a:lnTo>
                        <a:pt x="4" y="26"/>
                      </a:lnTo>
                      <a:lnTo>
                        <a:pt x="13" y="35"/>
                      </a:lnTo>
                      <a:lnTo>
                        <a:pt x="20" y="43"/>
                      </a:lnTo>
                      <a:lnTo>
                        <a:pt x="26" y="52"/>
                      </a:lnTo>
                      <a:lnTo>
                        <a:pt x="33" y="61"/>
                      </a:lnTo>
                      <a:lnTo>
                        <a:pt x="39" y="71"/>
                      </a:lnTo>
                      <a:lnTo>
                        <a:pt x="45" y="81"/>
                      </a:lnTo>
                      <a:lnTo>
                        <a:pt x="50" y="90"/>
                      </a:lnTo>
                      <a:lnTo>
                        <a:pt x="54" y="101"/>
                      </a:lnTo>
                      <a:lnTo>
                        <a:pt x="59" y="112"/>
                      </a:lnTo>
                      <a:lnTo>
                        <a:pt x="62" y="122"/>
                      </a:lnTo>
                      <a:lnTo>
                        <a:pt x="65" y="133"/>
                      </a:lnTo>
                      <a:lnTo>
                        <a:pt x="67" y="144"/>
                      </a:lnTo>
                      <a:lnTo>
                        <a:pt x="69" y="155"/>
                      </a:lnTo>
                      <a:lnTo>
                        <a:pt x="70" y="166"/>
                      </a:lnTo>
                      <a:lnTo>
                        <a:pt x="72" y="178"/>
                      </a:lnTo>
                      <a:lnTo>
                        <a:pt x="72" y="189"/>
                      </a:lnTo>
                      <a:lnTo>
                        <a:pt x="72" y="201"/>
                      </a:lnTo>
                      <a:lnTo>
                        <a:pt x="70" y="213"/>
                      </a:lnTo>
                      <a:lnTo>
                        <a:pt x="69" y="224"/>
                      </a:lnTo>
                      <a:lnTo>
                        <a:pt x="67" y="235"/>
                      </a:lnTo>
                      <a:lnTo>
                        <a:pt x="65" y="246"/>
                      </a:lnTo>
                      <a:lnTo>
                        <a:pt x="62" y="257"/>
                      </a:lnTo>
                      <a:lnTo>
                        <a:pt x="59" y="267"/>
                      </a:lnTo>
                      <a:lnTo>
                        <a:pt x="54" y="278"/>
                      </a:lnTo>
                      <a:lnTo>
                        <a:pt x="50" y="289"/>
                      </a:lnTo>
                      <a:lnTo>
                        <a:pt x="45" y="298"/>
                      </a:lnTo>
                      <a:lnTo>
                        <a:pt x="39" y="308"/>
                      </a:lnTo>
                      <a:lnTo>
                        <a:pt x="33" y="318"/>
                      </a:lnTo>
                      <a:lnTo>
                        <a:pt x="26" y="327"/>
                      </a:lnTo>
                      <a:lnTo>
                        <a:pt x="20" y="336"/>
                      </a:lnTo>
                      <a:lnTo>
                        <a:pt x="13" y="345"/>
                      </a:lnTo>
                      <a:lnTo>
                        <a:pt x="4" y="353"/>
                      </a:lnTo>
                      <a:lnTo>
                        <a:pt x="2" y="355"/>
                      </a:lnTo>
                      <a:lnTo>
                        <a:pt x="1" y="358"/>
                      </a:lnTo>
                      <a:lnTo>
                        <a:pt x="0" y="361"/>
                      </a:lnTo>
                      <a:lnTo>
                        <a:pt x="0" y="364"/>
                      </a:lnTo>
                      <a:lnTo>
                        <a:pt x="0" y="367"/>
                      </a:lnTo>
                      <a:lnTo>
                        <a:pt x="1" y="369"/>
                      </a:lnTo>
                      <a:lnTo>
                        <a:pt x="2" y="372"/>
                      </a:lnTo>
                      <a:lnTo>
                        <a:pt x="4" y="375"/>
                      </a:lnTo>
                      <a:lnTo>
                        <a:pt x="6" y="377"/>
                      </a:lnTo>
                      <a:lnTo>
                        <a:pt x="9" y="378"/>
                      </a:lnTo>
                      <a:lnTo>
                        <a:pt x="11" y="379"/>
                      </a:lnTo>
                      <a:lnTo>
                        <a:pt x="15" y="379"/>
                      </a:lnTo>
                      <a:lnTo>
                        <a:pt x="18" y="379"/>
                      </a:lnTo>
                      <a:lnTo>
                        <a:pt x="20" y="378"/>
                      </a:lnTo>
                      <a:lnTo>
                        <a:pt x="23" y="377"/>
                      </a:lnTo>
                      <a:lnTo>
                        <a:pt x="25" y="375"/>
                      </a:lnTo>
                      <a:lnTo>
                        <a:pt x="34" y="365"/>
                      </a:lnTo>
                      <a:lnTo>
                        <a:pt x="43" y="355"/>
                      </a:lnTo>
                      <a:lnTo>
                        <a:pt x="51" y="346"/>
                      </a:lnTo>
                      <a:lnTo>
                        <a:pt x="59" y="335"/>
                      </a:lnTo>
                      <a:lnTo>
                        <a:pt x="65" y="324"/>
                      </a:lnTo>
                      <a:lnTo>
                        <a:pt x="72" y="312"/>
                      </a:lnTo>
                      <a:lnTo>
                        <a:pt x="77" y="302"/>
                      </a:lnTo>
                      <a:lnTo>
                        <a:pt x="82" y="290"/>
                      </a:lnTo>
                      <a:lnTo>
                        <a:pt x="87" y="278"/>
                      </a:lnTo>
                      <a:lnTo>
                        <a:pt x="91" y="266"/>
                      </a:lnTo>
                      <a:lnTo>
                        <a:pt x="94" y="253"/>
                      </a:lnTo>
                      <a:lnTo>
                        <a:pt x="97" y="242"/>
                      </a:lnTo>
                      <a:lnTo>
                        <a:pt x="99" y="229"/>
                      </a:lnTo>
                      <a:lnTo>
                        <a:pt x="100" y="216"/>
                      </a:lnTo>
                      <a:lnTo>
                        <a:pt x="102" y="203"/>
                      </a:lnTo>
                      <a:lnTo>
                        <a:pt x="103" y="189"/>
                      </a:lnTo>
                      <a:lnTo>
                        <a:pt x="102" y="176"/>
                      </a:lnTo>
                      <a:lnTo>
                        <a:pt x="100" y="163"/>
                      </a:lnTo>
                      <a:lnTo>
                        <a:pt x="99" y="150"/>
                      </a:lnTo>
                      <a:lnTo>
                        <a:pt x="97" y="139"/>
                      </a:lnTo>
                      <a:lnTo>
                        <a:pt x="94" y="126"/>
                      </a:lnTo>
                      <a:lnTo>
                        <a:pt x="91" y="113"/>
                      </a:lnTo>
                      <a:lnTo>
                        <a:pt x="87" y="101"/>
                      </a:lnTo>
                      <a:lnTo>
                        <a:pt x="82" y="89"/>
                      </a:lnTo>
                      <a:lnTo>
                        <a:pt x="77" y="77"/>
                      </a:lnTo>
                      <a:lnTo>
                        <a:pt x="72" y="67"/>
                      </a:lnTo>
                      <a:lnTo>
                        <a:pt x="65" y="55"/>
                      </a:lnTo>
                      <a:lnTo>
                        <a:pt x="59" y="44"/>
                      </a:lnTo>
                      <a:lnTo>
                        <a:pt x="51" y="33"/>
                      </a:lnTo>
                      <a:lnTo>
                        <a:pt x="43" y="24"/>
                      </a:lnTo>
                      <a:lnTo>
                        <a:pt x="34" y="14"/>
                      </a:lnTo>
                      <a:lnTo>
                        <a:pt x="2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67"/>
                </a:p>
              </p:txBody>
            </p:sp>
            <p:sp>
              <p:nvSpPr>
                <p:cNvPr id="56" name="Freeform 685"/>
                <p:cNvSpPr>
                  <a:spLocks/>
                </p:cNvSpPr>
                <p:nvPr/>
              </p:nvSpPr>
              <p:spPr bwMode="auto">
                <a:xfrm>
                  <a:off x="5713413" y="1457325"/>
                  <a:ext cx="39688" cy="153988"/>
                </a:xfrm>
                <a:custGeom>
                  <a:avLst/>
                  <a:gdLst>
                    <a:gd name="T0" fmla="*/ 23 w 124"/>
                    <a:gd name="T1" fmla="*/ 2 h 485"/>
                    <a:gd name="T2" fmla="*/ 18 w 124"/>
                    <a:gd name="T3" fmla="*/ 0 h 485"/>
                    <a:gd name="T4" fmla="*/ 11 w 124"/>
                    <a:gd name="T5" fmla="*/ 0 h 485"/>
                    <a:gd name="T6" fmla="*/ 6 w 124"/>
                    <a:gd name="T7" fmla="*/ 2 h 485"/>
                    <a:gd name="T8" fmla="*/ 2 w 124"/>
                    <a:gd name="T9" fmla="*/ 6 h 485"/>
                    <a:gd name="T10" fmla="*/ 0 w 124"/>
                    <a:gd name="T11" fmla="*/ 11 h 485"/>
                    <a:gd name="T12" fmla="*/ 0 w 124"/>
                    <a:gd name="T13" fmla="*/ 17 h 485"/>
                    <a:gd name="T14" fmla="*/ 2 w 124"/>
                    <a:gd name="T15" fmla="*/ 22 h 485"/>
                    <a:gd name="T16" fmla="*/ 15 w 124"/>
                    <a:gd name="T17" fmla="*/ 36 h 485"/>
                    <a:gd name="T18" fmla="*/ 34 w 124"/>
                    <a:gd name="T19" fmla="*/ 60 h 485"/>
                    <a:gd name="T20" fmla="*/ 50 w 124"/>
                    <a:gd name="T21" fmla="*/ 84 h 485"/>
                    <a:gd name="T22" fmla="*/ 65 w 124"/>
                    <a:gd name="T23" fmla="*/ 111 h 485"/>
                    <a:gd name="T24" fmla="*/ 76 w 124"/>
                    <a:gd name="T25" fmla="*/ 139 h 485"/>
                    <a:gd name="T26" fmla="*/ 84 w 124"/>
                    <a:gd name="T27" fmla="*/ 167 h 485"/>
                    <a:gd name="T28" fmla="*/ 91 w 124"/>
                    <a:gd name="T29" fmla="*/ 197 h 485"/>
                    <a:gd name="T30" fmla="*/ 94 w 124"/>
                    <a:gd name="T31" fmla="*/ 227 h 485"/>
                    <a:gd name="T32" fmla="*/ 94 w 124"/>
                    <a:gd name="T33" fmla="*/ 258 h 485"/>
                    <a:gd name="T34" fmla="*/ 91 w 124"/>
                    <a:gd name="T35" fmla="*/ 288 h 485"/>
                    <a:gd name="T36" fmla="*/ 84 w 124"/>
                    <a:gd name="T37" fmla="*/ 318 h 485"/>
                    <a:gd name="T38" fmla="*/ 76 w 124"/>
                    <a:gd name="T39" fmla="*/ 346 h 485"/>
                    <a:gd name="T40" fmla="*/ 65 w 124"/>
                    <a:gd name="T41" fmla="*/ 374 h 485"/>
                    <a:gd name="T42" fmla="*/ 50 w 124"/>
                    <a:gd name="T43" fmla="*/ 401 h 485"/>
                    <a:gd name="T44" fmla="*/ 34 w 124"/>
                    <a:gd name="T45" fmla="*/ 425 h 485"/>
                    <a:gd name="T46" fmla="*/ 15 w 124"/>
                    <a:gd name="T47" fmla="*/ 449 h 485"/>
                    <a:gd name="T48" fmla="*/ 2 w 124"/>
                    <a:gd name="T49" fmla="*/ 462 h 485"/>
                    <a:gd name="T50" fmla="*/ 0 w 124"/>
                    <a:gd name="T51" fmla="*/ 468 h 485"/>
                    <a:gd name="T52" fmla="*/ 0 w 124"/>
                    <a:gd name="T53" fmla="*/ 474 h 485"/>
                    <a:gd name="T54" fmla="*/ 2 w 124"/>
                    <a:gd name="T55" fmla="*/ 479 h 485"/>
                    <a:gd name="T56" fmla="*/ 6 w 124"/>
                    <a:gd name="T57" fmla="*/ 483 h 485"/>
                    <a:gd name="T58" fmla="*/ 11 w 124"/>
                    <a:gd name="T59" fmla="*/ 485 h 485"/>
                    <a:gd name="T60" fmla="*/ 18 w 124"/>
                    <a:gd name="T61" fmla="*/ 485 h 485"/>
                    <a:gd name="T62" fmla="*/ 23 w 124"/>
                    <a:gd name="T63" fmla="*/ 483 h 485"/>
                    <a:gd name="T64" fmla="*/ 37 w 124"/>
                    <a:gd name="T65" fmla="*/ 469 h 485"/>
                    <a:gd name="T66" fmla="*/ 58 w 124"/>
                    <a:gd name="T67" fmla="*/ 444 h 485"/>
                    <a:gd name="T68" fmla="*/ 77 w 124"/>
                    <a:gd name="T69" fmla="*/ 416 h 485"/>
                    <a:gd name="T70" fmla="*/ 92 w 124"/>
                    <a:gd name="T71" fmla="*/ 387 h 485"/>
                    <a:gd name="T72" fmla="*/ 105 w 124"/>
                    <a:gd name="T73" fmla="*/ 357 h 485"/>
                    <a:gd name="T74" fmla="*/ 114 w 124"/>
                    <a:gd name="T75" fmla="*/ 325 h 485"/>
                    <a:gd name="T76" fmla="*/ 121 w 124"/>
                    <a:gd name="T77" fmla="*/ 292 h 485"/>
                    <a:gd name="T78" fmla="*/ 124 w 124"/>
                    <a:gd name="T79" fmla="*/ 259 h 485"/>
                    <a:gd name="T80" fmla="*/ 124 w 124"/>
                    <a:gd name="T81" fmla="*/ 226 h 485"/>
                    <a:gd name="T82" fmla="*/ 121 w 124"/>
                    <a:gd name="T83" fmla="*/ 193 h 485"/>
                    <a:gd name="T84" fmla="*/ 114 w 124"/>
                    <a:gd name="T85" fmla="*/ 160 h 485"/>
                    <a:gd name="T86" fmla="*/ 105 w 124"/>
                    <a:gd name="T87" fmla="*/ 128 h 485"/>
                    <a:gd name="T88" fmla="*/ 92 w 124"/>
                    <a:gd name="T89" fmla="*/ 98 h 485"/>
                    <a:gd name="T90" fmla="*/ 77 w 124"/>
                    <a:gd name="T91" fmla="*/ 69 h 485"/>
                    <a:gd name="T92" fmla="*/ 58 w 124"/>
                    <a:gd name="T93" fmla="*/ 41 h 485"/>
                    <a:gd name="T94" fmla="*/ 37 w 124"/>
                    <a:gd name="T95" fmla="*/ 16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4" h="485">
                      <a:moveTo>
                        <a:pt x="25" y="4"/>
                      </a:moveTo>
                      <a:lnTo>
                        <a:pt x="23" y="2"/>
                      </a:lnTo>
                      <a:lnTo>
                        <a:pt x="20" y="1"/>
                      </a:lnTo>
                      <a:lnTo>
                        <a:pt x="18" y="0"/>
                      </a:lnTo>
                      <a:lnTo>
                        <a:pt x="15" y="0"/>
                      </a:lnTo>
                      <a:lnTo>
                        <a:pt x="11" y="0"/>
                      </a:lnTo>
                      <a:lnTo>
                        <a:pt x="9" y="1"/>
                      </a:lnTo>
                      <a:lnTo>
                        <a:pt x="6" y="2"/>
                      </a:lnTo>
                      <a:lnTo>
                        <a:pt x="4" y="4"/>
                      </a:lnTo>
                      <a:lnTo>
                        <a:pt x="2" y="6"/>
                      </a:lnTo>
                      <a:lnTo>
                        <a:pt x="1" y="9"/>
                      </a:lnTo>
                      <a:lnTo>
                        <a:pt x="0" y="11"/>
                      </a:lnTo>
                      <a:lnTo>
                        <a:pt x="0" y="15"/>
                      </a:lnTo>
                      <a:lnTo>
                        <a:pt x="0" y="17"/>
                      </a:lnTo>
                      <a:lnTo>
                        <a:pt x="1" y="20"/>
                      </a:lnTo>
                      <a:lnTo>
                        <a:pt x="2" y="22"/>
                      </a:lnTo>
                      <a:lnTo>
                        <a:pt x="4" y="25"/>
                      </a:lnTo>
                      <a:lnTo>
                        <a:pt x="15" y="36"/>
                      </a:lnTo>
                      <a:lnTo>
                        <a:pt x="24" y="48"/>
                      </a:lnTo>
                      <a:lnTo>
                        <a:pt x="34" y="60"/>
                      </a:lnTo>
                      <a:lnTo>
                        <a:pt x="42" y="71"/>
                      </a:lnTo>
                      <a:lnTo>
                        <a:pt x="50" y="84"/>
                      </a:lnTo>
                      <a:lnTo>
                        <a:pt x="58" y="97"/>
                      </a:lnTo>
                      <a:lnTo>
                        <a:pt x="65" y="111"/>
                      </a:lnTo>
                      <a:lnTo>
                        <a:pt x="70" y="125"/>
                      </a:lnTo>
                      <a:lnTo>
                        <a:pt x="76" y="139"/>
                      </a:lnTo>
                      <a:lnTo>
                        <a:pt x="81" y="153"/>
                      </a:lnTo>
                      <a:lnTo>
                        <a:pt x="84" y="167"/>
                      </a:lnTo>
                      <a:lnTo>
                        <a:pt x="88" y="182"/>
                      </a:lnTo>
                      <a:lnTo>
                        <a:pt x="91" y="197"/>
                      </a:lnTo>
                      <a:lnTo>
                        <a:pt x="93" y="212"/>
                      </a:lnTo>
                      <a:lnTo>
                        <a:pt x="94" y="227"/>
                      </a:lnTo>
                      <a:lnTo>
                        <a:pt x="94" y="242"/>
                      </a:lnTo>
                      <a:lnTo>
                        <a:pt x="94" y="258"/>
                      </a:lnTo>
                      <a:lnTo>
                        <a:pt x="93" y="273"/>
                      </a:lnTo>
                      <a:lnTo>
                        <a:pt x="91" y="288"/>
                      </a:lnTo>
                      <a:lnTo>
                        <a:pt x="88" y="303"/>
                      </a:lnTo>
                      <a:lnTo>
                        <a:pt x="84" y="318"/>
                      </a:lnTo>
                      <a:lnTo>
                        <a:pt x="81" y="332"/>
                      </a:lnTo>
                      <a:lnTo>
                        <a:pt x="76" y="346"/>
                      </a:lnTo>
                      <a:lnTo>
                        <a:pt x="70" y="360"/>
                      </a:lnTo>
                      <a:lnTo>
                        <a:pt x="65" y="374"/>
                      </a:lnTo>
                      <a:lnTo>
                        <a:pt x="58" y="388"/>
                      </a:lnTo>
                      <a:lnTo>
                        <a:pt x="50" y="401"/>
                      </a:lnTo>
                      <a:lnTo>
                        <a:pt x="42" y="414"/>
                      </a:lnTo>
                      <a:lnTo>
                        <a:pt x="34" y="425"/>
                      </a:lnTo>
                      <a:lnTo>
                        <a:pt x="24" y="437"/>
                      </a:lnTo>
                      <a:lnTo>
                        <a:pt x="15" y="449"/>
                      </a:lnTo>
                      <a:lnTo>
                        <a:pt x="4" y="460"/>
                      </a:lnTo>
                      <a:lnTo>
                        <a:pt x="2" y="462"/>
                      </a:lnTo>
                      <a:lnTo>
                        <a:pt x="1" y="465"/>
                      </a:lnTo>
                      <a:lnTo>
                        <a:pt x="0" y="468"/>
                      </a:lnTo>
                      <a:lnTo>
                        <a:pt x="0" y="470"/>
                      </a:lnTo>
                      <a:lnTo>
                        <a:pt x="0" y="474"/>
                      </a:lnTo>
                      <a:lnTo>
                        <a:pt x="1" y="476"/>
                      </a:lnTo>
                      <a:lnTo>
                        <a:pt x="2" y="479"/>
                      </a:lnTo>
                      <a:lnTo>
                        <a:pt x="4" y="481"/>
                      </a:lnTo>
                      <a:lnTo>
                        <a:pt x="6" y="483"/>
                      </a:lnTo>
                      <a:lnTo>
                        <a:pt x="9" y="484"/>
                      </a:lnTo>
                      <a:lnTo>
                        <a:pt x="11" y="485"/>
                      </a:lnTo>
                      <a:lnTo>
                        <a:pt x="15" y="485"/>
                      </a:lnTo>
                      <a:lnTo>
                        <a:pt x="18" y="485"/>
                      </a:lnTo>
                      <a:lnTo>
                        <a:pt x="20" y="484"/>
                      </a:lnTo>
                      <a:lnTo>
                        <a:pt x="23" y="483"/>
                      </a:lnTo>
                      <a:lnTo>
                        <a:pt x="25" y="481"/>
                      </a:lnTo>
                      <a:lnTo>
                        <a:pt x="37" y="469"/>
                      </a:lnTo>
                      <a:lnTo>
                        <a:pt x="48" y="457"/>
                      </a:lnTo>
                      <a:lnTo>
                        <a:pt x="58" y="444"/>
                      </a:lnTo>
                      <a:lnTo>
                        <a:pt x="67" y="430"/>
                      </a:lnTo>
                      <a:lnTo>
                        <a:pt x="77" y="416"/>
                      </a:lnTo>
                      <a:lnTo>
                        <a:pt x="84" y="402"/>
                      </a:lnTo>
                      <a:lnTo>
                        <a:pt x="92" y="387"/>
                      </a:lnTo>
                      <a:lnTo>
                        <a:pt x="98" y="372"/>
                      </a:lnTo>
                      <a:lnTo>
                        <a:pt x="105" y="357"/>
                      </a:lnTo>
                      <a:lnTo>
                        <a:pt x="110" y="341"/>
                      </a:lnTo>
                      <a:lnTo>
                        <a:pt x="114" y="325"/>
                      </a:lnTo>
                      <a:lnTo>
                        <a:pt x="118" y="308"/>
                      </a:lnTo>
                      <a:lnTo>
                        <a:pt x="121" y="292"/>
                      </a:lnTo>
                      <a:lnTo>
                        <a:pt x="122" y="276"/>
                      </a:lnTo>
                      <a:lnTo>
                        <a:pt x="124" y="259"/>
                      </a:lnTo>
                      <a:lnTo>
                        <a:pt x="124" y="242"/>
                      </a:lnTo>
                      <a:lnTo>
                        <a:pt x="124" y="226"/>
                      </a:lnTo>
                      <a:lnTo>
                        <a:pt x="122" y="209"/>
                      </a:lnTo>
                      <a:lnTo>
                        <a:pt x="121" y="193"/>
                      </a:lnTo>
                      <a:lnTo>
                        <a:pt x="118" y="177"/>
                      </a:lnTo>
                      <a:lnTo>
                        <a:pt x="114" y="160"/>
                      </a:lnTo>
                      <a:lnTo>
                        <a:pt x="110" y="144"/>
                      </a:lnTo>
                      <a:lnTo>
                        <a:pt x="105" y="128"/>
                      </a:lnTo>
                      <a:lnTo>
                        <a:pt x="98" y="113"/>
                      </a:lnTo>
                      <a:lnTo>
                        <a:pt x="92" y="98"/>
                      </a:lnTo>
                      <a:lnTo>
                        <a:pt x="84" y="83"/>
                      </a:lnTo>
                      <a:lnTo>
                        <a:pt x="77" y="69"/>
                      </a:lnTo>
                      <a:lnTo>
                        <a:pt x="67" y="55"/>
                      </a:lnTo>
                      <a:lnTo>
                        <a:pt x="58" y="41"/>
                      </a:lnTo>
                      <a:lnTo>
                        <a:pt x="48" y="29"/>
                      </a:lnTo>
                      <a:lnTo>
                        <a:pt x="37" y="16"/>
                      </a:lnTo>
                      <a:lnTo>
                        <a:pt x="2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67"/>
                </a:p>
              </p:txBody>
            </p:sp>
            <p:sp>
              <p:nvSpPr>
                <p:cNvPr id="57" name="Freeform 686"/>
                <p:cNvSpPr>
                  <a:spLocks/>
                </p:cNvSpPr>
                <p:nvPr/>
              </p:nvSpPr>
              <p:spPr bwMode="auto">
                <a:xfrm>
                  <a:off x="5667375" y="1492250"/>
                  <a:ext cx="25400" cy="85725"/>
                </a:xfrm>
                <a:custGeom>
                  <a:avLst/>
                  <a:gdLst>
                    <a:gd name="T0" fmla="*/ 23 w 80"/>
                    <a:gd name="T1" fmla="*/ 2 h 271"/>
                    <a:gd name="T2" fmla="*/ 18 w 80"/>
                    <a:gd name="T3" fmla="*/ 0 h 271"/>
                    <a:gd name="T4" fmla="*/ 13 w 80"/>
                    <a:gd name="T5" fmla="*/ 0 h 271"/>
                    <a:gd name="T6" fmla="*/ 7 w 80"/>
                    <a:gd name="T7" fmla="*/ 2 h 271"/>
                    <a:gd name="T8" fmla="*/ 3 w 80"/>
                    <a:gd name="T9" fmla="*/ 6 h 271"/>
                    <a:gd name="T10" fmla="*/ 1 w 80"/>
                    <a:gd name="T11" fmla="*/ 12 h 271"/>
                    <a:gd name="T12" fmla="*/ 1 w 80"/>
                    <a:gd name="T13" fmla="*/ 18 h 271"/>
                    <a:gd name="T14" fmla="*/ 3 w 80"/>
                    <a:gd name="T15" fmla="*/ 23 h 271"/>
                    <a:gd name="T16" fmla="*/ 15 w 80"/>
                    <a:gd name="T17" fmla="*/ 36 h 271"/>
                    <a:gd name="T18" fmla="*/ 32 w 80"/>
                    <a:gd name="T19" fmla="*/ 62 h 271"/>
                    <a:gd name="T20" fmla="*/ 44 w 80"/>
                    <a:gd name="T21" fmla="*/ 90 h 271"/>
                    <a:gd name="T22" fmla="*/ 49 w 80"/>
                    <a:gd name="T23" fmla="*/ 120 h 271"/>
                    <a:gd name="T24" fmla="*/ 49 w 80"/>
                    <a:gd name="T25" fmla="*/ 151 h 271"/>
                    <a:gd name="T26" fmla="*/ 44 w 80"/>
                    <a:gd name="T27" fmla="*/ 181 h 271"/>
                    <a:gd name="T28" fmla="*/ 32 w 80"/>
                    <a:gd name="T29" fmla="*/ 209 h 271"/>
                    <a:gd name="T30" fmla="*/ 15 w 80"/>
                    <a:gd name="T31" fmla="*/ 235 h 271"/>
                    <a:gd name="T32" fmla="*/ 3 w 80"/>
                    <a:gd name="T33" fmla="*/ 248 h 271"/>
                    <a:gd name="T34" fmla="*/ 1 w 80"/>
                    <a:gd name="T35" fmla="*/ 253 h 271"/>
                    <a:gd name="T36" fmla="*/ 1 w 80"/>
                    <a:gd name="T37" fmla="*/ 259 h 271"/>
                    <a:gd name="T38" fmla="*/ 3 w 80"/>
                    <a:gd name="T39" fmla="*/ 265 h 271"/>
                    <a:gd name="T40" fmla="*/ 7 w 80"/>
                    <a:gd name="T41" fmla="*/ 269 h 271"/>
                    <a:gd name="T42" fmla="*/ 13 w 80"/>
                    <a:gd name="T43" fmla="*/ 271 h 271"/>
                    <a:gd name="T44" fmla="*/ 18 w 80"/>
                    <a:gd name="T45" fmla="*/ 271 h 271"/>
                    <a:gd name="T46" fmla="*/ 23 w 80"/>
                    <a:gd name="T47" fmla="*/ 269 h 271"/>
                    <a:gd name="T48" fmla="*/ 38 w 80"/>
                    <a:gd name="T49" fmla="*/ 253 h 271"/>
                    <a:gd name="T50" fmla="*/ 59 w 80"/>
                    <a:gd name="T51" fmla="*/ 223 h 271"/>
                    <a:gd name="T52" fmla="*/ 73 w 80"/>
                    <a:gd name="T53" fmla="*/ 190 h 271"/>
                    <a:gd name="T54" fmla="*/ 79 w 80"/>
                    <a:gd name="T55" fmla="*/ 154 h 271"/>
                    <a:gd name="T56" fmla="*/ 79 w 80"/>
                    <a:gd name="T57" fmla="*/ 117 h 271"/>
                    <a:gd name="T58" fmla="*/ 73 w 80"/>
                    <a:gd name="T59" fmla="*/ 81 h 271"/>
                    <a:gd name="T60" fmla="*/ 59 w 80"/>
                    <a:gd name="T61" fmla="*/ 48 h 271"/>
                    <a:gd name="T62" fmla="*/ 38 w 80"/>
                    <a:gd name="T63" fmla="*/ 1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0" h="271">
                      <a:moveTo>
                        <a:pt x="25" y="4"/>
                      </a:moveTo>
                      <a:lnTo>
                        <a:pt x="23" y="2"/>
                      </a:lnTo>
                      <a:lnTo>
                        <a:pt x="21" y="1"/>
                      </a:lnTo>
                      <a:lnTo>
                        <a:pt x="18" y="0"/>
                      </a:lnTo>
                      <a:lnTo>
                        <a:pt x="15" y="0"/>
                      </a:lnTo>
                      <a:lnTo>
                        <a:pt x="13" y="0"/>
                      </a:lnTo>
                      <a:lnTo>
                        <a:pt x="9" y="1"/>
                      </a:lnTo>
                      <a:lnTo>
                        <a:pt x="7" y="2"/>
                      </a:lnTo>
                      <a:lnTo>
                        <a:pt x="4" y="4"/>
                      </a:lnTo>
                      <a:lnTo>
                        <a:pt x="3" y="6"/>
                      </a:lnTo>
                      <a:lnTo>
                        <a:pt x="1" y="10"/>
                      </a:lnTo>
                      <a:lnTo>
                        <a:pt x="1" y="12"/>
                      </a:lnTo>
                      <a:lnTo>
                        <a:pt x="0" y="15"/>
                      </a:lnTo>
                      <a:lnTo>
                        <a:pt x="1" y="18"/>
                      </a:lnTo>
                      <a:lnTo>
                        <a:pt x="1" y="20"/>
                      </a:lnTo>
                      <a:lnTo>
                        <a:pt x="3" y="23"/>
                      </a:lnTo>
                      <a:lnTo>
                        <a:pt x="4" y="26"/>
                      </a:lnTo>
                      <a:lnTo>
                        <a:pt x="15" y="36"/>
                      </a:lnTo>
                      <a:lnTo>
                        <a:pt x="24" y="49"/>
                      </a:lnTo>
                      <a:lnTo>
                        <a:pt x="32" y="62"/>
                      </a:lnTo>
                      <a:lnTo>
                        <a:pt x="38" y="76"/>
                      </a:lnTo>
                      <a:lnTo>
                        <a:pt x="44" y="90"/>
                      </a:lnTo>
                      <a:lnTo>
                        <a:pt x="47" y="105"/>
                      </a:lnTo>
                      <a:lnTo>
                        <a:pt x="49" y="120"/>
                      </a:lnTo>
                      <a:lnTo>
                        <a:pt x="50" y="135"/>
                      </a:lnTo>
                      <a:lnTo>
                        <a:pt x="49" y="151"/>
                      </a:lnTo>
                      <a:lnTo>
                        <a:pt x="47" y="166"/>
                      </a:lnTo>
                      <a:lnTo>
                        <a:pt x="44" y="181"/>
                      </a:lnTo>
                      <a:lnTo>
                        <a:pt x="38" y="195"/>
                      </a:lnTo>
                      <a:lnTo>
                        <a:pt x="32" y="209"/>
                      </a:lnTo>
                      <a:lnTo>
                        <a:pt x="24" y="222"/>
                      </a:lnTo>
                      <a:lnTo>
                        <a:pt x="15" y="235"/>
                      </a:lnTo>
                      <a:lnTo>
                        <a:pt x="4" y="245"/>
                      </a:lnTo>
                      <a:lnTo>
                        <a:pt x="3" y="248"/>
                      </a:lnTo>
                      <a:lnTo>
                        <a:pt x="1" y="251"/>
                      </a:lnTo>
                      <a:lnTo>
                        <a:pt x="1" y="253"/>
                      </a:lnTo>
                      <a:lnTo>
                        <a:pt x="0" y="256"/>
                      </a:lnTo>
                      <a:lnTo>
                        <a:pt x="1" y="259"/>
                      </a:lnTo>
                      <a:lnTo>
                        <a:pt x="1" y="262"/>
                      </a:lnTo>
                      <a:lnTo>
                        <a:pt x="3" y="265"/>
                      </a:lnTo>
                      <a:lnTo>
                        <a:pt x="4" y="267"/>
                      </a:lnTo>
                      <a:lnTo>
                        <a:pt x="7" y="269"/>
                      </a:lnTo>
                      <a:lnTo>
                        <a:pt x="9" y="270"/>
                      </a:lnTo>
                      <a:lnTo>
                        <a:pt x="13" y="271"/>
                      </a:lnTo>
                      <a:lnTo>
                        <a:pt x="15" y="271"/>
                      </a:lnTo>
                      <a:lnTo>
                        <a:pt x="18" y="271"/>
                      </a:lnTo>
                      <a:lnTo>
                        <a:pt x="21" y="270"/>
                      </a:lnTo>
                      <a:lnTo>
                        <a:pt x="23" y="269"/>
                      </a:lnTo>
                      <a:lnTo>
                        <a:pt x="25" y="267"/>
                      </a:lnTo>
                      <a:lnTo>
                        <a:pt x="38" y="253"/>
                      </a:lnTo>
                      <a:lnTo>
                        <a:pt x="49" y="239"/>
                      </a:lnTo>
                      <a:lnTo>
                        <a:pt x="59" y="223"/>
                      </a:lnTo>
                      <a:lnTo>
                        <a:pt x="66" y="207"/>
                      </a:lnTo>
                      <a:lnTo>
                        <a:pt x="73" y="190"/>
                      </a:lnTo>
                      <a:lnTo>
                        <a:pt x="77" y="173"/>
                      </a:lnTo>
                      <a:lnTo>
                        <a:pt x="79" y="154"/>
                      </a:lnTo>
                      <a:lnTo>
                        <a:pt x="80" y="135"/>
                      </a:lnTo>
                      <a:lnTo>
                        <a:pt x="79" y="117"/>
                      </a:lnTo>
                      <a:lnTo>
                        <a:pt x="77" y="99"/>
                      </a:lnTo>
                      <a:lnTo>
                        <a:pt x="73" y="81"/>
                      </a:lnTo>
                      <a:lnTo>
                        <a:pt x="66" y="64"/>
                      </a:lnTo>
                      <a:lnTo>
                        <a:pt x="59" y="48"/>
                      </a:lnTo>
                      <a:lnTo>
                        <a:pt x="49" y="32"/>
                      </a:lnTo>
                      <a:lnTo>
                        <a:pt x="38" y="18"/>
                      </a:lnTo>
                      <a:lnTo>
                        <a:pt x="2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67"/>
                </a:p>
              </p:txBody>
            </p:sp>
            <p:sp>
              <p:nvSpPr>
                <p:cNvPr id="58" name="Freeform 687"/>
                <p:cNvSpPr>
                  <a:spLocks noEditPoints="1"/>
                </p:cNvSpPr>
                <p:nvPr/>
              </p:nvSpPr>
              <p:spPr bwMode="auto">
                <a:xfrm>
                  <a:off x="5465763" y="1385888"/>
                  <a:ext cx="182563" cy="249238"/>
                </a:xfrm>
                <a:custGeom>
                  <a:avLst/>
                  <a:gdLst>
                    <a:gd name="T0" fmla="*/ 151 w 572"/>
                    <a:gd name="T1" fmla="*/ 404 h 783"/>
                    <a:gd name="T2" fmla="*/ 153 w 572"/>
                    <a:gd name="T3" fmla="*/ 398 h 783"/>
                    <a:gd name="T4" fmla="*/ 157 w 572"/>
                    <a:gd name="T5" fmla="*/ 394 h 783"/>
                    <a:gd name="T6" fmla="*/ 162 w 572"/>
                    <a:gd name="T7" fmla="*/ 392 h 783"/>
                    <a:gd name="T8" fmla="*/ 251 w 572"/>
                    <a:gd name="T9" fmla="*/ 392 h 783"/>
                    <a:gd name="T10" fmla="*/ 400 w 572"/>
                    <a:gd name="T11" fmla="*/ 273 h 783"/>
                    <a:gd name="T12" fmla="*/ 409 w 572"/>
                    <a:gd name="T13" fmla="*/ 272 h 783"/>
                    <a:gd name="T14" fmla="*/ 416 w 572"/>
                    <a:gd name="T15" fmla="*/ 275 h 783"/>
                    <a:gd name="T16" fmla="*/ 420 w 572"/>
                    <a:gd name="T17" fmla="*/ 282 h 783"/>
                    <a:gd name="T18" fmla="*/ 421 w 572"/>
                    <a:gd name="T19" fmla="*/ 647 h 783"/>
                    <a:gd name="T20" fmla="*/ 419 w 572"/>
                    <a:gd name="T21" fmla="*/ 656 h 783"/>
                    <a:gd name="T22" fmla="*/ 413 w 572"/>
                    <a:gd name="T23" fmla="*/ 661 h 783"/>
                    <a:gd name="T24" fmla="*/ 406 w 572"/>
                    <a:gd name="T25" fmla="*/ 662 h 783"/>
                    <a:gd name="T26" fmla="*/ 397 w 572"/>
                    <a:gd name="T27" fmla="*/ 659 h 783"/>
                    <a:gd name="T28" fmla="*/ 165 w 572"/>
                    <a:gd name="T29" fmla="*/ 542 h 783"/>
                    <a:gd name="T30" fmla="*/ 160 w 572"/>
                    <a:gd name="T31" fmla="*/ 541 h 783"/>
                    <a:gd name="T32" fmla="*/ 154 w 572"/>
                    <a:gd name="T33" fmla="*/ 538 h 783"/>
                    <a:gd name="T34" fmla="*/ 151 w 572"/>
                    <a:gd name="T35" fmla="*/ 533 h 783"/>
                    <a:gd name="T36" fmla="*/ 150 w 572"/>
                    <a:gd name="T37" fmla="*/ 527 h 783"/>
                    <a:gd name="T38" fmla="*/ 572 w 572"/>
                    <a:gd name="T39" fmla="*/ 15 h 783"/>
                    <a:gd name="T40" fmla="*/ 571 w 572"/>
                    <a:gd name="T41" fmla="*/ 9 h 783"/>
                    <a:gd name="T42" fmla="*/ 567 w 572"/>
                    <a:gd name="T43" fmla="*/ 5 h 783"/>
                    <a:gd name="T44" fmla="*/ 563 w 572"/>
                    <a:gd name="T45" fmla="*/ 1 h 783"/>
                    <a:gd name="T46" fmla="*/ 557 w 572"/>
                    <a:gd name="T47" fmla="*/ 0 h 783"/>
                    <a:gd name="T48" fmla="*/ 94 w 572"/>
                    <a:gd name="T49" fmla="*/ 0 h 783"/>
                    <a:gd name="T50" fmla="*/ 74 w 572"/>
                    <a:gd name="T51" fmla="*/ 5 h 783"/>
                    <a:gd name="T52" fmla="*/ 55 w 572"/>
                    <a:gd name="T53" fmla="*/ 13 h 783"/>
                    <a:gd name="T54" fmla="*/ 39 w 572"/>
                    <a:gd name="T55" fmla="*/ 24 h 783"/>
                    <a:gd name="T56" fmla="*/ 24 w 572"/>
                    <a:gd name="T57" fmla="*/ 39 h 783"/>
                    <a:gd name="T58" fmla="*/ 13 w 572"/>
                    <a:gd name="T59" fmla="*/ 55 h 783"/>
                    <a:gd name="T60" fmla="*/ 4 w 572"/>
                    <a:gd name="T61" fmla="*/ 74 h 783"/>
                    <a:gd name="T62" fmla="*/ 0 w 572"/>
                    <a:gd name="T63" fmla="*/ 95 h 783"/>
                    <a:gd name="T64" fmla="*/ 0 w 572"/>
                    <a:gd name="T65" fmla="*/ 692 h 783"/>
                    <a:gd name="T66" fmla="*/ 2 w 572"/>
                    <a:gd name="T67" fmla="*/ 711 h 783"/>
                    <a:gd name="T68" fmla="*/ 6 w 572"/>
                    <a:gd name="T69" fmla="*/ 728 h 783"/>
                    <a:gd name="T70" fmla="*/ 15 w 572"/>
                    <a:gd name="T71" fmla="*/ 744 h 783"/>
                    <a:gd name="T72" fmla="*/ 26 w 572"/>
                    <a:gd name="T73" fmla="*/ 757 h 783"/>
                    <a:gd name="T74" fmla="*/ 40 w 572"/>
                    <a:gd name="T75" fmla="*/ 767 h 783"/>
                    <a:gd name="T76" fmla="*/ 55 w 572"/>
                    <a:gd name="T77" fmla="*/ 776 h 783"/>
                    <a:gd name="T78" fmla="*/ 72 w 572"/>
                    <a:gd name="T79" fmla="*/ 781 h 783"/>
                    <a:gd name="T80" fmla="*/ 90 w 572"/>
                    <a:gd name="T81" fmla="*/ 783 h 783"/>
                    <a:gd name="T82" fmla="*/ 572 w 572"/>
                    <a:gd name="T83" fmla="*/ 181 h 783"/>
                    <a:gd name="T84" fmla="*/ 98 w 572"/>
                    <a:gd name="T85" fmla="*/ 181 h 783"/>
                    <a:gd name="T86" fmla="*/ 83 w 572"/>
                    <a:gd name="T87" fmla="*/ 177 h 783"/>
                    <a:gd name="T88" fmla="*/ 70 w 572"/>
                    <a:gd name="T89" fmla="*/ 172 h 783"/>
                    <a:gd name="T90" fmla="*/ 58 w 572"/>
                    <a:gd name="T91" fmla="*/ 163 h 783"/>
                    <a:gd name="T92" fmla="*/ 47 w 572"/>
                    <a:gd name="T93" fmla="*/ 154 h 783"/>
                    <a:gd name="T94" fmla="*/ 39 w 572"/>
                    <a:gd name="T95" fmla="*/ 141 h 783"/>
                    <a:gd name="T96" fmla="*/ 33 w 572"/>
                    <a:gd name="T97" fmla="*/ 128 h 783"/>
                    <a:gd name="T98" fmla="*/ 30 w 572"/>
                    <a:gd name="T99" fmla="*/ 113 h 783"/>
                    <a:gd name="T100" fmla="*/ 30 w 572"/>
                    <a:gd name="T101" fmla="*/ 98 h 783"/>
                    <a:gd name="T102" fmla="*/ 33 w 572"/>
                    <a:gd name="T103" fmla="*/ 83 h 783"/>
                    <a:gd name="T104" fmla="*/ 39 w 572"/>
                    <a:gd name="T105" fmla="*/ 70 h 783"/>
                    <a:gd name="T106" fmla="*/ 47 w 572"/>
                    <a:gd name="T107" fmla="*/ 57 h 783"/>
                    <a:gd name="T108" fmla="*/ 58 w 572"/>
                    <a:gd name="T109" fmla="*/ 48 h 783"/>
                    <a:gd name="T110" fmla="*/ 70 w 572"/>
                    <a:gd name="T111" fmla="*/ 39 h 783"/>
                    <a:gd name="T112" fmla="*/ 83 w 572"/>
                    <a:gd name="T113" fmla="*/ 34 h 783"/>
                    <a:gd name="T114" fmla="*/ 98 w 572"/>
                    <a:gd name="T115" fmla="*/ 30 h 783"/>
                    <a:gd name="T116" fmla="*/ 557 w 572"/>
                    <a:gd name="T117" fmla="*/ 30 h 783"/>
                    <a:gd name="T118" fmla="*/ 563 w 572"/>
                    <a:gd name="T119" fmla="*/ 29 h 783"/>
                    <a:gd name="T120" fmla="*/ 567 w 572"/>
                    <a:gd name="T121" fmla="*/ 26 h 783"/>
                    <a:gd name="T122" fmla="*/ 571 w 572"/>
                    <a:gd name="T123" fmla="*/ 21 h 783"/>
                    <a:gd name="T124" fmla="*/ 572 w 572"/>
                    <a:gd name="T125" fmla="*/ 15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2" h="783">
                      <a:moveTo>
                        <a:pt x="150" y="407"/>
                      </a:moveTo>
                      <a:lnTo>
                        <a:pt x="151" y="404"/>
                      </a:lnTo>
                      <a:lnTo>
                        <a:pt x="151" y="400"/>
                      </a:lnTo>
                      <a:lnTo>
                        <a:pt x="153" y="398"/>
                      </a:lnTo>
                      <a:lnTo>
                        <a:pt x="154" y="396"/>
                      </a:lnTo>
                      <a:lnTo>
                        <a:pt x="157" y="394"/>
                      </a:lnTo>
                      <a:lnTo>
                        <a:pt x="160" y="393"/>
                      </a:lnTo>
                      <a:lnTo>
                        <a:pt x="162" y="392"/>
                      </a:lnTo>
                      <a:lnTo>
                        <a:pt x="165" y="392"/>
                      </a:lnTo>
                      <a:lnTo>
                        <a:pt x="251" y="392"/>
                      </a:lnTo>
                      <a:lnTo>
                        <a:pt x="397" y="275"/>
                      </a:lnTo>
                      <a:lnTo>
                        <a:pt x="400" y="273"/>
                      </a:lnTo>
                      <a:lnTo>
                        <a:pt x="404" y="272"/>
                      </a:lnTo>
                      <a:lnTo>
                        <a:pt x="409" y="272"/>
                      </a:lnTo>
                      <a:lnTo>
                        <a:pt x="413" y="273"/>
                      </a:lnTo>
                      <a:lnTo>
                        <a:pt x="416" y="275"/>
                      </a:lnTo>
                      <a:lnTo>
                        <a:pt x="419" y="278"/>
                      </a:lnTo>
                      <a:lnTo>
                        <a:pt x="420" y="282"/>
                      </a:lnTo>
                      <a:lnTo>
                        <a:pt x="421" y="287"/>
                      </a:lnTo>
                      <a:lnTo>
                        <a:pt x="421" y="647"/>
                      </a:lnTo>
                      <a:lnTo>
                        <a:pt x="420" y="651"/>
                      </a:lnTo>
                      <a:lnTo>
                        <a:pt x="419" y="656"/>
                      </a:lnTo>
                      <a:lnTo>
                        <a:pt x="416" y="659"/>
                      </a:lnTo>
                      <a:lnTo>
                        <a:pt x="413" y="661"/>
                      </a:lnTo>
                      <a:lnTo>
                        <a:pt x="410" y="662"/>
                      </a:lnTo>
                      <a:lnTo>
                        <a:pt x="406" y="662"/>
                      </a:lnTo>
                      <a:lnTo>
                        <a:pt x="401" y="662"/>
                      </a:lnTo>
                      <a:lnTo>
                        <a:pt x="397" y="659"/>
                      </a:lnTo>
                      <a:lnTo>
                        <a:pt x="251" y="542"/>
                      </a:lnTo>
                      <a:lnTo>
                        <a:pt x="165" y="542"/>
                      </a:lnTo>
                      <a:lnTo>
                        <a:pt x="162" y="542"/>
                      </a:lnTo>
                      <a:lnTo>
                        <a:pt x="160" y="541"/>
                      </a:lnTo>
                      <a:lnTo>
                        <a:pt x="157" y="540"/>
                      </a:lnTo>
                      <a:lnTo>
                        <a:pt x="154" y="538"/>
                      </a:lnTo>
                      <a:lnTo>
                        <a:pt x="153" y="536"/>
                      </a:lnTo>
                      <a:lnTo>
                        <a:pt x="151" y="533"/>
                      </a:lnTo>
                      <a:lnTo>
                        <a:pt x="151" y="530"/>
                      </a:lnTo>
                      <a:lnTo>
                        <a:pt x="150" y="527"/>
                      </a:lnTo>
                      <a:lnTo>
                        <a:pt x="150" y="407"/>
                      </a:lnTo>
                      <a:close/>
                      <a:moveTo>
                        <a:pt x="572" y="15"/>
                      </a:moveTo>
                      <a:lnTo>
                        <a:pt x="572" y="12"/>
                      </a:lnTo>
                      <a:lnTo>
                        <a:pt x="571" y="9"/>
                      </a:lnTo>
                      <a:lnTo>
                        <a:pt x="569" y="7"/>
                      </a:lnTo>
                      <a:lnTo>
                        <a:pt x="567" y="5"/>
                      </a:lnTo>
                      <a:lnTo>
                        <a:pt x="565" y="2"/>
                      </a:lnTo>
                      <a:lnTo>
                        <a:pt x="563" y="1"/>
                      </a:lnTo>
                      <a:lnTo>
                        <a:pt x="560" y="0"/>
                      </a:lnTo>
                      <a:lnTo>
                        <a:pt x="557" y="0"/>
                      </a:lnTo>
                      <a:lnTo>
                        <a:pt x="105" y="0"/>
                      </a:lnTo>
                      <a:lnTo>
                        <a:pt x="94" y="0"/>
                      </a:lnTo>
                      <a:lnTo>
                        <a:pt x="84" y="2"/>
                      </a:lnTo>
                      <a:lnTo>
                        <a:pt x="74" y="5"/>
                      </a:lnTo>
                      <a:lnTo>
                        <a:pt x="64" y="9"/>
                      </a:lnTo>
                      <a:lnTo>
                        <a:pt x="55" y="13"/>
                      </a:lnTo>
                      <a:lnTo>
                        <a:pt x="46" y="19"/>
                      </a:lnTo>
                      <a:lnTo>
                        <a:pt x="39" y="24"/>
                      </a:lnTo>
                      <a:lnTo>
                        <a:pt x="31" y="31"/>
                      </a:lnTo>
                      <a:lnTo>
                        <a:pt x="24" y="39"/>
                      </a:lnTo>
                      <a:lnTo>
                        <a:pt x="18" y="46"/>
                      </a:lnTo>
                      <a:lnTo>
                        <a:pt x="13" y="55"/>
                      </a:lnTo>
                      <a:lnTo>
                        <a:pt x="9" y="65"/>
                      </a:lnTo>
                      <a:lnTo>
                        <a:pt x="4" y="74"/>
                      </a:lnTo>
                      <a:lnTo>
                        <a:pt x="2" y="84"/>
                      </a:lnTo>
                      <a:lnTo>
                        <a:pt x="0" y="95"/>
                      </a:lnTo>
                      <a:lnTo>
                        <a:pt x="0" y="105"/>
                      </a:lnTo>
                      <a:lnTo>
                        <a:pt x="0" y="692"/>
                      </a:lnTo>
                      <a:lnTo>
                        <a:pt x="0" y="702"/>
                      </a:lnTo>
                      <a:lnTo>
                        <a:pt x="2" y="711"/>
                      </a:lnTo>
                      <a:lnTo>
                        <a:pt x="4" y="720"/>
                      </a:lnTo>
                      <a:lnTo>
                        <a:pt x="6" y="728"/>
                      </a:lnTo>
                      <a:lnTo>
                        <a:pt x="11" y="736"/>
                      </a:lnTo>
                      <a:lnTo>
                        <a:pt x="15" y="744"/>
                      </a:lnTo>
                      <a:lnTo>
                        <a:pt x="20" y="750"/>
                      </a:lnTo>
                      <a:lnTo>
                        <a:pt x="26" y="757"/>
                      </a:lnTo>
                      <a:lnTo>
                        <a:pt x="32" y="763"/>
                      </a:lnTo>
                      <a:lnTo>
                        <a:pt x="40" y="767"/>
                      </a:lnTo>
                      <a:lnTo>
                        <a:pt x="47" y="773"/>
                      </a:lnTo>
                      <a:lnTo>
                        <a:pt x="55" y="776"/>
                      </a:lnTo>
                      <a:lnTo>
                        <a:pt x="63" y="779"/>
                      </a:lnTo>
                      <a:lnTo>
                        <a:pt x="72" y="781"/>
                      </a:lnTo>
                      <a:lnTo>
                        <a:pt x="80" y="782"/>
                      </a:lnTo>
                      <a:lnTo>
                        <a:pt x="90" y="783"/>
                      </a:lnTo>
                      <a:lnTo>
                        <a:pt x="572" y="783"/>
                      </a:lnTo>
                      <a:lnTo>
                        <a:pt x="572" y="181"/>
                      </a:lnTo>
                      <a:lnTo>
                        <a:pt x="105" y="181"/>
                      </a:lnTo>
                      <a:lnTo>
                        <a:pt x="98" y="181"/>
                      </a:lnTo>
                      <a:lnTo>
                        <a:pt x="90" y="179"/>
                      </a:lnTo>
                      <a:lnTo>
                        <a:pt x="83" y="177"/>
                      </a:lnTo>
                      <a:lnTo>
                        <a:pt x="76" y="175"/>
                      </a:lnTo>
                      <a:lnTo>
                        <a:pt x="70" y="172"/>
                      </a:lnTo>
                      <a:lnTo>
                        <a:pt x="63" y="168"/>
                      </a:lnTo>
                      <a:lnTo>
                        <a:pt x="58" y="163"/>
                      </a:lnTo>
                      <a:lnTo>
                        <a:pt x="53" y="159"/>
                      </a:lnTo>
                      <a:lnTo>
                        <a:pt x="47" y="154"/>
                      </a:lnTo>
                      <a:lnTo>
                        <a:pt x="43" y="147"/>
                      </a:lnTo>
                      <a:lnTo>
                        <a:pt x="39" y="141"/>
                      </a:lnTo>
                      <a:lnTo>
                        <a:pt x="35" y="134"/>
                      </a:lnTo>
                      <a:lnTo>
                        <a:pt x="33" y="128"/>
                      </a:lnTo>
                      <a:lnTo>
                        <a:pt x="31" y="120"/>
                      </a:lnTo>
                      <a:lnTo>
                        <a:pt x="30" y="113"/>
                      </a:lnTo>
                      <a:lnTo>
                        <a:pt x="30" y="105"/>
                      </a:lnTo>
                      <a:lnTo>
                        <a:pt x="30" y="98"/>
                      </a:lnTo>
                      <a:lnTo>
                        <a:pt x="31" y="90"/>
                      </a:lnTo>
                      <a:lnTo>
                        <a:pt x="33" y="83"/>
                      </a:lnTo>
                      <a:lnTo>
                        <a:pt x="35" y="77"/>
                      </a:lnTo>
                      <a:lnTo>
                        <a:pt x="39" y="70"/>
                      </a:lnTo>
                      <a:lnTo>
                        <a:pt x="43" y="64"/>
                      </a:lnTo>
                      <a:lnTo>
                        <a:pt x="47" y="57"/>
                      </a:lnTo>
                      <a:lnTo>
                        <a:pt x="53" y="52"/>
                      </a:lnTo>
                      <a:lnTo>
                        <a:pt x="58" y="48"/>
                      </a:lnTo>
                      <a:lnTo>
                        <a:pt x="63" y="43"/>
                      </a:lnTo>
                      <a:lnTo>
                        <a:pt x="70" y="39"/>
                      </a:lnTo>
                      <a:lnTo>
                        <a:pt x="76" y="36"/>
                      </a:lnTo>
                      <a:lnTo>
                        <a:pt x="83" y="34"/>
                      </a:lnTo>
                      <a:lnTo>
                        <a:pt x="90" y="31"/>
                      </a:lnTo>
                      <a:lnTo>
                        <a:pt x="98" y="30"/>
                      </a:lnTo>
                      <a:lnTo>
                        <a:pt x="105" y="30"/>
                      </a:lnTo>
                      <a:lnTo>
                        <a:pt x="557" y="30"/>
                      </a:lnTo>
                      <a:lnTo>
                        <a:pt x="560" y="30"/>
                      </a:lnTo>
                      <a:lnTo>
                        <a:pt x="563" y="29"/>
                      </a:lnTo>
                      <a:lnTo>
                        <a:pt x="565" y="28"/>
                      </a:lnTo>
                      <a:lnTo>
                        <a:pt x="567" y="26"/>
                      </a:lnTo>
                      <a:lnTo>
                        <a:pt x="569" y="24"/>
                      </a:lnTo>
                      <a:lnTo>
                        <a:pt x="571" y="21"/>
                      </a:lnTo>
                      <a:lnTo>
                        <a:pt x="572" y="19"/>
                      </a:lnTo>
                      <a:lnTo>
                        <a:pt x="57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67"/>
                </a:p>
              </p:txBody>
            </p:sp>
          </p:grpSp>
          <p:cxnSp>
            <p:nvCxnSpPr>
              <p:cNvPr id="59" name="Straight Connector 58"/>
              <p:cNvCxnSpPr/>
              <p:nvPr/>
            </p:nvCxnSpPr>
            <p:spPr>
              <a:xfrm flipH="1">
                <a:off x="2392861" y="1904566"/>
                <a:ext cx="100013" cy="192122"/>
              </a:xfrm>
              <a:prstGeom prst="line">
                <a:avLst/>
              </a:prstGeom>
              <a:ln>
                <a:solidFill>
                  <a:srgbClr val="00206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60" name="Group 59"/>
              <p:cNvGrpSpPr/>
              <p:nvPr/>
            </p:nvGrpSpPr>
            <p:grpSpPr>
              <a:xfrm>
                <a:off x="6206174" y="2816502"/>
                <a:ext cx="201657" cy="234474"/>
                <a:chOff x="896938" y="1943100"/>
                <a:chExt cx="249237" cy="287338"/>
              </a:xfrm>
              <a:solidFill>
                <a:schemeClr val="bg1"/>
              </a:solidFill>
              <a:effectLst>
                <a:outerShdw blurRad="38100" dist="25400" dir="5400000" algn="ctr" rotWithShape="0">
                  <a:srgbClr val="000000">
                    <a:alpha val="20000"/>
                  </a:srgbClr>
                </a:outerShdw>
              </a:effectLst>
            </p:grpSpPr>
            <p:sp>
              <p:nvSpPr>
                <p:cNvPr id="61" name="Freeform 1088"/>
                <p:cNvSpPr>
                  <a:spLocks noEditPoints="1"/>
                </p:cNvSpPr>
                <p:nvPr/>
              </p:nvSpPr>
              <p:spPr bwMode="auto">
                <a:xfrm>
                  <a:off x="965200" y="1943100"/>
                  <a:ext cx="180975" cy="249238"/>
                </a:xfrm>
                <a:custGeom>
                  <a:avLst/>
                  <a:gdLst>
                    <a:gd name="T0" fmla="*/ 301 w 457"/>
                    <a:gd name="T1" fmla="*/ 156 h 626"/>
                    <a:gd name="T2" fmla="*/ 301 w 457"/>
                    <a:gd name="T3" fmla="*/ 12 h 626"/>
                    <a:gd name="T4" fmla="*/ 446 w 457"/>
                    <a:gd name="T5" fmla="*/ 156 h 626"/>
                    <a:gd name="T6" fmla="*/ 301 w 457"/>
                    <a:gd name="T7" fmla="*/ 156 h 626"/>
                    <a:gd name="T8" fmla="*/ 454 w 457"/>
                    <a:gd name="T9" fmla="*/ 148 h 626"/>
                    <a:gd name="T10" fmla="*/ 309 w 457"/>
                    <a:gd name="T11" fmla="*/ 3 h 626"/>
                    <a:gd name="T12" fmla="*/ 305 w 457"/>
                    <a:gd name="T13" fmla="*/ 1 h 626"/>
                    <a:gd name="T14" fmla="*/ 301 w 457"/>
                    <a:gd name="T15" fmla="*/ 0 h 626"/>
                    <a:gd name="T16" fmla="*/ 12 w 457"/>
                    <a:gd name="T17" fmla="*/ 0 h 626"/>
                    <a:gd name="T18" fmla="*/ 7 w 457"/>
                    <a:gd name="T19" fmla="*/ 1 h 626"/>
                    <a:gd name="T20" fmla="*/ 3 w 457"/>
                    <a:gd name="T21" fmla="*/ 4 h 626"/>
                    <a:gd name="T22" fmla="*/ 1 w 457"/>
                    <a:gd name="T23" fmla="*/ 7 h 626"/>
                    <a:gd name="T24" fmla="*/ 0 w 457"/>
                    <a:gd name="T25" fmla="*/ 12 h 626"/>
                    <a:gd name="T26" fmla="*/ 0 w 457"/>
                    <a:gd name="T27" fmla="*/ 72 h 626"/>
                    <a:gd name="T28" fmla="*/ 118 w 457"/>
                    <a:gd name="T29" fmla="*/ 72 h 626"/>
                    <a:gd name="T30" fmla="*/ 122 w 457"/>
                    <a:gd name="T31" fmla="*/ 74 h 626"/>
                    <a:gd name="T32" fmla="*/ 127 w 457"/>
                    <a:gd name="T33" fmla="*/ 76 h 626"/>
                    <a:gd name="T34" fmla="*/ 286 w 457"/>
                    <a:gd name="T35" fmla="*/ 235 h 626"/>
                    <a:gd name="T36" fmla="*/ 288 w 457"/>
                    <a:gd name="T37" fmla="*/ 239 h 626"/>
                    <a:gd name="T38" fmla="*/ 289 w 457"/>
                    <a:gd name="T39" fmla="*/ 244 h 626"/>
                    <a:gd name="T40" fmla="*/ 289 w 457"/>
                    <a:gd name="T41" fmla="*/ 626 h 626"/>
                    <a:gd name="T42" fmla="*/ 446 w 457"/>
                    <a:gd name="T43" fmla="*/ 626 h 626"/>
                    <a:gd name="T44" fmla="*/ 450 w 457"/>
                    <a:gd name="T45" fmla="*/ 625 h 626"/>
                    <a:gd name="T46" fmla="*/ 454 w 457"/>
                    <a:gd name="T47" fmla="*/ 623 h 626"/>
                    <a:gd name="T48" fmla="*/ 457 w 457"/>
                    <a:gd name="T49" fmla="*/ 619 h 626"/>
                    <a:gd name="T50" fmla="*/ 457 w 457"/>
                    <a:gd name="T51" fmla="*/ 614 h 626"/>
                    <a:gd name="T52" fmla="*/ 457 w 457"/>
                    <a:gd name="T53" fmla="*/ 156 h 626"/>
                    <a:gd name="T54" fmla="*/ 457 w 457"/>
                    <a:gd name="T55" fmla="*/ 152 h 626"/>
                    <a:gd name="T56" fmla="*/ 454 w 457"/>
                    <a:gd name="T57" fmla="*/ 148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7" h="626">
                      <a:moveTo>
                        <a:pt x="301" y="156"/>
                      </a:moveTo>
                      <a:lnTo>
                        <a:pt x="301" y="12"/>
                      </a:lnTo>
                      <a:lnTo>
                        <a:pt x="446" y="156"/>
                      </a:lnTo>
                      <a:lnTo>
                        <a:pt x="301" y="156"/>
                      </a:lnTo>
                      <a:close/>
                      <a:moveTo>
                        <a:pt x="454" y="148"/>
                      </a:moveTo>
                      <a:lnTo>
                        <a:pt x="309" y="3"/>
                      </a:lnTo>
                      <a:lnTo>
                        <a:pt x="305" y="1"/>
                      </a:lnTo>
                      <a:lnTo>
                        <a:pt x="301" y="0"/>
                      </a:lnTo>
                      <a:lnTo>
                        <a:pt x="12" y="0"/>
                      </a:lnTo>
                      <a:lnTo>
                        <a:pt x="7" y="1"/>
                      </a:lnTo>
                      <a:lnTo>
                        <a:pt x="3" y="4"/>
                      </a:lnTo>
                      <a:lnTo>
                        <a:pt x="1" y="7"/>
                      </a:lnTo>
                      <a:lnTo>
                        <a:pt x="0" y="12"/>
                      </a:lnTo>
                      <a:lnTo>
                        <a:pt x="0" y="72"/>
                      </a:lnTo>
                      <a:lnTo>
                        <a:pt x="118" y="72"/>
                      </a:lnTo>
                      <a:lnTo>
                        <a:pt x="122" y="74"/>
                      </a:lnTo>
                      <a:lnTo>
                        <a:pt x="127" y="76"/>
                      </a:lnTo>
                      <a:lnTo>
                        <a:pt x="286" y="235"/>
                      </a:lnTo>
                      <a:lnTo>
                        <a:pt x="288" y="239"/>
                      </a:lnTo>
                      <a:lnTo>
                        <a:pt x="289" y="244"/>
                      </a:lnTo>
                      <a:lnTo>
                        <a:pt x="289" y="626"/>
                      </a:lnTo>
                      <a:lnTo>
                        <a:pt x="446" y="626"/>
                      </a:lnTo>
                      <a:lnTo>
                        <a:pt x="450" y="625"/>
                      </a:lnTo>
                      <a:lnTo>
                        <a:pt x="454" y="623"/>
                      </a:lnTo>
                      <a:lnTo>
                        <a:pt x="457" y="619"/>
                      </a:lnTo>
                      <a:lnTo>
                        <a:pt x="457" y="614"/>
                      </a:lnTo>
                      <a:lnTo>
                        <a:pt x="457" y="156"/>
                      </a:lnTo>
                      <a:lnTo>
                        <a:pt x="457" y="152"/>
                      </a:lnTo>
                      <a:lnTo>
                        <a:pt x="454"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67">
                    <a:solidFill>
                      <a:prstClr val="black"/>
                    </a:solidFill>
                  </a:endParaRPr>
                </a:p>
              </p:txBody>
            </p:sp>
            <p:sp>
              <p:nvSpPr>
                <p:cNvPr id="62" name="Freeform 1089"/>
                <p:cNvSpPr>
                  <a:spLocks noEditPoints="1"/>
                </p:cNvSpPr>
                <p:nvPr/>
              </p:nvSpPr>
              <p:spPr bwMode="auto">
                <a:xfrm>
                  <a:off x="896938" y="1981200"/>
                  <a:ext cx="173038" cy="249238"/>
                </a:xfrm>
                <a:custGeom>
                  <a:avLst/>
                  <a:gdLst>
                    <a:gd name="T0" fmla="*/ 277 w 434"/>
                    <a:gd name="T1" fmla="*/ 157 h 627"/>
                    <a:gd name="T2" fmla="*/ 277 w 434"/>
                    <a:gd name="T3" fmla="*/ 12 h 627"/>
                    <a:gd name="T4" fmla="*/ 422 w 434"/>
                    <a:gd name="T5" fmla="*/ 157 h 627"/>
                    <a:gd name="T6" fmla="*/ 277 w 434"/>
                    <a:gd name="T7" fmla="*/ 157 h 627"/>
                    <a:gd name="T8" fmla="*/ 277 w 434"/>
                    <a:gd name="T9" fmla="*/ 0 h 627"/>
                    <a:gd name="T10" fmla="*/ 12 w 434"/>
                    <a:gd name="T11" fmla="*/ 0 h 627"/>
                    <a:gd name="T12" fmla="*/ 8 w 434"/>
                    <a:gd name="T13" fmla="*/ 1 h 627"/>
                    <a:gd name="T14" fmla="*/ 4 w 434"/>
                    <a:gd name="T15" fmla="*/ 4 h 627"/>
                    <a:gd name="T16" fmla="*/ 1 w 434"/>
                    <a:gd name="T17" fmla="*/ 8 h 627"/>
                    <a:gd name="T18" fmla="*/ 0 w 434"/>
                    <a:gd name="T19" fmla="*/ 12 h 627"/>
                    <a:gd name="T20" fmla="*/ 0 w 434"/>
                    <a:gd name="T21" fmla="*/ 615 h 627"/>
                    <a:gd name="T22" fmla="*/ 1 w 434"/>
                    <a:gd name="T23" fmla="*/ 620 h 627"/>
                    <a:gd name="T24" fmla="*/ 4 w 434"/>
                    <a:gd name="T25" fmla="*/ 623 h 627"/>
                    <a:gd name="T26" fmla="*/ 8 w 434"/>
                    <a:gd name="T27" fmla="*/ 626 h 627"/>
                    <a:gd name="T28" fmla="*/ 12 w 434"/>
                    <a:gd name="T29" fmla="*/ 627 h 627"/>
                    <a:gd name="T30" fmla="*/ 422 w 434"/>
                    <a:gd name="T31" fmla="*/ 627 h 627"/>
                    <a:gd name="T32" fmla="*/ 426 w 434"/>
                    <a:gd name="T33" fmla="*/ 626 h 627"/>
                    <a:gd name="T34" fmla="*/ 430 w 434"/>
                    <a:gd name="T35" fmla="*/ 623 h 627"/>
                    <a:gd name="T36" fmla="*/ 433 w 434"/>
                    <a:gd name="T37" fmla="*/ 620 h 627"/>
                    <a:gd name="T38" fmla="*/ 434 w 434"/>
                    <a:gd name="T39" fmla="*/ 615 h 627"/>
                    <a:gd name="T40" fmla="*/ 434 w 434"/>
                    <a:gd name="T41" fmla="*/ 157 h 627"/>
                    <a:gd name="T42" fmla="*/ 434 w 434"/>
                    <a:gd name="T43" fmla="*/ 152 h 627"/>
                    <a:gd name="T44" fmla="*/ 282 w 434"/>
                    <a:gd name="T45" fmla="*/ 0 h 627"/>
                    <a:gd name="T46" fmla="*/ 277 w 434"/>
                    <a:gd name="T47" fmla="*/ 0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34" h="627">
                      <a:moveTo>
                        <a:pt x="277" y="157"/>
                      </a:moveTo>
                      <a:lnTo>
                        <a:pt x="277" y="12"/>
                      </a:lnTo>
                      <a:lnTo>
                        <a:pt x="422" y="157"/>
                      </a:lnTo>
                      <a:lnTo>
                        <a:pt x="277" y="157"/>
                      </a:lnTo>
                      <a:close/>
                      <a:moveTo>
                        <a:pt x="277" y="0"/>
                      </a:moveTo>
                      <a:lnTo>
                        <a:pt x="12" y="0"/>
                      </a:lnTo>
                      <a:lnTo>
                        <a:pt x="8" y="1"/>
                      </a:lnTo>
                      <a:lnTo>
                        <a:pt x="4" y="4"/>
                      </a:lnTo>
                      <a:lnTo>
                        <a:pt x="1" y="8"/>
                      </a:lnTo>
                      <a:lnTo>
                        <a:pt x="0" y="12"/>
                      </a:lnTo>
                      <a:lnTo>
                        <a:pt x="0" y="615"/>
                      </a:lnTo>
                      <a:lnTo>
                        <a:pt x="1" y="620"/>
                      </a:lnTo>
                      <a:lnTo>
                        <a:pt x="4" y="623"/>
                      </a:lnTo>
                      <a:lnTo>
                        <a:pt x="8" y="626"/>
                      </a:lnTo>
                      <a:lnTo>
                        <a:pt x="12" y="627"/>
                      </a:lnTo>
                      <a:lnTo>
                        <a:pt x="422" y="627"/>
                      </a:lnTo>
                      <a:lnTo>
                        <a:pt x="426" y="626"/>
                      </a:lnTo>
                      <a:lnTo>
                        <a:pt x="430" y="623"/>
                      </a:lnTo>
                      <a:lnTo>
                        <a:pt x="433" y="620"/>
                      </a:lnTo>
                      <a:lnTo>
                        <a:pt x="434" y="615"/>
                      </a:lnTo>
                      <a:lnTo>
                        <a:pt x="434" y="157"/>
                      </a:lnTo>
                      <a:lnTo>
                        <a:pt x="434" y="152"/>
                      </a:lnTo>
                      <a:lnTo>
                        <a:pt x="282" y="0"/>
                      </a:lnTo>
                      <a:lnTo>
                        <a:pt x="27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67">
                    <a:solidFill>
                      <a:prstClr val="black"/>
                    </a:solidFill>
                  </a:endParaRPr>
                </a:p>
              </p:txBody>
            </p:sp>
          </p:grpSp>
          <p:grpSp>
            <p:nvGrpSpPr>
              <p:cNvPr id="63" name="Group 62"/>
              <p:cNvGrpSpPr/>
              <p:nvPr/>
            </p:nvGrpSpPr>
            <p:grpSpPr>
              <a:xfrm>
                <a:off x="6216794" y="2929292"/>
                <a:ext cx="107805" cy="93641"/>
                <a:chOff x="7600950" y="3048000"/>
                <a:chExt cx="285750" cy="279400"/>
              </a:xfrm>
              <a:solidFill>
                <a:srgbClr val="016AA3"/>
              </a:solidFill>
              <a:effectLst>
                <a:outerShdw blurRad="38100" dist="25400" dir="5400000" algn="ctr" rotWithShape="0">
                  <a:srgbClr val="000000">
                    <a:alpha val="20000"/>
                  </a:srgbClr>
                </a:outerShdw>
              </a:effectLst>
            </p:grpSpPr>
            <p:sp>
              <p:nvSpPr>
                <p:cNvPr id="64" name="Freeform 3039"/>
                <p:cNvSpPr>
                  <a:spLocks/>
                </p:cNvSpPr>
                <p:nvPr/>
              </p:nvSpPr>
              <p:spPr bwMode="auto">
                <a:xfrm>
                  <a:off x="7681913" y="3048000"/>
                  <a:ext cx="123825" cy="128588"/>
                </a:xfrm>
                <a:custGeom>
                  <a:avLst/>
                  <a:gdLst>
                    <a:gd name="T0" fmla="*/ 263 w 310"/>
                    <a:gd name="T1" fmla="*/ 323 h 323"/>
                    <a:gd name="T2" fmla="*/ 268 w 310"/>
                    <a:gd name="T3" fmla="*/ 323 h 323"/>
                    <a:gd name="T4" fmla="*/ 271 w 310"/>
                    <a:gd name="T5" fmla="*/ 321 h 323"/>
                    <a:gd name="T6" fmla="*/ 274 w 310"/>
                    <a:gd name="T7" fmla="*/ 317 h 323"/>
                    <a:gd name="T8" fmla="*/ 275 w 310"/>
                    <a:gd name="T9" fmla="*/ 314 h 323"/>
                    <a:gd name="T10" fmla="*/ 275 w 310"/>
                    <a:gd name="T11" fmla="*/ 310 h 323"/>
                    <a:gd name="T12" fmla="*/ 274 w 310"/>
                    <a:gd name="T13" fmla="*/ 307 h 323"/>
                    <a:gd name="T14" fmla="*/ 231 w 310"/>
                    <a:gd name="T15" fmla="*/ 207 h 323"/>
                    <a:gd name="T16" fmla="*/ 307 w 310"/>
                    <a:gd name="T17" fmla="*/ 141 h 323"/>
                    <a:gd name="T18" fmla="*/ 309 w 310"/>
                    <a:gd name="T19" fmla="*/ 138 h 323"/>
                    <a:gd name="T20" fmla="*/ 310 w 310"/>
                    <a:gd name="T21" fmla="*/ 135 h 323"/>
                    <a:gd name="T22" fmla="*/ 310 w 310"/>
                    <a:gd name="T23" fmla="*/ 132 h 323"/>
                    <a:gd name="T24" fmla="*/ 310 w 310"/>
                    <a:gd name="T25" fmla="*/ 128 h 323"/>
                    <a:gd name="T26" fmla="*/ 308 w 310"/>
                    <a:gd name="T27" fmla="*/ 125 h 323"/>
                    <a:gd name="T28" fmla="*/ 306 w 310"/>
                    <a:gd name="T29" fmla="*/ 122 h 323"/>
                    <a:gd name="T30" fmla="*/ 302 w 310"/>
                    <a:gd name="T31" fmla="*/ 121 h 323"/>
                    <a:gd name="T32" fmla="*/ 299 w 310"/>
                    <a:gd name="T33" fmla="*/ 120 h 323"/>
                    <a:gd name="T34" fmla="*/ 200 w 310"/>
                    <a:gd name="T35" fmla="*/ 120 h 323"/>
                    <a:gd name="T36" fmla="*/ 167 w 310"/>
                    <a:gd name="T37" fmla="*/ 9 h 323"/>
                    <a:gd name="T38" fmla="*/ 165 w 310"/>
                    <a:gd name="T39" fmla="*/ 6 h 323"/>
                    <a:gd name="T40" fmla="*/ 163 w 310"/>
                    <a:gd name="T41" fmla="*/ 2 h 323"/>
                    <a:gd name="T42" fmla="*/ 159 w 310"/>
                    <a:gd name="T43" fmla="*/ 1 h 323"/>
                    <a:gd name="T44" fmla="*/ 156 w 310"/>
                    <a:gd name="T45" fmla="*/ 0 h 323"/>
                    <a:gd name="T46" fmla="*/ 151 w 310"/>
                    <a:gd name="T47" fmla="*/ 1 h 323"/>
                    <a:gd name="T48" fmla="*/ 149 w 310"/>
                    <a:gd name="T49" fmla="*/ 2 h 323"/>
                    <a:gd name="T50" fmla="*/ 145 w 310"/>
                    <a:gd name="T51" fmla="*/ 6 h 323"/>
                    <a:gd name="T52" fmla="*/ 144 w 310"/>
                    <a:gd name="T53" fmla="*/ 9 h 323"/>
                    <a:gd name="T54" fmla="*/ 111 w 310"/>
                    <a:gd name="T55" fmla="*/ 120 h 323"/>
                    <a:gd name="T56" fmla="*/ 12 w 310"/>
                    <a:gd name="T57" fmla="*/ 120 h 323"/>
                    <a:gd name="T58" fmla="*/ 8 w 310"/>
                    <a:gd name="T59" fmla="*/ 121 h 323"/>
                    <a:gd name="T60" fmla="*/ 5 w 310"/>
                    <a:gd name="T61" fmla="*/ 122 h 323"/>
                    <a:gd name="T62" fmla="*/ 2 w 310"/>
                    <a:gd name="T63" fmla="*/ 125 h 323"/>
                    <a:gd name="T64" fmla="*/ 0 w 310"/>
                    <a:gd name="T65" fmla="*/ 128 h 323"/>
                    <a:gd name="T66" fmla="*/ 0 w 310"/>
                    <a:gd name="T67" fmla="*/ 132 h 323"/>
                    <a:gd name="T68" fmla="*/ 0 w 310"/>
                    <a:gd name="T69" fmla="*/ 135 h 323"/>
                    <a:gd name="T70" fmla="*/ 1 w 310"/>
                    <a:gd name="T71" fmla="*/ 138 h 323"/>
                    <a:gd name="T72" fmla="*/ 4 w 310"/>
                    <a:gd name="T73" fmla="*/ 141 h 323"/>
                    <a:gd name="T74" fmla="*/ 81 w 310"/>
                    <a:gd name="T75" fmla="*/ 205 h 323"/>
                    <a:gd name="T76" fmla="*/ 37 w 310"/>
                    <a:gd name="T77" fmla="*/ 307 h 323"/>
                    <a:gd name="T78" fmla="*/ 36 w 310"/>
                    <a:gd name="T79" fmla="*/ 310 h 323"/>
                    <a:gd name="T80" fmla="*/ 36 w 310"/>
                    <a:gd name="T81" fmla="*/ 314 h 323"/>
                    <a:gd name="T82" fmla="*/ 37 w 310"/>
                    <a:gd name="T83" fmla="*/ 317 h 323"/>
                    <a:gd name="T84" fmla="*/ 39 w 310"/>
                    <a:gd name="T85" fmla="*/ 321 h 323"/>
                    <a:gd name="T86" fmla="*/ 43 w 310"/>
                    <a:gd name="T87" fmla="*/ 323 h 323"/>
                    <a:gd name="T88" fmla="*/ 46 w 310"/>
                    <a:gd name="T89" fmla="*/ 323 h 323"/>
                    <a:gd name="T90" fmla="*/ 51 w 310"/>
                    <a:gd name="T91" fmla="*/ 323 h 323"/>
                    <a:gd name="T92" fmla="*/ 55 w 310"/>
                    <a:gd name="T93" fmla="*/ 322 h 323"/>
                    <a:gd name="T94" fmla="*/ 156 w 310"/>
                    <a:gd name="T95" fmla="*/ 254 h 323"/>
                    <a:gd name="T96" fmla="*/ 257 w 310"/>
                    <a:gd name="T97" fmla="*/ 322 h 323"/>
                    <a:gd name="T98" fmla="*/ 259 w 310"/>
                    <a:gd name="T99" fmla="*/ 323 h 323"/>
                    <a:gd name="T100" fmla="*/ 263 w 310"/>
                    <a:gd name="T101" fmla="*/ 323 h 323"/>
                    <a:gd name="T102" fmla="*/ 263 w 310"/>
                    <a:gd name="T103"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10" h="323">
                      <a:moveTo>
                        <a:pt x="263" y="323"/>
                      </a:moveTo>
                      <a:lnTo>
                        <a:pt x="268" y="323"/>
                      </a:lnTo>
                      <a:lnTo>
                        <a:pt x="271" y="321"/>
                      </a:lnTo>
                      <a:lnTo>
                        <a:pt x="274" y="317"/>
                      </a:lnTo>
                      <a:lnTo>
                        <a:pt x="275" y="314"/>
                      </a:lnTo>
                      <a:lnTo>
                        <a:pt x="275" y="310"/>
                      </a:lnTo>
                      <a:lnTo>
                        <a:pt x="274" y="307"/>
                      </a:lnTo>
                      <a:lnTo>
                        <a:pt x="231" y="207"/>
                      </a:lnTo>
                      <a:lnTo>
                        <a:pt x="307" y="141"/>
                      </a:lnTo>
                      <a:lnTo>
                        <a:pt x="309" y="138"/>
                      </a:lnTo>
                      <a:lnTo>
                        <a:pt x="310" y="135"/>
                      </a:lnTo>
                      <a:lnTo>
                        <a:pt x="310" y="132"/>
                      </a:lnTo>
                      <a:lnTo>
                        <a:pt x="310" y="128"/>
                      </a:lnTo>
                      <a:lnTo>
                        <a:pt x="308" y="125"/>
                      </a:lnTo>
                      <a:lnTo>
                        <a:pt x="306" y="122"/>
                      </a:lnTo>
                      <a:lnTo>
                        <a:pt x="302" y="121"/>
                      </a:lnTo>
                      <a:lnTo>
                        <a:pt x="299" y="120"/>
                      </a:lnTo>
                      <a:lnTo>
                        <a:pt x="200" y="120"/>
                      </a:lnTo>
                      <a:lnTo>
                        <a:pt x="167" y="9"/>
                      </a:lnTo>
                      <a:lnTo>
                        <a:pt x="165" y="6"/>
                      </a:lnTo>
                      <a:lnTo>
                        <a:pt x="163" y="2"/>
                      </a:lnTo>
                      <a:lnTo>
                        <a:pt x="159" y="1"/>
                      </a:lnTo>
                      <a:lnTo>
                        <a:pt x="156" y="0"/>
                      </a:lnTo>
                      <a:lnTo>
                        <a:pt x="151" y="1"/>
                      </a:lnTo>
                      <a:lnTo>
                        <a:pt x="149" y="2"/>
                      </a:lnTo>
                      <a:lnTo>
                        <a:pt x="145" y="6"/>
                      </a:lnTo>
                      <a:lnTo>
                        <a:pt x="144" y="9"/>
                      </a:lnTo>
                      <a:lnTo>
                        <a:pt x="111" y="120"/>
                      </a:lnTo>
                      <a:lnTo>
                        <a:pt x="12" y="120"/>
                      </a:lnTo>
                      <a:lnTo>
                        <a:pt x="8" y="121"/>
                      </a:lnTo>
                      <a:lnTo>
                        <a:pt x="5" y="122"/>
                      </a:lnTo>
                      <a:lnTo>
                        <a:pt x="2" y="125"/>
                      </a:lnTo>
                      <a:lnTo>
                        <a:pt x="0" y="128"/>
                      </a:lnTo>
                      <a:lnTo>
                        <a:pt x="0" y="132"/>
                      </a:lnTo>
                      <a:lnTo>
                        <a:pt x="0" y="135"/>
                      </a:lnTo>
                      <a:lnTo>
                        <a:pt x="1" y="138"/>
                      </a:lnTo>
                      <a:lnTo>
                        <a:pt x="4" y="141"/>
                      </a:lnTo>
                      <a:lnTo>
                        <a:pt x="81" y="205"/>
                      </a:lnTo>
                      <a:lnTo>
                        <a:pt x="37" y="307"/>
                      </a:lnTo>
                      <a:lnTo>
                        <a:pt x="36" y="310"/>
                      </a:lnTo>
                      <a:lnTo>
                        <a:pt x="36" y="314"/>
                      </a:lnTo>
                      <a:lnTo>
                        <a:pt x="37" y="317"/>
                      </a:lnTo>
                      <a:lnTo>
                        <a:pt x="39" y="321"/>
                      </a:lnTo>
                      <a:lnTo>
                        <a:pt x="43" y="323"/>
                      </a:lnTo>
                      <a:lnTo>
                        <a:pt x="46" y="323"/>
                      </a:lnTo>
                      <a:lnTo>
                        <a:pt x="51" y="323"/>
                      </a:lnTo>
                      <a:lnTo>
                        <a:pt x="55" y="322"/>
                      </a:lnTo>
                      <a:lnTo>
                        <a:pt x="156" y="254"/>
                      </a:lnTo>
                      <a:lnTo>
                        <a:pt x="257" y="322"/>
                      </a:lnTo>
                      <a:lnTo>
                        <a:pt x="259" y="323"/>
                      </a:lnTo>
                      <a:lnTo>
                        <a:pt x="263" y="323"/>
                      </a:lnTo>
                      <a:lnTo>
                        <a:pt x="263" y="3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67"/>
                </a:p>
              </p:txBody>
            </p:sp>
            <p:sp>
              <p:nvSpPr>
                <p:cNvPr id="65" name="Freeform 3040"/>
                <p:cNvSpPr>
                  <a:spLocks/>
                </p:cNvSpPr>
                <p:nvPr/>
              </p:nvSpPr>
              <p:spPr bwMode="auto">
                <a:xfrm>
                  <a:off x="7762875" y="3200400"/>
                  <a:ext cx="123825" cy="127000"/>
                </a:xfrm>
                <a:custGeom>
                  <a:avLst/>
                  <a:gdLst>
                    <a:gd name="T0" fmla="*/ 311 w 312"/>
                    <a:gd name="T1" fmla="*/ 127 h 322"/>
                    <a:gd name="T2" fmla="*/ 308 w 312"/>
                    <a:gd name="T3" fmla="*/ 124 h 322"/>
                    <a:gd name="T4" fmla="*/ 306 w 312"/>
                    <a:gd name="T5" fmla="*/ 121 h 322"/>
                    <a:gd name="T6" fmla="*/ 304 w 312"/>
                    <a:gd name="T7" fmla="*/ 120 h 322"/>
                    <a:gd name="T8" fmla="*/ 300 w 312"/>
                    <a:gd name="T9" fmla="*/ 119 h 322"/>
                    <a:gd name="T10" fmla="*/ 200 w 312"/>
                    <a:gd name="T11" fmla="*/ 119 h 322"/>
                    <a:gd name="T12" fmla="*/ 167 w 312"/>
                    <a:gd name="T13" fmla="*/ 8 h 322"/>
                    <a:gd name="T14" fmla="*/ 166 w 312"/>
                    <a:gd name="T15" fmla="*/ 5 h 322"/>
                    <a:gd name="T16" fmla="*/ 163 w 312"/>
                    <a:gd name="T17" fmla="*/ 2 h 322"/>
                    <a:gd name="T18" fmla="*/ 160 w 312"/>
                    <a:gd name="T19" fmla="*/ 0 h 322"/>
                    <a:gd name="T20" fmla="*/ 156 w 312"/>
                    <a:gd name="T21" fmla="*/ 0 h 322"/>
                    <a:gd name="T22" fmla="*/ 153 w 312"/>
                    <a:gd name="T23" fmla="*/ 0 h 322"/>
                    <a:gd name="T24" fmla="*/ 149 w 312"/>
                    <a:gd name="T25" fmla="*/ 2 h 322"/>
                    <a:gd name="T26" fmla="*/ 146 w 312"/>
                    <a:gd name="T27" fmla="*/ 5 h 322"/>
                    <a:gd name="T28" fmla="*/ 144 w 312"/>
                    <a:gd name="T29" fmla="*/ 8 h 322"/>
                    <a:gd name="T30" fmla="*/ 111 w 312"/>
                    <a:gd name="T31" fmla="*/ 119 h 322"/>
                    <a:gd name="T32" fmla="*/ 12 w 312"/>
                    <a:gd name="T33" fmla="*/ 119 h 322"/>
                    <a:gd name="T34" fmla="*/ 9 w 312"/>
                    <a:gd name="T35" fmla="*/ 120 h 322"/>
                    <a:gd name="T36" fmla="*/ 5 w 312"/>
                    <a:gd name="T37" fmla="*/ 121 h 322"/>
                    <a:gd name="T38" fmla="*/ 3 w 312"/>
                    <a:gd name="T39" fmla="*/ 124 h 322"/>
                    <a:gd name="T40" fmla="*/ 0 w 312"/>
                    <a:gd name="T41" fmla="*/ 127 h 322"/>
                    <a:gd name="T42" fmla="*/ 0 w 312"/>
                    <a:gd name="T43" fmla="*/ 131 h 322"/>
                    <a:gd name="T44" fmla="*/ 0 w 312"/>
                    <a:gd name="T45" fmla="*/ 134 h 322"/>
                    <a:gd name="T46" fmla="*/ 2 w 312"/>
                    <a:gd name="T47" fmla="*/ 138 h 322"/>
                    <a:gd name="T48" fmla="*/ 4 w 312"/>
                    <a:gd name="T49" fmla="*/ 140 h 322"/>
                    <a:gd name="T50" fmla="*/ 81 w 312"/>
                    <a:gd name="T51" fmla="*/ 204 h 322"/>
                    <a:gd name="T52" fmla="*/ 37 w 312"/>
                    <a:gd name="T53" fmla="*/ 306 h 322"/>
                    <a:gd name="T54" fmla="*/ 36 w 312"/>
                    <a:gd name="T55" fmla="*/ 309 h 322"/>
                    <a:gd name="T56" fmla="*/ 36 w 312"/>
                    <a:gd name="T57" fmla="*/ 314 h 322"/>
                    <a:gd name="T58" fmla="*/ 38 w 312"/>
                    <a:gd name="T59" fmla="*/ 317 h 322"/>
                    <a:gd name="T60" fmla="*/ 41 w 312"/>
                    <a:gd name="T61" fmla="*/ 320 h 322"/>
                    <a:gd name="T62" fmla="*/ 43 w 312"/>
                    <a:gd name="T63" fmla="*/ 322 h 322"/>
                    <a:gd name="T64" fmla="*/ 48 w 312"/>
                    <a:gd name="T65" fmla="*/ 322 h 322"/>
                    <a:gd name="T66" fmla="*/ 52 w 312"/>
                    <a:gd name="T67" fmla="*/ 322 h 322"/>
                    <a:gd name="T68" fmla="*/ 55 w 312"/>
                    <a:gd name="T69" fmla="*/ 321 h 322"/>
                    <a:gd name="T70" fmla="*/ 156 w 312"/>
                    <a:gd name="T71" fmla="*/ 253 h 322"/>
                    <a:gd name="T72" fmla="*/ 257 w 312"/>
                    <a:gd name="T73" fmla="*/ 321 h 322"/>
                    <a:gd name="T74" fmla="*/ 260 w 312"/>
                    <a:gd name="T75" fmla="*/ 322 h 322"/>
                    <a:gd name="T76" fmla="*/ 263 w 312"/>
                    <a:gd name="T77" fmla="*/ 322 h 322"/>
                    <a:gd name="T78" fmla="*/ 268 w 312"/>
                    <a:gd name="T79" fmla="*/ 322 h 322"/>
                    <a:gd name="T80" fmla="*/ 272 w 312"/>
                    <a:gd name="T81" fmla="*/ 320 h 322"/>
                    <a:gd name="T82" fmla="*/ 274 w 312"/>
                    <a:gd name="T83" fmla="*/ 317 h 322"/>
                    <a:gd name="T84" fmla="*/ 275 w 312"/>
                    <a:gd name="T85" fmla="*/ 314 h 322"/>
                    <a:gd name="T86" fmla="*/ 275 w 312"/>
                    <a:gd name="T87" fmla="*/ 310 h 322"/>
                    <a:gd name="T88" fmla="*/ 275 w 312"/>
                    <a:gd name="T89" fmla="*/ 306 h 322"/>
                    <a:gd name="T90" fmla="*/ 231 w 312"/>
                    <a:gd name="T91" fmla="*/ 207 h 322"/>
                    <a:gd name="T92" fmla="*/ 307 w 312"/>
                    <a:gd name="T93" fmla="*/ 140 h 322"/>
                    <a:gd name="T94" fmla="*/ 310 w 312"/>
                    <a:gd name="T95" fmla="*/ 138 h 322"/>
                    <a:gd name="T96" fmla="*/ 311 w 312"/>
                    <a:gd name="T97" fmla="*/ 134 h 322"/>
                    <a:gd name="T98" fmla="*/ 312 w 312"/>
                    <a:gd name="T99" fmla="*/ 131 h 322"/>
                    <a:gd name="T100" fmla="*/ 311 w 312"/>
                    <a:gd name="T101" fmla="*/ 127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2" h="322">
                      <a:moveTo>
                        <a:pt x="311" y="127"/>
                      </a:moveTo>
                      <a:lnTo>
                        <a:pt x="308" y="124"/>
                      </a:lnTo>
                      <a:lnTo>
                        <a:pt x="306" y="121"/>
                      </a:lnTo>
                      <a:lnTo>
                        <a:pt x="304" y="120"/>
                      </a:lnTo>
                      <a:lnTo>
                        <a:pt x="300" y="119"/>
                      </a:lnTo>
                      <a:lnTo>
                        <a:pt x="200" y="119"/>
                      </a:lnTo>
                      <a:lnTo>
                        <a:pt x="167" y="8"/>
                      </a:lnTo>
                      <a:lnTo>
                        <a:pt x="166" y="5"/>
                      </a:lnTo>
                      <a:lnTo>
                        <a:pt x="163" y="2"/>
                      </a:lnTo>
                      <a:lnTo>
                        <a:pt x="160" y="0"/>
                      </a:lnTo>
                      <a:lnTo>
                        <a:pt x="156" y="0"/>
                      </a:lnTo>
                      <a:lnTo>
                        <a:pt x="153" y="0"/>
                      </a:lnTo>
                      <a:lnTo>
                        <a:pt x="149" y="2"/>
                      </a:lnTo>
                      <a:lnTo>
                        <a:pt x="146" y="5"/>
                      </a:lnTo>
                      <a:lnTo>
                        <a:pt x="144" y="8"/>
                      </a:lnTo>
                      <a:lnTo>
                        <a:pt x="111" y="119"/>
                      </a:lnTo>
                      <a:lnTo>
                        <a:pt x="12" y="119"/>
                      </a:lnTo>
                      <a:lnTo>
                        <a:pt x="9" y="120"/>
                      </a:lnTo>
                      <a:lnTo>
                        <a:pt x="5" y="121"/>
                      </a:lnTo>
                      <a:lnTo>
                        <a:pt x="3" y="124"/>
                      </a:lnTo>
                      <a:lnTo>
                        <a:pt x="0" y="127"/>
                      </a:lnTo>
                      <a:lnTo>
                        <a:pt x="0" y="131"/>
                      </a:lnTo>
                      <a:lnTo>
                        <a:pt x="0" y="134"/>
                      </a:lnTo>
                      <a:lnTo>
                        <a:pt x="2" y="138"/>
                      </a:lnTo>
                      <a:lnTo>
                        <a:pt x="4" y="140"/>
                      </a:lnTo>
                      <a:lnTo>
                        <a:pt x="81" y="204"/>
                      </a:lnTo>
                      <a:lnTo>
                        <a:pt x="37" y="306"/>
                      </a:lnTo>
                      <a:lnTo>
                        <a:pt x="36" y="309"/>
                      </a:lnTo>
                      <a:lnTo>
                        <a:pt x="36" y="314"/>
                      </a:lnTo>
                      <a:lnTo>
                        <a:pt x="38" y="317"/>
                      </a:lnTo>
                      <a:lnTo>
                        <a:pt x="41" y="320"/>
                      </a:lnTo>
                      <a:lnTo>
                        <a:pt x="43" y="322"/>
                      </a:lnTo>
                      <a:lnTo>
                        <a:pt x="48" y="322"/>
                      </a:lnTo>
                      <a:lnTo>
                        <a:pt x="52" y="322"/>
                      </a:lnTo>
                      <a:lnTo>
                        <a:pt x="55" y="321"/>
                      </a:lnTo>
                      <a:lnTo>
                        <a:pt x="156" y="253"/>
                      </a:lnTo>
                      <a:lnTo>
                        <a:pt x="257" y="321"/>
                      </a:lnTo>
                      <a:lnTo>
                        <a:pt x="260" y="322"/>
                      </a:lnTo>
                      <a:lnTo>
                        <a:pt x="263" y="322"/>
                      </a:lnTo>
                      <a:lnTo>
                        <a:pt x="268" y="322"/>
                      </a:lnTo>
                      <a:lnTo>
                        <a:pt x="272" y="320"/>
                      </a:lnTo>
                      <a:lnTo>
                        <a:pt x="274" y="317"/>
                      </a:lnTo>
                      <a:lnTo>
                        <a:pt x="275" y="314"/>
                      </a:lnTo>
                      <a:lnTo>
                        <a:pt x="275" y="310"/>
                      </a:lnTo>
                      <a:lnTo>
                        <a:pt x="275" y="306"/>
                      </a:lnTo>
                      <a:lnTo>
                        <a:pt x="231" y="207"/>
                      </a:lnTo>
                      <a:lnTo>
                        <a:pt x="307" y="140"/>
                      </a:lnTo>
                      <a:lnTo>
                        <a:pt x="310" y="138"/>
                      </a:lnTo>
                      <a:lnTo>
                        <a:pt x="311" y="134"/>
                      </a:lnTo>
                      <a:lnTo>
                        <a:pt x="312" y="131"/>
                      </a:lnTo>
                      <a:lnTo>
                        <a:pt x="311" y="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67"/>
                </a:p>
              </p:txBody>
            </p:sp>
            <p:sp>
              <p:nvSpPr>
                <p:cNvPr id="66" name="Freeform 3041"/>
                <p:cNvSpPr>
                  <a:spLocks/>
                </p:cNvSpPr>
                <p:nvPr/>
              </p:nvSpPr>
              <p:spPr bwMode="auto">
                <a:xfrm>
                  <a:off x="7600950" y="3200400"/>
                  <a:ext cx="123825" cy="127000"/>
                </a:xfrm>
                <a:custGeom>
                  <a:avLst/>
                  <a:gdLst>
                    <a:gd name="T0" fmla="*/ 300 w 312"/>
                    <a:gd name="T1" fmla="*/ 119 h 322"/>
                    <a:gd name="T2" fmla="*/ 201 w 312"/>
                    <a:gd name="T3" fmla="*/ 119 h 322"/>
                    <a:gd name="T4" fmla="*/ 168 w 312"/>
                    <a:gd name="T5" fmla="*/ 8 h 322"/>
                    <a:gd name="T6" fmla="*/ 167 w 312"/>
                    <a:gd name="T7" fmla="*/ 5 h 322"/>
                    <a:gd name="T8" fmla="*/ 163 w 312"/>
                    <a:gd name="T9" fmla="*/ 2 h 322"/>
                    <a:gd name="T10" fmla="*/ 161 w 312"/>
                    <a:gd name="T11" fmla="*/ 0 h 322"/>
                    <a:gd name="T12" fmla="*/ 156 w 312"/>
                    <a:gd name="T13" fmla="*/ 0 h 322"/>
                    <a:gd name="T14" fmla="*/ 153 w 312"/>
                    <a:gd name="T15" fmla="*/ 0 h 322"/>
                    <a:gd name="T16" fmla="*/ 149 w 312"/>
                    <a:gd name="T17" fmla="*/ 2 h 322"/>
                    <a:gd name="T18" fmla="*/ 147 w 312"/>
                    <a:gd name="T19" fmla="*/ 5 h 322"/>
                    <a:gd name="T20" fmla="*/ 146 w 312"/>
                    <a:gd name="T21" fmla="*/ 8 h 322"/>
                    <a:gd name="T22" fmla="*/ 112 w 312"/>
                    <a:gd name="T23" fmla="*/ 119 h 322"/>
                    <a:gd name="T24" fmla="*/ 13 w 312"/>
                    <a:gd name="T25" fmla="*/ 119 h 322"/>
                    <a:gd name="T26" fmla="*/ 9 w 312"/>
                    <a:gd name="T27" fmla="*/ 120 h 322"/>
                    <a:gd name="T28" fmla="*/ 6 w 312"/>
                    <a:gd name="T29" fmla="*/ 121 h 322"/>
                    <a:gd name="T30" fmla="*/ 4 w 312"/>
                    <a:gd name="T31" fmla="*/ 124 h 322"/>
                    <a:gd name="T32" fmla="*/ 2 w 312"/>
                    <a:gd name="T33" fmla="*/ 127 h 322"/>
                    <a:gd name="T34" fmla="*/ 0 w 312"/>
                    <a:gd name="T35" fmla="*/ 131 h 322"/>
                    <a:gd name="T36" fmla="*/ 2 w 312"/>
                    <a:gd name="T37" fmla="*/ 134 h 322"/>
                    <a:gd name="T38" fmla="*/ 3 w 312"/>
                    <a:gd name="T39" fmla="*/ 138 h 322"/>
                    <a:gd name="T40" fmla="*/ 5 w 312"/>
                    <a:gd name="T41" fmla="*/ 140 h 322"/>
                    <a:gd name="T42" fmla="*/ 82 w 312"/>
                    <a:gd name="T43" fmla="*/ 204 h 322"/>
                    <a:gd name="T44" fmla="*/ 38 w 312"/>
                    <a:gd name="T45" fmla="*/ 306 h 322"/>
                    <a:gd name="T46" fmla="*/ 37 w 312"/>
                    <a:gd name="T47" fmla="*/ 309 h 322"/>
                    <a:gd name="T48" fmla="*/ 37 w 312"/>
                    <a:gd name="T49" fmla="*/ 314 h 322"/>
                    <a:gd name="T50" fmla="*/ 38 w 312"/>
                    <a:gd name="T51" fmla="*/ 317 h 322"/>
                    <a:gd name="T52" fmla="*/ 41 w 312"/>
                    <a:gd name="T53" fmla="*/ 320 h 322"/>
                    <a:gd name="T54" fmla="*/ 44 w 312"/>
                    <a:gd name="T55" fmla="*/ 322 h 322"/>
                    <a:gd name="T56" fmla="*/ 48 w 312"/>
                    <a:gd name="T57" fmla="*/ 322 h 322"/>
                    <a:gd name="T58" fmla="*/ 52 w 312"/>
                    <a:gd name="T59" fmla="*/ 322 h 322"/>
                    <a:gd name="T60" fmla="*/ 55 w 312"/>
                    <a:gd name="T61" fmla="*/ 321 h 322"/>
                    <a:gd name="T62" fmla="*/ 156 w 312"/>
                    <a:gd name="T63" fmla="*/ 253 h 322"/>
                    <a:gd name="T64" fmla="*/ 257 w 312"/>
                    <a:gd name="T65" fmla="*/ 321 h 322"/>
                    <a:gd name="T66" fmla="*/ 261 w 312"/>
                    <a:gd name="T67" fmla="*/ 322 h 322"/>
                    <a:gd name="T68" fmla="*/ 264 w 312"/>
                    <a:gd name="T69" fmla="*/ 322 h 322"/>
                    <a:gd name="T70" fmla="*/ 268 w 312"/>
                    <a:gd name="T71" fmla="*/ 322 h 322"/>
                    <a:gd name="T72" fmla="*/ 272 w 312"/>
                    <a:gd name="T73" fmla="*/ 320 h 322"/>
                    <a:gd name="T74" fmla="*/ 275 w 312"/>
                    <a:gd name="T75" fmla="*/ 317 h 322"/>
                    <a:gd name="T76" fmla="*/ 276 w 312"/>
                    <a:gd name="T77" fmla="*/ 314 h 322"/>
                    <a:gd name="T78" fmla="*/ 276 w 312"/>
                    <a:gd name="T79" fmla="*/ 310 h 322"/>
                    <a:gd name="T80" fmla="*/ 275 w 312"/>
                    <a:gd name="T81" fmla="*/ 306 h 322"/>
                    <a:gd name="T82" fmla="*/ 231 w 312"/>
                    <a:gd name="T83" fmla="*/ 207 h 322"/>
                    <a:gd name="T84" fmla="*/ 308 w 312"/>
                    <a:gd name="T85" fmla="*/ 140 h 322"/>
                    <a:gd name="T86" fmla="*/ 311 w 312"/>
                    <a:gd name="T87" fmla="*/ 138 h 322"/>
                    <a:gd name="T88" fmla="*/ 312 w 312"/>
                    <a:gd name="T89" fmla="*/ 134 h 322"/>
                    <a:gd name="T90" fmla="*/ 312 w 312"/>
                    <a:gd name="T91" fmla="*/ 131 h 322"/>
                    <a:gd name="T92" fmla="*/ 312 w 312"/>
                    <a:gd name="T93" fmla="*/ 127 h 322"/>
                    <a:gd name="T94" fmla="*/ 310 w 312"/>
                    <a:gd name="T95" fmla="*/ 124 h 322"/>
                    <a:gd name="T96" fmla="*/ 307 w 312"/>
                    <a:gd name="T97" fmla="*/ 121 h 322"/>
                    <a:gd name="T98" fmla="*/ 304 w 312"/>
                    <a:gd name="T99" fmla="*/ 120 h 322"/>
                    <a:gd name="T100" fmla="*/ 300 w 312"/>
                    <a:gd name="T101" fmla="*/ 11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2" h="322">
                      <a:moveTo>
                        <a:pt x="300" y="119"/>
                      </a:moveTo>
                      <a:lnTo>
                        <a:pt x="201" y="119"/>
                      </a:lnTo>
                      <a:lnTo>
                        <a:pt x="168" y="8"/>
                      </a:lnTo>
                      <a:lnTo>
                        <a:pt x="167" y="5"/>
                      </a:lnTo>
                      <a:lnTo>
                        <a:pt x="163" y="2"/>
                      </a:lnTo>
                      <a:lnTo>
                        <a:pt x="161" y="0"/>
                      </a:lnTo>
                      <a:lnTo>
                        <a:pt x="156" y="0"/>
                      </a:lnTo>
                      <a:lnTo>
                        <a:pt x="153" y="0"/>
                      </a:lnTo>
                      <a:lnTo>
                        <a:pt x="149" y="2"/>
                      </a:lnTo>
                      <a:lnTo>
                        <a:pt x="147" y="5"/>
                      </a:lnTo>
                      <a:lnTo>
                        <a:pt x="146" y="8"/>
                      </a:lnTo>
                      <a:lnTo>
                        <a:pt x="112" y="119"/>
                      </a:lnTo>
                      <a:lnTo>
                        <a:pt x="13" y="119"/>
                      </a:lnTo>
                      <a:lnTo>
                        <a:pt x="9" y="120"/>
                      </a:lnTo>
                      <a:lnTo>
                        <a:pt x="6" y="121"/>
                      </a:lnTo>
                      <a:lnTo>
                        <a:pt x="4" y="124"/>
                      </a:lnTo>
                      <a:lnTo>
                        <a:pt x="2" y="127"/>
                      </a:lnTo>
                      <a:lnTo>
                        <a:pt x="0" y="131"/>
                      </a:lnTo>
                      <a:lnTo>
                        <a:pt x="2" y="134"/>
                      </a:lnTo>
                      <a:lnTo>
                        <a:pt x="3" y="138"/>
                      </a:lnTo>
                      <a:lnTo>
                        <a:pt x="5" y="140"/>
                      </a:lnTo>
                      <a:lnTo>
                        <a:pt x="82" y="204"/>
                      </a:lnTo>
                      <a:lnTo>
                        <a:pt x="38" y="306"/>
                      </a:lnTo>
                      <a:lnTo>
                        <a:pt x="37" y="309"/>
                      </a:lnTo>
                      <a:lnTo>
                        <a:pt x="37" y="314"/>
                      </a:lnTo>
                      <a:lnTo>
                        <a:pt x="38" y="317"/>
                      </a:lnTo>
                      <a:lnTo>
                        <a:pt x="41" y="320"/>
                      </a:lnTo>
                      <a:lnTo>
                        <a:pt x="44" y="322"/>
                      </a:lnTo>
                      <a:lnTo>
                        <a:pt x="48" y="322"/>
                      </a:lnTo>
                      <a:lnTo>
                        <a:pt x="52" y="322"/>
                      </a:lnTo>
                      <a:lnTo>
                        <a:pt x="55" y="321"/>
                      </a:lnTo>
                      <a:lnTo>
                        <a:pt x="156" y="253"/>
                      </a:lnTo>
                      <a:lnTo>
                        <a:pt x="257" y="321"/>
                      </a:lnTo>
                      <a:lnTo>
                        <a:pt x="261" y="322"/>
                      </a:lnTo>
                      <a:lnTo>
                        <a:pt x="264" y="322"/>
                      </a:lnTo>
                      <a:lnTo>
                        <a:pt x="268" y="322"/>
                      </a:lnTo>
                      <a:lnTo>
                        <a:pt x="272" y="320"/>
                      </a:lnTo>
                      <a:lnTo>
                        <a:pt x="275" y="317"/>
                      </a:lnTo>
                      <a:lnTo>
                        <a:pt x="276" y="314"/>
                      </a:lnTo>
                      <a:lnTo>
                        <a:pt x="276" y="310"/>
                      </a:lnTo>
                      <a:lnTo>
                        <a:pt x="275" y="306"/>
                      </a:lnTo>
                      <a:lnTo>
                        <a:pt x="231" y="207"/>
                      </a:lnTo>
                      <a:lnTo>
                        <a:pt x="308" y="140"/>
                      </a:lnTo>
                      <a:lnTo>
                        <a:pt x="311" y="138"/>
                      </a:lnTo>
                      <a:lnTo>
                        <a:pt x="312" y="134"/>
                      </a:lnTo>
                      <a:lnTo>
                        <a:pt x="312" y="131"/>
                      </a:lnTo>
                      <a:lnTo>
                        <a:pt x="312" y="127"/>
                      </a:lnTo>
                      <a:lnTo>
                        <a:pt x="310" y="124"/>
                      </a:lnTo>
                      <a:lnTo>
                        <a:pt x="307" y="121"/>
                      </a:lnTo>
                      <a:lnTo>
                        <a:pt x="304" y="120"/>
                      </a:lnTo>
                      <a:lnTo>
                        <a:pt x="300" y="1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67"/>
                </a:p>
              </p:txBody>
            </p:sp>
          </p:grpSp>
          <p:grpSp>
            <p:nvGrpSpPr>
              <p:cNvPr id="67" name="Group 66"/>
              <p:cNvGrpSpPr/>
              <p:nvPr/>
            </p:nvGrpSpPr>
            <p:grpSpPr>
              <a:xfrm>
                <a:off x="4908086" y="1900237"/>
                <a:ext cx="310299" cy="186137"/>
                <a:chOff x="6534532" y="2647484"/>
                <a:chExt cx="413732" cy="248182"/>
              </a:xfrm>
              <a:effectLst>
                <a:outerShdw blurRad="50800" dist="38100" dir="2700000" algn="tl" rotWithShape="0">
                  <a:prstClr val="black">
                    <a:alpha val="40000"/>
                  </a:prstClr>
                </a:outerShdw>
              </a:effectLst>
            </p:grpSpPr>
            <p:sp>
              <p:nvSpPr>
                <p:cNvPr id="68" name="Rectangle 67"/>
                <p:cNvSpPr/>
                <p:nvPr/>
              </p:nvSpPr>
              <p:spPr>
                <a:xfrm>
                  <a:off x="6534532" y="2647484"/>
                  <a:ext cx="413732" cy="248182"/>
                </a:xfrm>
                <a:prstGeom prst="rect">
                  <a:avLst/>
                </a:prstGeom>
                <a:noFill/>
                <a:ln w="6350">
                  <a:solidFill>
                    <a:schemeClr val="bg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a:p>
              </p:txBody>
            </p:sp>
            <p:cxnSp>
              <p:nvCxnSpPr>
                <p:cNvPr id="69" name="Straight Connector 68"/>
                <p:cNvCxnSpPr/>
                <p:nvPr/>
              </p:nvCxnSpPr>
              <p:spPr>
                <a:xfrm>
                  <a:off x="6545545" y="2694779"/>
                  <a:ext cx="365760" cy="4874"/>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6571823" y="2739160"/>
                  <a:ext cx="365760" cy="4874"/>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6546834" y="2789463"/>
                  <a:ext cx="365760" cy="4874"/>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6573112" y="2833844"/>
                  <a:ext cx="365760" cy="4874"/>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3" name="Rectangle 72"/>
                <p:cNvSpPr/>
                <p:nvPr/>
              </p:nvSpPr>
              <p:spPr>
                <a:xfrm>
                  <a:off x="6603918" y="2762610"/>
                  <a:ext cx="137480" cy="45719"/>
                </a:xfrm>
                <a:prstGeom prst="rect">
                  <a:avLst/>
                </a:prstGeom>
                <a:solidFill>
                  <a:schemeClr val="bg1"/>
                </a:solidFill>
                <a:ln w="6350">
                  <a:solidFill>
                    <a:schemeClr val="bg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a:p>
              </p:txBody>
            </p:sp>
          </p:grpSp>
        </p:grpSp>
        <p:sp>
          <p:nvSpPr>
            <p:cNvPr id="75" name="Rounded Rectangle 74"/>
            <p:cNvSpPr/>
            <p:nvPr/>
          </p:nvSpPr>
          <p:spPr>
            <a:xfrm>
              <a:off x="1037690" y="1292156"/>
              <a:ext cx="7130265" cy="3177102"/>
            </a:xfrm>
            <a:prstGeom prst="roundRect">
              <a:avLst>
                <a:gd name="adj" fmla="val 2743"/>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
        <p:nvSpPr>
          <p:cNvPr id="90" name="TextBox 89"/>
          <p:cNvSpPr txBox="1"/>
          <p:nvPr/>
        </p:nvSpPr>
        <p:spPr>
          <a:xfrm>
            <a:off x="9837511" y="1840458"/>
            <a:ext cx="2115140" cy="1302921"/>
          </a:xfrm>
          <a:prstGeom prst="rect">
            <a:avLst/>
          </a:prstGeom>
          <a:noFill/>
        </p:spPr>
        <p:txBody>
          <a:bodyPr wrap="square" rtlCol="0">
            <a:spAutoFit/>
          </a:bodyPr>
          <a:lstStyle>
            <a:defPPr>
              <a:defRPr lang="en-US"/>
            </a:defPPr>
            <a:lvl1pPr marL="171450" indent="-171450" fontAlgn="base">
              <a:spcBef>
                <a:spcPct val="0"/>
              </a:spcBef>
              <a:spcAft>
                <a:spcPct val="0"/>
              </a:spcAft>
              <a:buFont typeface="Wingdings" panose="05000000000000000000" pitchFamily="2" charset="2"/>
              <a:buChar char="§"/>
              <a:defRPr>
                <a:solidFill>
                  <a:srgbClr val="000000"/>
                </a:solidFill>
                <a:latin typeface="Calibri" panose="020F0502020204030204" pitchFamily="34" charset="0"/>
                <a:cs typeface="Arial" charset="0"/>
              </a:defRPr>
            </a:lvl1pPr>
          </a:lstStyle>
          <a:p>
            <a:pPr>
              <a:spcBef>
                <a:spcPts val="0"/>
              </a:spcBef>
              <a:spcAft>
                <a:spcPts val="400"/>
              </a:spcAft>
            </a:pPr>
            <a:r>
              <a:rPr lang="en-US" sz="1200">
                <a:latin typeface="+mn-lt"/>
              </a:rPr>
              <a:t>Technology agnostic</a:t>
            </a:r>
          </a:p>
          <a:p>
            <a:pPr>
              <a:spcBef>
                <a:spcPts val="0"/>
              </a:spcBef>
              <a:spcAft>
                <a:spcPts val="400"/>
              </a:spcAft>
            </a:pPr>
            <a:r>
              <a:rPr lang="en-US" sz="1200">
                <a:latin typeface="+mn-lt"/>
              </a:rPr>
              <a:t>Study as-is Process and environment</a:t>
            </a:r>
          </a:p>
          <a:p>
            <a:pPr>
              <a:spcBef>
                <a:spcPts val="0"/>
              </a:spcBef>
              <a:spcAft>
                <a:spcPts val="400"/>
              </a:spcAft>
            </a:pPr>
            <a:r>
              <a:rPr lang="en-US" sz="1200">
                <a:latin typeface="+mn-lt"/>
              </a:rPr>
              <a:t>Automation feasibility, complexity and effort estimates</a:t>
            </a:r>
          </a:p>
        </p:txBody>
      </p:sp>
      <p:sp>
        <p:nvSpPr>
          <p:cNvPr id="91" name="Rounded Rectangle 90"/>
          <p:cNvSpPr/>
          <p:nvPr/>
        </p:nvSpPr>
        <p:spPr>
          <a:xfrm>
            <a:off x="9797699" y="1374051"/>
            <a:ext cx="2152215" cy="426175"/>
          </a:xfrm>
          <a:prstGeom prst="roundRect">
            <a:avLst>
              <a:gd name="adj" fmla="val 24137"/>
            </a:avLst>
          </a:prstGeom>
          <a:solidFill>
            <a:schemeClr val="accent1"/>
          </a:soli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a:solidFill>
                  <a:srgbClr val="FFFFFF"/>
                </a:solidFill>
                <a:effectLst>
                  <a:outerShdw blurRad="38100" dist="38100" dir="2700000" algn="tl">
                    <a:srgbClr val="000000">
                      <a:alpha val="43137"/>
                    </a:srgbClr>
                  </a:outerShdw>
                </a:effectLst>
              </a:rPr>
              <a:t>Features</a:t>
            </a:r>
          </a:p>
        </p:txBody>
      </p:sp>
      <p:sp>
        <p:nvSpPr>
          <p:cNvPr id="106" name="TextBox 105"/>
          <p:cNvSpPr txBox="1"/>
          <p:nvPr/>
        </p:nvSpPr>
        <p:spPr>
          <a:xfrm>
            <a:off x="9837511" y="3790674"/>
            <a:ext cx="2115140" cy="748923"/>
          </a:xfrm>
          <a:prstGeom prst="rect">
            <a:avLst/>
          </a:prstGeom>
          <a:noFill/>
        </p:spPr>
        <p:txBody>
          <a:bodyPr wrap="square" rtlCol="0">
            <a:spAutoFit/>
          </a:bodyPr>
          <a:lstStyle>
            <a:defPPr>
              <a:defRPr lang="en-US"/>
            </a:defPPr>
            <a:lvl1pPr marL="171450" indent="-171450" fontAlgn="base">
              <a:spcBef>
                <a:spcPct val="0"/>
              </a:spcBef>
              <a:spcAft>
                <a:spcPct val="0"/>
              </a:spcAft>
              <a:buFont typeface="Wingdings" panose="05000000000000000000" pitchFamily="2" charset="2"/>
              <a:buChar char="§"/>
              <a:defRPr>
                <a:solidFill>
                  <a:srgbClr val="000000"/>
                </a:solidFill>
                <a:latin typeface="Calibri" panose="020F0502020204030204" pitchFamily="34" charset="0"/>
                <a:cs typeface="Arial" charset="0"/>
              </a:defRPr>
            </a:lvl1pPr>
          </a:lstStyle>
          <a:p>
            <a:pPr>
              <a:spcBef>
                <a:spcPts val="0"/>
              </a:spcBef>
              <a:spcAft>
                <a:spcPts val="400"/>
              </a:spcAft>
            </a:pPr>
            <a:r>
              <a:rPr lang="en-US" sz="1200">
                <a:latin typeface="+mn-lt"/>
              </a:rPr>
              <a:t>Activity Maps </a:t>
            </a:r>
          </a:p>
          <a:p>
            <a:pPr>
              <a:spcBef>
                <a:spcPts val="0"/>
              </a:spcBef>
              <a:spcAft>
                <a:spcPts val="400"/>
              </a:spcAft>
            </a:pPr>
            <a:r>
              <a:rPr lang="en-US" sz="1200">
                <a:latin typeface="+mn-lt"/>
              </a:rPr>
              <a:t>Visio Maps</a:t>
            </a:r>
          </a:p>
          <a:p>
            <a:pPr>
              <a:spcBef>
                <a:spcPts val="0"/>
              </a:spcBef>
              <a:spcAft>
                <a:spcPts val="400"/>
              </a:spcAft>
            </a:pPr>
            <a:r>
              <a:rPr lang="en-US" sz="1200">
                <a:latin typeface="+mn-lt"/>
              </a:rPr>
              <a:t>Time &amp; Motion Metrics</a:t>
            </a:r>
          </a:p>
        </p:txBody>
      </p:sp>
      <p:sp>
        <p:nvSpPr>
          <p:cNvPr id="107" name="Rounded Rectangle 106"/>
          <p:cNvSpPr/>
          <p:nvPr/>
        </p:nvSpPr>
        <p:spPr>
          <a:xfrm>
            <a:off x="9797699" y="3324267"/>
            <a:ext cx="2152215" cy="426175"/>
          </a:xfrm>
          <a:prstGeom prst="roundRect">
            <a:avLst>
              <a:gd name="adj" fmla="val 24137"/>
            </a:avLst>
          </a:prstGeom>
          <a:solidFill>
            <a:schemeClr val="accent1"/>
          </a:soli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a:solidFill>
                  <a:srgbClr val="FFFFFF"/>
                </a:solidFill>
                <a:effectLst>
                  <a:outerShdw blurRad="38100" dist="38100" dir="2700000" algn="tl">
                    <a:srgbClr val="000000">
                      <a:alpha val="43137"/>
                    </a:srgbClr>
                  </a:outerShdw>
                </a:effectLst>
              </a:rPr>
              <a:t>Business Output</a:t>
            </a:r>
          </a:p>
        </p:txBody>
      </p:sp>
      <p:sp>
        <p:nvSpPr>
          <p:cNvPr id="108" name="TextBox 107"/>
          <p:cNvSpPr txBox="1"/>
          <p:nvPr/>
        </p:nvSpPr>
        <p:spPr>
          <a:xfrm>
            <a:off x="9837511" y="5202426"/>
            <a:ext cx="2115140" cy="512961"/>
          </a:xfrm>
          <a:prstGeom prst="rect">
            <a:avLst/>
          </a:prstGeom>
          <a:noFill/>
        </p:spPr>
        <p:txBody>
          <a:bodyPr wrap="square" rtlCol="0">
            <a:spAutoFit/>
          </a:bodyPr>
          <a:lstStyle>
            <a:defPPr>
              <a:defRPr lang="en-US"/>
            </a:defPPr>
            <a:lvl1pPr marL="171450" indent="-171450" fontAlgn="base">
              <a:spcBef>
                <a:spcPct val="0"/>
              </a:spcBef>
              <a:spcAft>
                <a:spcPct val="0"/>
              </a:spcAft>
              <a:buFont typeface="Wingdings" panose="05000000000000000000" pitchFamily="2" charset="2"/>
              <a:buChar char="§"/>
              <a:defRPr>
                <a:solidFill>
                  <a:srgbClr val="000000"/>
                </a:solidFill>
                <a:latin typeface="Calibri" panose="020F0502020204030204" pitchFamily="34" charset="0"/>
                <a:cs typeface="Arial" charset="0"/>
              </a:defRPr>
            </a:lvl1pPr>
          </a:lstStyle>
          <a:p>
            <a:pPr>
              <a:spcBef>
                <a:spcPts val="0"/>
              </a:spcBef>
              <a:spcAft>
                <a:spcPts val="400"/>
              </a:spcAft>
            </a:pPr>
            <a:r>
              <a:rPr lang="en-US" sz="1200">
                <a:latin typeface="+mn-lt"/>
              </a:rPr>
              <a:t>BPMN</a:t>
            </a:r>
          </a:p>
          <a:p>
            <a:pPr>
              <a:spcBef>
                <a:spcPts val="0"/>
              </a:spcBef>
              <a:spcAft>
                <a:spcPts val="400"/>
              </a:spcAft>
            </a:pPr>
            <a:r>
              <a:rPr lang="en-US" sz="1200">
                <a:latin typeface="+mn-lt"/>
              </a:rPr>
              <a:t>Tech. Signatures</a:t>
            </a:r>
          </a:p>
        </p:txBody>
      </p:sp>
      <p:sp>
        <p:nvSpPr>
          <p:cNvPr id="109" name="Rounded Rectangle 108"/>
          <p:cNvSpPr/>
          <p:nvPr/>
        </p:nvSpPr>
        <p:spPr>
          <a:xfrm>
            <a:off x="9797699" y="4736019"/>
            <a:ext cx="2152215" cy="426175"/>
          </a:xfrm>
          <a:prstGeom prst="roundRect">
            <a:avLst>
              <a:gd name="adj" fmla="val 24137"/>
            </a:avLst>
          </a:prstGeom>
          <a:solidFill>
            <a:schemeClr val="accent1"/>
          </a:soli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a:solidFill>
                  <a:srgbClr val="FFFFFF"/>
                </a:solidFill>
                <a:effectLst>
                  <a:outerShdw blurRad="38100" dist="38100" dir="2700000" algn="tl">
                    <a:srgbClr val="000000">
                      <a:alpha val="43137"/>
                    </a:srgbClr>
                  </a:outerShdw>
                </a:effectLst>
              </a:rPr>
              <a:t>Technical Output</a:t>
            </a:r>
          </a:p>
        </p:txBody>
      </p:sp>
    </p:spTree>
    <p:extLst>
      <p:ext uri="{BB962C8B-B14F-4D97-AF65-F5344CB8AC3E}">
        <p14:creationId xmlns:p14="http://schemas.microsoft.com/office/powerpoint/2010/main" val="36097642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05E97A2-A9BF-414A-80C7-4A0CF027D632}"/>
              </a:ext>
            </a:extLst>
          </p:cNvPr>
          <p:cNvSpPr>
            <a:spLocks noGrp="1"/>
          </p:cNvSpPr>
          <p:nvPr>
            <p:ph type="body" sz="quarter" idx="10"/>
          </p:nvPr>
        </p:nvSpPr>
        <p:spPr/>
        <p:txBody>
          <a:bodyPr/>
          <a:lstStyle/>
          <a:p>
            <a:r>
              <a:rPr lang="en-US"/>
              <a:t>Testing - Approach</a:t>
            </a:r>
            <a:endParaRPr lang="en-GB"/>
          </a:p>
        </p:txBody>
      </p:sp>
      <p:sp>
        <p:nvSpPr>
          <p:cNvPr id="4" name="Text Placeholder 3">
            <a:extLst>
              <a:ext uri="{FF2B5EF4-FFF2-40B4-BE49-F238E27FC236}">
                <a16:creationId xmlns:a16="http://schemas.microsoft.com/office/drawing/2014/main" id="{ED40738F-1838-46B0-98F0-43034FFD8CEA}"/>
              </a:ext>
            </a:extLst>
          </p:cNvPr>
          <p:cNvSpPr>
            <a:spLocks noGrp="1"/>
          </p:cNvSpPr>
          <p:nvPr>
            <p:ph type="body" sz="quarter" idx="16"/>
          </p:nvPr>
        </p:nvSpPr>
        <p:spPr>
          <a:xfrm>
            <a:off x="435576" y="2537691"/>
            <a:ext cx="660437" cy="569387"/>
          </a:xfrm>
        </p:spPr>
        <p:txBody>
          <a:bodyPr vert="horz" wrap="none" lIns="0" tIns="0" rIns="0" bIns="0" rtlCol="0" anchor="t">
            <a:spAutoFit/>
          </a:bodyPr>
          <a:lstStyle/>
          <a:p>
            <a:r>
              <a:rPr lang="en-GB" sz="3700">
                <a:ea typeface="Verdana"/>
              </a:rPr>
              <a:t>04.</a:t>
            </a:r>
            <a:endParaRPr lang="en-GB"/>
          </a:p>
        </p:txBody>
      </p:sp>
    </p:spTree>
    <p:extLst>
      <p:ext uri="{BB962C8B-B14F-4D97-AF65-F5344CB8AC3E}">
        <p14:creationId xmlns:p14="http://schemas.microsoft.com/office/powerpoint/2010/main" val="9566610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F4A407C6-EFF1-43FE-B31E-0BDC4F3F2CAA}"/>
              </a:ext>
            </a:extLst>
          </p:cNvPr>
          <p:cNvSpPr/>
          <p:nvPr/>
        </p:nvSpPr>
        <p:spPr>
          <a:xfrm>
            <a:off x="206763" y="1296537"/>
            <a:ext cx="11903349" cy="2161055"/>
          </a:xfrm>
          <a:prstGeom prst="rect">
            <a:avLst/>
          </a:prstGeom>
          <a:solidFill>
            <a:srgbClr val="CDEDFF"/>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200"/>
          </a:p>
        </p:txBody>
      </p:sp>
      <p:sp>
        <p:nvSpPr>
          <p:cNvPr id="3" name="Title 2">
            <a:extLst>
              <a:ext uri="{FF2B5EF4-FFF2-40B4-BE49-F238E27FC236}">
                <a16:creationId xmlns:a16="http://schemas.microsoft.com/office/drawing/2014/main" id="{07CD3C47-C2C3-4F4D-8D06-380230AEFF61}"/>
              </a:ext>
            </a:extLst>
          </p:cNvPr>
          <p:cNvSpPr>
            <a:spLocks noGrp="1"/>
          </p:cNvSpPr>
          <p:nvPr>
            <p:ph type="title"/>
          </p:nvPr>
        </p:nvSpPr>
        <p:spPr/>
        <p:txBody>
          <a:bodyPr/>
          <a:lstStyle/>
          <a:p>
            <a:r>
              <a:rPr lang="en-IN"/>
              <a:t>Approach - Data Migration Testing</a:t>
            </a:r>
          </a:p>
        </p:txBody>
      </p:sp>
      <p:sp>
        <p:nvSpPr>
          <p:cNvPr id="4" name="Flowchart: Magnetic Disk 3">
            <a:extLst>
              <a:ext uri="{FF2B5EF4-FFF2-40B4-BE49-F238E27FC236}">
                <a16:creationId xmlns:a16="http://schemas.microsoft.com/office/drawing/2014/main" id="{4F5F7ACD-9BE9-4159-BDEB-E1EECE4A9774}"/>
              </a:ext>
            </a:extLst>
          </p:cNvPr>
          <p:cNvSpPr/>
          <p:nvPr/>
        </p:nvSpPr>
        <p:spPr>
          <a:xfrm>
            <a:off x="471814" y="1439522"/>
            <a:ext cx="2162514" cy="1846371"/>
          </a:xfrm>
          <a:prstGeom prst="flowChartMagneticDisk">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800"/>
          </a:p>
        </p:txBody>
      </p:sp>
      <p:pic>
        <p:nvPicPr>
          <p:cNvPr id="8" name="Graphic 7" descr="Database outline">
            <a:extLst>
              <a:ext uri="{FF2B5EF4-FFF2-40B4-BE49-F238E27FC236}">
                <a16:creationId xmlns:a16="http://schemas.microsoft.com/office/drawing/2014/main" id="{94BC5B8E-0D6D-4E98-B7A3-D20DD4C2EB9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75842" y="2161157"/>
            <a:ext cx="448148" cy="448148"/>
          </a:xfrm>
          <a:prstGeom prst="rect">
            <a:avLst/>
          </a:prstGeom>
        </p:spPr>
      </p:pic>
      <p:sp>
        <p:nvSpPr>
          <p:cNvPr id="9" name="TextBox 8">
            <a:extLst>
              <a:ext uri="{FF2B5EF4-FFF2-40B4-BE49-F238E27FC236}">
                <a16:creationId xmlns:a16="http://schemas.microsoft.com/office/drawing/2014/main" id="{A260E917-BC96-4104-B1A7-CB2EF2285B39}"/>
              </a:ext>
            </a:extLst>
          </p:cNvPr>
          <p:cNvSpPr txBox="1"/>
          <p:nvPr/>
        </p:nvSpPr>
        <p:spPr>
          <a:xfrm>
            <a:off x="225673" y="2639451"/>
            <a:ext cx="1392702" cy="488852"/>
          </a:xfrm>
          <a:prstGeom prst="rect">
            <a:avLst/>
          </a:prstGeom>
          <a:noFill/>
        </p:spPr>
        <p:txBody>
          <a:bodyPr wrap="square" lIns="0" tIns="0" rIns="0" bIns="0" rtlCol="0">
            <a:noAutofit/>
          </a:bodyPr>
          <a:lstStyle/>
          <a:p>
            <a:pPr algn="ctr"/>
            <a:r>
              <a:rPr lang="en-IN" sz="900"/>
              <a:t>Clients</a:t>
            </a:r>
          </a:p>
        </p:txBody>
      </p:sp>
      <p:pic>
        <p:nvPicPr>
          <p:cNvPr id="11" name="Graphic 10" descr="Database outline">
            <a:extLst>
              <a:ext uri="{FF2B5EF4-FFF2-40B4-BE49-F238E27FC236}">
                <a16:creationId xmlns:a16="http://schemas.microsoft.com/office/drawing/2014/main" id="{C7F80671-373B-4553-B3D1-A049CB3736DD}"/>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960608" y="2211772"/>
            <a:ext cx="370319" cy="370319"/>
          </a:xfrm>
          <a:prstGeom prst="rect">
            <a:avLst/>
          </a:prstGeom>
        </p:spPr>
      </p:pic>
      <p:sp>
        <p:nvSpPr>
          <p:cNvPr id="12" name="TextBox 11">
            <a:extLst>
              <a:ext uri="{FF2B5EF4-FFF2-40B4-BE49-F238E27FC236}">
                <a16:creationId xmlns:a16="http://schemas.microsoft.com/office/drawing/2014/main" id="{38FB1795-6AF6-4536-B9C4-EF4109027A51}"/>
              </a:ext>
            </a:extLst>
          </p:cNvPr>
          <p:cNvSpPr txBox="1"/>
          <p:nvPr/>
        </p:nvSpPr>
        <p:spPr>
          <a:xfrm>
            <a:off x="1463045" y="2653519"/>
            <a:ext cx="1392702" cy="488852"/>
          </a:xfrm>
          <a:prstGeom prst="rect">
            <a:avLst/>
          </a:prstGeom>
          <a:noFill/>
        </p:spPr>
        <p:txBody>
          <a:bodyPr wrap="square" lIns="0" tIns="0" rIns="0" bIns="0" rtlCol="0">
            <a:noAutofit/>
          </a:bodyPr>
          <a:lstStyle/>
          <a:p>
            <a:pPr algn="ctr"/>
            <a:r>
              <a:rPr lang="en-IN" sz="900"/>
              <a:t>Member </a:t>
            </a:r>
          </a:p>
          <a:p>
            <a:pPr algn="ctr"/>
            <a:r>
              <a:rPr lang="en-IN" sz="900"/>
              <a:t>Entities</a:t>
            </a:r>
          </a:p>
        </p:txBody>
      </p:sp>
      <p:pic>
        <p:nvPicPr>
          <p:cNvPr id="13" name="Graphic 12" descr="Database outline">
            <a:extLst>
              <a:ext uri="{FF2B5EF4-FFF2-40B4-BE49-F238E27FC236}">
                <a16:creationId xmlns:a16="http://schemas.microsoft.com/office/drawing/2014/main" id="{E2C3A5C2-52EB-4566-BAC7-951BEA6B698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78015" y="2085080"/>
            <a:ext cx="433157" cy="433157"/>
          </a:xfrm>
          <a:prstGeom prst="rect">
            <a:avLst/>
          </a:prstGeom>
        </p:spPr>
      </p:pic>
      <p:sp>
        <p:nvSpPr>
          <p:cNvPr id="14" name="TextBox 13">
            <a:extLst>
              <a:ext uri="{FF2B5EF4-FFF2-40B4-BE49-F238E27FC236}">
                <a16:creationId xmlns:a16="http://schemas.microsoft.com/office/drawing/2014/main" id="{60753F7D-7D63-4063-A64F-2B6C8E275FB7}"/>
              </a:ext>
            </a:extLst>
          </p:cNvPr>
          <p:cNvSpPr txBox="1"/>
          <p:nvPr/>
        </p:nvSpPr>
        <p:spPr>
          <a:xfrm>
            <a:off x="801394" y="2533691"/>
            <a:ext cx="1392702" cy="488852"/>
          </a:xfrm>
          <a:prstGeom prst="rect">
            <a:avLst/>
          </a:prstGeom>
          <a:noFill/>
        </p:spPr>
        <p:txBody>
          <a:bodyPr wrap="square" lIns="0" tIns="0" rIns="0" bIns="0" rtlCol="0">
            <a:noAutofit/>
          </a:bodyPr>
          <a:lstStyle/>
          <a:p>
            <a:pPr algn="ctr"/>
            <a:r>
              <a:rPr lang="en-IN" sz="900"/>
              <a:t>Plan</a:t>
            </a:r>
          </a:p>
        </p:txBody>
      </p:sp>
      <p:sp>
        <p:nvSpPr>
          <p:cNvPr id="15" name="TextBox 14">
            <a:extLst>
              <a:ext uri="{FF2B5EF4-FFF2-40B4-BE49-F238E27FC236}">
                <a16:creationId xmlns:a16="http://schemas.microsoft.com/office/drawing/2014/main" id="{E1F9CAE9-4D8D-491C-9281-8C3F4D2C2B51}"/>
              </a:ext>
            </a:extLst>
          </p:cNvPr>
          <p:cNvSpPr txBox="1"/>
          <p:nvPr/>
        </p:nvSpPr>
        <p:spPr>
          <a:xfrm>
            <a:off x="841921" y="1621977"/>
            <a:ext cx="1392702" cy="488852"/>
          </a:xfrm>
          <a:prstGeom prst="rect">
            <a:avLst/>
          </a:prstGeom>
          <a:noFill/>
        </p:spPr>
        <p:txBody>
          <a:bodyPr wrap="square" lIns="0" tIns="0" rIns="0" bIns="0" rtlCol="0">
            <a:noAutofit/>
          </a:bodyPr>
          <a:lstStyle/>
          <a:p>
            <a:pPr algn="ctr"/>
            <a:r>
              <a:rPr lang="en-IN" sz="900"/>
              <a:t>SLX- Source</a:t>
            </a:r>
          </a:p>
          <a:p>
            <a:pPr algn="ctr"/>
            <a:r>
              <a:rPr lang="en-IN" sz="900"/>
              <a:t>Oracle Database</a:t>
            </a:r>
          </a:p>
        </p:txBody>
      </p:sp>
      <p:sp>
        <p:nvSpPr>
          <p:cNvPr id="18" name="Arrow: Chevron 17">
            <a:extLst>
              <a:ext uri="{FF2B5EF4-FFF2-40B4-BE49-F238E27FC236}">
                <a16:creationId xmlns:a16="http://schemas.microsoft.com/office/drawing/2014/main" id="{CC0CAEED-E796-4E95-84C8-FA54C830AF2D}"/>
              </a:ext>
            </a:extLst>
          </p:cNvPr>
          <p:cNvSpPr/>
          <p:nvPr/>
        </p:nvSpPr>
        <p:spPr>
          <a:xfrm>
            <a:off x="2700999" y="1899138"/>
            <a:ext cx="550404" cy="488852"/>
          </a:xfrm>
          <a:prstGeom prst="chevron">
            <a:avLst/>
          </a:pr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200">
              <a:solidFill>
                <a:schemeClr val="tx1"/>
              </a:solidFill>
            </a:endParaRPr>
          </a:p>
        </p:txBody>
      </p:sp>
      <p:sp>
        <p:nvSpPr>
          <p:cNvPr id="25" name="Arrow: Chevron 24">
            <a:extLst>
              <a:ext uri="{FF2B5EF4-FFF2-40B4-BE49-F238E27FC236}">
                <a16:creationId xmlns:a16="http://schemas.microsoft.com/office/drawing/2014/main" id="{815A3A97-695A-480A-8AA7-8D9116FF33AA}"/>
              </a:ext>
            </a:extLst>
          </p:cNvPr>
          <p:cNvSpPr/>
          <p:nvPr/>
        </p:nvSpPr>
        <p:spPr>
          <a:xfrm>
            <a:off x="2703934" y="2488810"/>
            <a:ext cx="550404" cy="488852"/>
          </a:xfrm>
          <a:prstGeom prst="chevron">
            <a:avLst/>
          </a:pr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200">
              <a:solidFill>
                <a:schemeClr val="tx1"/>
              </a:solidFill>
            </a:endParaRPr>
          </a:p>
        </p:txBody>
      </p:sp>
      <p:sp>
        <p:nvSpPr>
          <p:cNvPr id="26" name="Flowchart: Magnetic Disk 25">
            <a:extLst>
              <a:ext uri="{FF2B5EF4-FFF2-40B4-BE49-F238E27FC236}">
                <a16:creationId xmlns:a16="http://schemas.microsoft.com/office/drawing/2014/main" id="{B5CDE8D3-C0CF-4957-8387-05BA67BF63EB}"/>
              </a:ext>
            </a:extLst>
          </p:cNvPr>
          <p:cNvSpPr/>
          <p:nvPr/>
        </p:nvSpPr>
        <p:spPr>
          <a:xfrm>
            <a:off x="5031751" y="1421740"/>
            <a:ext cx="2162514" cy="1846371"/>
          </a:xfrm>
          <a:prstGeom prst="flowChartMagneticDisk">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800"/>
          </a:p>
        </p:txBody>
      </p:sp>
      <p:sp>
        <p:nvSpPr>
          <p:cNvPr id="27" name="TextBox 26">
            <a:extLst>
              <a:ext uri="{FF2B5EF4-FFF2-40B4-BE49-F238E27FC236}">
                <a16:creationId xmlns:a16="http://schemas.microsoft.com/office/drawing/2014/main" id="{EE5B5A1D-C5DA-4EDC-815E-8DBE1B668001}"/>
              </a:ext>
            </a:extLst>
          </p:cNvPr>
          <p:cNvSpPr txBox="1"/>
          <p:nvPr/>
        </p:nvSpPr>
        <p:spPr>
          <a:xfrm>
            <a:off x="5471859" y="1581033"/>
            <a:ext cx="1392702" cy="488852"/>
          </a:xfrm>
          <a:prstGeom prst="rect">
            <a:avLst/>
          </a:prstGeom>
          <a:noFill/>
        </p:spPr>
        <p:txBody>
          <a:bodyPr wrap="square" lIns="0" tIns="0" rIns="0" bIns="0" rtlCol="0">
            <a:noAutofit/>
          </a:bodyPr>
          <a:lstStyle/>
          <a:p>
            <a:pPr algn="ctr"/>
            <a:r>
              <a:rPr lang="en-IN" sz="900"/>
              <a:t>MPS</a:t>
            </a:r>
          </a:p>
          <a:p>
            <a:pPr algn="ctr"/>
            <a:r>
              <a:rPr lang="en-IN" sz="900"/>
              <a:t>Staging Database</a:t>
            </a:r>
          </a:p>
        </p:txBody>
      </p:sp>
      <p:sp>
        <p:nvSpPr>
          <p:cNvPr id="28" name="Arrow: Chevron 27">
            <a:extLst>
              <a:ext uri="{FF2B5EF4-FFF2-40B4-BE49-F238E27FC236}">
                <a16:creationId xmlns:a16="http://schemas.microsoft.com/office/drawing/2014/main" id="{609BDBA1-A2CE-4A01-B23A-945F0614A06A}"/>
              </a:ext>
            </a:extLst>
          </p:cNvPr>
          <p:cNvSpPr/>
          <p:nvPr/>
        </p:nvSpPr>
        <p:spPr>
          <a:xfrm>
            <a:off x="7279318" y="1888277"/>
            <a:ext cx="550404" cy="488852"/>
          </a:xfrm>
          <a:prstGeom prst="chevron">
            <a:avLst/>
          </a:pr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200">
              <a:solidFill>
                <a:schemeClr val="tx1"/>
              </a:solidFill>
            </a:endParaRPr>
          </a:p>
        </p:txBody>
      </p:sp>
      <p:sp>
        <p:nvSpPr>
          <p:cNvPr id="29" name="Arrow: Chevron 28">
            <a:extLst>
              <a:ext uri="{FF2B5EF4-FFF2-40B4-BE49-F238E27FC236}">
                <a16:creationId xmlns:a16="http://schemas.microsoft.com/office/drawing/2014/main" id="{1FB6E9FC-CCB5-4EE3-8D5E-AF73BD56EB0F}"/>
              </a:ext>
            </a:extLst>
          </p:cNvPr>
          <p:cNvSpPr/>
          <p:nvPr/>
        </p:nvSpPr>
        <p:spPr>
          <a:xfrm>
            <a:off x="7279318" y="2467134"/>
            <a:ext cx="550404" cy="488852"/>
          </a:xfrm>
          <a:prstGeom prst="chevron">
            <a:avLst/>
          </a:pr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200">
              <a:solidFill>
                <a:schemeClr val="tx1"/>
              </a:solidFill>
            </a:endParaRPr>
          </a:p>
        </p:txBody>
      </p:sp>
      <p:sp>
        <p:nvSpPr>
          <p:cNvPr id="30" name="Flowchart: Magnetic Disk 29">
            <a:extLst>
              <a:ext uri="{FF2B5EF4-FFF2-40B4-BE49-F238E27FC236}">
                <a16:creationId xmlns:a16="http://schemas.microsoft.com/office/drawing/2014/main" id="{FE8D91FD-12CA-44D2-88DE-EE1496F5C7FA}"/>
              </a:ext>
            </a:extLst>
          </p:cNvPr>
          <p:cNvSpPr/>
          <p:nvPr/>
        </p:nvSpPr>
        <p:spPr>
          <a:xfrm>
            <a:off x="9685819" y="1473603"/>
            <a:ext cx="2162514" cy="1846371"/>
          </a:xfrm>
          <a:prstGeom prst="flowChartMagneticDisk">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800"/>
          </a:p>
        </p:txBody>
      </p:sp>
      <p:sp>
        <p:nvSpPr>
          <p:cNvPr id="31" name="TextBox 30">
            <a:extLst>
              <a:ext uri="{FF2B5EF4-FFF2-40B4-BE49-F238E27FC236}">
                <a16:creationId xmlns:a16="http://schemas.microsoft.com/office/drawing/2014/main" id="{78286A01-CD7C-4573-A88A-BFDA5FD41134}"/>
              </a:ext>
            </a:extLst>
          </p:cNvPr>
          <p:cNvSpPr txBox="1"/>
          <p:nvPr/>
        </p:nvSpPr>
        <p:spPr>
          <a:xfrm>
            <a:off x="10093852" y="1588268"/>
            <a:ext cx="1392702" cy="488852"/>
          </a:xfrm>
          <a:prstGeom prst="rect">
            <a:avLst/>
          </a:prstGeom>
          <a:noFill/>
        </p:spPr>
        <p:txBody>
          <a:bodyPr wrap="square" lIns="0" tIns="0" rIns="0" bIns="0" rtlCol="0">
            <a:noAutofit/>
          </a:bodyPr>
          <a:lstStyle/>
          <a:p>
            <a:pPr algn="ctr"/>
            <a:r>
              <a:rPr lang="en-IN" sz="900"/>
              <a:t>MPS- Target</a:t>
            </a:r>
          </a:p>
          <a:p>
            <a:pPr algn="ctr"/>
            <a:r>
              <a:rPr lang="en-IN" sz="900"/>
              <a:t>SQL Server</a:t>
            </a:r>
          </a:p>
        </p:txBody>
      </p:sp>
      <p:sp>
        <p:nvSpPr>
          <p:cNvPr id="32" name="TextBox 22">
            <a:extLst>
              <a:ext uri="{FF2B5EF4-FFF2-40B4-BE49-F238E27FC236}">
                <a16:creationId xmlns:a16="http://schemas.microsoft.com/office/drawing/2014/main" id="{E867AB74-08AB-408F-87DC-2B58A4A2A625}"/>
              </a:ext>
            </a:extLst>
          </p:cNvPr>
          <p:cNvSpPr txBox="1"/>
          <p:nvPr/>
        </p:nvSpPr>
        <p:spPr>
          <a:xfrm>
            <a:off x="1887419" y="3949511"/>
            <a:ext cx="3199977" cy="2196000"/>
          </a:xfrm>
          <a:prstGeom prst="rect">
            <a:avLst/>
          </a:prstGeom>
          <a:solidFill>
            <a:schemeClr val="bg1">
              <a:lumMod val="95000"/>
            </a:schemeClr>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en-US" sz="1200" b="1">
                <a:cs typeface="Arial" panose="020B0604020202020204" pitchFamily="34" charset="0"/>
              </a:rPr>
              <a:t>Validation of:</a:t>
            </a:r>
          </a:p>
          <a:p>
            <a:pPr marL="177800" indent="-177800">
              <a:spcBef>
                <a:spcPts val="100"/>
              </a:spcBef>
              <a:spcAft>
                <a:spcPts val="200"/>
              </a:spcAft>
              <a:buFont typeface="Wingdings" panose="05000000000000000000" pitchFamily="2" charset="2"/>
              <a:buChar char="§"/>
              <a:tabLst>
                <a:tab pos="0" algn="l"/>
                <a:tab pos="228600" algn="l"/>
                <a:tab pos="2057400" algn="l"/>
              </a:tabLst>
            </a:pPr>
            <a:r>
              <a:rPr lang="en-US" sz="1050">
                <a:cs typeface="Arial" panose="020B0604020202020204" pitchFamily="34" charset="0"/>
              </a:rPr>
              <a:t>SLX Data extracts &amp; Data Mapping</a:t>
            </a:r>
          </a:p>
          <a:p>
            <a:pPr marL="177800" indent="-177800">
              <a:spcBef>
                <a:spcPts val="100"/>
              </a:spcBef>
              <a:spcAft>
                <a:spcPts val="200"/>
              </a:spcAft>
              <a:buFont typeface="Wingdings" panose="05000000000000000000" pitchFamily="2" charset="2"/>
              <a:buChar char="§"/>
              <a:tabLst>
                <a:tab pos="0" algn="l"/>
                <a:tab pos="228600" algn="l"/>
                <a:tab pos="2057400" algn="l"/>
              </a:tabLst>
            </a:pPr>
            <a:r>
              <a:rPr lang="en-US" sz="1050">
                <a:cs typeface="Arial" panose="020B0604020202020204" pitchFamily="34" charset="0"/>
              </a:rPr>
              <a:t>Data formats and business rules used for processing/ transformation</a:t>
            </a:r>
          </a:p>
          <a:p>
            <a:pPr marL="177800" indent="-177800">
              <a:spcBef>
                <a:spcPts val="100"/>
              </a:spcBef>
              <a:spcAft>
                <a:spcPts val="200"/>
              </a:spcAft>
              <a:buFont typeface="Wingdings" panose="05000000000000000000" pitchFamily="2" charset="2"/>
              <a:buChar char="§"/>
              <a:tabLst>
                <a:tab pos="0" algn="l"/>
                <a:tab pos="228600" algn="l"/>
                <a:tab pos="2057400" algn="l"/>
              </a:tabLst>
            </a:pPr>
            <a:r>
              <a:rPr lang="en-US" sz="1050">
                <a:cs typeface="Arial" panose="020B0604020202020204" pitchFamily="34" charset="0"/>
              </a:rPr>
              <a:t>Correctness and completeness of the transformed data based on rules</a:t>
            </a:r>
          </a:p>
          <a:p>
            <a:pPr marL="177800" indent="-177800">
              <a:spcBef>
                <a:spcPts val="100"/>
              </a:spcBef>
              <a:spcAft>
                <a:spcPts val="200"/>
              </a:spcAft>
              <a:buFont typeface="Wingdings" panose="05000000000000000000" pitchFamily="2" charset="2"/>
              <a:buChar char="§"/>
              <a:tabLst>
                <a:tab pos="0" algn="l"/>
                <a:tab pos="228600" algn="l"/>
                <a:tab pos="2057400" algn="l"/>
              </a:tabLst>
            </a:pPr>
            <a:r>
              <a:rPr lang="en-US" sz="1050">
                <a:cs typeface="Arial" panose="020B0604020202020204" pitchFamily="34" charset="0"/>
              </a:rPr>
              <a:t>Referential integrity , indexes, col names, links etc.</a:t>
            </a:r>
          </a:p>
          <a:p>
            <a:pPr marL="177800" indent="-177800">
              <a:spcBef>
                <a:spcPts val="100"/>
              </a:spcBef>
              <a:spcAft>
                <a:spcPts val="200"/>
              </a:spcAft>
              <a:buFont typeface="Wingdings" panose="05000000000000000000" pitchFamily="2" charset="2"/>
              <a:buChar char="§"/>
              <a:tabLst>
                <a:tab pos="0" algn="l"/>
                <a:tab pos="228600" algn="l"/>
                <a:tab pos="2057400" algn="l"/>
              </a:tabLst>
            </a:pPr>
            <a:r>
              <a:rPr lang="en-US" sz="1050">
                <a:cs typeface="Arial" panose="020B0604020202020204" pitchFamily="34" charset="0"/>
              </a:rPr>
              <a:t>Uniqueness of master record set &amp; presence of duplicate values</a:t>
            </a:r>
          </a:p>
          <a:p>
            <a:pPr marL="177800" indent="-177800">
              <a:spcBef>
                <a:spcPts val="100"/>
              </a:spcBef>
              <a:spcAft>
                <a:spcPts val="200"/>
              </a:spcAft>
              <a:buFont typeface="Wingdings" panose="05000000000000000000" pitchFamily="2" charset="2"/>
              <a:buChar char="§"/>
              <a:tabLst>
                <a:tab pos="0" algn="l"/>
                <a:tab pos="228600" algn="l"/>
                <a:tab pos="2057400" algn="l"/>
              </a:tabLst>
            </a:pPr>
            <a:r>
              <a:rPr lang="en-US" sz="1050">
                <a:cs typeface="Arial" panose="020B0604020202020204" pitchFamily="34" charset="0"/>
              </a:rPr>
              <a:t>Count of master record set in SLX</a:t>
            </a:r>
          </a:p>
        </p:txBody>
      </p:sp>
      <p:sp>
        <p:nvSpPr>
          <p:cNvPr id="33" name="Rectangle 32">
            <a:extLst>
              <a:ext uri="{FF2B5EF4-FFF2-40B4-BE49-F238E27FC236}">
                <a16:creationId xmlns:a16="http://schemas.microsoft.com/office/drawing/2014/main" id="{4D0FA1E0-BBCE-4DC6-86C7-13BD12C843D6}"/>
              </a:ext>
            </a:extLst>
          </p:cNvPr>
          <p:cNvSpPr/>
          <p:nvPr/>
        </p:nvSpPr>
        <p:spPr>
          <a:xfrm>
            <a:off x="1901913" y="3518336"/>
            <a:ext cx="3199978" cy="344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u="sng">
                <a:solidFill>
                  <a:srgbClr val="0070C0"/>
                </a:solidFill>
                <a:latin typeface="+mj-lt"/>
                <a:cs typeface="Arial" panose="020B0604020202020204" pitchFamily="34" charset="0"/>
              </a:rPr>
              <a:t>SLX DATA &amp; ETL VALIDATION</a:t>
            </a:r>
          </a:p>
        </p:txBody>
      </p:sp>
      <p:sp>
        <p:nvSpPr>
          <p:cNvPr id="34" name="Rectangle 33">
            <a:extLst>
              <a:ext uri="{FF2B5EF4-FFF2-40B4-BE49-F238E27FC236}">
                <a16:creationId xmlns:a16="http://schemas.microsoft.com/office/drawing/2014/main" id="{6979B97E-CEFE-4777-96AA-C39E540026F9}"/>
              </a:ext>
            </a:extLst>
          </p:cNvPr>
          <p:cNvSpPr/>
          <p:nvPr/>
        </p:nvSpPr>
        <p:spPr>
          <a:xfrm>
            <a:off x="5192091" y="3517334"/>
            <a:ext cx="3416114" cy="321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u="sng">
                <a:solidFill>
                  <a:srgbClr val="0070C0"/>
                </a:solidFill>
                <a:latin typeface="+mj-lt"/>
                <a:cs typeface="Arial" panose="020B0604020202020204" pitchFamily="34" charset="0"/>
              </a:rPr>
              <a:t>STAGING – SQL QUERIES/ DATA VALIDATION</a:t>
            </a:r>
          </a:p>
        </p:txBody>
      </p:sp>
      <p:sp>
        <p:nvSpPr>
          <p:cNvPr id="35" name="TextBox 22">
            <a:extLst>
              <a:ext uri="{FF2B5EF4-FFF2-40B4-BE49-F238E27FC236}">
                <a16:creationId xmlns:a16="http://schemas.microsoft.com/office/drawing/2014/main" id="{E138260C-16EB-4D7A-A433-DEE087732918}"/>
              </a:ext>
            </a:extLst>
          </p:cNvPr>
          <p:cNvSpPr txBox="1"/>
          <p:nvPr/>
        </p:nvSpPr>
        <p:spPr>
          <a:xfrm>
            <a:off x="5192091" y="3949511"/>
            <a:ext cx="3396720" cy="2196000"/>
          </a:xfrm>
          <a:prstGeom prst="rect">
            <a:avLst/>
          </a:prstGeom>
          <a:solidFill>
            <a:schemeClr val="bg1">
              <a:lumMod val="95000"/>
            </a:schemeClr>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en-US" sz="1200" b="1">
                <a:cs typeface="Arial" panose="020B0604020202020204" pitchFamily="34" charset="0"/>
              </a:rPr>
              <a:t>Validation of:</a:t>
            </a:r>
          </a:p>
          <a:p>
            <a:pPr marL="177800" indent="-177800">
              <a:spcBef>
                <a:spcPts val="100"/>
              </a:spcBef>
              <a:spcAft>
                <a:spcPts val="200"/>
              </a:spcAft>
              <a:buFont typeface="Wingdings" panose="05000000000000000000" pitchFamily="2" charset="2"/>
              <a:buChar char="§"/>
              <a:tabLst>
                <a:tab pos="0" algn="l"/>
                <a:tab pos="228600" algn="l"/>
                <a:tab pos="2057400" algn="l"/>
              </a:tabLst>
            </a:pPr>
            <a:r>
              <a:rPr lang="en-US" sz="1050">
                <a:cs typeface="Arial" panose="020B0604020202020204" pitchFamily="34" charset="0"/>
              </a:rPr>
              <a:t>Data count in staging databased based on SLX source data- (Comparison) – if As –is</a:t>
            </a:r>
          </a:p>
          <a:p>
            <a:pPr marL="177800" indent="-177800">
              <a:spcBef>
                <a:spcPts val="100"/>
              </a:spcBef>
              <a:spcAft>
                <a:spcPts val="200"/>
              </a:spcAft>
              <a:buFont typeface="Wingdings" panose="05000000000000000000" pitchFamily="2" charset="2"/>
              <a:buChar char="§"/>
              <a:tabLst>
                <a:tab pos="0" algn="l"/>
                <a:tab pos="228600" algn="l"/>
                <a:tab pos="2057400" algn="l"/>
              </a:tabLst>
            </a:pPr>
            <a:r>
              <a:rPr lang="en-US" sz="1050">
                <a:cs typeface="Arial" panose="020B0604020202020204" pitchFamily="34" charset="0"/>
              </a:rPr>
              <a:t>Validation of SQL queries if data transformation is done using MMSA </a:t>
            </a:r>
          </a:p>
          <a:p>
            <a:pPr marL="177800" indent="-177800">
              <a:spcBef>
                <a:spcPts val="100"/>
              </a:spcBef>
              <a:spcAft>
                <a:spcPts val="200"/>
              </a:spcAft>
              <a:buFont typeface="Wingdings" panose="05000000000000000000" pitchFamily="2" charset="2"/>
              <a:buChar char="§"/>
              <a:tabLst>
                <a:tab pos="0" algn="l"/>
                <a:tab pos="228600" algn="l"/>
                <a:tab pos="2057400" algn="l"/>
              </a:tabLst>
            </a:pPr>
            <a:r>
              <a:rPr lang="en-US" sz="1050">
                <a:cs typeface="Arial" panose="020B0604020202020204" pitchFamily="34" charset="0"/>
              </a:rPr>
              <a:t>Duplicate, Missing &amp; Deleted Records</a:t>
            </a:r>
          </a:p>
          <a:p>
            <a:pPr marL="177800" indent="-177800">
              <a:spcBef>
                <a:spcPts val="100"/>
              </a:spcBef>
              <a:spcAft>
                <a:spcPts val="200"/>
              </a:spcAft>
              <a:buFont typeface="Wingdings" panose="05000000000000000000" pitchFamily="2" charset="2"/>
              <a:buChar char="§"/>
              <a:tabLst>
                <a:tab pos="0" algn="l"/>
                <a:tab pos="228600" algn="l"/>
                <a:tab pos="2057400" algn="l"/>
              </a:tabLst>
            </a:pPr>
            <a:r>
              <a:rPr lang="en-US" sz="1050">
                <a:cs typeface="Arial" panose="020B0604020202020204" pitchFamily="34" charset="0"/>
              </a:rPr>
              <a:t>Calculated fields based on source data</a:t>
            </a:r>
          </a:p>
          <a:p>
            <a:pPr marL="177800" indent="-177800">
              <a:spcBef>
                <a:spcPts val="100"/>
              </a:spcBef>
              <a:spcAft>
                <a:spcPts val="200"/>
              </a:spcAft>
              <a:buFont typeface="Wingdings" panose="05000000000000000000" pitchFamily="2" charset="2"/>
              <a:buChar char="§"/>
              <a:tabLst>
                <a:tab pos="0" algn="l"/>
                <a:tab pos="228600" algn="l"/>
                <a:tab pos="2057400" algn="l"/>
              </a:tabLst>
            </a:pPr>
            <a:r>
              <a:rPr lang="en-US" sz="1050">
                <a:cs typeface="Arial" panose="020B0604020202020204" pitchFamily="34" charset="0"/>
              </a:rPr>
              <a:t>Data reconciliation between SLX &amp; Staging database to ensure correct data load. </a:t>
            </a:r>
          </a:p>
          <a:p>
            <a:pPr marL="177800" indent="-177800">
              <a:spcBef>
                <a:spcPts val="100"/>
              </a:spcBef>
              <a:spcAft>
                <a:spcPts val="200"/>
              </a:spcAft>
              <a:buFont typeface="Wingdings" panose="05000000000000000000" pitchFamily="2" charset="2"/>
              <a:buChar char="§"/>
              <a:tabLst>
                <a:tab pos="0" algn="l"/>
                <a:tab pos="228600" algn="l"/>
                <a:tab pos="2057400" algn="l"/>
              </a:tabLst>
            </a:pPr>
            <a:r>
              <a:rPr lang="en-US" sz="1050">
                <a:cs typeface="Arial" panose="020B0604020202020204" pitchFamily="34" charset="0"/>
              </a:rPr>
              <a:t>The exception records in the SLX &amp; staging database</a:t>
            </a:r>
          </a:p>
        </p:txBody>
      </p:sp>
      <p:sp>
        <p:nvSpPr>
          <p:cNvPr id="36" name="Rectangle 35">
            <a:extLst>
              <a:ext uri="{FF2B5EF4-FFF2-40B4-BE49-F238E27FC236}">
                <a16:creationId xmlns:a16="http://schemas.microsoft.com/office/drawing/2014/main" id="{10AF6AD1-FA3F-49D5-95BC-6C2C4D76973D}"/>
              </a:ext>
            </a:extLst>
          </p:cNvPr>
          <p:cNvSpPr/>
          <p:nvPr/>
        </p:nvSpPr>
        <p:spPr>
          <a:xfrm>
            <a:off x="8698405" y="3510912"/>
            <a:ext cx="3383072" cy="321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u="sng">
                <a:solidFill>
                  <a:srgbClr val="0070C0"/>
                </a:solidFill>
                <a:latin typeface="+mj-lt"/>
                <a:cs typeface="Arial" panose="020B0604020202020204" pitchFamily="34" charset="0"/>
              </a:rPr>
              <a:t>MPS &amp; DATABASE VALIDATION</a:t>
            </a:r>
          </a:p>
        </p:txBody>
      </p:sp>
      <p:sp>
        <p:nvSpPr>
          <p:cNvPr id="37" name="TextBox 22">
            <a:extLst>
              <a:ext uri="{FF2B5EF4-FFF2-40B4-BE49-F238E27FC236}">
                <a16:creationId xmlns:a16="http://schemas.microsoft.com/office/drawing/2014/main" id="{2887B80C-1CFE-4873-AA60-1DF6DC21C5EE}"/>
              </a:ext>
            </a:extLst>
          </p:cNvPr>
          <p:cNvSpPr txBox="1"/>
          <p:nvPr/>
        </p:nvSpPr>
        <p:spPr>
          <a:xfrm>
            <a:off x="8698976" y="3949511"/>
            <a:ext cx="3396720" cy="2196000"/>
          </a:xfrm>
          <a:prstGeom prst="rect">
            <a:avLst/>
          </a:prstGeom>
          <a:solidFill>
            <a:schemeClr val="bg1">
              <a:lumMod val="95000"/>
            </a:schemeClr>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en-US" sz="1200" b="1">
                <a:cs typeface="Arial" panose="020B0604020202020204" pitchFamily="34" charset="0"/>
              </a:rPr>
              <a:t>Validation of</a:t>
            </a:r>
          </a:p>
          <a:p>
            <a:pPr marL="177800" indent="-177800">
              <a:spcBef>
                <a:spcPts val="100"/>
              </a:spcBef>
              <a:spcAft>
                <a:spcPts val="200"/>
              </a:spcAft>
              <a:buFont typeface="Wingdings" panose="05000000000000000000" pitchFamily="2" charset="2"/>
              <a:buChar char="§"/>
              <a:tabLst>
                <a:tab pos="0" algn="l"/>
                <a:tab pos="228600" algn="l"/>
                <a:tab pos="2057400" algn="l"/>
              </a:tabLst>
              <a:defRPr/>
            </a:pPr>
            <a:r>
              <a:rPr lang="en-US" sz="1050">
                <a:cs typeface="Arial" panose="020B0604020202020204" pitchFamily="34" charset="0"/>
              </a:rPr>
              <a:t>Reconciliation of data for the initial, &amp; incremental  load based on final reports.</a:t>
            </a:r>
          </a:p>
          <a:p>
            <a:pPr marL="177800" indent="-177800">
              <a:spcBef>
                <a:spcPts val="100"/>
              </a:spcBef>
              <a:spcAft>
                <a:spcPts val="200"/>
              </a:spcAft>
              <a:buFont typeface="Wingdings" panose="05000000000000000000" pitchFamily="2" charset="2"/>
              <a:buChar char="§"/>
              <a:tabLst>
                <a:tab pos="0" algn="l"/>
                <a:tab pos="228600" algn="l"/>
                <a:tab pos="2057400" algn="l"/>
              </a:tabLst>
              <a:defRPr/>
            </a:pPr>
            <a:r>
              <a:rPr lang="en-US" sz="1050">
                <a:cs typeface="Arial" panose="020B0604020202020204" pitchFamily="34" charset="0"/>
              </a:rPr>
              <a:t>Data comparison Staging &amp; MPS (if SSMA) </a:t>
            </a:r>
          </a:p>
          <a:p>
            <a:pPr marL="177800" indent="-177800">
              <a:spcBef>
                <a:spcPts val="100"/>
              </a:spcBef>
              <a:spcAft>
                <a:spcPts val="200"/>
              </a:spcAft>
              <a:buFont typeface="Wingdings" panose="05000000000000000000" pitchFamily="2" charset="2"/>
              <a:buChar char="§"/>
              <a:tabLst>
                <a:tab pos="0" algn="l"/>
                <a:tab pos="228600" algn="l"/>
                <a:tab pos="2057400" algn="l"/>
              </a:tabLst>
              <a:defRPr/>
            </a:pPr>
            <a:r>
              <a:rPr lang="en-US" sz="1050">
                <a:cs typeface="Arial" panose="020B0604020202020204" pitchFamily="34" charset="0"/>
              </a:rPr>
              <a:t>Understand functionality and data parameters</a:t>
            </a:r>
          </a:p>
          <a:p>
            <a:pPr marL="177800" indent="-177800">
              <a:spcBef>
                <a:spcPts val="100"/>
              </a:spcBef>
              <a:spcAft>
                <a:spcPts val="200"/>
              </a:spcAft>
              <a:buFont typeface="Wingdings" panose="05000000000000000000" pitchFamily="2" charset="2"/>
              <a:buChar char="§"/>
              <a:tabLst>
                <a:tab pos="0" algn="l"/>
                <a:tab pos="228600" algn="l"/>
                <a:tab pos="2057400" algn="l"/>
              </a:tabLst>
              <a:defRPr/>
            </a:pPr>
            <a:r>
              <a:rPr lang="en-US" sz="1050">
                <a:cs typeface="Arial" panose="020B0604020202020204" pitchFamily="34" charset="0"/>
              </a:rPr>
              <a:t>Create optimized test data </a:t>
            </a:r>
          </a:p>
          <a:p>
            <a:pPr marL="177800" indent="-177800">
              <a:spcBef>
                <a:spcPts val="100"/>
              </a:spcBef>
              <a:spcAft>
                <a:spcPts val="200"/>
              </a:spcAft>
              <a:buFont typeface="Wingdings" panose="05000000000000000000" pitchFamily="2" charset="2"/>
              <a:buChar char="§"/>
              <a:tabLst>
                <a:tab pos="0" algn="l"/>
                <a:tab pos="228600" algn="l"/>
                <a:tab pos="2057400" algn="l"/>
              </a:tabLst>
              <a:defRPr/>
            </a:pPr>
            <a:r>
              <a:rPr lang="en-US" sz="1050">
                <a:cs typeface="Arial" panose="020B0604020202020204" pitchFamily="34" charset="0"/>
              </a:rPr>
              <a:t>Create test scripts and bind data</a:t>
            </a:r>
          </a:p>
          <a:p>
            <a:pPr marL="177800" indent="-177800">
              <a:spcBef>
                <a:spcPts val="100"/>
              </a:spcBef>
              <a:spcAft>
                <a:spcPts val="200"/>
              </a:spcAft>
              <a:buFont typeface="Wingdings" panose="05000000000000000000" pitchFamily="2" charset="2"/>
              <a:buChar char="§"/>
              <a:tabLst>
                <a:tab pos="0" algn="l"/>
                <a:tab pos="228600" algn="l"/>
                <a:tab pos="2057400" algn="l"/>
              </a:tabLst>
              <a:defRPr/>
            </a:pPr>
            <a:r>
              <a:rPr lang="en-US" sz="1050">
                <a:cs typeface="Arial" panose="020B0604020202020204" pitchFamily="34" charset="0"/>
              </a:rPr>
              <a:t>Run Parallel tests – validate response and database for both SLX &amp; MPS</a:t>
            </a:r>
          </a:p>
          <a:p>
            <a:pPr marL="177800" indent="-177800">
              <a:spcBef>
                <a:spcPts val="100"/>
              </a:spcBef>
              <a:spcAft>
                <a:spcPts val="200"/>
              </a:spcAft>
              <a:buFont typeface="Wingdings" panose="05000000000000000000" pitchFamily="2" charset="2"/>
              <a:buChar char="§"/>
              <a:tabLst>
                <a:tab pos="0" algn="l"/>
                <a:tab pos="228600" algn="l"/>
                <a:tab pos="2057400" algn="l"/>
              </a:tabLst>
              <a:defRPr/>
            </a:pPr>
            <a:r>
              <a:rPr lang="en-US" sz="1050">
                <a:cs typeface="Arial" panose="020B0604020202020204" pitchFamily="34" charset="0"/>
              </a:rPr>
              <a:t>Run Performance tests to validate the performance based on volumetric</a:t>
            </a:r>
          </a:p>
        </p:txBody>
      </p:sp>
      <p:sp>
        <p:nvSpPr>
          <p:cNvPr id="38" name="TextBox 37">
            <a:extLst>
              <a:ext uri="{FF2B5EF4-FFF2-40B4-BE49-F238E27FC236}">
                <a16:creationId xmlns:a16="http://schemas.microsoft.com/office/drawing/2014/main" id="{B97A0E62-B9B0-4AA8-92E0-3CBAEFCA053C}"/>
              </a:ext>
            </a:extLst>
          </p:cNvPr>
          <p:cNvSpPr txBox="1"/>
          <p:nvPr/>
        </p:nvSpPr>
        <p:spPr>
          <a:xfrm>
            <a:off x="3163486" y="2024011"/>
            <a:ext cx="1805023" cy="264241"/>
          </a:xfrm>
          <a:prstGeom prst="rect">
            <a:avLst/>
          </a:prstGeom>
          <a:noFill/>
        </p:spPr>
        <p:txBody>
          <a:bodyPr wrap="square" lIns="0" tIns="0" rIns="0" bIns="0" rtlCol="0">
            <a:noAutofit/>
          </a:bodyPr>
          <a:lstStyle/>
          <a:p>
            <a:pPr algn="ctr"/>
            <a:r>
              <a:rPr lang="en-IN" sz="1000"/>
              <a:t>Data Analysis &amp; Mapping</a:t>
            </a:r>
          </a:p>
        </p:txBody>
      </p:sp>
      <p:sp>
        <p:nvSpPr>
          <p:cNvPr id="39" name="TextBox 38">
            <a:extLst>
              <a:ext uri="{FF2B5EF4-FFF2-40B4-BE49-F238E27FC236}">
                <a16:creationId xmlns:a16="http://schemas.microsoft.com/office/drawing/2014/main" id="{671547F7-E088-4915-B115-2E1D65DD0D38}"/>
              </a:ext>
            </a:extLst>
          </p:cNvPr>
          <p:cNvSpPr txBox="1"/>
          <p:nvPr/>
        </p:nvSpPr>
        <p:spPr>
          <a:xfrm>
            <a:off x="3316075" y="2362708"/>
            <a:ext cx="1468511" cy="279308"/>
          </a:xfrm>
          <a:prstGeom prst="rect">
            <a:avLst/>
          </a:prstGeom>
          <a:noFill/>
        </p:spPr>
        <p:txBody>
          <a:bodyPr wrap="square" lIns="0" tIns="0" rIns="0" bIns="0" rtlCol="0">
            <a:noAutofit/>
          </a:bodyPr>
          <a:lstStyle/>
          <a:p>
            <a:pPr algn="ctr"/>
            <a:r>
              <a:rPr lang="en-IN" sz="900"/>
              <a:t>Schema/Data extraction</a:t>
            </a:r>
          </a:p>
        </p:txBody>
      </p:sp>
      <p:sp>
        <p:nvSpPr>
          <p:cNvPr id="40" name="TextBox 39">
            <a:extLst>
              <a:ext uri="{FF2B5EF4-FFF2-40B4-BE49-F238E27FC236}">
                <a16:creationId xmlns:a16="http://schemas.microsoft.com/office/drawing/2014/main" id="{DA6799AD-64AF-423E-AEE5-A774F5B2407E}"/>
              </a:ext>
            </a:extLst>
          </p:cNvPr>
          <p:cNvSpPr txBox="1"/>
          <p:nvPr/>
        </p:nvSpPr>
        <p:spPr>
          <a:xfrm>
            <a:off x="3360818" y="2715118"/>
            <a:ext cx="1392702" cy="488852"/>
          </a:xfrm>
          <a:prstGeom prst="rect">
            <a:avLst/>
          </a:prstGeom>
          <a:noFill/>
        </p:spPr>
        <p:txBody>
          <a:bodyPr wrap="square" lIns="0" tIns="0" rIns="0" bIns="0" rtlCol="0">
            <a:noAutofit/>
          </a:bodyPr>
          <a:lstStyle/>
          <a:p>
            <a:pPr algn="ctr"/>
            <a:r>
              <a:rPr lang="en-IN" sz="900"/>
              <a:t>Rules Transformation</a:t>
            </a:r>
          </a:p>
        </p:txBody>
      </p:sp>
      <p:graphicFrame>
        <p:nvGraphicFramePr>
          <p:cNvPr id="20" name="Diagram 19">
            <a:extLst>
              <a:ext uri="{FF2B5EF4-FFF2-40B4-BE49-F238E27FC236}">
                <a16:creationId xmlns:a16="http://schemas.microsoft.com/office/drawing/2014/main" id="{BD0ECDE1-083F-4C6E-8DC6-64DE91993E15}"/>
              </a:ext>
            </a:extLst>
          </p:cNvPr>
          <p:cNvGraphicFramePr/>
          <p:nvPr>
            <p:extLst>
              <p:ext uri="{D42A27DB-BD31-4B8C-83A1-F6EECF244321}">
                <p14:modId xmlns:p14="http://schemas.microsoft.com/office/powerpoint/2010/main" val="3112230934"/>
              </p:ext>
            </p:extLst>
          </p:nvPr>
        </p:nvGraphicFramePr>
        <p:xfrm>
          <a:off x="4593403" y="2078111"/>
          <a:ext cx="508488" cy="137948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43" name="Graphic 42" descr="Database outline">
            <a:extLst>
              <a:ext uri="{FF2B5EF4-FFF2-40B4-BE49-F238E27FC236}">
                <a16:creationId xmlns:a16="http://schemas.microsoft.com/office/drawing/2014/main" id="{93723CD7-3A6F-45B9-9D6F-7954BA3F4BB2}"/>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206507" y="2068047"/>
            <a:ext cx="319944" cy="319944"/>
          </a:xfrm>
          <a:prstGeom prst="rect">
            <a:avLst/>
          </a:prstGeom>
        </p:spPr>
      </p:pic>
      <p:pic>
        <p:nvPicPr>
          <p:cNvPr id="44" name="Graphic 43" descr="Database outline">
            <a:extLst>
              <a:ext uri="{FF2B5EF4-FFF2-40B4-BE49-F238E27FC236}">
                <a16:creationId xmlns:a16="http://schemas.microsoft.com/office/drawing/2014/main" id="{554BA177-2F7C-47E6-982D-4B2B6CC217FC}"/>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596221" y="2069885"/>
            <a:ext cx="333768" cy="333768"/>
          </a:xfrm>
          <a:prstGeom prst="rect">
            <a:avLst/>
          </a:prstGeom>
        </p:spPr>
      </p:pic>
      <p:cxnSp>
        <p:nvCxnSpPr>
          <p:cNvPr id="45" name="Straight Arrow Connector 44">
            <a:extLst>
              <a:ext uri="{FF2B5EF4-FFF2-40B4-BE49-F238E27FC236}">
                <a16:creationId xmlns:a16="http://schemas.microsoft.com/office/drawing/2014/main" id="{75FB1EDF-4090-4E0F-A1E6-10C6E9212BF5}"/>
              </a:ext>
            </a:extLst>
          </p:cNvPr>
          <p:cNvCxnSpPr>
            <a:cxnSpLocks/>
          </p:cNvCxnSpPr>
          <p:nvPr/>
        </p:nvCxnSpPr>
        <p:spPr>
          <a:xfrm>
            <a:off x="3449580" y="2252902"/>
            <a:ext cx="130394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480CBC44-BCB6-4847-BFEC-6C4AA1275BD8}"/>
              </a:ext>
            </a:extLst>
          </p:cNvPr>
          <p:cNvCxnSpPr>
            <a:cxnSpLocks/>
          </p:cNvCxnSpPr>
          <p:nvPr/>
        </p:nvCxnSpPr>
        <p:spPr>
          <a:xfrm>
            <a:off x="3447232" y="2560048"/>
            <a:ext cx="130394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B13D59EF-FCF2-4288-855D-C02E2D46F781}"/>
              </a:ext>
            </a:extLst>
          </p:cNvPr>
          <p:cNvCxnSpPr>
            <a:cxnSpLocks/>
          </p:cNvCxnSpPr>
          <p:nvPr/>
        </p:nvCxnSpPr>
        <p:spPr>
          <a:xfrm>
            <a:off x="5587351" y="2243036"/>
            <a:ext cx="900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A64AF664-0066-48F1-8BFA-4BFDC2B59372}"/>
              </a:ext>
            </a:extLst>
          </p:cNvPr>
          <p:cNvSpPr txBox="1"/>
          <p:nvPr/>
        </p:nvSpPr>
        <p:spPr>
          <a:xfrm>
            <a:off x="4672014" y="2429798"/>
            <a:ext cx="1392702" cy="255189"/>
          </a:xfrm>
          <a:prstGeom prst="rect">
            <a:avLst/>
          </a:prstGeom>
          <a:noFill/>
        </p:spPr>
        <p:txBody>
          <a:bodyPr wrap="square" lIns="0" tIns="0" rIns="0" bIns="0" rtlCol="0">
            <a:noAutofit/>
          </a:bodyPr>
          <a:lstStyle/>
          <a:p>
            <a:pPr algn="ctr"/>
            <a:r>
              <a:rPr lang="en-IN" sz="900"/>
              <a:t>Clients</a:t>
            </a:r>
          </a:p>
        </p:txBody>
      </p:sp>
      <p:sp>
        <p:nvSpPr>
          <p:cNvPr id="50" name="TextBox 49">
            <a:extLst>
              <a:ext uri="{FF2B5EF4-FFF2-40B4-BE49-F238E27FC236}">
                <a16:creationId xmlns:a16="http://schemas.microsoft.com/office/drawing/2014/main" id="{D8925052-2BFE-4EFF-B311-E5F0C08BB16C}"/>
              </a:ext>
            </a:extLst>
          </p:cNvPr>
          <p:cNvSpPr txBox="1"/>
          <p:nvPr/>
        </p:nvSpPr>
        <p:spPr>
          <a:xfrm>
            <a:off x="6050999" y="2373799"/>
            <a:ext cx="1392702" cy="313201"/>
          </a:xfrm>
          <a:prstGeom prst="rect">
            <a:avLst/>
          </a:prstGeom>
          <a:noFill/>
        </p:spPr>
        <p:txBody>
          <a:bodyPr wrap="square" lIns="0" tIns="0" rIns="0" bIns="0" rtlCol="0">
            <a:noAutofit/>
          </a:bodyPr>
          <a:lstStyle/>
          <a:p>
            <a:pPr algn="ctr"/>
            <a:r>
              <a:rPr lang="en-IN" sz="900"/>
              <a:t>Customer </a:t>
            </a:r>
          </a:p>
          <a:p>
            <a:pPr algn="ctr"/>
            <a:r>
              <a:rPr lang="en-IN" sz="900"/>
              <a:t>Organizations</a:t>
            </a:r>
          </a:p>
        </p:txBody>
      </p:sp>
      <p:pic>
        <p:nvPicPr>
          <p:cNvPr id="51" name="Graphic 50" descr="Database outline">
            <a:extLst>
              <a:ext uri="{FF2B5EF4-FFF2-40B4-BE49-F238E27FC236}">
                <a16:creationId xmlns:a16="http://schemas.microsoft.com/office/drawing/2014/main" id="{AD3E512D-74B2-4D5A-9176-EAFCF367CE50}"/>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78320" y="2612271"/>
            <a:ext cx="319944" cy="319944"/>
          </a:xfrm>
          <a:prstGeom prst="rect">
            <a:avLst/>
          </a:prstGeom>
        </p:spPr>
      </p:pic>
      <p:cxnSp>
        <p:nvCxnSpPr>
          <p:cNvPr id="52" name="Straight Arrow Connector 51">
            <a:extLst>
              <a:ext uri="{FF2B5EF4-FFF2-40B4-BE49-F238E27FC236}">
                <a16:creationId xmlns:a16="http://schemas.microsoft.com/office/drawing/2014/main" id="{22191600-F110-4128-9A14-BF7727F95CFC}"/>
              </a:ext>
            </a:extLst>
          </p:cNvPr>
          <p:cNvCxnSpPr>
            <a:cxnSpLocks/>
          </p:cNvCxnSpPr>
          <p:nvPr/>
        </p:nvCxnSpPr>
        <p:spPr>
          <a:xfrm>
            <a:off x="5550464" y="2772243"/>
            <a:ext cx="900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655E14EB-E1DA-4B2E-B79B-921836C3619A}"/>
              </a:ext>
            </a:extLst>
          </p:cNvPr>
          <p:cNvSpPr txBox="1"/>
          <p:nvPr/>
        </p:nvSpPr>
        <p:spPr>
          <a:xfrm>
            <a:off x="4660638" y="2964341"/>
            <a:ext cx="1392702" cy="255189"/>
          </a:xfrm>
          <a:prstGeom prst="rect">
            <a:avLst/>
          </a:prstGeom>
          <a:noFill/>
        </p:spPr>
        <p:txBody>
          <a:bodyPr wrap="square" lIns="0" tIns="0" rIns="0" bIns="0" rtlCol="0">
            <a:noAutofit/>
          </a:bodyPr>
          <a:lstStyle/>
          <a:p>
            <a:pPr algn="ctr"/>
            <a:r>
              <a:rPr lang="en-IN" sz="900"/>
              <a:t>Plan</a:t>
            </a:r>
          </a:p>
        </p:txBody>
      </p:sp>
      <p:pic>
        <p:nvPicPr>
          <p:cNvPr id="54" name="Graphic 53" descr="Database outline">
            <a:extLst>
              <a:ext uri="{FF2B5EF4-FFF2-40B4-BE49-F238E27FC236}">
                <a16:creationId xmlns:a16="http://schemas.microsoft.com/office/drawing/2014/main" id="{C06163CD-465C-46A8-9259-F410822381F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598493" y="2604424"/>
            <a:ext cx="333768" cy="333768"/>
          </a:xfrm>
          <a:prstGeom prst="rect">
            <a:avLst/>
          </a:prstGeom>
        </p:spPr>
      </p:pic>
      <p:sp>
        <p:nvSpPr>
          <p:cNvPr id="55" name="TextBox 54">
            <a:extLst>
              <a:ext uri="{FF2B5EF4-FFF2-40B4-BE49-F238E27FC236}">
                <a16:creationId xmlns:a16="http://schemas.microsoft.com/office/drawing/2014/main" id="{9E2028AE-B411-4DD6-8784-D92B750147C5}"/>
              </a:ext>
            </a:extLst>
          </p:cNvPr>
          <p:cNvSpPr txBox="1"/>
          <p:nvPr/>
        </p:nvSpPr>
        <p:spPr>
          <a:xfrm>
            <a:off x="6063932" y="2966917"/>
            <a:ext cx="1392702" cy="255189"/>
          </a:xfrm>
          <a:prstGeom prst="rect">
            <a:avLst/>
          </a:prstGeom>
          <a:noFill/>
        </p:spPr>
        <p:txBody>
          <a:bodyPr wrap="square" lIns="0" tIns="0" rIns="0" bIns="0" rtlCol="0">
            <a:noAutofit/>
          </a:bodyPr>
          <a:lstStyle/>
          <a:p>
            <a:pPr algn="ctr"/>
            <a:r>
              <a:rPr lang="en-IN" sz="900"/>
              <a:t>Policy</a:t>
            </a:r>
          </a:p>
        </p:txBody>
      </p:sp>
      <p:sp>
        <p:nvSpPr>
          <p:cNvPr id="56" name="TextBox 55">
            <a:extLst>
              <a:ext uri="{FF2B5EF4-FFF2-40B4-BE49-F238E27FC236}">
                <a16:creationId xmlns:a16="http://schemas.microsoft.com/office/drawing/2014/main" id="{E7AF038F-ABAA-47F2-9B44-CAF9128A995A}"/>
              </a:ext>
            </a:extLst>
          </p:cNvPr>
          <p:cNvSpPr txBox="1"/>
          <p:nvPr/>
        </p:nvSpPr>
        <p:spPr>
          <a:xfrm>
            <a:off x="7739487" y="2000582"/>
            <a:ext cx="1805023" cy="264241"/>
          </a:xfrm>
          <a:prstGeom prst="rect">
            <a:avLst/>
          </a:prstGeom>
          <a:noFill/>
        </p:spPr>
        <p:txBody>
          <a:bodyPr wrap="square" lIns="0" tIns="0" rIns="0" bIns="0" rtlCol="0">
            <a:noAutofit/>
          </a:bodyPr>
          <a:lstStyle/>
          <a:p>
            <a:pPr algn="ctr"/>
            <a:r>
              <a:rPr lang="en-IN" sz="1000"/>
              <a:t>Data validation</a:t>
            </a:r>
          </a:p>
        </p:txBody>
      </p:sp>
      <p:cxnSp>
        <p:nvCxnSpPr>
          <p:cNvPr id="57" name="Straight Arrow Connector 56">
            <a:extLst>
              <a:ext uri="{FF2B5EF4-FFF2-40B4-BE49-F238E27FC236}">
                <a16:creationId xmlns:a16="http://schemas.microsoft.com/office/drawing/2014/main" id="{4A65461B-875D-4A86-A9C1-AFC93E510F13}"/>
              </a:ext>
            </a:extLst>
          </p:cNvPr>
          <p:cNvCxnSpPr>
            <a:cxnSpLocks/>
          </p:cNvCxnSpPr>
          <p:nvPr/>
        </p:nvCxnSpPr>
        <p:spPr>
          <a:xfrm>
            <a:off x="7990028" y="2212770"/>
            <a:ext cx="130394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79AC4450-1D99-4B74-88EC-D629D74519F9}"/>
              </a:ext>
            </a:extLst>
          </p:cNvPr>
          <p:cNvSpPr txBox="1"/>
          <p:nvPr/>
        </p:nvSpPr>
        <p:spPr>
          <a:xfrm>
            <a:off x="7739487" y="2247195"/>
            <a:ext cx="1805023" cy="264241"/>
          </a:xfrm>
          <a:prstGeom prst="rect">
            <a:avLst/>
          </a:prstGeom>
          <a:noFill/>
        </p:spPr>
        <p:txBody>
          <a:bodyPr wrap="square" lIns="0" tIns="0" rIns="0" bIns="0" rtlCol="0">
            <a:noAutofit/>
          </a:bodyPr>
          <a:lstStyle/>
          <a:p>
            <a:pPr algn="ctr"/>
            <a:r>
              <a:rPr lang="en-IN" sz="1000"/>
              <a:t>ETL Rules /SQL Queries Validation</a:t>
            </a:r>
          </a:p>
        </p:txBody>
      </p:sp>
      <p:cxnSp>
        <p:nvCxnSpPr>
          <p:cNvPr id="60" name="Straight Arrow Connector 59">
            <a:extLst>
              <a:ext uri="{FF2B5EF4-FFF2-40B4-BE49-F238E27FC236}">
                <a16:creationId xmlns:a16="http://schemas.microsoft.com/office/drawing/2014/main" id="{8E041A8F-E5E8-4E05-B028-D975E0F1A0FD}"/>
              </a:ext>
            </a:extLst>
          </p:cNvPr>
          <p:cNvCxnSpPr>
            <a:cxnSpLocks/>
          </p:cNvCxnSpPr>
          <p:nvPr/>
        </p:nvCxnSpPr>
        <p:spPr>
          <a:xfrm>
            <a:off x="7990028" y="2553640"/>
            <a:ext cx="130394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50754EEB-5293-4E66-9D44-3C96B6241726}"/>
              </a:ext>
            </a:extLst>
          </p:cNvPr>
          <p:cNvCxnSpPr>
            <a:cxnSpLocks/>
          </p:cNvCxnSpPr>
          <p:nvPr/>
        </p:nvCxnSpPr>
        <p:spPr>
          <a:xfrm>
            <a:off x="3447232" y="2932215"/>
            <a:ext cx="130394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D82C9CDB-DE76-42A0-BE82-FEEA8D9F3C92}"/>
              </a:ext>
            </a:extLst>
          </p:cNvPr>
          <p:cNvSpPr txBox="1"/>
          <p:nvPr/>
        </p:nvSpPr>
        <p:spPr>
          <a:xfrm>
            <a:off x="7746109" y="2603259"/>
            <a:ext cx="1805023" cy="264241"/>
          </a:xfrm>
          <a:prstGeom prst="rect">
            <a:avLst/>
          </a:prstGeom>
          <a:noFill/>
        </p:spPr>
        <p:txBody>
          <a:bodyPr wrap="square" lIns="0" tIns="0" rIns="0" bIns="0" rtlCol="0">
            <a:noAutofit/>
          </a:bodyPr>
          <a:lstStyle/>
          <a:p>
            <a:pPr algn="ctr"/>
            <a:r>
              <a:rPr lang="en-IN" sz="1000"/>
              <a:t>Parallel testing – SLX &amp; MPS</a:t>
            </a:r>
          </a:p>
        </p:txBody>
      </p:sp>
      <p:pic>
        <p:nvPicPr>
          <p:cNvPr id="64" name="Graphic 63" descr="Database outline">
            <a:extLst>
              <a:ext uri="{FF2B5EF4-FFF2-40B4-BE49-F238E27FC236}">
                <a16:creationId xmlns:a16="http://schemas.microsoft.com/office/drawing/2014/main" id="{FD639980-17C4-4469-A48F-DD2F58F99C4D}"/>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92023" y="2155042"/>
            <a:ext cx="333768" cy="333768"/>
          </a:xfrm>
          <a:prstGeom prst="rect">
            <a:avLst/>
          </a:prstGeom>
        </p:spPr>
      </p:pic>
      <p:sp>
        <p:nvSpPr>
          <p:cNvPr id="65" name="TextBox 64">
            <a:extLst>
              <a:ext uri="{FF2B5EF4-FFF2-40B4-BE49-F238E27FC236}">
                <a16:creationId xmlns:a16="http://schemas.microsoft.com/office/drawing/2014/main" id="{02452C93-75F2-41CC-ACD4-9678E12578EB}"/>
              </a:ext>
            </a:extLst>
          </p:cNvPr>
          <p:cNvSpPr txBox="1"/>
          <p:nvPr/>
        </p:nvSpPr>
        <p:spPr>
          <a:xfrm>
            <a:off x="9369538" y="2566732"/>
            <a:ext cx="1392702" cy="245849"/>
          </a:xfrm>
          <a:prstGeom prst="rect">
            <a:avLst/>
          </a:prstGeom>
          <a:noFill/>
        </p:spPr>
        <p:txBody>
          <a:bodyPr wrap="square" lIns="0" tIns="0" rIns="0" bIns="0" rtlCol="0">
            <a:noAutofit/>
          </a:bodyPr>
          <a:lstStyle/>
          <a:p>
            <a:pPr algn="ctr"/>
            <a:r>
              <a:rPr lang="en-IN" sz="900"/>
              <a:t>Policy</a:t>
            </a:r>
          </a:p>
        </p:txBody>
      </p:sp>
      <p:pic>
        <p:nvPicPr>
          <p:cNvPr id="66" name="Graphic 65" descr="Database outline">
            <a:extLst>
              <a:ext uri="{FF2B5EF4-FFF2-40B4-BE49-F238E27FC236}">
                <a16:creationId xmlns:a16="http://schemas.microsoft.com/office/drawing/2014/main" id="{184B25B6-49E2-488A-885F-1DD386B86E3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91527" y="2424838"/>
            <a:ext cx="333768" cy="333768"/>
          </a:xfrm>
          <a:prstGeom prst="rect">
            <a:avLst/>
          </a:prstGeom>
        </p:spPr>
      </p:pic>
      <p:sp>
        <p:nvSpPr>
          <p:cNvPr id="67" name="TextBox 66">
            <a:extLst>
              <a:ext uri="{FF2B5EF4-FFF2-40B4-BE49-F238E27FC236}">
                <a16:creationId xmlns:a16="http://schemas.microsoft.com/office/drawing/2014/main" id="{6E5B714A-EB17-4447-8F0A-E549FB9157A8}"/>
              </a:ext>
            </a:extLst>
          </p:cNvPr>
          <p:cNvSpPr txBox="1"/>
          <p:nvPr/>
        </p:nvSpPr>
        <p:spPr>
          <a:xfrm>
            <a:off x="10090321" y="2829916"/>
            <a:ext cx="1392702" cy="245849"/>
          </a:xfrm>
          <a:prstGeom prst="rect">
            <a:avLst/>
          </a:prstGeom>
          <a:noFill/>
        </p:spPr>
        <p:txBody>
          <a:bodyPr wrap="square" lIns="0" tIns="0" rIns="0" bIns="0" rtlCol="0">
            <a:noAutofit/>
          </a:bodyPr>
          <a:lstStyle/>
          <a:p>
            <a:pPr algn="ctr"/>
            <a:r>
              <a:rPr lang="en-IN" sz="900"/>
              <a:t>Financial Data</a:t>
            </a:r>
          </a:p>
        </p:txBody>
      </p:sp>
      <p:pic>
        <p:nvPicPr>
          <p:cNvPr id="68" name="Graphic 67" descr="Database outline">
            <a:extLst>
              <a:ext uri="{FF2B5EF4-FFF2-40B4-BE49-F238E27FC236}">
                <a16:creationId xmlns:a16="http://schemas.microsoft.com/office/drawing/2014/main" id="{6C25BB11-DDDE-49B5-A99B-F2DC094418D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239315" y="2134775"/>
            <a:ext cx="333768" cy="333768"/>
          </a:xfrm>
          <a:prstGeom prst="rect">
            <a:avLst/>
          </a:prstGeom>
        </p:spPr>
      </p:pic>
      <p:sp>
        <p:nvSpPr>
          <p:cNvPr id="69" name="TextBox 68">
            <a:extLst>
              <a:ext uri="{FF2B5EF4-FFF2-40B4-BE49-F238E27FC236}">
                <a16:creationId xmlns:a16="http://schemas.microsoft.com/office/drawing/2014/main" id="{2386C028-DA6C-4EFD-BEE7-213F81D81EC5}"/>
              </a:ext>
            </a:extLst>
          </p:cNvPr>
          <p:cNvSpPr txBox="1"/>
          <p:nvPr/>
        </p:nvSpPr>
        <p:spPr>
          <a:xfrm>
            <a:off x="10706622" y="2555843"/>
            <a:ext cx="1392702" cy="245849"/>
          </a:xfrm>
          <a:prstGeom prst="rect">
            <a:avLst/>
          </a:prstGeom>
          <a:noFill/>
        </p:spPr>
        <p:txBody>
          <a:bodyPr wrap="square" lIns="0" tIns="0" rIns="0" bIns="0" rtlCol="0">
            <a:noAutofit/>
          </a:bodyPr>
          <a:lstStyle/>
          <a:p>
            <a:pPr algn="ctr"/>
            <a:r>
              <a:rPr lang="en-IN" sz="900"/>
              <a:t>Members</a:t>
            </a:r>
          </a:p>
        </p:txBody>
      </p:sp>
      <p:pic>
        <p:nvPicPr>
          <p:cNvPr id="3080" name="Picture 8" descr="gear land tool icon and data process for system setting and configuration  symbol in technology company or engineering Stock Vector | Adobe Stock">
            <a:extLst>
              <a:ext uri="{FF2B5EF4-FFF2-40B4-BE49-F238E27FC236}">
                <a16:creationId xmlns:a16="http://schemas.microsoft.com/office/drawing/2014/main" id="{3C4272F3-A9AB-48BF-9C87-EF1C319768D7}"/>
              </a:ext>
            </a:extLst>
          </p:cNvPr>
          <p:cNvPicPr>
            <a:picLocks noChangeAspect="1" noChangeArrowheads="1"/>
          </p:cNvPicPr>
          <p:nvPr/>
        </p:nvPicPr>
        <p:blipFill>
          <a:blip r:embed="rId10" cstate="print">
            <a:clrChange>
              <a:clrFrom>
                <a:srgbClr val="FBFBFB"/>
              </a:clrFrom>
              <a:clrTo>
                <a:srgbClr val="FBFBFB">
                  <a:alpha val="0"/>
                </a:srgbClr>
              </a:clrTo>
            </a:clrChange>
            <a:duotone>
              <a:prstClr val="black"/>
              <a:schemeClr val="accent6">
                <a:tint val="45000"/>
                <a:satMod val="400000"/>
              </a:schemeClr>
            </a:duotone>
            <a:extLst>
              <a:ext uri="{28A0092B-C50C-407E-A947-70E740481C1C}">
                <a14:useLocalDpi xmlns:a14="http://schemas.microsoft.com/office/drawing/2010/main" val="0"/>
              </a:ext>
            </a:extLst>
          </a:blip>
          <a:srcRect/>
          <a:stretch>
            <a:fillRect/>
          </a:stretch>
        </p:blipFill>
        <p:spPr bwMode="auto">
          <a:xfrm>
            <a:off x="7720319" y="1611508"/>
            <a:ext cx="550404" cy="550404"/>
          </a:xfrm>
          <a:prstGeom prst="rect">
            <a:avLst/>
          </a:prstGeom>
          <a:noFill/>
          <a:extLst>
            <a:ext uri="{909E8E84-426E-40DD-AFC4-6F175D3DCCD1}">
              <a14:hiddenFill xmlns:a14="http://schemas.microsoft.com/office/drawing/2010/main">
                <a:solidFill>
                  <a:srgbClr val="FFFFFF"/>
                </a:solidFill>
              </a14:hiddenFill>
            </a:ext>
          </a:extLst>
        </p:spPr>
      </p:pic>
      <p:sp>
        <p:nvSpPr>
          <p:cNvPr id="72" name="TextBox 71">
            <a:extLst>
              <a:ext uri="{FF2B5EF4-FFF2-40B4-BE49-F238E27FC236}">
                <a16:creationId xmlns:a16="http://schemas.microsoft.com/office/drawing/2014/main" id="{DB23FED3-FD13-436D-B132-A692B6D59F26}"/>
              </a:ext>
            </a:extLst>
          </p:cNvPr>
          <p:cNvSpPr txBox="1"/>
          <p:nvPr/>
        </p:nvSpPr>
        <p:spPr>
          <a:xfrm>
            <a:off x="7930015" y="1561462"/>
            <a:ext cx="1805023" cy="264241"/>
          </a:xfrm>
          <a:prstGeom prst="rect">
            <a:avLst/>
          </a:prstGeom>
          <a:noFill/>
        </p:spPr>
        <p:txBody>
          <a:bodyPr wrap="square" lIns="0" tIns="0" rIns="0" bIns="0" rtlCol="0">
            <a:noAutofit/>
          </a:bodyPr>
          <a:lstStyle/>
          <a:p>
            <a:pPr algn="ctr"/>
            <a:r>
              <a:rPr lang="en-IN" sz="1000"/>
              <a:t>Tool based Validation</a:t>
            </a:r>
          </a:p>
        </p:txBody>
      </p:sp>
      <p:sp>
        <p:nvSpPr>
          <p:cNvPr id="74" name="Rectangle 73">
            <a:extLst>
              <a:ext uri="{FF2B5EF4-FFF2-40B4-BE49-F238E27FC236}">
                <a16:creationId xmlns:a16="http://schemas.microsoft.com/office/drawing/2014/main" id="{4B652DA2-B265-4707-B205-2F08B5C9A627}"/>
              </a:ext>
            </a:extLst>
          </p:cNvPr>
          <p:cNvSpPr/>
          <p:nvPr/>
        </p:nvSpPr>
        <p:spPr>
          <a:xfrm>
            <a:off x="225673" y="3531116"/>
            <a:ext cx="1586039" cy="344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u="sng">
                <a:solidFill>
                  <a:srgbClr val="0070C0"/>
                </a:solidFill>
                <a:latin typeface="+mj-lt"/>
                <a:cs typeface="Arial" panose="020B0604020202020204" pitchFamily="34" charset="0"/>
              </a:rPr>
              <a:t>KEY TESTING ASPECTS</a:t>
            </a:r>
          </a:p>
        </p:txBody>
      </p:sp>
      <p:sp>
        <p:nvSpPr>
          <p:cNvPr id="46" name="Rectangle 45">
            <a:extLst>
              <a:ext uri="{FF2B5EF4-FFF2-40B4-BE49-F238E27FC236}">
                <a16:creationId xmlns:a16="http://schemas.microsoft.com/office/drawing/2014/main" id="{717E14DB-13E3-418B-84A0-18515D62F89E}"/>
              </a:ext>
            </a:extLst>
          </p:cNvPr>
          <p:cNvSpPr/>
          <p:nvPr/>
        </p:nvSpPr>
        <p:spPr>
          <a:xfrm>
            <a:off x="195850" y="3953709"/>
            <a:ext cx="1615862" cy="384666"/>
          </a:xfrm>
          <a:prstGeom prst="rect">
            <a:avLst/>
          </a:prstGeom>
          <a:solidFill>
            <a:srgbClr val="0070C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100">
                <a:solidFill>
                  <a:schemeClr val="bg1"/>
                </a:solidFill>
                <a:latin typeface="+mj-lt"/>
                <a:cs typeface="Arial" panose="020B0604020202020204" pitchFamily="34" charset="0"/>
              </a:rPr>
              <a:t>Schema / Data Mapping Validation</a:t>
            </a:r>
          </a:p>
        </p:txBody>
      </p:sp>
      <p:sp>
        <p:nvSpPr>
          <p:cNvPr id="76" name="Rectangle 75">
            <a:extLst>
              <a:ext uri="{FF2B5EF4-FFF2-40B4-BE49-F238E27FC236}">
                <a16:creationId xmlns:a16="http://schemas.microsoft.com/office/drawing/2014/main" id="{42AEE4C3-0556-47EA-83C7-9033B8CDE527}"/>
              </a:ext>
            </a:extLst>
          </p:cNvPr>
          <p:cNvSpPr/>
          <p:nvPr/>
        </p:nvSpPr>
        <p:spPr>
          <a:xfrm>
            <a:off x="195642" y="4398039"/>
            <a:ext cx="1614058" cy="412609"/>
          </a:xfrm>
          <a:prstGeom prst="rect">
            <a:avLst/>
          </a:prstGeom>
          <a:solidFill>
            <a:srgbClr val="0070C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100">
                <a:solidFill>
                  <a:schemeClr val="bg1"/>
                </a:solidFill>
                <a:latin typeface="+mj-lt"/>
                <a:cs typeface="Arial" panose="020B0604020202020204" pitchFamily="34" charset="0"/>
              </a:rPr>
              <a:t>ETL /SQL Testing Transformation Logic</a:t>
            </a:r>
          </a:p>
        </p:txBody>
      </p:sp>
      <p:sp>
        <p:nvSpPr>
          <p:cNvPr id="77" name="Rectangle 76">
            <a:extLst>
              <a:ext uri="{FF2B5EF4-FFF2-40B4-BE49-F238E27FC236}">
                <a16:creationId xmlns:a16="http://schemas.microsoft.com/office/drawing/2014/main" id="{A34A5D7F-2125-465A-B38E-318599C8521E}"/>
              </a:ext>
            </a:extLst>
          </p:cNvPr>
          <p:cNvSpPr/>
          <p:nvPr/>
        </p:nvSpPr>
        <p:spPr>
          <a:xfrm>
            <a:off x="195642" y="4880272"/>
            <a:ext cx="1614059" cy="384666"/>
          </a:xfrm>
          <a:prstGeom prst="rect">
            <a:avLst/>
          </a:prstGeom>
          <a:solidFill>
            <a:srgbClr val="0070C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100">
                <a:solidFill>
                  <a:schemeClr val="bg1"/>
                </a:solidFill>
                <a:latin typeface="+mj-lt"/>
                <a:cs typeface="Arial" panose="020B0604020202020204" pitchFamily="34" charset="0"/>
              </a:rPr>
              <a:t>Validating the Initial &amp; Incremental Load</a:t>
            </a:r>
          </a:p>
        </p:txBody>
      </p:sp>
      <p:sp>
        <p:nvSpPr>
          <p:cNvPr id="78" name="Rectangle 77">
            <a:extLst>
              <a:ext uri="{FF2B5EF4-FFF2-40B4-BE49-F238E27FC236}">
                <a16:creationId xmlns:a16="http://schemas.microsoft.com/office/drawing/2014/main" id="{41D8DDE7-FE58-44F8-B5A9-1D93D2444BBE}"/>
              </a:ext>
            </a:extLst>
          </p:cNvPr>
          <p:cNvSpPr/>
          <p:nvPr/>
        </p:nvSpPr>
        <p:spPr>
          <a:xfrm>
            <a:off x="195642" y="5319484"/>
            <a:ext cx="1614058" cy="384666"/>
          </a:xfrm>
          <a:prstGeom prst="rect">
            <a:avLst/>
          </a:prstGeom>
          <a:solidFill>
            <a:srgbClr val="0070C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100">
                <a:solidFill>
                  <a:schemeClr val="bg1"/>
                </a:solidFill>
                <a:latin typeface="+mj-lt"/>
                <a:cs typeface="Arial" panose="020B0604020202020204" pitchFamily="34" charset="0"/>
              </a:rPr>
              <a:t>Parallel Testing- SLX &amp; MPS </a:t>
            </a:r>
          </a:p>
        </p:txBody>
      </p:sp>
      <p:sp>
        <p:nvSpPr>
          <p:cNvPr id="79" name="Rectangle 78">
            <a:extLst>
              <a:ext uri="{FF2B5EF4-FFF2-40B4-BE49-F238E27FC236}">
                <a16:creationId xmlns:a16="http://schemas.microsoft.com/office/drawing/2014/main" id="{3D8162AE-0E68-4AD9-9CB7-CC1EC714193F}"/>
              </a:ext>
            </a:extLst>
          </p:cNvPr>
          <p:cNvSpPr/>
          <p:nvPr/>
        </p:nvSpPr>
        <p:spPr>
          <a:xfrm>
            <a:off x="185372" y="5758696"/>
            <a:ext cx="1606297" cy="384666"/>
          </a:xfrm>
          <a:prstGeom prst="rect">
            <a:avLst/>
          </a:prstGeom>
          <a:solidFill>
            <a:srgbClr val="0070C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100">
                <a:solidFill>
                  <a:schemeClr val="bg1"/>
                </a:solidFill>
                <a:latin typeface="+mj-lt"/>
                <a:cs typeface="Arial" panose="020B0604020202020204" pitchFamily="34" charset="0"/>
              </a:rPr>
              <a:t>Performance Testing</a:t>
            </a:r>
          </a:p>
        </p:txBody>
      </p:sp>
      <p:pic>
        <p:nvPicPr>
          <p:cNvPr id="3082" name="Picture 10" descr="Informatica Logo Download - AI - All Vector Logo">
            <a:extLst>
              <a:ext uri="{FF2B5EF4-FFF2-40B4-BE49-F238E27FC236}">
                <a16:creationId xmlns:a16="http://schemas.microsoft.com/office/drawing/2014/main" id="{947071C7-50D7-4EFD-A74E-7699FB96E365}"/>
              </a:ext>
            </a:extLst>
          </p:cNvPr>
          <p:cNvPicPr>
            <a:picLocks noChangeAspect="1" noChangeArrowheads="1"/>
          </p:cNvPicPr>
          <p:nvPr/>
        </p:nvPicPr>
        <p:blipFill>
          <a:blip r:embed="rId11" cstate="print">
            <a:clrChange>
              <a:clrFrom>
                <a:srgbClr val="FFFFFF"/>
              </a:clrFrom>
              <a:clrTo>
                <a:srgbClr val="FFFFFF">
                  <a:alpha val="0"/>
                </a:srgbClr>
              </a:clrTo>
            </a:clrChange>
            <a:alphaModFix/>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3156137" y="2891760"/>
            <a:ext cx="945841" cy="511685"/>
          </a:xfrm>
          <a:prstGeom prst="rect">
            <a:avLst/>
          </a:prstGeom>
          <a:noFill/>
          <a:extLst>
            <a:ext uri="{909E8E84-426E-40DD-AFC4-6F175D3DCCD1}">
              <a14:hiddenFill xmlns:a14="http://schemas.microsoft.com/office/drawing/2010/main">
                <a:solidFill>
                  <a:srgbClr val="FFFFFF"/>
                </a:solidFill>
              </a14:hiddenFill>
            </a:ext>
          </a:extLst>
        </p:spPr>
      </p:pic>
      <p:pic>
        <p:nvPicPr>
          <p:cNvPr id="81" name="Graphic 80" descr="Database outline">
            <a:extLst>
              <a:ext uri="{FF2B5EF4-FFF2-40B4-BE49-F238E27FC236}">
                <a16:creationId xmlns:a16="http://schemas.microsoft.com/office/drawing/2014/main" id="{86221D6C-875F-4ECD-B317-099CED42931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48195" y="2660749"/>
            <a:ext cx="433157" cy="433157"/>
          </a:xfrm>
          <a:prstGeom prst="rect">
            <a:avLst/>
          </a:prstGeom>
        </p:spPr>
      </p:pic>
      <p:sp>
        <p:nvSpPr>
          <p:cNvPr id="82" name="TextBox 81">
            <a:extLst>
              <a:ext uri="{FF2B5EF4-FFF2-40B4-BE49-F238E27FC236}">
                <a16:creationId xmlns:a16="http://schemas.microsoft.com/office/drawing/2014/main" id="{209C41CE-212D-4BA7-94ED-FF1D07DA90C8}"/>
              </a:ext>
            </a:extLst>
          </p:cNvPr>
          <p:cNvSpPr txBox="1"/>
          <p:nvPr/>
        </p:nvSpPr>
        <p:spPr>
          <a:xfrm>
            <a:off x="907354" y="3072963"/>
            <a:ext cx="1392702" cy="245849"/>
          </a:xfrm>
          <a:prstGeom prst="rect">
            <a:avLst/>
          </a:prstGeom>
          <a:noFill/>
        </p:spPr>
        <p:txBody>
          <a:bodyPr wrap="square" lIns="0" tIns="0" rIns="0" bIns="0" rtlCol="0">
            <a:noAutofit/>
          </a:bodyPr>
          <a:lstStyle/>
          <a:p>
            <a:pPr algn="ctr"/>
            <a:r>
              <a:rPr lang="en-IN" sz="900"/>
              <a:t>Financial Data</a:t>
            </a:r>
          </a:p>
        </p:txBody>
      </p:sp>
      <p:pic>
        <p:nvPicPr>
          <p:cNvPr id="83" name="Picture 82" descr="A picture containing indoor, tiled, tile&#10;&#10;Description automatically generated">
            <a:extLst>
              <a:ext uri="{FF2B5EF4-FFF2-40B4-BE49-F238E27FC236}">
                <a16:creationId xmlns:a16="http://schemas.microsoft.com/office/drawing/2014/main" id="{01B788B5-E771-478B-9595-7AE2A42EBF9C}"/>
              </a:ext>
            </a:extLst>
          </p:cNvPr>
          <p:cNvPicPr>
            <a:picLocks noChangeAspect="1"/>
          </p:cNvPicPr>
          <p:nvPr/>
        </p:nvPicPr>
        <p:blipFill>
          <a:blip r:embed="rId12" cstate="print">
            <a:clrChange>
              <a:clrFrom>
                <a:srgbClr val="FDFDFD"/>
              </a:clrFrom>
              <a:clrTo>
                <a:srgbClr val="FDFDFD">
                  <a:alpha val="0"/>
                </a:srgbClr>
              </a:clrTo>
            </a:clrChange>
            <a:duotone>
              <a:prstClr val="black"/>
              <a:schemeClr val="accent4">
                <a:tint val="45000"/>
                <a:satMod val="400000"/>
              </a:schemeClr>
            </a:duotone>
            <a:extLst>
              <a:ext uri="{28A0092B-C50C-407E-A947-70E740481C1C}">
                <a14:useLocalDpi xmlns:a14="http://schemas.microsoft.com/office/drawing/2010/main" val="0"/>
              </a:ext>
            </a:extLst>
          </a:blip>
          <a:stretch>
            <a:fillRect/>
          </a:stretch>
        </p:blipFill>
        <p:spPr>
          <a:xfrm>
            <a:off x="259015" y="2937644"/>
            <a:ext cx="488033" cy="488033"/>
          </a:xfrm>
          <a:prstGeom prst="rect">
            <a:avLst/>
          </a:prstGeom>
        </p:spPr>
      </p:pic>
      <p:pic>
        <p:nvPicPr>
          <p:cNvPr id="84" name="Picture 83">
            <a:extLst>
              <a:ext uri="{FF2B5EF4-FFF2-40B4-BE49-F238E27FC236}">
                <a16:creationId xmlns:a16="http://schemas.microsoft.com/office/drawing/2014/main" id="{82C959FB-B05C-4C12-B527-7ADE364043AD}"/>
              </a:ext>
            </a:extLst>
          </p:cNvPr>
          <p:cNvPicPr>
            <a:picLocks noChangeAspect="1"/>
          </p:cNvPicPr>
          <p:nvPr/>
        </p:nvPicPr>
        <p:blipFill>
          <a:blip r:embed="rId13" cstate="print">
            <a:clrChange>
              <a:clrFrom>
                <a:srgbClr val="F7F7F7"/>
              </a:clrFrom>
              <a:clrTo>
                <a:srgbClr val="F7F7F7">
                  <a:alpha val="0"/>
                </a:srgbClr>
              </a:clrTo>
            </a:clrChange>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9590996" y="2854554"/>
            <a:ext cx="433873" cy="491449"/>
          </a:xfrm>
          <a:prstGeom prst="rect">
            <a:avLst/>
          </a:prstGeom>
        </p:spPr>
      </p:pic>
      <p:sp>
        <p:nvSpPr>
          <p:cNvPr id="2" name="TextBox 1">
            <a:extLst>
              <a:ext uri="{FF2B5EF4-FFF2-40B4-BE49-F238E27FC236}">
                <a16:creationId xmlns:a16="http://schemas.microsoft.com/office/drawing/2014/main" id="{34EA14E5-6346-4B3D-9A8B-7A1567E84E07}"/>
              </a:ext>
            </a:extLst>
          </p:cNvPr>
          <p:cNvSpPr txBox="1"/>
          <p:nvPr/>
        </p:nvSpPr>
        <p:spPr>
          <a:xfrm>
            <a:off x="4052406" y="3027442"/>
            <a:ext cx="1196419" cy="297001"/>
          </a:xfrm>
          <a:prstGeom prst="rect">
            <a:avLst/>
          </a:prstGeom>
          <a:noFill/>
        </p:spPr>
        <p:txBody>
          <a:bodyPr wrap="square" lIns="0" tIns="0" rIns="0" bIns="0" rtlCol="0">
            <a:noAutofit/>
          </a:bodyPr>
          <a:lstStyle/>
          <a:p>
            <a:pPr algn="l"/>
            <a:r>
              <a:rPr lang="en-IN" sz="900"/>
              <a:t>SQL Server Migration Assistant</a:t>
            </a:r>
          </a:p>
        </p:txBody>
      </p:sp>
      <p:pic>
        <p:nvPicPr>
          <p:cNvPr id="71" name="Picture 10" descr="Informatica Logo Download - AI - All Vector Logo">
            <a:extLst>
              <a:ext uri="{FF2B5EF4-FFF2-40B4-BE49-F238E27FC236}">
                <a16:creationId xmlns:a16="http://schemas.microsoft.com/office/drawing/2014/main" id="{20E842BA-9112-40EE-A254-32D4678759AB}"/>
              </a:ext>
            </a:extLst>
          </p:cNvPr>
          <p:cNvPicPr>
            <a:picLocks noChangeAspect="1" noChangeArrowheads="1"/>
          </p:cNvPicPr>
          <p:nvPr/>
        </p:nvPicPr>
        <p:blipFill>
          <a:blip r:embed="rId11" cstate="print">
            <a:clrChange>
              <a:clrFrom>
                <a:srgbClr val="FFFFFF"/>
              </a:clrFrom>
              <a:clrTo>
                <a:srgbClr val="FFFFFF">
                  <a:alpha val="0"/>
                </a:srgbClr>
              </a:clrTo>
            </a:clrChange>
            <a:alphaModFix/>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7559006" y="2892868"/>
            <a:ext cx="945841" cy="511685"/>
          </a:xfrm>
          <a:prstGeom prst="rect">
            <a:avLst/>
          </a:prstGeom>
          <a:noFill/>
          <a:extLst>
            <a:ext uri="{909E8E84-426E-40DD-AFC4-6F175D3DCCD1}">
              <a14:hiddenFill xmlns:a14="http://schemas.microsoft.com/office/drawing/2010/main">
                <a:solidFill>
                  <a:srgbClr val="FFFFFF"/>
                </a:solidFill>
              </a14:hiddenFill>
            </a:ext>
          </a:extLst>
        </p:spPr>
      </p:pic>
      <p:sp>
        <p:nvSpPr>
          <p:cNvPr id="73" name="TextBox 72">
            <a:extLst>
              <a:ext uri="{FF2B5EF4-FFF2-40B4-BE49-F238E27FC236}">
                <a16:creationId xmlns:a16="http://schemas.microsoft.com/office/drawing/2014/main" id="{1CFC4E7C-7823-4223-9EE8-6FDC0EB91298}"/>
              </a:ext>
            </a:extLst>
          </p:cNvPr>
          <p:cNvSpPr txBox="1"/>
          <p:nvPr/>
        </p:nvSpPr>
        <p:spPr>
          <a:xfrm>
            <a:off x="8455275" y="3028550"/>
            <a:ext cx="1196419" cy="297001"/>
          </a:xfrm>
          <a:prstGeom prst="rect">
            <a:avLst/>
          </a:prstGeom>
          <a:noFill/>
        </p:spPr>
        <p:txBody>
          <a:bodyPr wrap="square" lIns="0" tIns="0" rIns="0" bIns="0" rtlCol="0">
            <a:noAutofit/>
          </a:bodyPr>
          <a:lstStyle/>
          <a:p>
            <a:pPr algn="l"/>
            <a:r>
              <a:rPr lang="en-IN" sz="900"/>
              <a:t>SQL Server Migration Assistant</a:t>
            </a:r>
          </a:p>
        </p:txBody>
      </p:sp>
    </p:spTree>
    <p:extLst>
      <p:ext uri="{BB962C8B-B14F-4D97-AF65-F5344CB8AC3E}">
        <p14:creationId xmlns:p14="http://schemas.microsoft.com/office/powerpoint/2010/main" val="309068912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ectangle 68">
            <a:extLst>
              <a:ext uri="{FF2B5EF4-FFF2-40B4-BE49-F238E27FC236}">
                <a16:creationId xmlns:a16="http://schemas.microsoft.com/office/drawing/2014/main" id="{8028784F-A699-4625-B93B-33CC9C6A0C76}"/>
              </a:ext>
            </a:extLst>
          </p:cNvPr>
          <p:cNvSpPr/>
          <p:nvPr/>
        </p:nvSpPr>
        <p:spPr>
          <a:xfrm>
            <a:off x="7294084" y="1566088"/>
            <a:ext cx="108000" cy="90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286" rtl="0" eaLnBrk="1" latinLnBrk="0" hangingPunct="1">
              <a:defRPr sz="1800" kern="1200">
                <a:solidFill>
                  <a:schemeClr val="lt1"/>
                </a:solidFill>
                <a:latin typeface="+mn-lt"/>
                <a:ea typeface="+mn-ea"/>
                <a:cs typeface="+mn-cs"/>
              </a:defRPr>
            </a:lvl1pPr>
            <a:lvl2pPr marL="457144" algn="l" defTabSz="914286" rtl="0" eaLnBrk="1" latinLnBrk="0" hangingPunct="1">
              <a:defRPr sz="1800" kern="1200">
                <a:solidFill>
                  <a:schemeClr val="lt1"/>
                </a:solidFill>
                <a:latin typeface="+mn-lt"/>
                <a:ea typeface="+mn-ea"/>
                <a:cs typeface="+mn-cs"/>
              </a:defRPr>
            </a:lvl2pPr>
            <a:lvl3pPr marL="914286" algn="l" defTabSz="914286" rtl="0" eaLnBrk="1" latinLnBrk="0" hangingPunct="1">
              <a:defRPr sz="1800" kern="1200">
                <a:solidFill>
                  <a:schemeClr val="lt1"/>
                </a:solidFill>
                <a:latin typeface="+mn-lt"/>
                <a:ea typeface="+mn-ea"/>
                <a:cs typeface="+mn-cs"/>
              </a:defRPr>
            </a:lvl3pPr>
            <a:lvl4pPr marL="1371429" algn="l" defTabSz="914286" rtl="0" eaLnBrk="1" latinLnBrk="0" hangingPunct="1">
              <a:defRPr sz="1800" kern="1200">
                <a:solidFill>
                  <a:schemeClr val="lt1"/>
                </a:solidFill>
                <a:latin typeface="+mn-lt"/>
                <a:ea typeface="+mn-ea"/>
                <a:cs typeface="+mn-cs"/>
              </a:defRPr>
            </a:lvl4pPr>
            <a:lvl5pPr marL="1828571" algn="l" defTabSz="914286" rtl="0" eaLnBrk="1" latinLnBrk="0" hangingPunct="1">
              <a:defRPr sz="1800" kern="1200">
                <a:solidFill>
                  <a:schemeClr val="lt1"/>
                </a:solidFill>
                <a:latin typeface="+mn-lt"/>
                <a:ea typeface="+mn-ea"/>
                <a:cs typeface="+mn-cs"/>
              </a:defRPr>
            </a:lvl5pPr>
            <a:lvl6pPr marL="2285715" algn="l" defTabSz="914286" rtl="0" eaLnBrk="1" latinLnBrk="0" hangingPunct="1">
              <a:defRPr sz="1800" kern="1200">
                <a:solidFill>
                  <a:schemeClr val="lt1"/>
                </a:solidFill>
                <a:latin typeface="+mn-lt"/>
                <a:ea typeface="+mn-ea"/>
                <a:cs typeface="+mn-cs"/>
              </a:defRPr>
            </a:lvl6pPr>
            <a:lvl7pPr marL="2742857" algn="l" defTabSz="914286" rtl="0" eaLnBrk="1" latinLnBrk="0" hangingPunct="1">
              <a:defRPr sz="1800" kern="1200">
                <a:solidFill>
                  <a:schemeClr val="lt1"/>
                </a:solidFill>
                <a:latin typeface="+mn-lt"/>
                <a:ea typeface="+mn-ea"/>
                <a:cs typeface="+mn-cs"/>
              </a:defRPr>
            </a:lvl7pPr>
            <a:lvl8pPr marL="3200000" algn="l" defTabSz="914286" rtl="0" eaLnBrk="1" latinLnBrk="0" hangingPunct="1">
              <a:defRPr sz="1800" kern="1200">
                <a:solidFill>
                  <a:schemeClr val="lt1"/>
                </a:solidFill>
                <a:latin typeface="+mn-lt"/>
                <a:ea typeface="+mn-ea"/>
                <a:cs typeface="+mn-cs"/>
              </a:defRPr>
            </a:lvl8pPr>
            <a:lvl9pPr marL="3657144" algn="l" defTabSz="914286" rtl="0" eaLnBrk="1" latinLnBrk="0" hangingPunct="1">
              <a:defRPr sz="1800" kern="1200">
                <a:solidFill>
                  <a:schemeClr val="lt1"/>
                </a:solidFill>
                <a:latin typeface="+mn-lt"/>
                <a:ea typeface="+mn-ea"/>
                <a:cs typeface="+mn-cs"/>
              </a:defRPr>
            </a:lvl9pPr>
          </a:lstStyle>
          <a:p>
            <a:pPr algn="ctr"/>
            <a:endParaRPr lang="ko-KR" altLang="en-US">
              <a:solidFill>
                <a:schemeClr val="tx1"/>
              </a:solidFill>
            </a:endParaRPr>
          </a:p>
        </p:txBody>
      </p:sp>
      <p:sp>
        <p:nvSpPr>
          <p:cNvPr id="70" name="Rectangle 69">
            <a:extLst>
              <a:ext uri="{FF2B5EF4-FFF2-40B4-BE49-F238E27FC236}">
                <a16:creationId xmlns:a16="http://schemas.microsoft.com/office/drawing/2014/main" id="{7A1C2DD0-D84A-42C5-AFD9-CA5AA32F8862}"/>
              </a:ext>
            </a:extLst>
          </p:cNvPr>
          <p:cNvSpPr/>
          <p:nvPr/>
        </p:nvSpPr>
        <p:spPr>
          <a:xfrm>
            <a:off x="7294084" y="2679014"/>
            <a:ext cx="108000" cy="90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286" rtl="0" eaLnBrk="1" latinLnBrk="0" hangingPunct="1">
              <a:defRPr sz="1800" kern="1200">
                <a:solidFill>
                  <a:schemeClr val="lt1"/>
                </a:solidFill>
                <a:latin typeface="+mn-lt"/>
                <a:ea typeface="+mn-ea"/>
                <a:cs typeface="+mn-cs"/>
              </a:defRPr>
            </a:lvl1pPr>
            <a:lvl2pPr marL="457144" algn="l" defTabSz="914286" rtl="0" eaLnBrk="1" latinLnBrk="0" hangingPunct="1">
              <a:defRPr sz="1800" kern="1200">
                <a:solidFill>
                  <a:schemeClr val="lt1"/>
                </a:solidFill>
                <a:latin typeface="+mn-lt"/>
                <a:ea typeface="+mn-ea"/>
                <a:cs typeface="+mn-cs"/>
              </a:defRPr>
            </a:lvl2pPr>
            <a:lvl3pPr marL="914286" algn="l" defTabSz="914286" rtl="0" eaLnBrk="1" latinLnBrk="0" hangingPunct="1">
              <a:defRPr sz="1800" kern="1200">
                <a:solidFill>
                  <a:schemeClr val="lt1"/>
                </a:solidFill>
                <a:latin typeface="+mn-lt"/>
                <a:ea typeface="+mn-ea"/>
                <a:cs typeface="+mn-cs"/>
              </a:defRPr>
            </a:lvl3pPr>
            <a:lvl4pPr marL="1371429" algn="l" defTabSz="914286" rtl="0" eaLnBrk="1" latinLnBrk="0" hangingPunct="1">
              <a:defRPr sz="1800" kern="1200">
                <a:solidFill>
                  <a:schemeClr val="lt1"/>
                </a:solidFill>
                <a:latin typeface="+mn-lt"/>
                <a:ea typeface="+mn-ea"/>
                <a:cs typeface="+mn-cs"/>
              </a:defRPr>
            </a:lvl4pPr>
            <a:lvl5pPr marL="1828571" algn="l" defTabSz="914286" rtl="0" eaLnBrk="1" latinLnBrk="0" hangingPunct="1">
              <a:defRPr sz="1800" kern="1200">
                <a:solidFill>
                  <a:schemeClr val="lt1"/>
                </a:solidFill>
                <a:latin typeface="+mn-lt"/>
                <a:ea typeface="+mn-ea"/>
                <a:cs typeface="+mn-cs"/>
              </a:defRPr>
            </a:lvl5pPr>
            <a:lvl6pPr marL="2285715" algn="l" defTabSz="914286" rtl="0" eaLnBrk="1" latinLnBrk="0" hangingPunct="1">
              <a:defRPr sz="1800" kern="1200">
                <a:solidFill>
                  <a:schemeClr val="lt1"/>
                </a:solidFill>
                <a:latin typeface="+mn-lt"/>
                <a:ea typeface="+mn-ea"/>
                <a:cs typeface="+mn-cs"/>
              </a:defRPr>
            </a:lvl6pPr>
            <a:lvl7pPr marL="2742857" algn="l" defTabSz="914286" rtl="0" eaLnBrk="1" latinLnBrk="0" hangingPunct="1">
              <a:defRPr sz="1800" kern="1200">
                <a:solidFill>
                  <a:schemeClr val="lt1"/>
                </a:solidFill>
                <a:latin typeface="+mn-lt"/>
                <a:ea typeface="+mn-ea"/>
                <a:cs typeface="+mn-cs"/>
              </a:defRPr>
            </a:lvl7pPr>
            <a:lvl8pPr marL="3200000" algn="l" defTabSz="914286" rtl="0" eaLnBrk="1" latinLnBrk="0" hangingPunct="1">
              <a:defRPr sz="1800" kern="1200">
                <a:solidFill>
                  <a:schemeClr val="lt1"/>
                </a:solidFill>
                <a:latin typeface="+mn-lt"/>
                <a:ea typeface="+mn-ea"/>
                <a:cs typeface="+mn-cs"/>
              </a:defRPr>
            </a:lvl8pPr>
            <a:lvl9pPr marL="3657144" algn="l" defTabSz="914286" rtl="0" eaLnBrk="1" latinLnBrk="0" hangingPunct="1">
              <a:defRPr sz="1800" kern="1200">
                <a:solidFill>
                  <a:schemeClr val="lt1"/>
                </a:solidFill>
                <a:latin typeface="+mn-lt"/>
                <a:ea typeface="+mn-ea"/>
                <a:cs typeface="+mn-cs"/>
              </a:defRPr>
            </a:lvl9pPr>
          </a:lstStyle>
          <a:p>
            <a:pPr algn="ctr"/>
            <a:endParaRPr lang="ko-KR" altLang="en-US">
              <a:solidFill>
                <a:schemeClr val="tx1"/>
              </a:solidFill>
            </a:endParaRPr>
          </a:p>
        </p:txBody>
      </p:sp>
      <p:sp>
        <p:nvSpPr>
          <p:cNvPr id="71" name="Rectangle 70">
            <a:extLst>
              <a:ext uri="{FF2B5EF4-FFF2-40B4-BE49-F238E27FC236}">
                <a16:creationId xmlns:a16="http://schemas.microsoft.com/office/drawing/2014/main" id="{606E033F-4C0D-4CE9-B412-348DC9BEA1F4}"/>
              </a:ext>
            </a:extLst>
          </p:cNvPr>
          <p:cNvSpPr/>
          <p:nvPr/>
        </p:nvSpPr>
        <p:spPr>
          <a:xfrm>
            <a:off x="7294084" y="3791940"/>
            <a:ext cx="108000" cy="90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286" rtl="0" eaLnBrk="1" latinLnBrk="0" hangingPunct="1">
              <a:defRPr sz="1800" kern="1200">
                <a:solidFill>
                  <a:schemeClr val="lt1"/>
                </a:solidFill>
                <a:latin typeface="+mn-lt"/>
                <a:ea typeface="+mn-ea"/>
                <a:cs typeface="+mn-cs"/>
              </a:defRPr>
            </a:lvl1pPr>
            <a:lvl2pPr marL="457144" algn="l" defTabSz="914286" rtl="0" eaLnBrk="1" latinLnBrk="0" hangingPunct="1">
              <a:defRPr sz="1800" kern="1200">
                <a:solidFill>
                  <a:schemeClr val="lt1"/>
                </a:solidFill>
                <a:latin typeface="+mn-lt"/>
                <a:ea typeface="+mn-ea"/>
                <a:cs typeface="+mn-cs"/>
              </a:defRPr>
            </a:lvl2pPr>
            <a:lvl3pPr marL="914286" algn="l" defTabSz="914286" rtl="0" eaLnBrk="1" latinLnBrk="0" hangingPunct="1">
              <a:defRPr sz="1800" kern="1200">
                <a:solidFill>
                  <a:schemeClr val="lt1"/>
                </a:solidFill>
                <a:latin typeface="+mn-lt"/>
                <a:ea typeface="+mn-ea"/>
                <a:cs typeface="+mn-cs"/>
              </a:defRPr>
            </a:lvl3pPr>
            <a:lvl4pPr marL="1371429" algn="l" defTabSz="914286" rtl="0" eaLnBrk="1" latinLnBrk="0" hangingPunct="1">
              <a:defRPr sz="1800" kern="1200">
                <a:solidFill>
                  <a:schemeClr val="lt1"/>
                </a:solidFill>
                <a:latin typeface="+mn-lt"/>
                <a:ea typeface="+mn-ea"/>
                <a:cs typeface="+mn-cs"/>
              </a:defRPr>
            </a:lvl4pPr>
            <a:lvl5pPr marL="1828571" algn="l" defTabSz="914286" rtl="0" eaLnBrk="1" latinLnBrk="0" hangingPunct="1">
              <a:defRPr sz="1800" kern="1200">
                <a:solidFill>
                  <a:schemeClr val="lt1"/>
                </a:solidFill>
                <a:latin typeface="+mn-lt"/>
                <a:ea typeface="+mn-ea"/>
                <a:cs typeface="+mn-cs"/>
              </a:defRPr>
            </a:lvl5pPr>
            <a:lvl6pPr marL="2285715" algn="l" defTabSz="914286" rtl="0" eaLnBrk="1" latinLnBrk="0" hangingPunct="1">
              <a:defRPr sz="1800" kern="1200">
                <a:solidFill>
                  <a:schemeClr val="lt1"/>
                </a:solidFill>
                <a:latin typeface="+mn-lt"/>
                <a:ea typeface="+mn-ea"/>
                <a:cs typeface="+mn-cs"/>
              </a:defRPr>
            </a:lvl6pPr>
            <a:lvl7pPr marL="2742857" algn="l" defTabSz="914286" rtl="0" eaLnBrk="1" latinLnBrk="0" hangingPunct="1">
              <a:defRPr sz="1800" kern="1200">
                <a:solidFill>
                  <a:schemeClr val="lt1"/>
                </a:solidFill>
                <a:latin typeface="+mn-lt"/>
                <a:ea typeface="+mn-ea"/>
                <a:cs typeface="+mn-cs"/>
              </a:defRPr>
            </a:lvl7pPr>
            <a:lvl8pPr marL="3200000" algn="l" defTabSz="914286" rtl="0" eaLnBrk="1" latinLnBrk="0" hangingPunct="1">
              <a:defRPr sz="1800" kern="1200">
                <a:solidFill>
                  <a:schemeClr val="lt1"/>
                </a:solidFill>
                <a:latin typeface="+mn-lt"/>
                <a:ea typeface="+mn-ea"/>
                <a:cs typeface="+mn-cs"/>
              </a:defRPr>
            </a:lvl8pPr>
            <a:lvl9pPr marL="3657144" algn="l" defTabSz="914286" rtl="0" eaLnBrk="1" latinLnBrk="0" hangingPunct="1">
              <a:defRPr sz="1800" kern="1200">
                <a:solidFill>
                  <a:schemeClr val="lt1"/>
                </a:solidFill>
                <a:latin typeface="+mn-lt"/>
                <a:ea typeface="+mn-ea"/>
                <a:cs typeface="+mn-cs"/>
              </a:defRPr>
            </a:lvl9pPr>
          </a:lstStyle>
          <a:p>
            <a:pPr algn="ctr"/>
            <a:endParaRPr lang="ko-KR" altLang="en-US">
              <a:solidFill>
                <a:schemeClr val="tx1"/>
              </a:solidFill>
            </a:endParaRPr>
          </a:p>
        </p:txBody>
      </p:sp>
      <p:sp>
        <p:nvSpPr>
          <p:cNvPr id="72" name="Rectangle 71">
            <a:extLst>
              <a:ext uri="{FF2B5EF4-FFF2-40B4-BE49-F238E27FC236}">
                <a16:creationId xmlns:a16="http://schemas.microsoft.com/office/drawing/2014/main" id="{66BFC8E2-A019-42AA-94BA-EC70DF9F4700}"/>
              </a:ext>
            </a:extLst>
          </p:cNvPr>
          <p:cNvSpPr/>
          <p:nvPr/>
        </p:nvSpPr>
        <p:spPr>
          <a:xfrm>
            <a:off x="7294084" y="4904867"/>
            <a:ext cx="108000" cy="90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286" rtl="0" eaLnBrk="1" latinLnBrk="0" hangingPunct="1">
              <a:defRPr sz="1800" kern="1200">
                <a:solidFill>
                  <a:schemeClr val="lt1"/>
                </a:solidFill>
                <a:latin typeface="+mn-lt"/>
                <a:ea typeface="+mn-ea"/>
                <a:cs typeface="+mn-cs"/>
              </a:defRPr>
            </a:lvl1pPr>
            <a:lvl2pPr marL="457144" algn="l" defTabSz="914286" rtl="0" eaLnBrk="1" latinLnBrk="0" hangingPunct="1">
              <a:defRPr sz="1800" kern="1200">
                <a:solidFill>
                  <a:schemeClr val="lt1"/>
                </a:solidFill>
                <a:latin typeface="+mn-lt"/>
                <a:ea typeface="+mn-ea"/>
                <a:cs typeface="+mn-cs"/>
              </a:defRPr>
            </a:lvl2pPr>
            <a:lvl3pPr marL="914286" algn="l" defTabSz="914286" rtl="0" eaLnBrk="1" latinLnBrk="0" hangingPunct="1">
              <a:defRPr sz="1800" kern="1200">
                <a:solidFill>
                  <a:schemeClr val="lt1"/>
                </a:solidFill>
                <a:latin typeface="+mn-lt"/>
                <a:ea typeface="+mn-ea"/>
                <a:cs typeface="+mn-cs"/>
              </a:defRPr>
            </a:lvl3pPr>
            <a:lvl4pPr marL="1371429" algn="l" defTabSz="914286" rtl="0" eaLnBrk="1" latinLnBrk="0" hangingPunct="1">
              <a:defRPr sz="1800" kern="1200">
                <a:solidFill>
                  <a:schemeClr val="lt1"/>
                </a:solidFill>
                <a:latin typeface="+mn-lt"/>
                <a:ea typeface="+mn-ea"/>
                <a:cs typeface="+mn-cs"/>
              </a:defRPr>
            </a:lvl4pPr>
            <a:lvl5pPr marL="1828571" algn="l" defTabSz="914286" rtl="0" eaLnBrk="1" latinLnBrk="0" hangingPunct="1">
              <a:defRPr sz="1800" kern="1200">
                <a:solidFill>
                  <a:schemeClr val="lt1"/>
                </a:solidFill>
                <a:latin typeface="+mn-lt"/>
                <a:ea typeface="+mn-ea"/>
                <a:cs typeface="+mn-cs"/>
              </a:defRPr>
            </a:lvl5pPr>
            <a:lvl6pPr marL="2285715" algn="l" defTabSz="914286" rtl="0" eaLnBrk="1" latinLnBrk="0" hangingPunct="1">
              <a:defRPr sz="1800" kern="1200">
                <a:solidFill>
                  <a:schemeClr val="lt1"/>
                </a:solidFill>
                <a:latin typeface="+mn-lt"/>
                <a:ea typeface="+mn-ea"/>
                <a:cs typeface="+mn-cs"/>
              </a:defRPr>
            </a:lvl6pPr>
            <a:lvl7pPr marL="2742857" algn="l" defTabSz="914286" rtl="0" eaLnBrk="1" latinLnBrk="0" hangingPunct="1">
              <a:defRPr sz="1800" kern="1200">
                <a:solidFill>
                  <a:schemeClr val="lt1"/>
                </a:solidFill>
                <a:latin typeface="+mn-lt"/>
                <a:ea typeface="+mn-ea"/>
                <a:cs typeface="+mn-cs"/>
              </a:defRPr>
            </a:lvl7pPr>
            <a:lvl8pPr marL="3200000" algn="l" defTabSz="914286" rtl="0" eaLnBrk="1" latinLnBrk="0" hangingPunct="1">
              <a:defRPr sz="1800" kern="1200">
                <a:solidFill>
                  <a:schemeClr val="lt1"/>
                </a:solidFill>
                <a:latin typeface="+mn-lt"/>
                <a:ea typeface="+mn-ea"/>
                <a:cs typeface="+mn-cs"/>
              </a:defRPr>
            </a:lvl8pPr>
            <a:lvl9pPr marL="3657144" algn="l" defTabSz="914286" rtl="0" eaLnBrk="1" latinLnBrk="0" hangingPunct="1">
              <a:defRPr sz="1800" kern="1200">
                <a:solidFill>
                  <a:schemeClr val="lt1"/>
                </a:solidFill>
                <a:latin typeface="+mn-lt"/>
                <a:ea typeface="+mn-ea"/>
                <a:cs typeface="+mn-cs"/>
              </a:defRPr>
            </a:lvl9pPr>
          </a:lstStyle>
          <a:p>
            <a:pPr algn="ctr"/>
            <a:endParaRPr lang="ko-KR" altLang="en-US">
              <a:solidFill>
                <a:schemeClr val="tx1"/>
              </a:solidFill>
            </a:endParaRPr>
          </a:p>
        </p:txBody>
      </p:sp>
      <p:grpSp>
        <p:nvGrpSpPr>
          <p:cNvPr id="73" name="그룹 5">
            <a:extLst>
              <a:ext uri="{FF2B5EF4-FFF2-40B4-BE49-F238E27FC236}">
                <a16:creationId xmlns:a16="http://schemas.microsoft.com/office/drawing/2014/main" id="{1F569137-D9AB-4B4F-B754-D22C94775494}"/>
              </a:ext>
            </a:extLst>
          </p:cNvPr>
          <p:cNvGrpSpPr/>
          <p:nvPr/>
        </p:nvGrpSpPr>
        <p:grpSpPr>
          <a:xfrm>
            <a:off x="7510695" y="1498951"/>
            <a:ext cx="4228950" cy="999608"/>
            <a:chOff x="7036400" y="1830573"/>
            <a:chExt cx="4495506" cy="999608"/>
          </a:xfrm>
        </p:grpSpPr>
        <p:sp>
          <p:nvSpPr>
            <p:cNvPr id="83" name="TextBox 8">
              <a:extLst>
                <a:ext uri="{FF2B5EF4-FFF2-40B4-BE49-F238E27FC236}">
                  <a16:creationId xmlns:a16="http://schemas.microsoft.com/office/drawing/2014/main" id="{6F22331B-B24B-43F1-9BBC-B1216152ABD4}"/>
                </a:ext>
              </a:extLst>
            </p:cNvPr>
            <p:cNvSpPr txBox="1"/>
            <p:nvPr/>
          </p:nvSpPr>
          <p:spPr>
            <a:xfrm>
              <a:off x="7036400" y="1830573"/>
              <a:ext cx="4495506" cy="338554"/>
            </a:xfrm>
            <a:prstGeom prst="rect">
              <a:avLst/>
            </a:prstGeom>
            <a:noFill/>
          </p:spPr>
          <p:txBody>
            <a:bodyPr wrap="square" rtlCol="0">
              <a:spAutoFit/>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4"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r>
                <a:rPr lang="en-US" altLang="ko-KR" sz="1600" b="1">
                  <a:solidFill>
                    <a:srgbClr val="0070C0"/>
                  </a:solidFill>
                  <a:latin typeface="+mj-lt"/>
                  <a:cs typeface="Arial" pitchFamily="34" charset="0"/>
                </a:rPr>
                <a:t>Supports Multiple Databases</a:t>
              </a:r>
              <a:endParaRPr lang="ko-KR" altLang="en-US" sz="1600" b="1">
                <a:solidFill>
                  <a:srgbClr val="0070C0"/>
                </a:solidFill>
                <a:latin typeface="+mj-lt"/>
                <a:cs typeface="Arial" pitchFamily="34" charset="0"/>
              </a:endParaRPr>
            </a:p>
          </p:txBody>
        </p:sp>
        <p:sp>
          <p:nvSpPr>
            <p:cNvPr id="84" name="TextBox 9">
              <a:extLst>
                <a:ext uri="{FF2B5EF4-FFF2-40B4-BE49-F238E27FC236}">
                  <a16:creationId xmlns:a16="http://schemas.microsoft.com/office/drawing/2014/main" id="{B678BC25-9F70-4C6B-80AB-EEBA5DE4DA9E}"/>
                </a:ext>
              </a:extLst>
            </p:cNvPr>
            <p:cNvSpPr txBox="1"/>
            <p:nvPr/>
          </p:nvSpPr>
          <p:spPr>
            <a:xfrm>
              <a:off x="7036400" y="2091517"/>
              <a:ext cx="4495506" cy="738664"/>
            </a:xfrm>
            <a:prstGeom prst="rect">
              <a:avLst/>
            </a:prstGeom>
            <a:noFill/>
          </p:spPr>
          <p:txBody>
            <a:bodyPr wrap="square" rtlCol="0">
              <a:spAutoFit/>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4"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algn="just"/>
              <a:r>
                <a:rPr lang="en-US" altLang="ko-KR" sz="1400">
                  <a:solidFill>
                    <a:schemeClr val="tx1">
                      <a:lumMod val="75000"/>
                      <a:lumOff val="25000"/>
                    </a:schemeClr>
                  </a:solidFill>
                  <a:cs typeface="Arial" pitchFamily="34" charset="0"/>
                </a:rPr>
                <a:t>Data Validator can connect and read the data from  RDBMS, Cloud Databases, Hadoop Data Stores, Flat Files, Fixed Width Files, JSON, XML</a:t>
              </a:r>
            </a:p>
          </p:txBody>
        </p:sp>
      </p:grpSp>
      <p:grpSp>
        <p:nvGrpSpPr>
          <p:cNvPr id="74" name="그룹 6">
            <a:extLst>
              <a:ext uri="{FF2B5EF4-FFF2-40B4-BE49-F238E27FC236}">
                <a16:creationId xmlns:a16="http://schemas.microsoft.com/office/drawing/2014/main" id="{488472ED-558C-422D-85E7-DB46DD3B8A3F}"/>
              </a:ext>
            </a:extLst>
          </p:cNvPr>
          <p:cNvGrpSpPr/>
          <p:nvPr/>
        </p:nvGrpSpPr>
        <p:grpSpPr>
          <a:xfrm>
            <a:off x="7510693" y="2611877"/>
            <a:ext cx="4228951" cy="999608"/>
            <a:chOff x="7036399" y="2943499"/>
            <a:chExt cx="4495507" cy="999608"/>
          </a:xfrm>
        </p:grpSpPr>
        <p:sp>
          <p:nvSpPr>
            <p:cNvPr id="81" name="TextBox 11">
              <a:extLst>
                <a:ext uri="{FF2B5EF4-FFF2-40B4-BE49-F238E27FC236}">
                  <a16:creationId xmlns:a16="http://schemas.microsoft.com/office/drawing/2014/main" id="{DAE13FBC-6877-4C4F-B455-83D1E40698DD}"/>
                </a:ext>
              </a:extLst>
            </p:cNvPr>
            <p:cNvSpPr txBox="1"/>
            <p:nvPr/>
          </p:nvSpPr>
          <p:spPr>
            <a:xfrm>
              <a:off x="7036400" y="2943499"/>
              <a:ext cx="4495506" cy="338554"/>
            </a:xfrm>
            <a:prstGeom prst="rect">
              <a:avLst/>
            </a:prstGeom>
            <a:noFill/>
          </p:spPr>
          <p:txBody>
            <a:bodyPr wrap="square" rtlCol="0">
              <a:spAutoFit/>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4"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r>
                <a:rPr lang="en-US" altLang="ko-KR" sz="1600" b="1">
                  <a:solidFill>
                    <a:srgbClr val="0070C0"/>
                  </a:solidFill>
                  <a:latin typeface="+mj-lt"/>
                  <a:cs typeface="Arial" pitchFamily="34" charset="0"/>
                </a:rPr>
                <a:t>Transform Rule Engine</a:t>
              </a:r>
              <a:endParaRPr lang="ko-KR" altLang="en-US" sz="1600" b="1">
                <a:solidFill>
                  <a:srgbClr val="0070C0"/>
                </a:solidFill>
                <a:latin typeface="+mj-lt"/>
                <a:cs typeface="Arial" pitchFamily="34" charset="0"/>
              </a:endParaRPr>
            </a:p>
          </p:txBody>
        </p:sp>
        <p:sp>
          <p:nvSpPr>
            <p:cNvPr id="82" name="TextBox 12">
              <a:extLst>
                <a:ext uri="{FF2B5EF4-FFF2-40B4-BE49-F238E27FC236}">
                  <a16:creationId xmlns:a16="http://schemas.microsoft.com/office/drawing/2014/main" id="{A411700D-ADAB-466D-90AB-F42DD3B3D3E5}"/>
                </a:ext>
              </a:extLst>
            </p:cNvPr>
            <p:cNvSpPr txBox="1"/>
            <p:nvPr/>
          </p:nvSpPr>
          <p:spPr>
            <a:xfrm>
              <a:off x="7036399" y="3204443"/>
              <a:ext cx="4495506" cy="738664"/>
            </a:xfrm>
            <a:prstGeom prst="rect">
              <a:avLst/>
            </a:prstGeom>
            <a:noFill/>
          </p:spPr>
          <p:txBody>
            <a:bodyPr wrap="square" rtlCol="0">
              <a:spAutoFit/>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4"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algn="just"/>
              <a:r>
                <a:rPr lang="en-US" altLang="ko-KR" sz="1400">
                  <a:solidFill>
                    <a:schemeClr val="tx1">
                      <a:lumMod val="75000"/>
                      <a:lumOff val="25000"/>
                    </a:schemeClr>
                  </a:solidFill>
                  <a:cs typeface="Arial" pitchFamily="34" charset="0"/>
                </a:rPr>
                <a:t>Data Transformations during Data Migration process can be validated using build in Rule Engine by building Customized rule</a:t>
              </a:r>
            </a:p>
          </p:txBody>
        </p:sp>
      </p:grpSp>
      <p:grpSp>
        <p:nvGrpSpPr>
          <p:cNvPr id="75" name="그룹 24">
            <a:extLst>
              <a:ext uri="{FF2B5EF4-FFF2-40B4-BE49-F238E27FC236}">
                <a16:creationId xmlns:a16="http://schemas.microsoft.com/office/drawing/2014/main" id="{0660AB04-0A39-4059-92FA-73F9C4ED16A6}"/>
              </a:ext>
            </a:extLst>
          </p:cNvPr>
          <p:cNvGrpSpPr/>
          <p:nvPr/>
        </p:nvGrpSpPr>
        <p:grpSpPr>
          <a:xfrm>
            <a:off x="7510694" y="4837730"/>
            <a:ext cx="4228949" cy="999608"/>
            <a:chOff x="7036400" y="5169352"/>
            <a:chExt cx="4495506" cy="999608"/>
          </a:xfrm>
        </p:grpSpPr>
        <p:sp>
          <p:nvSpPr>
            <p:cNvPr id="79" name="TextBox 14">
              <a:extLst>
                <a:ext uri="{FF2B5EF4-FFF2-40B4-BE49-F238E27FC236}">
                  <a16:creationId xmlns:a16="http://schemas.microsoft.com/office/drawing/2014/main" id="{0F3A5C36-3E92-44C1-9503-C922D812DF73}"/>
                </a:ext>
              </a:extLst>
            </p:cNvPr>
            <p:cNvSpPr txBox="1"/>
            <p:nvPr/>
          </p:nvSpPr>
          <p:spPr>
            <a:xfrm>
              <a:off x="7036400" y="5169352"/>
              <a:ext cx="4495506" cy="338554"/>
            </a:xfrm>
            <a:prstGeom prst="rect">
              <a:avLst/>
            </a:prstGeom>
            <a:noFill/>
          </p:spPr>
          <p:txBody>
            <a:bodyPr wrap="square" rtlCol="0">
              <a:spAutoFit/>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4"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r>
                <a:rPr lang="en-US" altLang="ko-KR" sz="1600" b="1">
                  <a:solidFill>
                    <a:srgbClr val="0070C0"/>
                  </a:solidFill>
                  <a:latin typeface="+mj-lt"/>
                  <a:cs typeface="Arial" pitchFamily="34" charset="0"/>
                </a:rPr>
                <a:t>Dashboard and Reports</a:t>
              </a:r>
              <a:endParaRPr lang="ko-KR" altLang="en-US" sz="1600" b="1">
                <a:solidFill>
                  <a:srgbClr val="0070C0"/>
                </a:solidFill>
                <a:latin typeface="+mj-lt"/>
                <a:cs typeface="Arial" pitchFamily="34" charset="0"/>
              </a:endParaRPr>
            </a:p>
          </p:txBody>
        </p:sp>
        <p:sp>
          <p:nvSpPr>
            <p:cNvPr id="80" name="TextBox 15">
              <a:extLst>
                <a:ext uri="{FF2B5EF4-FFF2-40B4-BE49-F238E27FC236}">
                  <a16:creationId xmlns:a16="http://schemas.microsoft.com/office/drawing/2014/main" id="{588C622A-3922-4358-B38E-DF2CB351E7AC}"/>
                </a:ext>
              </a:extLst>
            </p:cNvPr>
            <p:cNvSpPr txBox="1"/>
            <p:nvPr/>
          </p:nvSpPr>
          <p:spPr>
            <a:xfrm>
              <a:off x="7036400" y="5430296"/>
              <a:ext cx="4495506" cy="738664"/>
            </a:xfrm>
            <a:prstGeom prst="rect">
              <a:avLst/>
            </a:prstGeom>
            <a:noFill/>
          </p:spPr>
          <p:txBody>
            <a:bodyPr wrap="square" rtlCol="0">
              <a:spAutoFit/>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4"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algn="just"/>
              <a:r>
                <a:rPr lang="en-US" altLang="ko-KR" sz="1400">
                  <a:solidFill>
                    <a:schemeClr val="tx1">
                      <a:lumMod val="75000"/>
                      <a:lumOff val="25000"/>
                    </a:schemeClr>
                  </a:solidFill>
                  <a:cs typeface="Arial" pitchFamily="34" charset="0"/>
                </a:rPr>
                <a:t>Exclusive customizable dashboard for more detail and user-friendly reporting. The report can be exported in Microsoft Excel format</a:t>
              </a:r>
            </a:p>
          </p:txBody>
        </p:sp>
      </p:grpSp>
      <p:grpSp>
        <p:nvGrpSpPr>
          <p:cNvPr id="76" name="그룹 7">
            <a:extLst>
              <a:ext uri="{FF2B5EF4-FFF2-40B4-BE49-F238E27FC236}">
                <a16:creationId xmlns:a16="http://schemas.microsoft.com/office/drawing/2014/main" id="{F5E03E64-808C-40E0-8ADF-06CF175D1B4D}"/>
              </a:ext>
            </a:extLst>
          </p:cNvPr>
          <p:cNvGrpSpPr/>
          <p:nvPr/>
        </p:nvGrpSpPr>
        <p:grpSpPr>
          <a:xfrm>
            <a:off x="7510693" y="3842756"/>
            <a:ext cx="4228949" cy="784164"/>
            <a:chOff x="7036400" y="4056425"/>
            <a:chExt cx="4495506" cy="784164"/>
          </a:xfrm>
        </p:grpSpPr>
        <p:sp>
          <p:nvSpPr>
            <p:cNvPr id="77" name="TextBox 17">
              <a:extLst>
                <a:ext uri="{FF2B5EF4-FFF2-40B4-BE49-F238E27FC236}">
                  <a16:creationId xmlns:a16="http://schemas.microsoft.com/office/drawing/2014/main" id="{26EF21AF-4950-4B33-92BC-2E7FBF5708EB}"/>
                </a:ext>
              </a:extLst>
            </p:cNvPr>
            <p:cNvSpPr txBox="1"/>
            <p:nvPr/>
          </p:nvSpPr>
          <p:spPr>
            <a:xfrm>
              <a:off x="7036400" y="4056425"/>
              <a:ext cx="4495506" cy="338554"/>
            </a:xfrm>
            <a:prstGeom prst="rect">
              <a:avLst/>
            </a:prstGeom>
            <a:noFill/>
          </p:spPr>
          <p:txBody>
            <a:bodyPr wrap="square" rtlCol="0">
              <a:spAutoFit/>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4"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r>
                <a:rPr lang="en-US" altLang="ko-KR" sz="1600" b="1">
                  <a:solidFill>
                    <a:srgbClr val="0070C0"/>
                  </a:solidFill>
                  <a:latin typeface="+mj-lt"/>
                  <a:cs typeface="Arial" pitchFamily="34" charset="0"/>
                </a:rPr>
                <a:t>Reusable Configurations</a:t>
              </a:r>
              <a:endParaRPr lang="ko-KR" altLang="en-US" sz="1600" b="1">
                <a:solidFill>
                  <a:srgbClr val="0070C0"/>
                </a:solidFill>
                <a:latin typeface="+mj-lt"/>
                <a:cs typeface="Arial" pitchFamily="34" charset="0"/>
              </a:endParaRPr>
            </a:p>
          </p:txBody>
        </p:sp>
        <p:sp>
          <p:nvSpPr>
            <p:cNvPr id="78" name="TextBox 18">
              <a:extLst>
                <a:ext uri="{FF2B5EF4-FFF2-40B4-BE49-F238E27FC236}">
                  <a16:creationId xmlns:a16="http://schemas.microsoft.com/office/drawing/2014/main" id="{E91EFEB0-1D95-4C3A-8DA1-03780B169B5D}"/>
                </a:ext>
              </a:extLst>
            </p:cNvPr>
            <p:cNvSpPr txBox="1"/>
            <p:nvPr/>
          </p:nvSpPr>
          <p:spPr>
            <a:xfrm>
              <a:off x="7036400" y="4317369"/>
              <a:ext cx="4495506" cy="523220"/>
            </a:xfrm>
            <a:prstGeom prst="rect">
              <a:avLst/>
            </a:prstGeom>
            <a:noFill/>
          </p:spPr>
          <p:txBody>
            <a:bodyPr wrap="square" rtlCol="0">
              <a:spAutoFit/>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4"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algn="just"/>
              <a:r>
                <a:rPr lang="en-US" altLang="ko-KR" sz="1400">
                  <a:solidFill>
                    <a:schemeClr val="tx1">
                      <a:lumMod val="75000"/>
                      <a:lumOff val="25000"/>
                    </a:schemeClr>
                  </a:solidFill>
                  <a:cs typeface="Arial" pitchFamily="34" charset="0"/>
                </a:rPr>
                <a:t>The query files and data source configuration settings can be used for multiple executions</a:t>
              </a:r>
            </a:p>
          </p:txBody>
        </p:sp>
      </p:grpSp>
      <p:sp>
        <p:nvSpPr>
          <p:cNvPr id="2" name="Title 1">
            <a:extLst>
              <a:ext uri="{FF2B5EF4-FFF2-40B4-BE49-F238E27FC236}">
                <a16:creationId xmlns:a16="http://schemas.microsoft.com/office/drawing/2014/main" id="{36FBDB59-37BE-4984-B991-954B1C274748}"/>
              </a:ext>
            </a:extLst>
          </p:cNvPr>
          <p:cNvSpPr>
            <a:spLocks noGrp="1"/>
          </p:cNvSpPr>
          <p:nvPr>
            <p:ph type="title"/>
          </p:nvPr>
        </p:nvSpPr>
        <p:spPr/>
        <p:txBody>
          <a:bodyPr/>
          <a:lstStyle/>
          <a:p>
            <a:r>
              <a:rPr lang="en-US"/>
              <a:t>Data Validator – Key Features</a:t>
            </a:r>
            <a:endParaRPr lang="en-GB"/>
          </a:p>
        </p:txBody>
      </p:sp>
      <p:grpSp>
        <p:nvGrpSpPr>
          <p:cNvPr id="5" name="Group 4">
            <a:extLst>
              <a:ext uri="{FF2B5EF4-FFF2-40B4-BE49-F238E27FC236}">
                <a16:creationId xmlns:a16="http://schemas.microsoft.com/office/drawing/2014/main" id="{CBA68974-078E-44B4-A056-27B273EA1BCF}"/>
              </a:ext>
            </a:extLst>
          </p:cNvPr>
          <p:cNvGrpSpPr/>
          <p:nvPr/>
        </p:nvGrpSpPr>
        <p:grpSpPr>
          <a:xfrm>
            <a:off x="531748" y="1326641"/>
            <a:ext cx="6561252" cy="4478226"/>
            <a:chOff x="423748" y="1280763"/>
            <a:chExt cx="7142158" cy="4874709"/>
          </a:xfrm>
        </p:grpSpPr>
        <p:pic>
          <p:nvPicPr>
            <p:cNvPr id="3" name="Content Placeholder 8" descr="ETL Validator.png">
              <a:extLst>
                <a:ext uri="{FF2B5EF4-FFF2-40B4-BE49-F238E27FC236}">
                  <a16:creationId xmlns:a16="http://schemas.microsoft.com/office/drawing/2014/main" id="{D945CE8E-A40B-4347-BA72-F112B8C8648F}"/>
                </a:ext>
              </a:extLst>
            </p:cNvPr>
            <p:cNvPicPr>
              <a:picLocks noChangeAspect="1"/>
            </p:cNvPicPr>
            <p:nvPr/>
          </p:nvPicPr>
          <p:blipFill>
            <a:blip r:embed="rId2" cstate="print"/>
            <a:stretch>
              <a:fillRect/>
            </a:stretch>
          </p:blipFill>
          <p:spPr>
            <a:xfrm>
              <a:off x="423748" y="1280763"/>
              <a:ext cx="7142158" cy="4874709"/>
            </a:xfrm>
            <a:prstGeom prst="rect">
              <a:avLst/>
            </a:prstGeom>
            <a:ln>
              <a:noFill/>
            </a:ln>
            <a:effectLst/>
          </p:spPr>
        </p:pic>
        <p:pic>
          <p:nvPicPr>
            <p:cNvPr id="86" name="Picture 85">
              <a:extLst>
                <a:ext uri="{FF2B5EF4-FFF2-40B4-BE49-F238E27FC236}">
                  <a16:creationId xmlns:a16="http://schemas.microsoft.com/office/drawing/2014/main" id="{4922919A-3F7C-42DE-BF7C-E3864ABFBA2D}"/>
                </a:ext>
              </a:extLst>
            </p:cNvPr>
            <p:cNvPicPr>
              <a:picLocks noChangeAspect="1"/>
            </p:cNvPicPr>
            <p:nvPr/>
          </p:nvPicPr>
          <p:blipFill>
            <a:blip r:embed="rId3"/>
            <a:stretch>
              <a:fillRect/>
            </a:stretch>
          </p:blipFill>
          <p:spPr>
            <a:xfrm>
              <a:off x="6452010" y="3189402"/>
              <a:ext cx="997907" cy="893730"/>
            </a:xfrm>
            <a:prstGeom prst="rect">
              <a:avLst/>
            </a:prstGeom>
          </p:spPr>
        </p:pic>
        <p:sp>
          <p:nvSpPr>
            <p:cNvPr id="87" name="Rectangle 86">
              <a:extLst>
                <a:ext uri="{FF2B5EF4-FFF2-40B4-BE49-F238E27FC236}">
                  <a16:creationId xmlns:a16="http://schemas.microsoft.com/office/drawing/2014/main" id="{B5958B23-68E9-47F4-9687-D78D28DFD617}"/>
                </a:ext>
              </a:extLst>
            </p:cNvPr>
            <p:cNvSpPr/>
            <p:nvPr/>
          </p:nvSpPr>
          <p:spPr>
            <a:xfrm>
              <a:off x="6408665" y="4063522"/>
              <a:ext cx="1130392" cy="276999"/>
            </a:xfrm>
            <a:prstGeom prst="rect">
              <a:avLst/>
            </a:prstGeom>
          </p:spPr>
          <p:txBody>
            <a:bodyPr wrap="square">
              <a:spAutoFit/>
            </a:bodyPr>
            <a:lstStyle/>
            <a:p>
              <a:r>
                <a:rPr lang="en-US" altLang="ko-KR" sz="1200" b="1">
                  <a:solidFill>
                    <a:schemeClr val="tx2">
                      <a:lumMod val="40000"/>
                      <a:lumOff val="60000"/>
                    </a:schemeClr>
                  </a:solidFill>
                  <a:cs typeface="Arial" pitchFamily="34" charset="0"/>
                </a:rPr>
                <a:t>Dashboard</a:t>
              </a:r>
              <a:endParaRPr lang="en-IN" sz="1200">
                <a:solidFill>
                  <a:schemeClr val="tx2">
                    <a:lumMod val="40000"/>
                    <a:lumOff val="60000"/>
                  </a:schemeClr>
                </a:solidFill>
              </a:endParaRPr>
            </a:p>
          </p:txBody>
        </p:sp>
      </p:grpSp>
    </p:spTree>
    <p:extLst>
      <p:ext uri="{BB962C8B-B14F-4D97-AF65-F5344CB8AC3E}">
        <p14:creationId xmlns:p14="http://schemas.microsoft.com/office/powerpoint/2010/main" val="1027573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7" name="Picture 166" descr="File:Allowed.svg - Wikimedia Commons"/>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1685" y="4342886"/>
            <a:ext cx="725702" cy="670911"/>
          </a:xfrm>
          <a:prstGeom prst="rect">
            <a:avLst/>
          </a:prstGeom>
        </p:spPr>
      </p:pic>
      <p:sp>
        <p:nvSpPr>
          <p:cNvPr id="6" name="Rectangle 5"/>
          <p:cNvSpPr/>
          <p:nvPr/>
        </p:nvSpPr>
        <p:spPr>
          <a:xfrm>
            <a:off x="2193383" y="3875548"/>
            <a:ext cx="8457594" cy="1645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grpSp>
        <p:nvGrpSpPr>
          <p:cNvPr id="9" name="Group 8"/>
          <p:cNvGrpSpPr/>
          <p:nvPr/>
        </p:nvGrpSpPr>
        <p:grpSpPr>
          <a:xfrm>
            <a:off x="4048743" y="2626263"/>
            <a:ext cx="208833" cy="161426"/>
            <a:chOff x="2697955" y="2308773"/>
            <a:chExt cx="282159" cy="186777"/>
          </a:xfrm>
        </p:grpSpPr>
        <p:sp>
          <p:nvSpPr>
            <p:cNvPr id="10" name="Chevron 9"/>
            <p:cNvSpPr/>
            <p:nvPr/>
          </p:nvSpPr>
          <p:spPr>
            <a:xfrm>
              <a:off x="2807493" y="2308773"/>
              <a:ext cx="172621" cy="186777"/>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ea typeface="+mn-ea"/>
                <a:cs typeface="+mn-cs"/>
              </a:endParaRPr>
            </a:p>
          </p:txBody>
        </p:sp>
        <p:sp>
          <p:nvSpPr>
            <p:cNvPr id="11" name="Chevron 10"/>
            <p:cNvSpPr/>
            <p:nvPr/>
          </p:nvSpPr>
          <p:spPr>
            <a:xfrm>
              <a:off x="2697955" y="2308773"/>
              <a:ext cx="172621" cy="186777"/>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ea typeface="+mn-ea"/>
                <a:cs typeface="+mn-cs"/>
              </a:endParaRPr>
            </a:p>
          </p:txBody>
        </p:sp>
      </p:grpSp>
      <p:grpSp>
        <p:nvGrpSpPr>
          <p:cNvPr id="12" name="Group 11"/>
          <p:cNvGrpSpPr/>
          <p:nvPr/>
        </p:nvGrpSpPr>
        <p:grpSpPr>
          <a:xfrm>
            <a:off x="8854343" y="2626263"/>
            <a:ext cx="208833" cy="161426"/>
            <a:chOff x="2697955" y="2308773"/>
            <a:chExt cx="282159" cy="186777"/>
          </a:xfrm>
        </p:grpSpPr>
        <p:sp>
          <p:nvSpPr>
            <p:cNvPr id="13" name="Chevron 12"/>
            <p:cNvSpPr/>
            <p:nvPr/>
          </p:nvSpPr>
          <p:spPr>
            <a:xfrm>
              <a:off x="2807493" y="2308773"/>
              <a:ext cx="172621" cy="186777"/>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ea typeface="+mn-ea"/>
                <a:cs typeface="+mn-cs"/>
              </a:endParaRPr>
            </a:p>
          </p:txBody>
        </p:sp>
        <p:sp>
          <p:nvSpPr>
            <p:cNvPr id="14" name="Chevron 13"/>
            <p:cNvSpPr/>
            <p:nvPr/>
          </p:nvSpPr>
          <p:spPr>
            <a:xfrm>
              <a:off x="2697955" y="2308773"/>
              <a:ext cx="172621" cy="186777"/>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ea typeface="+mn-ea"/>
                <a:cs typeface="+mn-cs"/>
              </a:endParaRPr>
            </a:p>
          </p:txBody>
        </p:sp>
      </p:grpSp>
      <p:grpSp>
        <p:nvGrpSpPr>
          <p:cNvPr id="61" name="Group 60"/>
          <p:cNvGrpSpPr/>
          <p:nvPr/>
        </p:nvGrpSpPr>
        <p:grpSpPr>
          <a:xfrm>
            <a:off x="3624482" y="5745764"/>
            <a:ext cx="208833" cy="161426"/>
            <a:chOff x="2697955" y="2308773"/>
            <a:chExt cx="282159" cy="186777"/>
          </a:xfrm>
        </p:grpSpPr>
        <p:sp>
          <p:nvSpPr>
            <p:cNvPr id="62" name="Chevron 61"/>
            <p:cNvSpPr/>
            <p:nvPr/>
          </p:nvSpPr>
          <p:spPr>
            <a:xfrm>
              <a:off x="2807493" y="2308773"/>
              <a:ext cx="172621" cy="186777"/>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ea typeface="+mn-ea"/>
                <a:cs typeface="+mn-cs"/>
              </a:endParaRPr>
            </a:p>
          </p:txBody>
        </p:sp>
        <p:sp>
          <p:nvSpPr>
            <p:cNvPr id="63" name="Chevron 62"/>
            <p:cNvSpPr/>
            <p:nvPr/>
          </p:nvSpPr>
          <p:spPr>
            <a:xfrm>
              <a:off x="2697955" y="2308773"/>
              <a:ext cx="172621" cy="186777"/>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ea typeface="+mn-ea"/>
                <a:cs typeface="+mn-cs"/>
              </a:endParaRPr>
            </a:p>
          </p:txBody>
        </p:sp>
      </p:grpSp>
      <p:sp>
        <p:nvSpPr>
          <p:cNvPr id="53" name="Rounded Rectangle 52"/>
          <p:cNvSpPr/>
          <p:nvPr/>
        </p:nvSpPr>
        <p:spPr>
          <a:xfrm>
            <a:off x="7949850" y="1428135"/>
            <a:ext cx="2616659" cy="900996"/>
          </a:xfrm>
          <a:prstGeom prst="roundRect">
            <a:avLst>
              <a:gd name="adj" fmla="val 9419"/>
            </a:avLst>
          </a:prstGeom>
          <a:solidFill>
            <a:schemeClr val="bg2">
              <a:lumMod val="95000"/>
            </a:schemeClr>
          </a:solidFill>
          <a:ln w="19050">
            <a:solidFill>
              <a:schemeClr val="bg1"/>
            </a:solidFill>
          </a:ln>
          <a:effectLst>
            <a:outerShdw blurRad="76200" dir="13500000" sy="23000" kx="1200000" algn="br" rotWithShape="0">
              <a:prstClr val="black">
                <a:alpha val="20000"/>
              </a:prstClr>
            </a:outerShdw>
          </a:effectLst>
        </p:spPr>
        <p:style>
          <a:lnRef idx="2">
            <a:schemeClr val="accent1"/>
          </a:lnRef>
          <a:fillRef idx="1">
            <a:schemeClr val="lt1"/>
          </a:fillRef>
          <a:effectRef idx="0">
            <a:schemeClr val="accent1"/>
          </a:effectRef>
          <a:fontRef idx="minor">
            <a:schemeClr val="dk1"/>
          </a:fontRef>
        </p:style>
        <p:txBody>
          <a:bodyPr wrap="square" lIns="45720" tIns="45720" rIns="45720" bIns="45720" anchor="t" anchorCtr="0">
            <a:no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66A1"/>
                </a:solidFill>
                <a:effectLst/>
                <a:uLnTx/>
                <a:uFillTx/>
                <a:ea typeface="+mn-ea"/>
                <a:cs typeface="+mn-cs"/>
              </a:rPr>
              <a:t>Interface Testing</a:t>
            </a:r>
          </a:p>
          <a:p>
            <a:pPr marL="114297" marR="0" lvl="0" indent="-114297" algn="l" defTabSz="914400" rtl="0" eaLnBrk="0" fontAlgn="auto" latinLnBrk="0" hangingPunct="0">
              <a:lnSpc>
                <a:spcPct val="100000"/>
              </a:lnSpc>
              <a:spcBef>
                <a:spcPts val="0"/>
              </a:spcBef>
              <a:spcAft>
                <a:spcPts val="0"/>
              </a:spcAft>
              <a:buClrTx/>
              <a:buSzTx/>
              <a:buFont typeface="Wingdings" panose="05000000000000000000" pitchFamily="2" charset="2"/>
              <a:buChar char="§"/>
              <a:tabLst/>
              <a:defRPr/>
            </a:pPr>
            <a:r>
              <a:rPr kumimoji="0" lang="en-US" altLang="ja-JP" sz="930" b="0" i="1" u="none" strike="noStrike" kern="0" cap="none" spc="0" normalizeH="0" baseline="0" noProof="0">
                <a:ln>
                  <a:noFill/>
                </a:ln>
                <a:solidFill>
                  <a:srgbClr val="000000"/>
                </a:solidFill>
                <a:effectLst/>
                <a:uLnTx/>
                <a:uFillTx/>
                <a:ea typeface="+mn-ea"/>
                <a:cs typeface="Times New Roman" panose="02020603050405020304" pitchFamily="18" charset="0"/>
              </a:rPr>
              <a:t>Testing the interfaces and data flow from one module/system to other integrating systems </a:t>
            </a:r>
          </a:p>
        </p:txBody>
      </p:sp>
      <p:grpSp>
        <p:nvGrpSpPr>
          <p:cNvPr id="161" name="Group 160"/>
          <p:cNvGrpSpPr/>
          <p:nvPr/>
        </p:nvGrpSpPr>
        <p:grpSpPr>
          <a:xfrm>
            <a:off x="4211593" y="3053744"/>
            <a:ext cx="208833" cy="161426"/>
            <a:chOff x="2697955" y="2308773"/>
            <a:chExt cx="282159" cy="186777"/>
          </a:xfrm>
        </p:grpSpPr>
        <p:sp>
          <p:nvSpPr>
            <p:cNvPr id="162" name="Chevron 161"/>
            <p:cNvSpPr/>
            <p:nvPr/>
          </p:nvSpPr>
          <p:spPr>
            <a:xfrm>
              <a:off x="2807493" y="2308773"/>
              <a:ext cx="172621" cy="186777"/>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ea typeface="+mn-ea"/>
                <a:cs typeface="+mn-cs"/>
              </a:endParaRPr>
            </a:p>
          </p:txBody>
        </p:sp>
        <p:sp>
          <p:nvSpPr>
            <p:cNvPr id="163" name="Chevron 162"/>
            <p:cNvSpPr/>
            <p:nvPr/>
          </p:nvSpPr>
          <p:spPr>
            <a:xfrm>
              <a:off x="2697955" y="2308773"/>
              <a:ext cx="172621" cy="186777"/>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ea typeface="+mn-ea"/>
                <a:cs typeface="+mn-cs"/>
              </a:endParaRPr>
            </a:p>
          </p:txBody>
        </p:sp>
      </p:grpSp>
      <p:sp>
        <p:nvSpPr>
          <p:cNvPr id="164" name="Chevron 163"/>
          <p:cNvSpPr/>
          <p:nvPr/>
        </p:nvSpPr>
        <p:spPr>
          <a:xfrm>
            <a:off x="4292665" y="3257307"/>
            <a:ext cx="127762" cy="161426"/>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ea typeface="+mn-ea"/>
              <a:cs typeface="+mn-cs"/>
            </a:endParaRPr>
          </a:p>
        </p:txBody>
      </p:sp>
      <p:grpSp>
        <p:nvGrpSpPr>
          <p:cNvPr id="169" name="Group 168"/>
          <p:cNvGrpSpPr/>
          <p:nvPr/>
        </p:nvGrpSpPr>
        <p:grpSpPr>
          <a:xfrm>
            <a:off x="4771390" y="2585550"/>
            <a:ext cx="208833" cy="161426"/>
            <a:chOff x="2697955" y="2308773"/>
            <a:chExt cx="282159" cy="186777"/>
          </a:xfrm>
        </p:grpSpPr>
        <p:sp>
          <p:nvSpPr>
            <p:cNvPr id="170" name="Chevron 169"/>
            <p:cNvSpPr/>
            <p:nvPr/>
          </p:nvSpPr>
          <p:spPr>
            <a:xfrm>
              <a:off x="2807493" y="2308773"/>
              <a:ext cx="172621" cy="186777"/>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ea typeface="+mn-ea"/>
                <a:cs typeface="+mn-cs"/>
              </a:endParaRPr>
            </a:p>
          </p:txBody>
        </p:sp>
        <p:sp>
          <p:nvSpPr>
            <p:cNvPr id="171" name="Chevron 170"/>
            <p:cNvSpPr/>
            <p:nvPr/>
          </p:nvSpPr>
          <p:spPr>
            <a:xfrm>
              <a:off x="2697955" y="2308773"/>
              <a:ext cx="172621" cy="186777"/>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ea typeface="+mn-ea"/>
                <a:cs typeface="+mn-cs"/>
              </a:endParaRPr>
            </a:p>
          </p:txBody>
        </p:sp>
      </p:grpSp>
      <p:grpSp>
        <p:nvGrpSpPr>
          <p:cNvPr id="177" name="Group 176"/>
          <p:cNvGrpSpPr/>
          <p:nvPr/>
        </p:nvGrpSpPr>
        <p:grpSpPr>
          <a:xfrm>
            <a:off x="979707" y="4374602"/>
            <a:ext cx="646254" cy="588372"/>
            <a:chOff x="10601325" y="5670159"/>
            <a:chExt cx="502680" cy="379805"/>
          </a:xfrm>
        </p:grpSpPr>
        <p:grpSp>
          <p:nvGrpSpPr>
            <p:cNvPr id="178" name="Groupe 574"/>
            <p:cNvGrpSpPr/>
            <p:nvPr/>
          </p:nvGrpSpPr>
          <p:grpSpPr>
            <a:xfrm>
              <a:off x="10601325" y="5670159"/>
              <a:ext cx="273049" cy="379805"/>
              <a:chOff x="2803526" y="3721100"/>
              <a:chExt cx="211138" cy="293688"/>
            </a:xfrm>
          </p:grpSpPr>
          <p:sp>
            <p:nvSpPr>
              <p:cNvPr id="183" name="Freeform 215"/>
              <p:cNvSpPr>
                <a:spLocks/>
              </p:cNvSpPr>
              <p:nvPr/>
            </p:nvSpPr>
            <p:spPr bwMode="auto">
              <a:xfrm>
                <a:off x="2803526" y="3721100"/>
                <a:ext cx="211138" cy="293688"/>
              </a:xfrm>
              <a:custGeom>
                <a:avLst/>
                <a:gdLst/>
                <a:ahLst/>
                <a:cxnLst>
                  <a:cxn ang="0">
                    <a:pos x="96" y="152"/>
                  </a:cxn>
                  <a:cxn ang="0">
                    <a:pos x="105" y="152"/>
                  </a:cxn>
                  <a:cxn ang="0">
                    <a:pos x="109" y="148"/>
                  </a:cxn>
                  <a:cxn ang="0">
                    <a:pos x="109" y="19"/>
                  </a:cxn>
                  <a:cxn ang="0">
                    <a:pos x="105" y="15"/>
                  </a:cxn>
                  <a:cxn ang="0">
                    <a:pos x="77" y="15"/>
                  </a:cxn>
                  <a:cxn ang="0">
                    <a:pos x="77" y="4"/>
                  </a:cxn>
                  <a:cxn ang="0">
                    <a:pos x="72" y="0"/>
                  </a:cxn>
                  <a:cxn ang="0">
                    <a:pos x="36" y="0"/>
                  </a:cxn>
                  <a:cxn ang="0">
                    <a:pos x="31" y="4"/>
                  </a:cxn>
                  <a:cxn ang="0">
                    <a:pos x="31" y="15"/>
                  </a:cxn>
                  <a:cxn ang="0">
                    <a:pos x="4" y="15"/>
                  </a:cxn>
                  <a:cxn ang="0">
                    <a:pos x="0" y="19"/>
                  </a:cxn>
                  <a:cxn ang="0">
                    <a:pos x="0" y="148"/>
                  </a:cxn>
                  <a:cxn ang="0">
                    <a:pos x="4" y="152"/>
                  </a:cxn>
                  <a:cxn ang="0">
                    <a:pos x="58" y="152"/>
                  </a:cxn>
                </a:cxnLst>
                <a:rect l="0" t="0" r="r" b="b"/>
                <a:pathLst>
                  <a:path w="109" h="152">
                    <a:moveTo>
                      <a:pt x="96" y="152"/>
                    </a:moveTo>
                    <a:cubicBezTo>
                      <a:pt x="105" y="152"/>
                      <a:pt x="105" y="152"/>
                      <a:pt x="105" y="152"/>
                    </a:cubicBezTo>
                    <a:cubicBezTo>
                      <a:pt x="107" y="152"/>
                      <a:pt x="109" y="150"/>
                      <a:pt x="109" y="148"/>
                    </a:cubicBezTo>
                    <a:cubicBezTo>
                      <a:pt x="109" y="19"/>
                      <a:pt x="109" y="19"/>
                      <a:pt x="109" y="19"/>
                    </a:cubicBezTo>
                    <a:cubicBezTo>
                      <a:pt x="109" y="17"/>
                      <a:pt x="107" y="15"/>
                      <a:pt x="105" y="15"/>
                    </a:cubicBezTo>
                    <a:cubicBezTo>
                      <a:pt x="77" y="15"/>
                      <a:pt x="77" y="15"/>
                      <a:pt x="77" y="15"/>
                    </a:cubicBezTo>
                    <a:cubicBezTo>
                      <a:pt x="77" y="4"/>
                      <a:pt x="77" y="4"/>
                      <a:pt x="77" y="4"/>
                    </a:cubicBezTo>
                    <a:cubicBezTo>
                      <a:pt x="77" y="2"/>
                      <a:pt x="75" y="0"/>
                      <a:pt x="72" y="0"/>
                    </a:cubicBezTo>
                    <a:cubicBezTo>
                      <a:pt x="36" y="0"/>
                      <a:pt x="36" y="0"/>
                      <a:pt x="36" y="0"/>
                    </a:cubicBezTo>
                    <a:cubicBezTo>
                      <a:pt x="33" y="0"/>
                      <a:pt x="31" y="2"/>
                      <a:pt x="31" y="4"/>
                    </a:cubicBezTo>
                    <a:cubicBezTo>
                      <a:pt x="31" y="15"/>
                      <a:pt x="31" y="15"/>
                      <a:pt x="31" y="15"/>
                    </a:cubicBezTo>
                    <a:cubicBezTo>
                      <a:pt x="4" y="15"/>
                      <a:pt x="4" y="15"/>
                      <a:pt x="4" y="15"/>
                    </a:cubicBezTo>
                    <a:cubicBezTo>
                      <a:pt x="2" y="15"/>
                      <a:pt x="0" y="17"/>
                      <a:pt x="0" y="19"/>
                    </a:cubicBezTo>
                    <a:cubicBezTo>
                      <a:pt x="0" y="148"/>
                      <a:pt x="0" y="148"/>
                      <a:pt x="0" y="148"/>
                    </a:cubicBezTo>
                    <a:cubicBezTo>
                      <a:pt x="0" y="150"/>
                      <a:pt x="2" y="152"/>
                      <a:pt x="4" y="152"/>
                    </a:cubicBezTo>
                    <a:cubicBezTo>
                      <a:pt x="58" y="152"/>
                      <a:pt x="58" y="152"/>
                      <a:pt x="58" y="152"/>
                    </a:cubicBezTo>
                  </a:path>
                </a:pathLst>
              </a:cu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ea typeface="+mn-ea"/>
                  <a:cs typeface="Arial" pitchFamily="34" charset="0"/>
                </a:endParaRPr>
              </a:p>
            </p:txBody>
          </p:sp>
          <p:sp>
            <p:nvSpPr>
              <p:cNvPr id="184" name="Oval 216"/>
              <p:cNvSpPr>
                <a:spLocks noChangeArrowheads="1"/>
              </p:cNvSpPr>
              <p:nvPr/>
            </p:nvSpPr>
            <p:spPr bwMode="auto">
              <a:xfrm>
                <a:off x="2849563" y="3810000"/>
                <a:ext cx="39688" cy="39688"/>
              </a:xfrm>
              <a:prstGeom prst="ellipse">
                <a:avLst/>
              </a:pr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ea typeface="+mn-ea"/>
                  <a:cs typeface="Arial" pitchFamily="34" charset="0"/>
                </a:endParaRPr>
              </a:p>
            </p:txBody>
          </p:sp>
          <p:sp>
            <p:nvSpPr>
              <p:cNvPr id="185" name="Oval 217"/>
              <p:cNvSpPr>
                <a:spLocks noChangeArrowheads="1"/>
              </p:cNvSpPr>
              <p:nvPr/>
            </p:nvSpPr>
            <p:spPr bwMode="auto">
              <a:xfrm>
                <a:off x="2849563" y="3867150"/>
                <a:ext cx="39688" cy="41275"/>
              </a:xfrm>
              <a:prstGeom prst="ellipse">
                <a:avLst/>
              </a:pr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ea typeface="+mn-ea"/>
                  <a:cs typeface="Arial" pitchFamily="34" charset="0"/>
                </a:endParaRPr>
              </a:p>
            </p:txBody>
          </p:sp>
          <p:sp>
            <p:nvSpPr>
              <p:cNvPr id="186" name="Oval 218"/>
              <p:cNvSpPr>
                <a:spLocks noChangeArrowheads="1"/>
              </p:cNvSpPr>
              <p:nvPr/>
            </p:nvSpPr>
            <p:spPr bwMode="auto">
              <a:xfrm>
                <a:off x="2849563" y="3927475"/>
                <a:ext cx="39688" cy="41275"/>
              </a:xfrm>
              <a:prstGeom prst="ellipse">
                <a:avLst/>
              </a:pr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ea typeface="+mn-ea"/>
                  <a:cs typeface="Arial" pitchFamily="34" charset="0"/>
                </a:endParaRPr>
              </a:p>
            </p:txBody>
          </p:sp>
          <p:sp>
            <p:nvSpPr>
              <p:cNvPr id="187" name="Freeform 219"/>
              <p:cNvSpPr>
                <a:spLocks/>
              </p:cNvSpPr>
              <p:nvPr/>
            </p:nvSpPr>
            <p:spPr bwMode="auto">
              <a:xfrm>
                <a:off x="2863851" y="3756025"/>
                <a:ext cx="88900" cy="17463"/>
              </a:xfrm>
              <a:custGeom>
                <a:avLst/>
                <a:gdLst/>
                <a:ahLst/>
                <a:cxnLst>
                  <a:cxn ang="0">
                    <a:pos x="46" y="0"/>
                  </a:cxn>
                  <a:cxn ang="0">
                    <a:pos x="46" y="4"/>
                  </a:cxn>
                  <a:cxn ang="0">
                    <a:pos x="41" y="9"/>
                  </a:cxn>
                  <a:cxn ang="0">
                    <a:pos x="5" y="9"/>
                  </a:cxn>
                  <a:cxn ang="0">
                    <a:pos x="0" y="4"/>
                  </a:cxn>
                  <a:cxn ang="0">
                    <a:pos x="0" y="1"/>
                  </a:cxn>
                </a:cxnLst>
                <a:rect l="0" t="0" r="r" b="b"/>
                <a:pathLst>
                  <a:path w="46" h="9">
                    <a:moveTo>
                      <a:pt x="46" y="0"/>
                    </a:moveTo>
                    <a:cubicBezTo>
                      <a:pt x="46" y="4"/>
                      <a:pt x="46" y="4"/>
                      <a:pt x="46" y="4"/>
                    </a:cubicBezTo>
                    <a:cubicBezTo>
                      <a:pt x="46" y="7"/>
                      <a:pt x="44" y="9"/>
                      <a:pt x="41" y="9"/>
                    </a:cubicBezTo>
                    <a:cubicBezTo>
                      <a:pt x="5" y="9"/>
                      <a:pt x="5" y="9"/>
                      <a:pt x="5" y="9"/>
                    </a:cubicBezTo>
                    <a:cubicBezTo>
                      <a:pt x="2" y="9"/>
                      <a:pt x="0" y="7"/>
                      <a:pt x="0" y="4"/>
                    </a:cubicBezTo>
                    <a:cubicBezTo>
                      <a:pt x="0" y="1"/>
                      <a:pt x="0" y="1"/>
                      <a:pt x="0" y="1"/>
                    </a:cubicBezTo>
                  </a:path>
                </a:pathLst>
              </a:cu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ea typeface="+mn-ea"/>
                  <a:cs typeface="Arial" pitchFamily="34" charset="0"/>
                </a:endParaRPr>
              </a:p>
            </p:txBody>
          </p:sp>
          <p:sp>
            <p:nvSpPr>
              <p:cNvPr id="188" name="Line 220"/>
              <p:cNvSpPr>
                <a:spLocks noChangeShapeType="1"/>
              </p:cNvSpPr>
              <p:nvPr/>
            </p:nvSpPr>
            <p:spPr bwMode="auto">
              <a:xfrm>
                <a:off x="2911476" y="3817938"/>
                <a:ext cx="47625" cy="1588"/>
              </a:xfrm>
              <a:prstGeom prst="line">
                <a:avLst/>
              </a:pr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ea typeface="+mn-ea"/>
                  <a:cs typeface="Arial" pitchFamily="34" charset="0"/>
                </a:endParaRPr>
              </a:p>
            </p:txBody>
          </p:sp>
          <p:sp>
            <p:nvSpPr>
              <p:cNvPr id="189" name="Line 221"/>
              <p:cNvSpPr>
                <a:spLocks noChangeShapeType="1"/>
              </p:cNvSpPr>
              <p:nvPr/>
            </p:nvSpPr>
            <p:spPr bwMode="auto">
              <a:xfrm>
                <a:off x="2911476" y="3887788"/>
                <a:ext cx="47625" cy="1588"/>
              </a:xfrm>
              <a:prstGeom prst="line">
                <a:avLst/>
              </a:pr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ea typeface="+mn-ea"/>
                  <a:cs typeface="Arial" pitchFamily="34" charset="0"/>
                </a:endParaRPr>
              </a:p>
            </p:txBody>
          </p:sp>
          <p:sp>
            <p:nvSpPr>
              <p:cNvPr id="190" name="Line 222"/>
              <p:cNvSpPr>
                <a:spLocks noChangeShapeType="1"/>
              </p:cNvSpPr>
              <p:nvPr/>
            </p:nvSpPr>
            <p:spPr bwMode="auto">
              <a:xfrm>
                <a:off x="2911476" y="3951288"/>
                <a:ext cx="47625" cy="1588"/>
              </a:xfrm>
              <a:prstGeom prst="line">
                <a:avLst/>
              </a:pr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ea typeface="+mn-ea"/>
                  <a:cs typeface="Arial" pitchFamily="34" charset="0"/>
                </a:endParaRPr>
              </a:p>
            </p:txBody>
          </p:sp>
        </p:grpSp>
        <p:grpSp>
          <p:nvGrpSpPr>
            <p:cNvPr id="179" name="Groupe 688"/>
            <p:cNvGrpSpPr/>
            <p:nvPr/>
          </p:nvGrpSpPr>
          <p:grpSpPr>
            <a:xfrm flipH="1">
              <a:off x="10877734" y="5835354"/>
              <a:ext cx="226271" cy="213313"/>
              <a:chOff x="2509838" y="4954587"/>
              <a:chExt cx="360363" cy="339725"/>
            </a:xfrm>
            <a:noFill/>
          </p:grpSpPr>
          <p:sp>
            <p:nvSpPr>
              <p:cNvPr id="180" name="Freeform 412"/>
              <p:cNvSpPr>
                <a:spLocks/>
              </p:cNvSpPr>
              <p:nvPr/>
            </p:nvSpPr>
            <p:spPr bwMode="auto">
              <a:xfrm>
                <a:off x="2509838" y="4954587"/>
                <a:ext cx="274638" cy="339725"/>
              </a:xfrm>
              <a:custGeom>
                <a:avLst/>
                <a:gdLst/>
                <a:ahLst/>
                <a:cxnLst>
                  <a:cxn ang="0">
                    <a:pos x="142" y="86"/>
                  </a:cxn>
                  <a:cxn ang="0">
                    <a:pos x="121" y="86"/>
                  </a:cxn>
                  <a:cxn ang="0">
                    <a:pos x="112" y="81"/>
                  </a:cxn>
                  <a:cxn ang="0">
                    <a:pos x="86" y="40"/>
                  </a:cxn>
                  <a:cxn ang="0">
                    <a:pos x="86" y="12"/>
                  </a:cxn>
                  <a:cxn ang="0">
                    <a:pos x="74" y="8"/>
                  </a:cxn>
                  <a:cxn ang="0">
                    <a:pos x="66" y="72"/>
                  </a:cxn>
                  <a:cxn ang="0">
                    <a:pos x="59" y="77"/>
                  </a:cxn>
                  <a:cxn ang="0">
                    <a:pos x="15" y="77"/>
                  </a:cxn>
                  <a:cxn ang="0">
                    <a:pos x="3" y="89"/>
                  </a:cxn>
                  <a:cxn ang="0">
                    <a:pos x="16" y="102"/>
                  </a:cxn>
                  <a:cxn ang="0">
                    <a:pos x="0" y="117"/>
                  </a:cxn>
                  <a:cxn ang="0">
                    <a:pos x="16" y="130"/>
                  </a:cxn>
                  <a:cxn ang="0">
                    <a:pos x="5" y="142"/>
                  </a:cxn>
                  <a:cxn ang="0">
                    <a:pos x="21" y="154"/>
                  </a:cxn>
                  <a:cxn ang="0">
                    <a:pos x="12" y="163"/>
                  </a:cxn>
                  <a:cxn ang="0">
                    <a:pos x="24" y="175"/>
                  </a:cxn>
                  <a:cxn ang="0">
                    <a:pos x="105" y="175"/>
                  </a:cxn>
                  <a:cxn ang="0">
                    <a:pos x="116" y="164"/>
                  </a:cxn>
                </a:cxnLst>
                <a:rect l="0" t="0" r="r" b="b"/>
                <a:pathLst>
                  <a:path w="142" h="175">
                    <a:moveTo>
                      <a:pt x="142" y="86"/>
                    </a:moveTo>
                    <a:cubicBezTo>
                      <a:pt x="121" y="86"/>
                      <a:pt x="121" y="86"/>
                      <a:pt x="121" y="86"/>
                    </a:cubicBezTo>
                    <a:cubicBezTo>
                      <a:pt x="121" y="86"/>
                      <a:pt x="115" y="84"/>
                      <a:pt x="112" y="81"/>
                    </a:cubicBezTo>
                    <a:cubicBezTo>
                      <a:pt x="109" y="77"/>
                      <a:pt x="86" y="54"/>
                      <a:pt x="86" y="40"/>
                    </a:cubicBezTo>
                    <a:cubicBezTo>
                      <a:pt x="85" y="31"/>
                      <a:pt x="86" y="12"/>
                      <a:pt x="86" y="12"/>
                    </a:cubicBezTo>
                    <a:cubicBezTo>
                      <a:pt x="86" y="12"/>
                      <a:pt x="86" y="0"/>
                      <a:pt x="74" y="8"/>
                    </a:cubicBezTo>
                    <a:cubicBezTo>
                      <a:pt x="67" y="13"/>
                      <a:pt x="54" y="30"/>
                      <a:pt x="66" y="72"/>
                    </a:cubicBezTo>
                    <a:cubicBezTo>
                      <a:pt x="67" y="75"/>
                      <a:pt x="67" y="77"/>
                      <a:pt x="59" y="77"/>
                    </a:cubicBezTo>
                    <a:cubicBezTo>
                      <a:pt x="15" y="77"/>
                      <a:pt x="15" y="77"/>
                      <a:pt x="15" y="77"/>
                    </a:cubicBezTo>
                    <a:cubicBezTo>
                      <a:pt x="15" y="77"/>
                      <a:pt x="3" y="78"/>
                      <a:pt x="3" y="89"/>
                    </a:cubicBezTo>
                    <a:cubicBezTo>
                      <a:pt x="3" y="99"/>
                      <a:pt x="8" y="102"/>
                      <a:pt x="16" y="102"/>
                    </a:cubicBezTo>
                    <a:cubicBezTo>
                      <a:pt x="16" y="102"/>
                      <a:pt x="0" y="101"/>
                      <a:pt x="0" y="117"/>
                    </a:cubicBezTo>
                    <a:cubicBezTo>
                      <a:pt x="0" y="124"/>
                      <a:pt x="8" y="130"/>
                      <a:pt x="16" y="130"/>
                    </a:cubicBezTo>
                    <a:cubicBezTo>
                      <a:pt x="16" y="130"/>
                      <a:pt x="5" y="132"/>
                      <a:pt x="5" y="142"/>
                    </a:cubicBezTo>
                    <a:cubicBezTo>
                      <a:pt x="5" y="150"/>
                      <a:pt x="16" y="154"/>
                      <a:pt x="21" y="154"/>
                    </a:cubicBezTo>
                    <a:cubicBezTo>
                      <a:pt x="21" y="154"/>
                      <a:pt x="12" y="155"/>
                      <a:pt x="12" y="163"/>
                    </a:cubicBezTo>
                    <a:cubicBezTo>
                      <a:pt x="12" y="172"/>
                      <a:pt x="19" y="175"/>
                      <a:pt x="24" y="175"/>
                    </a:cubicBezTo>
                    <a:cubicBezTo>
                      <a:pt x="105" y="175"/>
                      <a:pt x="105" y="175"/>
                      <a:pt x="105" y="175"/>
                    </a:cubicBezTo>
                    <a:cubicBezTo>
                      <a:pt x="105" y="175"/>
                      <a:pt x="116" y="175"/>
                      <a:pt x="116" y="164"/>
                    </a:cubicBezTo>
                  </a:path>
                </a:pathLst>
              </a:cu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ea typeface="+mn-ea"/>
                  <a:cs typeface="Arial" pitchFamily="34" charset="0"/>
                </a:endParaRPr>
              </a:p>
            </p:txBody>
          </p:sp>
          <p:sp>
            <p:nvSpPr>
              <p:cNvPr id="181" name="Freeform 413"/>
              <p:cNvSpPr>
                <a:spLocks/>
              </p:cNvSpPr>
              <p:nvPr/>
            </p:nvSpPr>
            <p:spPr bwMode="auto">
              <a:xfrm>
                <a:off x="2786063" y="5091112"/>
                <a:ext cx="84138" cy="203200"/>
              </a:xfrm>
              <a:custGeom>
                <a:avLst/>
                <a:gdLst/>
                <a:ahLst/>
                <a:cxnLst>
                  <a:cxn ang="0">
                    <a:pos x="43" y="0"/>
                  </a:cxn>
                  <a:cxn ang="0">
                    <a:pos x="13" y="0"/>
                  </a:cxn>
                  <a:cxn ang="0">
                    <a:pos x="0" y="13"/>
                  </a:cxn>
                  <a:cxn ang="0">
                    <a:pos x="0" y="94"/>
                  </a:cxn>
                  <a:cxn ang="0">
                    <a:pos x="11" y="105"/>
                  </a:cxn>
                  <a:cxn ang="0">
                    <a:pos x="43" y="105"/>
                  </a:cxn>
                </a:cxnLst>
                <a:rect l="0" t="0" r="r" b="b"/>
                <a:pathLst>
                  <a:path w="43" h="105">
                    <a:moveTo>
                      <a:pt x="43" y="0"/>
                    </a:moveTo>
                    <a:cubicBezTo>
                      <a:pt x="13" y="0"/>
                      <a:pt x="13" y="0"/>
                      <a:pt x="13" y="0"/>
                    </a:cubicBezTo>
                    <a:cubicBezTo>
                      <a:pt x="13" y="0"/>
                      <a:pt x="0" y="0"/>
                      <a:pt x="0" y="13"/>
                    </a:cubicBezTo>
                    <a:cubicBezTo>
                      <a:pt x="0" y="94"/>
                      <a:pt x="0" y="94"/>
                      <a:pt x="0" y="94"/>
                    </a:cubicBezTo>
                    <a:cubicBezTo>
                      <a:pt x="0" y="94"/>
                      <a:pt x="5" y="105"/>
                      <a:pt x="11" y="105"/>
                    </a:cubicBezTo>
                    <a:cubicBezTo>
                      <a:pt x="43" y="105"/>
                      <a:pt x="43" y="105"/>
                      <a:pt x="43" y="105"/>
                    </a:cubicBezTo>
                  </a:path>
                </a:pathLst>
              </a:cu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ea typeface="+mn-ea"/>
                  <a:cs typeface="Arial" pitchFamily="34" charset="0"/>
                </a:endParaRPr>
              </a:p>
            </p:txBody>
          </p:sp>
          <p:sp>
            <p:nvSpPr>
              <p:cNvPr id="182" name="Oval 414"/>
              <p:cNvSpPr>
                <a:spLocks noChangeArrowheads="1"/>
              </p:cNvSpPr>
              <p:nvPr/>
            </p:nvSpPr>
            <p:spPr bwMode="auto">
              <a:xfrm>
                <a:off x="2817813" y="5243512"/>
                <a:ext cx="28575" cy="31750"/>
              </a:xfrm>
              <a:prstGeom prst="ellipse">
                <a:avLst/>
              </a:prstGeom>
              <a:grp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ea typeface="+mn-ea"/>
                  <a:cs typeface="Arial" pitchFamily="34" charset="0"/>
                </a:endParaRPr>
              </a:p>
            </p:txBody>
          </p:sp>
        </p:grpSp>
      </p:grpSp>
      <p:sp>
        <p:nvSpPr>
          <p:cNvPr id="203" name="Bent Arrow 202"/>
          <p:cNvSpPr/>
          <p:nvPr/>
        </p:nvSpPr>
        <p:spPr>
          <a:xfrm flipH="1">
            <a:off x="2193382" y="2434028"/>
            <a:ext cx="8460915" cy="1594450"/>
          </a:xfrm>
          <a:prstGeom prst="bentArrow">
            <a:avLst>
              <a:gd name="adj1" fmla="val 7827"/>
              <a:gd name="adj2" fmla="val 8429"/>
              <a:gd name="adj3" fmla="val 0"/>
              <a:gd name="adj4"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ea typeface="+mn-ea"/>
              <a:cs typeface="+mn-cs"/>
            </a:endParaRPr>
          </a:p>
        </p:txBody>
      </p:sp>
      <p:sp>
        <p:nvSpPr>
          <p:cNvPr id="172" name="Oval 171"/>
          <p:cNvSpPr/>
          <p:nvPr/>
        </p:nvSpPr>
        <p:spPr>
          <a:xfrm>
            <a:off x="2186997" y="2389485"/>
            <a:ext cx="359040" cy="359040"/>
          </a:xfrm>
          <a:prstGeom prst="ellipse">
            <a:avLst/>
          </a:prstGeom>
          <a:solidFill>
            <a:schemeClr val="bg1">
              <a:lumMod val="95000"/>
            </a:schemeClr>
          </a:solidFill>
          <a:ln>
            <a:solidFill>
              <a:schemeClr val="accent2"/>
            </a:solidFill>
          </a:ln>
          <a:effectLst>
            <a:glow rad="101600">
              <a:schemeClr val="bg1">
                <a:alpha val="6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66A1"/>
                </a:solidFill>
                <a:effectLst/>
                <a:uLnTx/>
                <a:uFillTx/>
                <a:ea typeface="+mn-ea"/>
                <a:cs typeface="+mn-cs"/>
              </a:rPr>
              <a:t>1</a:t>
            </a:r>
          </a:p>
        </p:txBody>
      </p:sp>
      <p:sp>
        <p:nvSpPr>
          <p:cNvPr id="20" name="Oval 19"/>
          <p:cNvSpPr/>
          <p:nvPr/>
        </p:nvSpPr>
        <p:spPr>
          <a:xfrm>
            <a:off x="9247351" y="3800974"/>
            <a:ext cx="359040" cy="359040"/>
          </a:xfrm>
          <a:prstGeom prst="ellipse">
            <a:avLst/>
          </a:prstGeom>
          <a:solidFill>
            <a:schemeClr val="bg1">
              <a:lumMod val="95000"/>
            </a:schemeClr>
          </a:solidFill>
          <a:ln>
            <a:solidFill>
              <a:schemeClr val="accent2"/>
            </a:solidFill>
          </a:ln>
          <a:effectLst>
            <a:glow rad="101600">
              <a:schemeClr val="bg1">
                <a:alpha val="6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66A1"/>
                </a:solidFill>
                <a:effectLst/>
                <a:uLnTx/>
                <a:uFillTx/>
                <a:ea typeface="+mn-ea"/>
                <a:cs typeface="+mn-cs"/>
              </a:rPr>
              <a:t>4</a:t>
            </a:r>
          </a:p>
        </p:txBody>
      </p:sp>
      <p:sp>
        <p:nvSpPr>
          <p:cNvPr id="205" name="Oval 204"/>
          <p:cNvSpPr/>
          <p:nvPr/>
        </p:nvSpPr>
        <p:spPr>
          <a:xfrm>
            <a:off x="6056511" y="3790986"/>
            <a:ext cx="359040" cy="359040"/>
          </a:xfrm>
          <a:prstGeom prst="ellipse">
            <a:avLst/>
          </a:prstGeom>
          <a:solidFill>
            <a:schemeClr val="bg1">
              <a:lumMod val="95000"/>
            </a:schemeClr>
          </a:solidFill>
          <a:ln>
            <a:solidFill>
              <a:schemeClr val="accent2"/>
            </a:solidFill>
          </a:ln>
          <a:effectLst>
            <a:glow rad="101600">
              <a:schemeClr val="bg1">
                <a:alpha val="6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66A1"/>
                </a:solidFill>
                <a:effectLst/>
                <a:uLnTx/>
                <a:uFillTx/>
                <a:ea typeface="+mn-ea"/>
                <a:cs typeface="+mn-cs"/>
              </a:rPr>
              <a:t>5</a:t>
            </a:r>
          </a:p>
        </p:txBody>
      </p:sp>
      <p:grpSp>
        <p:nvGrpSpPr>
          <p:cNvPr id="140" name="Group 139"/>
          <p:cNvGrpSpPr/>
          <p:nvPr/>
        </p:nvGrpSpPr>
        <p:grpSpPr>
          <a:xfrm>
            <a:off x="4211593" y="2481472"/>
            <a:ext cx="208833" cy="161426"/>
            <a:chOff x="2697955" y="2308773"/>
            <a:chExt cx="282159" cy="186777"/>
          </a:xfrm>
        </p:grpSpPr>
        <p:sp>
          <p:nvSpPr>
            <p:cNvPr id="141" name="Chevron 140"/>
            <p:cNvSpPr/>
            <p:nvPr/>
          </p:nvSpPr>
          <p:spPr>
            <a:xfrm>
              <a:off x="2807493" y="2308773"/>
              <a:ext cx="172621" cy="186777"/>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ea typeface="+mn-ea"/>
                <a:cs typeface="+mn-cs"/>
              </a:endParaRPr>
            </a:p>
          </p:txBody>
        </p:sp>
        <p:sp>
          <p:nvSpPr>
            <p:cNvPr id="142" name="Chevron 141"/>
            <p:cNvSpPr/>
            <p:nvPr/>
          </p:nvSpPr>
          <p:spPr>
            <a:xfrm>
              <a:off x="2697955" y="2308773"/>
              <a:ext cx="172621" cy="186777"/>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ea typeface="+mn-ea"/>
                <a:cs typeface="+mn-cs"/>
              </a:endParaRPr>
            </a:p>
          </p:txBody>
        </p:sp>
      </p:grpSp>
      <p:grpSp>
        <p:nvGrpSpPr>
          <p:cNvPr id="143" name="Group 142"/>
          <p:cNvGrpSpPr/>
          <p:nvPr/>
        </p:nvGrpSpPr>
        <p:grpSpPr>
          <a:xfrm>
            <a:off x="7906261" y="2504125"/>
            <a:ext cx="208833" cy="161426"/>
            <a:chOff x="2697955" y="2308773"/>
            <a:chExt cx="282159" cy="186777"/>
          </a:xfrm>
        </p:grpSpPr>
        <p:sp>
          <p:nvSpPr>
            <p:cNvPr id="144" name="Chevron 143"/>
            <p:cNvSpPr/>
            <p:nvPr/>
          </p:nvSpPr>
          <p:spPr>
            <a:xfrm>
              <a:off x="2807493" y="2308773"/>
              <a:ext cx="172621" cy="186777"/>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ea typeface="+mn-ea"/>
                <a:cs typeface="+mn-cs"/>
              </a:endParaRPr>
            </a:p>
          </p:txBody>
        </p:sp>
        <p:sp>
          <p:nvSpPr>
            <p:cNvPr id="145" name="Chevron 144"/>
            <p:cNvSpPr/>
            <p:nvPr/>
          </p:nvSpPr>
          <p:spPr>
            <a:xfrm>
              <a:off x="2697955" y="2308773"/>
              <a:ext cx="172621" cy="186777"/>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ea typeface="+mn-ea"/>
                <a:cs typeface="+mn-cs"/>
              </a:endParaRPr>
            </a:p>
          </p:txBody>
        </p:sp>
      </p:grpSp>
      <p:grpSp>
        <p:nvGrpSpPr>
          <p:cNvPr id="146" name="Group 145"/>
          <p:cNvGrpSpPr/>
          <p:nvPr/>
        </p:nvGrpSpPr>
        <p:grpSpPr>
          <a:xfrm flipH="1">
            <a:off x="4211593" y="3883059"/>
            <a:ext cx="208833" cy="161426"/>
            <a:chOff x="2697955" y="2308773"/>
            <a:chExt cx="282159" cy="186777"/>
          </a:xfrm>
        </p:grpSpPr>
        <p:sp>
          <p:nvSpPr>
            <p:cNvPr id="148" name="Chevron 147"/>
            <p:cNvSpPr/>
            <p:nvPr/>
          </p:nvSpPr>
          <p:spPr>
            <a:xfrm>
              <a:off x="2807493" y="2308773"/>
              <a:ext cx="172621" cy="186777"/>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ea typeface="+mn-ea"/>
                <a:cs typeface="+mn-cs"/>
              </a:endParaRPr>
            </a:p>
          </p:txBody>
        </p:sp>
        <p:sp>
          <p:nvSpPr>
            <p:cNvPr id="160" name="Chevron 159"/>
            <p:cNvSpPr/>
            <p:nvPr/>
          </p:nvSpPr>
          <p:spPr>
            <a:xfrm>
              <a:off x="2697955" y="2308773"/>
              <a:ext cx="172621" cy="186777"/>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ea typeface="+mn-ea"/>
                <a:cs typeface="+mn-cs"/>
              </a:endParaRPr>
            </a:p>
          </p:txBody>
        </p:sp>
      </p:grpSp>
      <p:grpSp>
        <p:nvGrpSpPr>
          <p:cNvPr id="168" name="Group 167"/>
          <p:cNvGrpSpPr/>
          <p:nvPr/>
        </p:nvGrpSpPr>
        <p:grpSpPr>
          <a:xfrm rot="16200000" flipH="1">
            <a:off x="11468331" y="2641107"/>
            <a:ext cx="208833" cy="161426"/>
            <a:chOff x="2697955" y="2308773"/>
            <a:chExt cx="282159" cy="186777"/>
          </a:xfrm>
        </p:grpSpPr>
        <p:sp>
          <p:nvSpPr>
            <p:cNvPr id="174" name="Chevron 173"/>
            <p:cNvSpPr/>
            <p:nvPr/>
          </p:nvSpPr>
          <p:spPr>
            <a:xfrm>
              <a:off x="2807493" y="2308773"/>
              <a:ext cx="172621" cy="186777"/>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ea typeface="+mn-ea"/>
                <a:cs typeface="+mn-cs"/>
              </a:endParaRPr>
            </a:p>
          </p:txBody>
        </p:sp>
        <p:sp>
          <p:nvSpPr>
            <p:cNvPr id="176" name="Chevron 175"/>
            <p:cNvSpPr/>
            <p:nvPr/>
          </p:nvSpPr>
          <p:spPr>
            <a:xfrm>
              <a:off x="2697955" y="2308773"/>
              <a:ext cx="172621" cy="186777"/>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ea typeface="+mn-ea"/>
                <a:cs typeface="+mn-cs"/>
              </a:endParaRPr>
            </a:p>
          </p:txBody>
        </p:sp>
      </p:grpSp>
      <p:sp>
        <p:nvSpPr>
          <p:cNvPr id="202" name="Oval 201"/>
          <p:cNvSpPr/>
          <p:nvPr/>
        </p:nvSpPr>
        <p:spPr>
          <a:xfrm>
            <a:off x="3024813" y="3785949"/>
            <a:ext cx="359040" cy="359040"/>
          </a:xfrm>
          <a:prstGeom prst="ellipse">
            <a:avLst/>
          </a:prstGeom>
          <a:solidFill>
            <a:schemeClr val="bg1">
              <a:lumMod val="95000"/>
            </a:schemeClr>
          </a:solidFill>
          <a:ln>
            <a:solidFill>
              <a:schemeClr val="accent2"/>
            </a:solidFill>
          </a:ln>
          <a:effectLst>
            <a:glow rad="101600">
              <a:schemeClr val="bg1">
                <a:alpha val="6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1600" b="1">
                <a:solidFill>
                  <a:srgbClr val="0066A1"/>
                </a:solidFill>
              </a:rPr>
              <a:t>7</a:t>
            </a:r>
            <a:endParaRPr kumimoji="0" lang="en-US" sz="1600" b="1" i="0" u="none" strike="noStrike" kern="1200" cap="none" spc="0" normalizeH="0" baseline="0" noProof="0">
              <a:ln>
                <a:noFill/>
              </a:ln>
              <a:solidFill>
                <a:srgbClr val="0066A1"/>
              </a:solidFill>
              <a:effectLst/>
              <a:uLnTx/>
              <a:uFillTx/>
              <a:ea typeface="+mn-ea"/>
              <a:cs typeface="+mn-cs"/>
            </a:endParaRPr>
          </a:p>
        </p:txBody>
      </p:sp>
      <p:grpSp>
        <p:nvGrpSpPr>
          <p:cNvPr id="204" name="Group 203"/>
          <p:cNvGrpSpPr/>
          <p:nvPr/>
        </p:nvGrpSpPr>
        <p:grpSpPr>
          <a:xfrm flipH="1">
            <a:off x="8776667" y="3876162"/>
            <a:ext cx="208833" cy="161426"/>
            <a:chOff x="2697955" y="2308773"/>
            <a:chExt cx="282159" cy="186777"/>
          </a:xfrm>
        </p:grpSpPr>
        <p:sp>
          <p:nvSpPr>
            <p:cNvPr id="210" name="Chevron 209"/>
            <p:cNvSpPr/>
            <p:nvPr/>
          </p:nvSpPr>
          <p:spPr>
            <a:xfrm>
              <a:off x="2807493" y="2308773"/>
              <a:ext cx="172621" cy="186777"/>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ea typeface="+mn-ea"/>
                <a:cs typeface="+mn-cs"/>
              </a:endParaRPr>
            </a:p>
          </p:txBody>
        </p:sp>
        <p:sp>
          <p:nvSpPr>
            <p:cNvPr id="221" name="Chevron 220"/>
            <p:cNvSpPr/>
            <p:nvPr/>
          </p:nvSpPr>
          <p:spPr>
            <a:xfrm>
              <a:off x="2697955" y="2308773"/>
              <a:ext cx="172621" cy="186777"/>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ea typeface="+mn-ea"/>
                <a:cs typeface="+mn-cs"/>
              </a:endParaRPr>
            </a:p>
          </p:txBody>
        </p:sp>
      </p:grpSp>
      <p:sp>
        <p:nvSpPr>
          <p:cNvPr id="222" name="Isosceles Triangle 221"/>
          <p:cNvSpPr/>
          <p:nvPr/>
        </p:nvSpPr>
        <p:spPr>
          <a:xfrm rot="16200000">
            <a:off x="1934087" y="3855445"/>
            <a:ext cx="399538" cy="177314"/>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175" name="AutoShape 389"/>
          <p:cNvSpPr>
            <a:spLocks noChangeArrowheads="1"/>
          </p:cNvSpPr>
          <p:nvPr/>
        </p:nvSpPr>
        <p:spPr bwMode="auto">
          <a:xfrm>
            <a:off x="5441939" y="1434720"/>
            <a:ext cx="2399764" cy="894410"/>
          </a:xfrm>
          <a:prstGeom prst="roundRect">
            <a:avLst>
              <a:gd name="adj" fmla="val 7014"/>
            </a:avLst>
          </a:prstGeom>
          <a:solidFill>
            <a:schemeClr val="bg2">
              <a:lumMod val="95000"/>
            </a:schemeClr>
          </a:solidFill>
          <a:ln w="19050">
            <a:solidFill>
              <a:schemeClr val="bg1"/>
            </a:solidFill>
            <a:headEnd/>
            <a:tailEnd/>
          </a:ln>
          <a:effectLst>
            <a:outerShdw blurRad="76200" dir="13500000" sy="23000" kx="1200000" algn="br" rotWithShape="0">
              <a:prstClr val="black">
                <a:alpha val="20000"/>
              </a:prstClr>
            </a:outerShdw>
          </a:effectLst>
        </p:spPr>
        <p:style>
          <a:lnRef idx="2">
            <a:schemeClr val="accent2"/>
          </a:lnRef>
          <a:fillRef idx="1">
            <a:schemeClr val="lt1"/>
          </a:fillRef>
          <a:effectRef idx="0">
            <a:schemeClr val="accent2"/>
          </a:effectRef>
          <a:fontRef idx="minor">
            <a:schemeClr val="dk1"/>
          </a:fontRef>
        </p:style>
        <p:txBody>
          <a:bodyPr wrap="square" lIns="45720" tIns="45720" rIns="45720" bIns="45720" anchor="t" anchorCtr="0">
            <a:no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altLang="ja-JP" sz="1200" b="1" i="0" u="none" strike="noStrike" kern="0" cap="none" spc="0" normalizeH="0" baseline="0" noProof="0">
                <a:ln>
                  <a:noFill/>
                </a:ln>
                <a:solidFill>
                  <a:srgbClr val="0066A1"/>
                </a:solidFill>
                <a:effectLst/>
                <a:uLnTx/>
                <a:uFillTx/>
                <a:ea typeface="+mn-ea"/>
                <a:cs typeface="+mn-cs"/>
              </a:rPr>
              <a:t>Functional/Batch Testing </a:t>
            </a:r>
            <a:endParaRPr kumimoji="0" lang="en-US" altLang="ja-JP" sz="900" b="0" i="1" u="none" strike="noStrike" kern="0" cap="none" spc="0" normalizeH="0" baseline="0" noProof="0">
              <a:ln>
                <a:noFill/>
              </a:ln>
              <a:solidFill>
                <a:srgbClr val="0066A1"/>
              </a:solidFill>
              <a:effectLst/>
              <a:uLnTx/>
              <a:uFillTx/>
              <a:ea typeface="+mn-ea"/>
              <a:cs typeface="Times New Roman" panose="02020603050405020304" pitchFamily="18" charset="0"/>
            </a:endParaRPr>
          </a:p>
          <a:p>
            <a:pPr marL="171446" marR="0" lvl="0" indent="-171446" algn="l" defTabSz="914400" rtl="0" eaLnBrk="0" fontAlgn="auto" latinLnBrk="0" hangingPunct="0">
              <a:lnSpc>
                <a:spcPct val="100000"/>
              </a:lnSpc>
              <a:spcBef>
                <a:spcPts val="0"/>
              </a:spcBef>
              <a:spcAft>
                <a:spcPts val="0"/>
              </a:spcAft>
              <a:buClrTx/>
              <a:buSzTx/>
              <a:buFont typeface="Wingdings" panose="05000000000000000000" pitchFamily="2" charset="2"/>
              <a:buChar char="§"/>
              <a:tabLst/>
              <a:defRPr/>
            </a:pPr>
            <a:r>
              <a:rPr kumimoji="0" lang="en-US" altLang="ja-JP" sz="900" b="0" i="1" u="none" strike="noStrike" kern="0" cap="none" spc="0" normalizeH="0" baseline="0" noProof="0">
                <a:ln>
                  <a:noFill/>
                </a:ln>
                <a:solidFill>
                  <a:srgbClr val="000000"/>
                </a:solidFill>
                <a:effectLst/>
                <a:uLnTx/>
                <a:uFillTx/>
                <a:ea typeface="+mn-ea"/>
                <a:cs typeface="Times New Roman" panose="02020603050405020304" pitchFamily="18" charset="0"/>
              </a:rPr>
              <a:t>Online Contributions, Investment information, Online reporting, Online withdrawals </a:t>
            </a:r>
          </a:p>
          <a:p>
            <a:pPr marL="171446" marR="0" lvl="0" indent="-171446" algn="l" defTabSz="914400" rtl="0" eaLnBrk="0" fontAlgn="auto" latinLnBrk="0" hangingPunct="0">
              <a:lnSpc>
                <a:spcPct val="100000"/>
              </a:lnSpc>
              <a:spcBef>
                <a:spcPts val="0"/>
              </a:spcBef>
              <a:spcAft>
                <a:spcPts val="0"/>
              </a:spcAft>
              <a:buClrTx/>
              <a:buSzTx/>
              <a:buFont typeface="Wingdings" panose="05000000000000000000" pitchFamily="2" charset="2"/>
              <a:buChar char="§"/>
              <a:tabLst/>
              <a:defRPr/>
            </a:pPr>
            <a:endParaRPr kumimoji="0" lang="en-US" altLang="ja-JP" sz="900" b="0" i="1" u="none" strike="noStrike" kern="0" cap="none" spc="0" normalizeH="0" baseline="0" noProof="0">
              <a:ln>
                <a:noFill/>
              </a:ln>
              <a:solidFill>
                <a:srgbClr val="000000"/>
              </a:solidFill>
              <a:effectLst/>
              <a:uLnTx/>
              <a:uFillTx/>
              <a:ea typeface="+mn-ea"/>
              <a:cs typeface="Times New Roman" panose="02020603050405020304" pitchFamily="18" charset="0"/>
            </a:endParaRPr>
          </a:p>
          <a:p>
            <a:pPr marL="114297" marR="0" lvl="0" indent="-114297" algn="l" defTabSz="914400" rtl="0" eaLnBrk="0" fontAlgn="auto" latinLnBrk="0" hangingPunct="0">
              <a:lnSpc>
                <a:spcPct val="100000"/>
              </a:lnSpc>
              <a:spcBef>
                <a:spcPts val="0"/>
              </a:spcBef>
              <a:spcAft>
                <a:spcPts val="0"/>
              </a:spcAft>
              <a:buClrTx/>
              <a:buSzTx/>
              <a:buFont typeface="Wingdings" panose="05000000000000000000" pitchFamily="2" charset="2"/>
              <a:buChar char="§"/>
              <a:tabLst/>
              <a:defRPr/>
            </a:pPr>
            <a:endParaRPr kumimoji="0" lang="en-US" altLang="ja-JP" sz="900" b="0" i="1" u="none" strike="noStrike" kern="0" cap="none" spc="0" normalizeH="0" baseline="0" noProof="0">
              <a:ln>
                <a:noFill/>
              </a:ln>
              <a:solidFill>
                <a:srgbClr val="000000"/>
              </a:solidFill>
              <a:effectLst/>
              <a:uLnTx/>
              <a:uFillTx/>
              <a:ea typeface="+mn-ea"/>
              <a:cs typeface="Times New Roman" panose="02020603050405020304" pitchFamily="18" charset="0"/>
            </a:endParaRPr>
          </a:p>
        </p:txBody>
      </p:sp>
      <p:sp>
        <p:nvSpPr>
          <p:cNvPr id="123" name="Rounded Rectangle 122"/>
          <p:cNvSpPr/>
          <p:nvPr/>
        </p:nvSpPr>
        <p:spPr>
          <a:xfrm>
            <a:off x="3091111" y="2825694"/>
            <a:ext cx="3721466" cy="889322"/>
          </a:xfrm>
          <a:prstGeom prst="roundRect">
            <a:avLst>
              <a:gd name="adj" fmla="val 7834"/>
            </a:avLst>
          </a:prstGeom>
          <a:solidFill>
            <a:schemeClr val="bg2">
              <a:lumMod val="95000"/>
            </a:schemeClr>
          </a:solidFill>
          <a:ln w="19050">
            <a:solidFill>
              <a:schemeClr val="bg1"/>
            </a:solidFill>
          </a:ln>
          <a:effectLst>
            <a:outerShdw blurRad="76200" dir="13500000" sy="23000" kx="1200000" algn="br" rotWithShape="0">
              <a:prstClr val="black">
                <a:alpha val="20000"/>
              </a:prstClr>
            </a:outerShdw>
          </a:effectLst>
        </p:spPr>
        <p:style>
          <a:lnRef idx="2">
            <a:schemeClr val="accent1"/>
          </a:lnRef>
          <a:fillRef idx="1">
            <a:schemeClr val="lt1"/>
          </a:fillRef>
          <a:effectRef idx="0">
            <a:schemeClr val="accent1"/>
          </a:effectRef>
          <a:fontRef idx="minor">
            <a:schemeClr val="dk1"/>
          </a:fontRef>
        </p:style>
        <p:txBody>
          <a:bodyPr wrap="square" lIns="45720" tIns="45720" rIns="45720" bIns="45720" anchor="t" anchorCtr="0">
            <a:no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66A1"/>
                </a:solidFill>
                <a:effectLst/>
                <a:uLnTx/>
                <a:uFillTx/>
                <a:ea typeface="+mn-ea"/>
                <a:cs typeface="+mn-cs"/>
              </a:rPr>
              <a:t>Test Data Management (TDM)</a:t>
            </a:r>
          </a:p>
          <a:p>
            <a:pPr marL="723882" marR="0" lvl="2" indent="-114297" algn="l" defTabSz="914400" rtl="0" eaLnBrk="0" fontAlgn="auto" latinLnBrk="0" hangingPunct="0">
              <a:lnSpc>
                <a:spcPct val="100000"/>
              </a:lnSpc>
              <a:spcBef>
                <a:spcPts val="0"/>
              </a:spcBef>
              <a:spcAft>
                <a:spcPts val="0"/>
              </a:spcAft>
              <a:buClrTx/>
              <a:buSzTx/>
              <a:buFont typeface="Wingdings" panose="05000000000000000000" pitchFamily="2" charset="2"/>
              <a:buChar char="§"/>
              <a:tabLst/>
              <a:defRPr/>
            </a:pPr>
            <a:r>
              <a:rPr kumimoji="0" lang="en-US" altLang="ja-JP" sz="930" b="0" i="1" u="none" strike="noStrike" kern="0" cap="none" spc="0" normalizeH="0" baseline="0" noProof="0">
                <a:ln>
                  <a:noFill/>
                </a:ln>
                <a:solidFill>
                  <a:srgbClr val="000000"/>
                </a:solidFill>
                <a:effectLst/>
                <a:uLnTx/>
                <a:uFillTx/>
                <a:ea typeface="+mn-ea"/>
                <a:cs typeface="Times New Roman" panose="02020603050405020304" pitchFamily="18" charset="0"/>
              </a:rPr>
              <a:t>Identify Test Data Requirement for scenarios</a:t>
            </a:r>
          </a:p>
          <a:p>
            <a:pPr marL="723882" marR="0" lvl="2" indent="-114297" algn="l" defTabSz="914400" rtl="0" eaLnBrk="0" fontAlgn="auto" latinLnBrk="0" hangingPunct="0">
              <a:lnSpc>
                <a:spcPct val="100000"/>
              </a:lnSpc>
              <a:spcBef>
                <a:spcPts val="0"/>
              </a:spcBef>
              <a:spcAft>
                <a:spcPts val="0"/>
              </a:spcAft>
              <a:buClrTx/>
              <a:buSzTx/>
              <a:buFont typeface="Wingdings" panose="05000000000000000000" pitchFamily="2" charset="2"/>
              <a:buChar char="§"/>
              <a:tabLst/>
              <a:defRPr/>
            </a:pPr>
            <a:r>
              <a:rPr kumimoji="0" lang="en-US" altLang="ja-JP" sz="930" b="0" i="1" u="none" strike="noStrike" kern="0" cap="none" spc="0" normalizeH="0" baseline="0" noProof="0">
                <a:ln>
                  <a:noFill/>
                </a:ln>
                <a:solidFill>
                  <a:srgbClr val="000000"/>
                </a:solidFill>
                <a:effectLst/>
                <a:uLnTx/>
                <a:uFillTx/>
                <a:ea typeface="+mn-ea"/>
                <a:cs typeface="Times New Roman" panose="02020603050405020304" pitchFamily="18" charset="0"/>
              </a:rPr>
              <a:t>Selenium &amp; excel based macros for test data generation</a:t>
            </a:r>
          </a:p>
          <a:p>
            <a:pPr marL="114297" marR="0" lvl="0" indent="-114297" algn="l" defTabSz="914400" rtl="0" eaLnBrk="0" fontAlgn="auto" latinLnBrk="0" hangingPunct="0">
              <a:lnSpc>
                <a:spcPct val="100000"/>
              </a:lnSpc>
              <a:spcBef>
                <a:spcPts val="0"/>
              </a:spcBef>
              <a:spcAft>
                <a:spcPts val="0"/>
              </a:spcAft>
              <a:buClrTx/>
              <a:buSzTx/>
              <a:buFont typeface="Wingdings" panose="05000000000000000000" pitchFamily="2" charset="2"/>
              <a:buChar char="§"/>
              <a:tabLst/>
              <a:defRPr/>
            </a:pPr>
            <a:endParaRPr kumimoji="0" lang="en-US" altLang="ja-JP" sz="900" b="0" i="1" u="none" strike="noStrike" kern="0" cap="none" spc="0" normalizeH="0" baseline="0" noProof="0">
              <a:ln>
                <a:noFill/>
              </a:ln>
              <a:solidFill>
                <a:srgbClr val="000000"/>
              </a:solidFill>
              <a:effectLst/>
              <a:uLnTx/>
              <a:uFillTx/>
              <a:ea typeface="+mn-ea"/>
              <a:cs typeface="Times New Roman" panose="02020603050405020304" pitchFamily="18" charset="0"/>
            </a:endParaRPr>
          </a:p>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altLang="ja-JP" sz="900" b="0" i="1" u="none" strike="noStrike" kern="0" cap="none" spc="0" normalizeH="0" baseline="0" noProof="0">
              <a:ln>
                <a:noFill/>
              </a:ln>
              <a:solidFill>
                <a:srgbClr val="000000"/>
              </a:solidFill>
              <a:effectLst/>
              <a:uLnTx/>
              <a:uFillTx/>
              <a:ea typeface="+mn-ea"/>
              <a:cs typeface="Times New Roman" panose="02020603050405020304" pitchFamily="18" charset="0"/>
            </a:endParaRPr>
          </a:p>
        </p:txBody>
      </p:sp>
      <p:sp>
        <p:nvSpPr>
          <p:cNvPr id="124" name="Oval 123"/>
          <p:cNvSpPr/>
          <p:nvPr/>
        </p:nvSpPr>
        <p:spPr>
          <a:xfrm>
            <a:off x="6062805" y="2411518"/>
            <a:ext cx="359040" cy="359040"/>
          </a:xfrm>
          <a:prstGeom prst="ellipse">
            <a:avLst/>
          </a:prstGeom>
          <a:solidFill>
            <a:schemeClr val="bg1">
              <a:lumMod val="95000"/>
            </a:schemeClr>
          </a:solidFill>
          <a:ln>
            <a:solidFill>
              <a:schemeClr val="accent2"/>
            </a:solidFill>
          </a:ln>
          <a:effectLst>
            <a:glow rad="101600">
              <a:schemeClr val="bg1">
                <a:alpha val="6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66A1"/>
                </a:solidFill>
                <a:effectLst/>
                <a:uLnTx/>
                <a:uFillTx/>
                <a:ea typeface="+mn-ea"/>
                <a:cs typeface="+mn-cs"/>
              </a:rPr>
              <a:t>2</a:t>
            </a:r>
          </a:p>
        </p:txBody>
      </p:sp>
      <p:sp>
        <p:nvSpPr>
          <p:cNvPr id="128" name="Oval 127"/>
          <p:cNvSpPr/>
          <p:nvPr/>
        </p:nvSpPr>
        <p:spPr>
          <a:xfrm>
            <a:off x="9249496" y="2356078"/>
            <a:ext cx="359040" cy="359040"/>
          </a:xfrm>
          <a:prstGeom prst="ellipse">
            <a:avLst/>
          </a:prstGeom>
          <a:solidFill>
            <a:schemeClr val="bg1">
              <a:lumMod val="95000"/>
            </a:schemeClr>
          </a:solidFill>
          <a:ln>
            <a:solidFill>
              <a:schemeClr val="accent2"/>
            </a:solidFill>
          </a:ln>
          <a:effectLst>
            <a:glow rad="101600">
              <a:schemeClr val="bg1">
                <a:alpha val="6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66A1"/>
                </a:solidFill>
                <a:effectLst/>
                <a:uLnTx/>
                <a:uFillTx/>
                <a:ea typeface="+mn-ea"/>
                <a:cs typeface="+mn-cs"/>
              </a:rPr>
              <a:t>3</a:t>
            </a:r>
          </a:p>
        </p:txBody>
      </p:sp>
      <p:sp>
        <p:nvSpPr>
          <p:cNvPr id="129" name="AutoShape 389"/>
          <p:cNvSpPr>
            <a:spLocks noChangeArrowheads="1"/>
          </p:cNvSpPr>
          <p:nvPr/>
        </p:nvSpPr>
        <p:spPr bwMode="auto">
          <a:xfrm>
            <a:off x="2498876" y="1459893"/>
            <a:ext cx="2851724" cy="874931"/>
          </a:xfrm>
          <a:prstGeom prst="roundRect">
            <a:avLst>
              <a:gd name="adj" fmla="val 7014"/>
            </a:avLst>
          </a:prstGeom>
          <a:solidFill>
            <a:schemeClr val="bg2">
              <a:lumMod val="95000"/>
            </a:schemeClr>
          </a:solidFill>
          <a:ln w="19050">
            <a:solidFill>
              <a:schemeClr val="bg1"/>
            </a:solidFill>
            <a:headEnd/>
            <a:tailEnd/>
          </a:ln>
          <a:effectLst>
            <a:outerShdw blurRad="76200" dir="13500000" sy="23000" kx="1200000" algn="br" rotWithShape="0">
              <a:prstClr val="black">
                <a:alpha val="20000"/>
              </a:prstClr>
            </a:outerShdw>
          </a:effectLst>
        </p:spPr>
        <p:style>
          <a:lnRef idx="2">
            <a:schemeClr val="accent2"/>
          </a:lnRef>
          <a:fillRef idx="1">
            <a:schemeClr val="lt1"/>
          </a:fillRef>
          <a:effectRef idx="0">
            <a:schemeClr val="accent2"/>
          </a:effectRef>
          <a:fontRef idx="minor">
            <a:schemeClr val="dk1"/>
          </a:fontRef>
        </p:style>
        <p:txBody>
          <a:bodyPr wrap="square" lIns="45720" tIns="45720" rIns="45720" bIns="45720" anchor="t" anchorCtr="0">
            <a:no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altLang="ja-JP" sz="1200" b="1" i="0" u="none" strike="noStrike" kern="0" cap="none" spc="0" normalizeH="0" baseline="0" noProof="0">
                <a:ln>
                  <a:noFill/>
                </a:ln>
                <a:solidFill>
                  <a:srgbClr val="0066A1"/>
                </a:solidFill>
                <a:effectLst/>
                <a:uLnTx/>
                <a:uFillTx/>
                <a:ea typeface="+mn-ea"/>
                <a:cs typeface="+mn-cs"/>
              </a:rPr>
              <a:t>Parallel/Baseline test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66A1"/>
                </a:solidFill>
                <a:effectLst/>
                <a:uLnTx/>
                <a:uFillTx/>
                <a:ea typeface="+mn-ea"/>
                <a:cs typeface="Arial" charset="0"/>
              </a:rPr>
              <a:t>based on </a:t>
            </a:r>
            <a:r>
              <a:rPr lang="en-US" sz="900" b="1">
                <a:solidFill>
                  <a:srgbClr val="0066A1"/>
                </a:solidFill>
                <a:cs typeface="Arial" charset="0"/>
              </a:rPr>
              <a:t>SLX Functionalities</a:t>
            </a:r>
            <a:endParaRPr kumimoji="0" lang="en-US" sz="900" b="1" i="0" u="none" strike="noStrike" kern="1200" cap="none" spc="0" normalizeH="0" baseline="0" noProof="0">
              <a:ln>
                <a:noFill/>
              </a:ln>
              <a:solidFill>
                <a:srgbClr val="0066A1"/>
              </a:solidFill>
              <a:effectLst/>
              <a:uLnTx/>
              <a:uFillTx/>
              <a:ea typeface="+mn-ea"/>
              <a:cs typeface="Arial" charset="0"/>
            </a:endParaRPr>
          </a:p>
          <a:p>
            <a:pPr marL="128585" marR="0" lvl="0" indent="-128585"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
              <a:tabLst/>
              <a:defRPr/>
            </a:pPr>
            <a:r>
              <a:rPr kumimoji="0" lang="en-US" sz="930" i="1" u="none" strike="noStrike" kern="1200" cap="none" spc="0" normalizeH="0" baseline="0" noProof="0">
                <a:ln>
                  <a:noFill/>
                </a:ln>
                <a:solidFill>
                  <a:srgbClr val="000000"/>
                </a:solidFill>
                <a:effectLst/>
                <a:uLnTx/>
                <a:uFillTx/>
                <a:ea typeface="+mn-ea"/>
                <a:cs typeface="Arial" charset="0"/>
              </a:rPr>
              <a:t>Policy Plan, </a:t>
            </a:r>
            <a:r>
              <a:rPr lang="en-US" sz="930" i="1">
                <a:solidFill>
                  <a:srgbClr val="000000"/>
                </a:solidFill>
                <a:cs typeface="Arial" charset="0"/>
              </a:rPr>
              <a:t>Member info, </a:t>
            </a:r>
            <a:r>
              <a:rPr kumimoji="0" lang="en-US" sz="930" i="1" u="none" strike="noStrike" kern="1200" cap="none" spc="0" normalizeH="0" baseline="0" noProof="0">
                <a:ln>
                  <a:noFill/>
                </a:ln>
                <a:solidFill>
                  <a:srgbClr val="000000"/>
                </a:solidFill>
                <a:effectLst/>
                <a:uLnTx/>
                <a:uFillTx/>
                <a:ea typeface="+mn-ea"/>
                <a:cs typeface="Arial" charset="0"/>
              </a:rPr>
              <a:t>Fund Investment</a:t>
            </a:r>
            <a:endParaRPr kumimoji="0" lang="en-US" sz="930" i="0" u="none" strike="noStrike" kern="1200" cap="none" spc="0" normalizeH="0" baseline="0" noProof="0">
              <a:ln>
                <a:noFill/>
              </a:ln>
              <a:solidFill>
                <a:srgbClr val="F26E01"/>
              </a:solidFill>
              <a:effectLst/>
              <a:uLnTx/>
              <a:uFillTx/>
              <a:ea typeface="+mn-ea"/>
              <a:cs typeface="Arial" charset="0"/>
            </a:endParaRPr>
          </a:p>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altLang="ja-JP" sz="900" b="0" i="1" u="none" strike="noStrike" kern="0" cap="none" spc="0" normalizeH="0" baseline="0" noProof="0">
              <a:ln>
                <a:noFill/>
              </a:ln>
              <a:solidFill>
                <a:srgbClr val="0066A1"/>
              </a:solidFill>
              <a:effectLst/>
              <a:uLnTx/>
              <a:uFillTx/>
              <a:ea typeface="+mn-ea"/>
              <a:cs typeface="Times New Roman" panose="02020603050405020304" pitchFamily="18" charset="0"/>
            </a:endParaRPr>
          </a:p>
          <a:p>
            <a:pPr marL="171446" marR="0" lvl="0" indent="-171446" algn="l" defTabSz="914400" rtl="0" eaLnBrk="0" fontAlgn="auto" latinLnBrk="0" hangingPunct="0">
              <a:lnSpc>
                <a:spcPct val="100000"/>
              </a:lnSpc>
              <a:spcBef>
                <a:spcPts val="0"/>
              </a:spcBef>
              <a:spcAft>
                <a:spcPts val="0"/>
              </a:spcAft>
              <a:buClrTx/>
              <a:buSzTx/>
              <a:buFont typeface="Wingdings" panose="05000000000000000000" pitchFamily="2" charset="2"/>
              <a:buChar char="§"/>
              <a:tabLst/>
              <a:defRPr/>
            </a:pPr>
            <a:endParaRPr kumimoji="0" lang="en-US" altLang="ja-JP" sz="900" b="0" i="1" u="none" strike="noStrike" kern="0" cap="none" spc="0" normalizeH="0" baseline="0" noProof="0">
              <a:ln>
                <a:noFill/>
              </a:ln>
              <a:solidFill>
                <a:srgbClr val="000000"/>
              </a:solidFill>
              <a:effectLst/>
              <a:uLnTx/>
              <a:uFillTx/>
              <a:ea typeface="+mn-ea"/>
              <a:cs typeface="Times New Roman" panose="02020603050405020304" pitchFamily="18" charset="0"/>
            </a:endParaRPr>
          </a:p>
        </p:txBody>
      </p:sp>
      <p:sp>
        <p:nvSpPr>
          <p:cNvPr id="192" name="Rounded Rectangle 191"/>
          <p:cNvSpPr/>
          <p:nvPr/>
        </p:nvSpPr>
        <p:spPr>
          <a:xfrm>
            <a:off x="8211130" y="4161710"/>
            <a:ext cx="2542225" cy="1207754"/>
          </a:xfrm>
          <a:prstGeom prst="roundRect">
            <a:avLst>
              <a:gd name="adj" fmla="val 7834"/>
            </a:avLst>
          </a:prstGeom>
          <a:solidFill>
            <a:schemeClr val="bg2">
              <a:lumMod val="95000"/>
            </a:schemeClr>
          </a:solidFill>
          <a:ln w="19050">
            <a:solidFill>
              <a:schemeClr val="bg1"/>
            </a:solidFill>
          </a:ln>
          <a:effectLst>
            <a:outerShdw blurRad="76200" dir="13500000" sy="23000" kx="1200000" algn="br" rotWithShape="0">
              <a:prstClr val="black">
                <a:alpha val="20000"/>
              </a:prstClr>
            </a:outerShdw>
          </a:effectLst>
        </p:spPr>
        <p:style>
          <a:lnRef idx="2">
            <a:schemeClr val="accent1"/>
          </a:lnRef>
          <a:fillRef idx="1">
            <a:schemeClr val="lt1"/>
          </a:fillRef>
          <a:effectRef idx="0">
            <a:schemeClr val="accent1"/>
          </a:effectRef>
          <a:fontRef idx="minor">
            <a:schemeClr val="dk1"/>
          </a:fontRef>
        </p:style>
        <p:txBody>
          <a:bodyPr wrap="square" lIns="45720" tIns="45720" rIns="45720" bIns="45720" anchor="t" anchorCtr="0">
            <a:no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66A1"/>
                </a:solidFill>
                <a:effectLst/>
                <a:uLnTx/>
                <a:uFillTx/>
                <a:ea typeface="+mn-ea"/>
                <a:cs typeface="+mn-cs"/>
              </a:rPr>
              <a:t>End to End Integration Testing</a:t>
            </a:r>
          </a:p>
          <a:p>
            <a:pPr marL="114297" marR="0" lvl="0" indent="-114297" algn="l" defTabSz="914400" rtl="0" eaLnBrk="0" fontAlgn="auto" latinLnBrk="0" hangingPunct="0">
              <a:lnSpc>
                <a:spcPct val="100000"/>
              </a:lnSpc>
              <a:spcBef>
                <a:spcPts val="0"/>
              </a:spcBef>
              <a:spcAft>
                <a:spcPts val="0"/>
              </a:spcAft>
              <a:buClrTx/>
              <a:buSzTx/>
              <a:buFont typeface="Wingdings" panose="05000000000000000000" pitchFamily="2" charset="2"/>
              <a:buChar char="§"/>
              <a:tabLst/>
              <a:defRPr/>
            </a:pPr>
            <a:r>
              <a:rPr kumimoji="0" lang="en-US" altLang="ja-JP" sz="930" b="0" i="1" u="none" strike="noStrike" kern="0" cap="none" spc="0" normalizeH="0" baseline="0" noProof="0">
                <a:ln>
                  <a:noFill/>
                </a:ln>
                <a:solidFill>
                  <a:srgbClr val="000000"/>
                </a:solidFill>
                <a:effectLst/>
                <a:uLnTx/>
                <a:uFillTx/>
                <a:ea typeface="+mn-ea"/>
                <a:cs typeface="Times New Roman" panose="02020603050405020304" pitchFamily="18" charset="0"/>
              </a:rPr>
              <a:t>Upstream/Downstream Applications integrating with MPS</a:t>
            </a:r>
          </a:p>
          <a:p>
            <a:pPr marL="114297" marR="0" lvl="0" indent="-114297" algn="l" defTabSz="914400" rtl="0" eaLnBrk="0" fontAlgn="auto" latinLnBrk="0" hangingPunct="0">
              <a:lnSpc>
                <a:spcPct val="100000"/>
              </a:lnSpc>
              <a:spcBef>
                <a:spcPts val="0"/>
              </a:spcBef>
              <a:spcAft>
                <a:spcPts val="0"/>
              </a:spcAft>
              <a:buClrTx/>
              <a:buSzTx/>
              <a:buFont typeface="Wingdings" panose="05000000000000000000" pitchFamily="2" charset="2"/>
              <a:buChar char="§"/>
              <a:tabLst/>
              <a:defRPr/>
            </a:pPr>
            <a:r>
              <a:rPr kumimoji="0" lang="en-US" altLang="ja-JP" sz="930" b="0" i="1" u="none" strike="noStrike" kern="0" cap="none" spc="0" normalizeH="0" baseline="0" noProof="0">
                <a:ln>
                  <a:noFill/>
                </a:ln>
                <a:solidFill>
                  <a:srgbClr val="000000"/>
                </a:solidFill>
                <a:effectLst/>
                <a:uLnTx/>
                <a:uFillTx/>
                <a:ea typeface="+mn-ea"/>
                <a:cs typeface="Times New Roman" panose="02020603050405020304" pitchFamily="18" charset="0"/>
              </a:rPr>
              <a:t>Third-party/Vendor Application extracts</a:t>
            </a:r>
          </a:p>
        </p:txBody>
      </p:sp>
      <p:sp>
        <p:nvSpPr>
          <p:cNvPr id="193" name="Rounded Rectangle 192"/>
          <p:cNvSpPr/>
          <p:nvPr/>
        </p:nvSpPr>
        <p:spPr>
          <a:xfrm>
            <a:off x="5047190" y="4155335"/>
            <a:ext cx="2626462" cy="858461"/>
          </a:xfrm>
          <a:prstGeom prst="roundRect">
            <a:avLst>
              <a:gd name="adj" fmla="val 7834"/>
            </a:avLst>
          </a:prstGeom>
          <a:solidFill>
            <a:schemeClr val="bg2">
              <a:lumMod val="95000"/>
            </a:schemeClr>
          </a:solidFill>
          <a:ln w="19050">
            <a:solidFill>
              <a:schemeClr val="bg1"/>
            </a:solidFill>
          </a:ln>
          <a:effectLst>
            <a:outerShdw blurRad="76200" dir="13500000" sy="23000" kx="1200000" algn="br" rotWithShape="0">
              <a:prstClr val="black">
                <a:alpha val="20000"/>
              </a:prstClr>
            </a:outerShdw>
          </a:effectLst>
        </p:spPr>
        <p:style>
          <a:lnRef idx="2">
            <a:schemeClr val="accent1"/>
          </a:lnRef>
          <a:fillRef idx="1">
            <a:schemeClr val="lt1"/>
          </a:fillRef>
          <a:effectRef idx="0">
            <a:schemeClr val="accent1"/>
          </a:effectRef>
          <a:fontRef idx="minor">
            <a:schemeClr val="dk1"/>
          </a:fontRef>
        </p:style>
        <p:txBody>
          <a:bodyPr wrap="square" lIns="45720" tIns="45720" rIns="45720" bIns="45720" anchor="t" anchorCtr="0">
            <a:no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66A1"/>
                </a:solidFill>
                <a:effectLst/>
                <a:uLnTx/>
                <a:uFillTx/>
                <a:ea typeface="+mn-ea"/>
                <a:cs typeface="+mn-cs"/>
              </a:rPr>
              <a:t>Regression Testing</a:t>
            </a:r>
          </a:p>
          <a:p>
            <a:pPr marL="128585" marR="0" lvl="0" indent="-128585"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
              <a:tabLst/>
              <a:defRPr/>
            </a:pPr>
            <a:r>
              <a:rPr lang="en-US" sz="933" i="1">
                <a:solidFill>
                  <a:srgbClr val="000000"/>
                </a:solidFill>
              </a:rPr>
              <a:t>Existing other MPS test scenarios based on impact</a:t>
            </a:r>
            <a:endParaRPr kumimoji="0" lang="en-US" sz="933" b="0" i="1" u="none" strike="noStrike" kern="1200" cap="none" spc="0" normalizeH="0" baseline="0" noProof="0">
              <a:ln>
                <a:noFill/>
              </a:ln>
              <a:solidFill>
                <a:srgbClr val="000000"/>
              </a:solidFill>
              <a:effectLst/>
              <a:uLnTx/>
              <a:uFillTx/>
              <a:ea typeface="+mn-ea"/>
              <a:cs typeface="+mn-cs"/>
            </a:endParaRPr>
          </a:p>
          <a:p>
            <a:pPr marL="128585" marR="0" lvl="0" indent="-128585"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
              <a:tabLst/>
              <a:defRPr/>
            </a:pPr>
            <a:r>
              <a:rPr lang="en-US" sz="933" i="1">
                <a:solidFill>
                  <a:srgbClr val="000000"/>
                </a:solidFill>
              </a:rPr>
              <a:t>New MPS features &amp; enhancements test cases based on frequency </a:t>
            </a:r>
            <a:endParaRPr kumimoji="0" lang="en-US" sz="933" b="1" i="0" u="none" strike="noStrike" kern="1200" cap="none" spc="0" normalizeH="0" baseline="0" noProof="0">
              <a:ln>
                <a:noFill/>
              </a:ln>
              <a:solidFill>
                <a:srgbClr val="F26E01"/>
              </a:solidFill>
              <a:effectLst/>
              <a:uLnTx/>
              <a:uFillTx/>
              <a:ea typeface="+mn-ea"/>
              <a:cs typeface="Arial" charset="0"/>
            </a:endParaRPr>
          </a:p>
        </p:txBody>
      </p:sp>
      <p:sp>
        <p:nvSpPr>
          <p:cNvPr id="194" name="Rounded Rectangle 193"/>
          <p:cNvSpPr/>
          <p:nvPr/>
        </p:nvSpPr>
        <p:spPr>
          <a:xfrm>
            <a:off x="2098261" y="4182724"/>
            <a:ext cx="2551314" cy="1156058"/>
          </a:xfrm>
          <a:prstGeom prst="roundRect">
            <a:avLst>
              <a:gd name="adj" fmla="val 7834"/>
            </a:avLst>
          </a:prstGeom>
          <a:solidFill>
            <a:schemeClr val="bg2">
              <a:lumMod val="95000"/>
            </a:schemeClr>
          </a:solidFill>
          <a:ln w="19050">
            <a:solidFill>
              <a:schemeClr val="bg1"/>
            </a:solidFill>
          </a:ln>
          <a:effectLst>
            <a:outerShdw blurRad="76200" dir="13500000" sy="23000" kx="1200000" algn="br" rotWithShape="0">
              <a:prstClr val="black">
                <a:alpha val="20000"/>
              </a:prstClr>
            </a:outerShdw>
          </a:effectLst>
        </p:spPr>
        <p:style>
          <a:lnRef idx="2">
            <a:schemeClr val="accent1"/>
          </a:lnRef>
          <a:fillRef idx="1">
            <a:schemeClr val="lt1"/>
          </a:fillRef>
          <a:effectRef idx="0">
            <a:schemeClr val="accent1"/>
          </a:effectRef>
          <a:fontRef idx="minor">
            <a:schemeClr val="dk1"/>
          </a:fontRef>
        </p:style>
        <p:txBody>
          <a:bodyPr wrap="square" lIns="45720" tIns="45720" rIns="45720" bIns="45720" anchor="t" anchorCtr="0">
            <a:noAutofit/>
          </a:bodyPr>
          <a:lstStyle/>
          <a:p>
            <a:pPr eaLnBrk="0" hangingPunct="0">
              <a:defRPr/>
            </a:pPr>
            <a:r>
              <a:rPr lang="en-US" sz="1200" b="1">
                <a:solidFill>
                  <a:srgbClr val="0066A1"/>
                </a:solidFill>
              </a:rPr>
              <a:t>Acceptance Testing (support)</a:t>
            </a:r>
          </a:p>
          <a:p>
            <a:pPr marL="114297" marR="0" lvl="0" indent="-114297" algn="l" defTabSz="914400" rtl="0" eaLnBrk="0" fontAlgn="auto" latinLnBrk="0" hangingPunct="0">
              <a:lnSpc>
                <a:spcPct val="100000"/>
              </a:lnSpc>
              <a:spcBef>
                <a:spcPts val="0"/>
              </a:spcBef>
              <a:spcAft>
                <a:spcPts val="0"/>
              </a:spcAft>
              <a:buClrTx/>
              <a:buSzTx/>
              <a:buFont typeface="Wingdings" panose="05000000000000000000" pitchFamily="2" charset="2"/>
              <a:buChar char="§"/>
              <a:tabLst/>
              <a:defRPr/>
            </a:pPr>
            <a:r>
              <a:rPr kumimoji="0" lang="en-US" altLang="ja-JP" sz="930" b="0" i="1" u="none" strike="noStrike" kern="0" cap="none" spc="0" normalizeH="0" baseline="0" noProof="0">
                <a:ln>
                  <a:noFill/>
                </a:ln>
                <a:solidFill>
                  <a:srgbClr val="000000"/>
                </a:solidFill>
                <a:effectLst/>
                <a:uLnTx/>
                <a:uFillTx/>
                <a:ea typeface="+mn-ea"/>
                <a:cs typeface="Times New Roman" panose="02020603050405020304" pitchFamily="18" charset="0"/>
              </a:rPr>
              <a:t> Plan and validate business scenarios </a:t>
            </a:r>
          </a:p>
          <a:p>
            <a:pPr marL="114297" marR="0" lvl="0" indent="-114297" algn="l" defTabSz="914400" rtl="0" eaLnBrk="0" fontAlgn="auto" latinLnBrk="0" hangingPunct="0">
              <a:lnSpc>
                <a:spcPct val="100000"/>
              </a:lnSpc>
              <a:spcBef>
                <a:spcPts val="0"/>
              </a:spcBef>
              <a:spcAft>
                <a:spcPts val="0"/>
              </a:spcAft>
              <a:buClrTx/>
              <a:buSzTx/>
              <a:buFont typeface="Wingdings" panose="05000000000000000000" pitchFamily="2" charset="2"/>
              <a:buChar char="§"/>
              <a:tabLst/>
              <a:defRPr/>
            </a:pPr>
            <a:r>
              <a:rPr kumimoji="0" lang="en-US" altLang="ja-JP" sz="930" b="0" i="1" u="none" strike="noStrike" kern="0" cap="none" spc="0" normalizeH="0" baseline="0" noProof="0">
                <a:ln>
                  <a:noFill/>
                </a:ln>
                <a:solidFill>
                  <a:srgbClr val="000000"/>
                </a:solidFill>
                <a:effectLst/>
                <a:uLnTx/>
                <a:uFillTx/>
                <a:ea typeface="+mn-ea"/>
                <a:cs typeface="Times New Roman" panose="02020603050405020304" pitchFamily="18" charset="0"/>
              </a:rPr>
              <a:t>Test Data Support</a:t>
            </a:r>
          </a:p>
          <a:p>
            <a:pPr marL="114297" marR="0" lvl="0" indent="-114297" algn="l" defTabSz="914400" rtl="0" eaLnBrk="0" fontAlgn="auto" latinLnBrk="0" hangingPunct="0">
              <a:lnSpc>
                <a:spcPct val="100000"/>
              </a:lnSpc>
              <a:spcBef>
                <a:spcPts val="0"/>
              </a:spcBef>
              <a:spcAft>
                <a:spcPts val="0"/>
              </a:spcAft>
              <a:buClrTx/>
              <a:buSzTx/>
              <a:buFont typeface="Wingdings" panose="05000000000000000000" pitchFamily="2" charset="2"/>
              <a:buChar char="§"/>
              <a:tabLst/>
              <a:defRPr/>
            </a:pPr>
            <a:r>
              <a:rPr kumimoji="0" lang="en-US" altLang="ja-JP" sz="930" b="0" i="1" u="none" strike="noStrike" kern="0" cap="none" spc="0" normalizeH="0" baseline="0" noProof="0">
                <a:ln>
                  <a:noFill/>
                </a:ln>
                <a:solidFill>
                  <a:srgbClr val="000000"/>
                </a:solidFill>
                <a:effectLst/>
                <a:uLnTx/>
                <a:uFillTx/>
                <a:ea typeface="+mn-ea"/>
                <a:cs typeface="Times New Roman" panose="02020603050405020304" pitchFamily="18" charset="0"/>
              </a:rPr>
              <a:t>Business user agrees and certifies</a:t>
            </a:r>
          </a:p>
        </p:txBody>
      </p:sp>
      <p:sp>
        <p:nvSpPr>
          <p:cNvPr id="106" name="Rectangle 105">
            <a:extLst>
              <a:ext uri="{FF2B5EF4-FFF2-40B4-BE49-F238E27FC236}">
                <a16:creationId xmlns:a16="http://schemas.microsoft.com/office/drawing/2014/main" id="{5C9FC6E2-1A06-4497-85BD-4A4847D7B3C0}"/>
              </a:ext>
            </a:extLst>
          </p:cNvPr>
          <p:cNvSpPr/>
          <p:nvPr/>
        </p:nvSpPr>
        <p:spPr>
          <a:xfrm>
            <a:off x="536055" y="2425629"/>
            <a:ext cx="1309406" cy="350461"/>
          </a:xfrm>
          <a:prstGeom prst="rect">
            <a:avLst/>
          </a:prstGeom>
          <a:solidFill>
            <a:schemeClr val="tx2">
              <a:lumMod val="10000"/>
              <a:lumOff val="90000"/>
            </a:schemeClr>
          </a:solidFill>
          <a:ln w="952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ea typeface="+mn-ea"/>
                <a:cs typeface="+mn-cs"/>
              </a:rPr>
              <a:t>New Implementation</a:t>
            </a:r>
          </a:p>
        </p:txBody>
      </p:sp>
      <p:sp>
        <p:nvSpPr>
          <p:cNvPr id="107" name="Text Box 387">
            <a:extLst>
              <a:ext uri="{FF2B5EF4-FFF2-40B4-BE49-F238E27FC236}">
                <a16:creationId xmlns:a16="http://schemas.microsoft.com/office/drawing/2014/main" id="{72623ABC-F259-41D1-BDA7-6DAFAEF42F7D}"/>
              </a:ext>
            </a:extLst>
          </p:cNvPr>
          <p:cNvSpPr txBox="1">
            <a:spLocks noChangeArrowheads="1"/>
          </p:cNvSpPr>
          <p:nvPr/>
        </p:nvSpPr>
        <p:spPr bwMode="auto">
          <a:xfrm>
            <a:off x="452237" y="3855428"/>
            <a:ext cx="1282287" cy="405484"/>
          </a:xfrm>
          <a:prstGeom prst="rect">
            <a:avLst/>
          </a:prstGeom>
          <a:noFill/>
          <a:ln w="9525">
            <a:noFill/>
            <a:miter lim="800000"/>
            <a:headEnd/>
            <a:tailEnd/>
          </a:ln>
        </p:spPr>
        <p:txBody>
          <a:bodyPr wrap="square">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933" b="1" i="1" u="none" strike="noStrike" kern="1200" cap="none" spc="0" normalizeH="0" baseline="0" noProof="0">
                <a:ln>
                  <a:noFill/>
                </a:ln>
                <a:solidFill>
                  <a:srgbClr val="0066A1"/>
                </a:solidFill>
                <a:effectLst/>
                <a:uLnTx/>
                <a:uFillTx/>
                <a:ea typeface="+mn-ea"/>
                <a:cs typeface="Arial" charset="0"/>
              </a:rPr>
              <a:t>Release Notes</a:t>
            </a: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933" b="1" i="1" u="none" strike="noStrike" kern="1200" cap="none" spc="0" normalizeH="0" baseline="0" noProof="0">
                <a:ln>
                  <a:noFill/>
                </a:ln>
                <a:solidFill>
                  <a:srgbClr val="0066A1"/>
                </a:solidFill>
                <a:effectLst/>
                <a:uLnTx/>
                <a:uFillTx/>
                <a:ea typeface="+mn-ea"/>
                <a:cs typeface="Arial" charset="0"/>
              </a:rPr>
              <a:t>Change Pack</a:t>
            </a:r>
          </a:p>
        </p:txBody>
      </p:sp>
      <p:sp>
        <p:nvSpPr>
          <p:cNvPr id="109" name="TextBox 108">
            <a:extLst>
              <a:ext uri="{FF2B5EF4-FFF2-40B4-BE49-F238E27FC236}">
                <a16:creationId xmlns:a16="http://schemas.microsoft.com/office/drawing/2014/main" id="{2995996E-7384-4DFD-846D-5C3A9D1A1728}"/>
              </a:ext>
            </a:extLst>
          </p:cNvPr>
          <p:cNvSpPr txBox="1"/>
          <p:nvPr/>
        </p:nvSpPr>
        <p:spPr>
          <a:xfrm>
            <a:off x="303548" y="1982655"/>
            <a:ext cx="1681353" cy="34532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a:solidFill>
                  <a:prstClr val="black"/>
                </a:solidFill>
              </a:rPr>
              <a:t>Features</a:t>
            </a:r>
            <a:endParaRPr kumimoji="0" lang="en-IN" sz="1500" b="1" i="0" u="none" strike="noStrike" kern="1200" cap="none" spc="0" normalizeH="0" baseline="0" noProof="0">
              <a:ln>
                <a:noFill/>
              </a:ln>
              <a:solidFill>
                <a:prstClr val="black"/>
              </a:solidFill>
              <a:effectLst/>
              <a:uLnTx/>
              <a:uFillTx/>
              <a:ea typeface="+mn-ea"/>
              <a:cs typeface="+mn-cs"/>
            </a:endParaRPr>
          </a:p>
        </p:txBody>
      </p:sp>
      <p:sp>
        <p:nvSpPr>
          <p:cNvPr id="90" name="TextBox 89">
            <a:extLst>
              <a:ext uri="{FF2B5EF4-FFF2-40B4-BE49-F238E27FC236}">
                <a16:creationId xmlns:a16="http://schemas.microsoft.com/office/drawing/2014/main" id="{00CA12B9-D814-4909-B051-19E3227B69C9}"/>
              </a:ext>
            </a:extLst>
          </p:cNvPr>
          <p:cNvSpPr txBox="1"/>
          <p:nvPr/>
        </p:nvSpPr>
        <p:spPr>
          <a:xfrm>
            <a:off x="6892732" y="2849660"/>
            <a:ext cx="3721466" cy="62508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srgbClr val="0066A1"/>
                </a:solidFill>
                <a:effectLst/>
                <a:uLnTx/>
                <a:uFillTx/>
                <a:ea typeface="+mn-ea"/>
                <a:cs typeface="Arial" charset="0"/>
              </a:rPr>
              <a:t>Test data needs</a:t>
            </a:r>
          </a:p>
          <a:p>
            <a:pPr marL="128585" marR="0" lvl="0" indent="-128585"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
              <a:tabLst/>
              <a:defRPr/>
            </a:pPr>
            <a:r>
              <a:rPr lang="en-US" sz="1067" i="1">
                <a:solidFill>
                  <a:srgbClr val="000000"/>
                </a:solidFill>
              </a:rPr>
              <a:t>Member details</a:t>
            </a:r>
            <a:r>
              <a:rPr kumimoji="0" lang="en-US" sz="1067" b="0" i="1" u="none" strike="noStrike" kern="1200" cap="none" spc="0" normalizeH="0" baseline="0" noProof="0">
                <a:ln>
                  <a:noFill/>
                </a:ln>
                <a:solidFill>
                  <a:srgbClr val="000000"/>
                </a:solidFill>
                <a:effectLst/>
                <a:uLnTx/>
                <a:uFillTx/>
                <a:ea typeface="+mn-ea"/>
                <a:cs typeface="+mn-cs"/>
              </a:rPr>
              <a:t>, Policy Data, Plans, Customer organization, Financial data</a:t>
            </a:r>
            <a:endParaRPr kumimoji="0" lang="en-US" sz="1067" b="1" i="0" u="none" strike="noStrike" kern="1200" cap="none" spc="0" normalizeH="0" baseline="0" noProof="0">
              <a:ln>
                <a:noFill/>
              </a:ln>
              <a:solidFill>
                <a:srgbClr val="F26E01"/>
              </a:solidFill>
              <a:effectLst/>
              <a:uLnTx/>
              <a:uFillTx/>
              <a:ea typeface="+mn-ea"/>
              <a:cs typeface="Arial" charset="0"/>
            </a:endParaRPr>
          </a:p>
        </p:txBody>
      </p:sp>
      <p:grpSp>
        <p:nvGrpSpPr>
          <p:cNvPr id="101" name="Groupe 362">
            <a:extLst>
              <a:ext uri="{FF2B5EF4-FFF2-40B4-BE49-F238E27FC236}">
                <a16:creationId xmlns:a16="http://schemas.microsoft.com/office/drawing/2014/main" id="{E5920930-2DEC-40FA-93CC-2774DDEC361F}"/>
              </a:ext>
            </a:extLst>
          </p:cNvPr>
          <p:cNvGrpSpPr/>
          <p:nvPr/>
        </p:nvGrpSpPr>
        <p:grpSpPr>
          <a:xfrm>
            <a:off x="10354747" y="5722977"/>
            <a:ext cx="387589" cy="489858"/>
            <a:chOff x="363538" y="1962150"/>
            <a:chExt cx="334963" cy="401638"/>
          </a:xfrm>
        </p:grpSpPr>
        <p:sp>
          <p:nvSpPr>
            <p:cNvPr id="102" name="Freeform 343">
              <a:extLst>
                <a:ext uri="{FF2B5EF4-FFF2-40B4-BE49-F238E27FC236}">
                  <a16:creationId xmlns:a16="http://schemas.microsoft.com/office/drawing/2014/main" id="{AC80D2F4-B525-4BC4-9D19-E8BB75EA864A}"/>
                </a:ext>
              </a:extLst>
            </p:cNvPr>
            <p:cNvSpPr>
              <a:spLocks/>
            </p:cNvSpPr>
            <p:nvPr/>
          </p:nvSpPr>
          <p:spPr bwMode="auto">
            <a:xfrm>
              <a:off x="441325" y="2063750"/>
              <a:ext cx="182563" cy="300038"/>
            </a:xfrm>
            <a:custGeom>
              <a:avLst/>
              <a:gdLst/>
              <a:ahLst/>
              <a:cxnLst>
                <a:cxn ang="0">
                  <a:pos x="60" y="76"/>
                </a:cxn>
                <a:cxn ang="0">
                  <a:pos x="81" y="40"/>
                </a:cxn>
                <a:cxn ang="0">
                  <a:pos x="40" y="0"/>
                </a:cxn>
                <a:cxn ang="0">
                  <a:pos x="0" y="40"/>
                </a:cxn>
                <a:cxn ang="0">
                  <a:pos x="21" y="76"/>
                </a:cxn>
                <a:cxn ang="0">
                  <a:pos x="21" y="95"/>
                </a:cxn>
                <a:cxn ang="0">
                  <a:pos x="60" y="95"/>
                </a:cxn>
                <a:cxn ang="0">
                  <a:pos x="60" y="117"/>
                </a:cxn>
                <a:cxn ang="0">
                  <a:pos x="51" y="126"/>
                </a:cxn>
                <a:cxn ang="0">
                  <a:pos x="51" y="126"/>
                </a:cxn>
                <a:cxn ang="0">
                  <a:pos x="40" y="133"/>
                </a:cxn>
                <a:cxn ang="0">
                  <a:pos x="29" y="126"/>
                </a:cxn>
                <a:cxn ang="0">
                  <a:pos x="29" y="126"/>
                </a:cxn>
                <a:cxn ang="0">
                  <a:pos x="21" y="117"/>
                </a:cxn>
                <a:cxn ang="0">
                  <a:pos x="21" y="109"/>
                </a:cxn>
              </a:cxnLst>
              <a:rect l="0" t="0" r="r" b="b"/>
              <a:pathLst>
                <a:path w="81" h="133">
                  <a:moveTo>
                    <a:pt x="60" y="76"/>
                  </a:moveTo>
                  <a:cubicBezTo>
                    <a:pt x="72" y="69"/>
                    <a:pt x="81" y="56"/>
                    <a:pt x="81" y="40"/>
                  </a:cubicBezTo>
                  <a:cubicBezTo>
                    <a:pt x="81" y="18"/>
                    <a:pt x="63" y="0"/>
                    <a:pt x="40" y="0"/>
                  </a:cubicBezTo>
                  <a:cubicBezTo>
                    <a:pt x="18" y="0"/>
                    <a:pt x="0" y="18"/>
                    <a:pt x="0" y="40"/>
                  </a:cubicBezTo>
                  <a:cubicBezTo>
                    <a:pt x="0" y="56"/>
                    <a:pt x="8" y="69"/>
                    <a:pt x="21" y="76"/>
                  </a:cubicBezTo>
                  <a:cubicBezTo>
                    <a:pt x="21" y="95"/>
                    <a:pt x="21" y="95"/>
                    <a:pt x="21" y="95"/>
                  </a:cubicBezTo>
                  <a:cubicBezTo>
                    <a:pt x="60" y="95"/>
                    <a:pt x="60" y="95"/>
                    <a:pt x="60" y="95"/>
                  </a:cubicBezTo>
                  <a:cubicBezTo>
                    <a:pt x="60" y="117"/>
                    <a:pt x="60" y="117"/>
                    <a:pt x="60" y="117"/>
                  </a:cubicBezTo>
                  <a:cubicBezTo>
                    <a:pt x="60" y="120"/>
                    <a:pt x="56" y="124"/>
                    <a:pt x="51" y="126"/>
                  </a:cubicBezTo>
                  <a:cubicBezTo>
                    <a:pt x="51" y="126"/>
                    <a:pt x="51" y="126"/>
                    <a:pt x="51" y="126"/>
                  </a:cubicBezTo>
                  <a:cubicBezTo>
                    <a:pt x="51" y="130"/>
                    <a:pt x="46" y="133"/>
                    <a:pt x="40" y="133"/>
                  </a:cubicBezTo>
                  <a:cubicBezTo>
                    <a:pt x="34" y="133"/>
                    <a:pt x="29" y="130"/>
                    <a:pt x="29" y="126"/>
                  </a:cubicBezTo>
                  <a:cubicBezTo>
                    <a:pt x="29" y="126"/>
                    <a:pt x="29" y="126"/>
                    <a:pt x="29" y="126"/>
                  </a:cubicBezTo>
                  <a:cubicBezTo>
                    <a:pt x="24" y="124"/>
                    <a:pt x="21" y="120"/>
                    <a:pt x="21" y="117"/>
                  </a:cubicBezTo>
                  <a:cubicBezTo>
                    <a:pt x="21" y="109"/>
                    <a:pt x="21" y="109"/>
                    <a:pt x="21" y="109"/>
                  </a:cubicBezTo>
                </a:path>
              </a:pathLst>
            </a:cu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03" name="Freeform 344">
              <a:extLst>
                <a:ext uri="{FF2B5EF4-FFF2-40B4-BE49-F238E27FC236}">
                  <a16:creationId xmlns:a16="http://schemas.microsoft.com/office/drawing/2014/main" id="{FB30A31B-A970-41E3-83CE-C18B11C56D8C}"/>
                </a:ext>
              </a:extLst>
            </p:cNvPr>
            <p:cNvSpPr>
              <a:spLocks/>
            </p:cNvSpPr>
            <p:nvPr/>
          </p:nvSpPr>
          <p:spPr bwMode="auto">
            <a:xfrm>
              <a:off x="477838" y="2093913"/>
              <a:ext cx="63500" cy="66675"/>
            </a:xfrm>
            <a:custGeom>
              <a:avLst/>
              <a:gdLst/>
              <a:ahLst/>
              <a:cxnLst>
                <a:cxn ang="0">
                  <a:pos x="0" y="29"/>
                </a:cxn>
                <a:cxn ang="0">
                  <a:pos x="28" y="0"/>
                </a:cxn>
              </a:cxnLst>
              <a:rect l="0" t="0" r="r" b="b"/>
              <a:pathLst>
                <a:path w="28" h="29">
                  <a:moveTo>
                    <a:pt x="0" y="29"/>
                  </a:moveTo>
                  <a:cubicBezTo>
                    <a:pt x="0" y="13"/>
                    <a:pt x="13" y="0"/>
                    <a:pt x="28" y="0"/>
                  </a:cubicBezTo>
                </a:path>
              </a:pathLst>
            </a:cu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04" name="Line 345">
              <a:extLst>
                <a:ext uri="{FF2B5EF4-FFF2-40B4-BE49-F238E27FC236}">
                  <a16:creationId xmlns:a16="http://schemas.microsoft.com/office/drawing/2014/main" id="{113B8EAA-8D1D-4273-83FB-09E7CF50E445}"/>
                </a:ext>
              </a:extLst>
            </p:cNvPr>
            <p:cNvSpPr>
              <a:spLocks noChangeShapeType="1"/>
            </p:cNvSpPr>
            <p:nvPr/>
          </p:nvSpPr>
          <p:spPr bwMode="auto">
            <a:xfrm flipV="1">
              <a:off x="531813" y="1962150"/>
              <a:ext cx="1588" cy="66675"/>
            </a:xfrm>
            <a:prstGeom prst="line">
              <a:avLst/>
            </a:pr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08" name="Line 346">
              <a:extLst>
                <a:ext uri="{FF2B5EF4-FFF2-40B4-BE49-F238E27FC236}">
                  <a16:creationId xmlns:a16="http://schemas.microsoft.com/office/drawing/2014/main" id="{DF7F177F-B1F6-487A-AC32-71C35C78577E}"/>
                </a:ext>
              </a:extLst>
            </p:cNvPr>
            <p:cNvSpPr>
              <a:spLocks noChangeShapeType="1"/>
            </p:cNvSpPr>
            <p:nvPr/>
          </p:nvSpPr>
          <p:spPr bwMode="auto">
            <a:xfrm flipH="1" flipV="1">
              <a:off x="365126" y="2055813"/>
              <a:ext cx="58738" cy="34925"/>
            </a:xfrm>
            <a:prstGeom prst="line">
              <a:avLst/>
            </a:pr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13" name="Line 347">
              <a:extLst>
                <a:ext uri="{FF2B5EF4-FFF2-40B4-BE49-F238E27FC236}">
                  <a16:creationId xmlns:a16="http://schemas.microsoft.com/office/drawing/2014/main" id="{03545BBC-B778-4760-83C0-BB4539993333}"/>
                </a:ext>
              </a:extLst>
            </p:cNvPr>
            <p:cNvSpPr>
              <a:spLocks noChangeShapeType="1"/>
            </p:cNvSpPr>
            <p:nvPr/>
          </p:nvSpPr>
          <p:spPr bwMode="auto">
            <a:xfrm flipH="1">
              <a:off x="363538" y="2214563"/>
              <a:ext cx="55563" cy="33338"/>
            </a:xfrm>
            <a:prstGeom prst="line">
              <a:avLst/>
            </a:pr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14" name="Line 348">
              <a:extLst>
                <a:ext uri="{FF2B5EF4-FFF2-40B4-BE49-F238E27FC236}">
                  <a16:creationId xmlns:a16="http://schemas.microsoft.com/office/drawing/2014/main" id="{489C9DB4-7439-4608-9751-9B45C79E822F}"/>
                </a:ext>
              </a:extLst>
            </p:cNvPr>
            <p:cNvSpPr>
              <a:spLocks noChangeShapeType="1"/>
            </p:cNvSpPr>
            <p:nvPr/>
          </p:nvSpPr>
          <p:spPr bwMode="auto">
            <a:xfrm>
              <a:off x="638176" y="2220913"/>
              <a:ext cx="55563" cy="31750"/>
            </a:xfrm>
            <a:prstGeom prst="line">
              <a:avLst/>
            </a:pr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15" name="Line 349">
              <a:extLst>
                <a:ext uri="{FF2B5EF4-FFF2-40B4-BE49-F238E27FC236}">
                  <a16:creationId xmlns:a16="http://schemas.microsoft.com/office/drawing/2014/main" id="{1A10937A-020E-4F5B-815D-C3B7E2CC4C83}"/>
                </a:ext>
              </a:extLst>
            </p:cNvPr>
            <p:cNvSpPr>
              <a:spLocks noChangeShapeType="1"/>
            </p:cNvSpPr>
            <p:nvPr/>
          </p:nvSpPr>
          <p:spPr bwMode="auto">
            <a:xfrm flipV="1">
              <a:off x="639763" y="2060575"/>
              <a:ext cx="58738" cy="33338"/>
            </a:xfrm>
            <a:prstGeom prst="line">
              <a:avLst/>
            </a:pr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118" name="Groupe 362">
            <a:extLst>
              <a:ext uri="{FF2B5EF4-FFF2-40B4-BE49-F238E27FC236}">
                <a16:creationId xmlns:a16="http://schemas.microsoft.com/office/drawing/2014/main" id="{5EB578C7-8F81-46F5-856F-22EA33E72341}"/>
              </a:ext>
            </a:extLst>
          </p:cNvPr>
          <p:cNvGrpSpPr/>
          <p:nvPr/>
        </p:nvGrpSpPr>
        <p:grpSpPr>
          <a:xfrm>
            <a:off x="7669943" y="4111041"/>
            <a:ext cx="387589" cy="489858"/>
            <a:chOff x="363538" y="1962150"/>
            <a:chExt cx="334963" cy="401638"/>
          </a:xfrm>
        </p:grpSpPr>
        <p:sp>
          <p:nvSpPr>
            <p:cNvPr id="119" name="Freeform 343">
              <a:extLst>
                <a:ext uri="{FF2B5EF4-FFF2-40B4-BE49-F238E27FC236}">
                  <a16:creationId xmlns:a16="http://schemas.microsoft.com/office/drawing/2014/main" id="{458238B6-88FA-4843-B167-39E9338881F4}"/>
                </a:ext>
              </a:extLst>
            </p:cNvPr>
            <p:cNvSpPr>
              <a:spLocks/>
            </p:cNvSpPr>
            <p:nvPr/>
          </p:nvSpPr>
          <p:spPr bwMode="auto">
            <a:xfrm>
              <a:off x="441326" y="2063750"/>
              <a:ext cx="182563" cy="300038"/>
            </a:xfrm>
            <a:custGeom>
              <a:avLst/>
              <a:gdLst/>
              <a:ahLst/>
              <a:cxnLst>
                <a:cxn ang="0">
                  <a:pos x="60" y="76"/>
                </a:cxn>
                <a:cxn ang="0">
                  <a:pos x="81" y="40"/>
                </a:cxn>
                <a:cxn ang="0">
                  <a:pos x="40" y="0"/>
                </a:cxn>
                <a:cxn ang="0">
                  <a:pos x="0" y="40"/>
                </a:cxn>
                <a:cxn ang="0">
                  <a:pos x="21" y="76"/>
                </a:cxn>
                <a:cxn ang="0">
                  <a:pos x="21" y="95"/>
                </a:cxn>
                <a:cxn ang="0">
                  <a:pos x="60" y="95"/>
                </a:cxn>
                <a:cxn ang="0">
                  <a:pos x="60" y="117"/>
                </a:cxn>
                <a:cxn ang="0">
                  <a:pos x="51" y="126"/>
                </a:cxn>
                <a:cxn ang="0">
                  <a:pos x="51" y="126"/>
                </a:cxn>
                <a:cxn ang="0">
                  <a:pos x="40" y="133"/>
                </a:cxn>
                <a:cxn ang="0">
                  <a:pos x="29" y="126"/>
                </a:cxn>
                <a:cxn ang="0">
                  <a:pos x="29" y="126"/>
                </a:cxn>
                <a:cxn ang="0">
                  <a:pos x="21" y="117"/>
                </a:cxn>
                <a:cxn ang="0">
                  <a:pos x="21" y="109"/>
                </a:cxn>
              </a:cxnLst>
              <a:rect l="0" t="0" r="r" b="b"/>
              <a:pathLst>
                <a:path w="81" h="133">
                  <a:moveTo>
                    <a:pt x="60" y="76"/>
                  </a:moveTo>
                  <a:cubicBezTo>
                    <a:pt x="72" y="69"/>
                    <a:pt x="81" y="56"/>
                    <a:pt x="81" y="40"/>
                  </a:cubicBezTo>
                  <a:cubicBezTo>
                    <a:pt x="81" y="18"/>
                    <a:pt x="63" y="0"/>
                    <a:pt x="40" y="0"/>
                  </a:cubicBezTo>
                  <a:cubicBezTo>
                    <a:pt x="18" y="0"/>
                    <a:pt x="0" y="18"/>
                    <a:pt x="0" y="40"/>
                  </a:cubicBezTo>
                  <a:cubicBezTo>
                    <a:pt x="0" y="56"/>
                    <a:pt x="8" y="69"/>
                    <a:pt x="21" y="76"/>
                  </a:cubicBezTo>
                  <a:cubicBezTo>
                    <a:pt x="21" y="95"/>
                    <a:pt x="21" y="95"/>
                    <a:pt x="21" y="95"/>
                  </a:cubicBezTo>
                  <a:cubicBezTo>
                    <a:pt x="60" y="95"/>
                    <a:pt x="60" y="95"/>
                    <a:pt x="60" y="95"/>
                  </a:cubicBezTo>
                  <a:cubicBezTo>
                    <a:pt x="60" y="117"/>
                    <a:pt x="60" y="117"/>
                    <a:pt x="60" y="117"/>
                  </a:cubicBezTo>
                  <a:cubicBezTo>
                    <a:pt x="60" y="120"/>
                    <a:pt x="56" y="124"/>
                    <a:pt x="51" y="126"/>
                  </a:cubicBezTo>
                  <a:cubicBezTo>
                    <a:pt x="51" y="126"/>
                    <a:pt x="51" y="126"/>
                    <a:pt x="51" y="126"/>
                  </a:cubicBezTo>
                  <a:cubicBezTo>
                    <a:pt x="51" y="130"/>
                    <a:pt x="46" y="133"/>
                    <a:pt x="40" y="133"/>
                  </a:cubicBezTo>
                  <a:cubicBezTo>
                    <a:pt x="34" y="133"/>
                    <a:pt x="29" y="130"/>
                    <a:pt x="29" y="126"/>
                  </a:cubicBezTo>
                  <a:cubicBezTo>
                    <a:pt x="29" y="126"/>
                    <a:pt x="29" y="126"/>
                    <a:pt x="29" y="126"/>
                  </a:cubicBezTo>
                  <a:cubicBezTo>
                    <a:pt x="24" y="124"/>
                    <a:pt x="21" y="120"/>
                    <a:pt x="21" y="117"/>
                  </a:cubicBezTo>
                  <a:cubicBezTo>
                    <a:pt x="21" y="109"/>
                    <a:pt x="21" y="109"/>
                    <a:pt x="21" y="109"/>
                  </a:cubicBezTo>
                </a:path>
              </a:pathLst>
            </a:cu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20" name="Freeform 344">
              <a:extLst>
                <a:ext uri="{FF2B5EF4-FFF2-40B4-BE49-F238E27FC236}">
                  <a16:creationId xmlns:a16="http://schemas.microsoft.com/office/drawing/2014/main" id="{1441760C-7219-45D0-B09F-07D600A08D45}"/>
                </a:ext>
              </a:extLst>
            </p:cNvPr>
            <p:cNvSpPr>
              <a:spLocks/>
            </p:cNvSpPr>
            <p:nvPr/>
          </p:nvSpPr>
          <p:spPr bwMode="auto">
            <a:xfrm>
              <a:off x="477838" y="2093913"/>
              <a:ext cx="63500" cy="66675"/>
            </a:xfrm>
            <a:custGeom>
              <a:avLst/>
              <a:gdLst/>
              <a:ahLst/>
              <a:cxnLst>
                <a:cxn ang="0">
                  <a:pos x="0" y="29"/>
                </a:cxn>
                <a:cxn ang="0">
                  <a:pos x="28" y="0"/>
                </a:cxn>
              </a:cxnLst>
              <a:rect l="0" t="0" r="r" b="b"/>
              <a:pathLst>
                <a:path w="28" h="29">
                  <a:moveTo>
                    <a:pt x="0" y="29"/>
                  </a:moveTo>
                  <a:cubicBezTo>
                    <a:pt x="0" y="13"/>
                    <a:pt x="13" y="0"/>
                    <a:pt x="28" y="0"/>
                  </a:cubicBezTo>
                </a:path>
              </a:pathLst>
            </a:cu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21" name="Line 345">
              <a:extLst>
                <a:ext uri="{FF2B5EF4-FFF2-40B4-BE49-F238E27FC236}">
                  <a16:creationId xmlns:a16="http://schemas.microsoft.com/office/drawing/2014/main" id="{63C423BE-0661-4635-B5D7-AAC921446BE1}"/>
                </a:ext>
              </a:extLst>
            </p:cNvPr>
            <p:cNvSpPr>
              <a:spLocks noChangeShapeType="1"/>
            </p:cNvSpPr>
            <p:nvPr/>
          </p:nvSpPr>
          <p:spPr bwMode="auto">
            <a:xfrm flipV="1">
              <a:off x="531813" y="1962150"/>
              <a:ext cx="1588" cy="66675"/>
            </a:xfrm>
            <a:prstGeom prst="line">
              <a:avLst/>
            </a:pr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22" name="Line 346">
              <a:extLst>
                <a:ext uri="{FF2B5EF4-FFF2-40B4-BE49-F238E27FC236}">
                  <a16:creationId xmlns:a16="http://schemas.microsoft.com/office/drawing/2014/main" id="{D3CE0B34-83AC-44BA-B397-16A0039E4206}"/>
                </a:ext>
              </a:extLst>
            </p:cNvPr>
            <p:cNvSpPr>
              <a:spLocks noChangeShapeType="1"/>
            </p:cNvSpPr>
            <p:nvPr/>
          </p:nvSpPr>
          <p:spPr bwMode="auto">
            <a:xfrm flipH="1" flipV="1">
              <a:off x="365126" y="2055813"/>
              <a:ext cx="58738" cy="34925"/>
            </a:xfrm>
            <a:prstGeom prst="line">
              <a:avLst/>
            </a:pr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25" name="Line 347">
              <a:extLst>
                <a:ext uri="{FF2B5EF4-FFF2-40B4-BE49-F238E27FC236}">
                  <a16:creationId xmlns:a16="http://schemas.microsoft.com/office/drawing/2014/main" id="{E90C8E75-0467-4C49-AEE6-B8DE60AD6EFB}"/>
                </a:ext>
              </a:extLst>
            </p:cNvPr>
            <p:cNvSpPr>
              <a:spLocks noChangeShapeType="1"/>
            </p:cNvSpPr>
            <p:nvPr/>
          </p:nvSpPr>
          <p:spPr bwMode="auto">
            <a:xfrm flipH="1">
              <a:off x="363538" y="2214563"/>
              <a:ext cx="55563" cy="33338"/>
            </a:xfrm>
            <a:prstGeom prst="line">
              <a:avLst/>
            </a:pr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26" name="Line 348">
              <a:extLst>
                <a:ext uri="{FF2B5EF4-FFF2-40B4-BE49-F238E27FC236}">
                  <a16:creationId xmlns:a16="http://schemas.microsoft.com/office/drawing/2014/main" id="{0F9C0C95-E182-4442-8276-3F7B6AB6F84B}"/>
                </a:ext>
              </a:extLst>
            </p:cNvPr>
            <p:cNvSpPr>
              <a:spLocks noChangeShapeType="1"/>
            </p:cNvSpPr>
            <p:nvPr/>
          </p:nvSpPr>
          <p:spPr bwMode="auto">
            <a:xfrm>
              <a:off x="638176" y="2220913"/>
              <a:ext cx="55563" cy="31750"/>
            </a:xfrm>
            <a:prstGeom prst="line">
              <a:avLst/>
            </a:pr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27" name="Line 349">
              <a:extLst>
                <a:ext uri="{FF2B5EF4-FFF2-40B4-BE49-F238E27FC236}">
                  <a16:creationId xmlns:a16="http://schemas.microsoft.com/office/drawing/2014/main" id="{A7212200-C493-4892-892B-53BB47124CC4}"/>
                </a:ext>
              </a:extLst>
            </p:cNvPr>
            <p:cNvSpPr>
              <a:spLocks noChangeShapeType="1"/>
            </p:cNvSpPr>
            <p:nvPr/>
          </p:nvSpPr>
          <p:spPr bwMode="auto">
            <a:xfrm flipV="1">
              <a:off x="639763" y="2060575"/>
              <a:ext cx="58738" cy="33338"/>
            </a:xfrm>
            <a:prstGeom prst="line">
              <a:avLst/>
            </a:pr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130" name="Groupe 362">
            <a:extLst>
              <a:ext uri="{FF2B5EF4-FFF2-40B4-BE49-F238E27FC236}">
                <a16:creationId xmlns:a16="http://schemas.microsoft.com/office/drawing/2014/main" id="{28483CF5-CEC9-436E-A8B7-E13C2D7C789B}"/>
              </a:ext>
            </a:extLst>
          </p:cNvPr>
          <p:cNvGrpSpPr/>
          <p:nvPr/>
        </p:nvGrpSpPr>
        <p:grpSpPr>
          <a:xfrm>
            <a:off x="3198889" y="2967904"/>
            <a:ext cx="387589" cy="489858"/>
            <a:chOff x="363538" y="1962150"/>
            <a:chExt cx="334963" cy="401638"/>
          </a:xfrm>
        </p:grpSpPr>
        <p:sp>
          <p:nvSpPr>
            <p:cNvPr id="131" name="Freeform 343">
              <a:extLst>
                <a:ext uri="{FF2B5EF4-FFF2-40B4-BE49-F238E27FC236}">
                  <a16:creationId xmlns:a16="http://schemas.microsoft.com/office/drawing/2014/main" id="{E11EBF0D-9B1C-4194-B7A4-B1913781E183}"/>
                </a:ext>
              </a:extLst>
            </p:cNvPr>
            <p:cNvSpPr>
              <a:spLocks/>
            </p:cNvSpPr>
            <p:nvPr/>
          </p:nvSpPr>
          <p:spPr bwMode="auto">
            <a:xfrm>
              <a:off x="441326" y="2063750"/>
              <a:ext cx="182563" cy="300038"/>
            </a:xfrm>
            <a:custGeom>
              <a:avLst/>
              <a:gdLst/>
              <a:ahLst/>
              <a:cxnLst>
                <a:cxn ang="0">
                  <a:pos x="60" y="76"/>
                </a:cxn>
                <a:cxn ang="0">
                  <a:pos x="81" y="40"/>
                </a:cxn>
                <a:cxn ang="0">
                  <a:pos x="40" y="0"/>
                </a:cxn>
                <a:cxn ang="0">
                  <a:pos x="0" y="40"/>
                </a:cxn>
                <a:cxn ang="0">
                  <a:pos x="21" y="76"/>
                </a:cxn>
                <a:cxn ang="0">
                  <a:pos x="21" y="95"/>
                </a:cxn>
                <a:cxn ang="0">
                  <a:pos x="60" y="95"/>
                </a:cxn>
                <a:cxn ang="0">
                  <a:pos x="60" y="117"/>
                </a:cxn>
                <a:cxn ang="0">
                  <a:pos x="51" y="126"/>
                </a:cxn>
                <a:cxn ang="0">
                  <a:pos x="51" y="126"/>
                </a:cxn>
                <a:cxn ang="0">
                  <a:pos x="40" y="133"/>
                </a:cxn>
                <a:cxn ang="0">
                  <a:pos x="29" y="126"/>
                </a:cxn>
                <a:cxn ang="0">
                  <a:pos x="29" y="126"/>
                </a:cxn>
                <a:cxn ang="0">
                  <a:pos x="21" y="117"/>
                </a:cxn>
                <a:cxn ang="0">
                  <a:pos x="21" y="109"/>
                </a:cxn>
              </a:cxnLst>
              <a:rect l="0" t="0" r="r" b="b"/>
              <a:pathLst>
                <a:path w="81" h="133">
                  <a:moveTo>
                    <a:pt x="60" y="76"/>
                  </a:moveTo>
                  <a:cubicBezTo>
                    <a:pt x="72" y="69"/>
                    <a:pt x="81" y="56"/>
                    <a:pt x="81" y="40"/>
                  </a:cubicBezTo>
                  <a:cubicBezTo>
                    <a:pt x="81" y="18"/>
                    <a:pt x="63" y="0"/>
                    <a:pt x="40" y="0"/>
                  </a:cubicBezTo>
                  <a:cubicBezTo>
                    <a:pt x="18" y="0"/>
                    <a:pt x="0" y="18"/>
                    <a:pt x="0" y="40"/>
                  </a:cubicBezTo>
                  <a:cubicBezTo>
                    <a:pt x="0" y="56"/>
                    <a:pt x="8" y="69"/>
                    <a:pt x="21" y="76"/>
                  </a:cubicBezTo>
                  <a:cubicBezTo>
                    <a:pt x="21" y="95"/>
                    <a:pt x="21" y="95"/>
                    <a:pt x="21" y="95"/>
                  </a:cubicBezTo>
                  <a:cubicBezTo>
                    <a:pt x="60" y="95"/>
                    <a:pt x="60" y="95"/>
                    <a:pt x="60" y="95"/>
                  </a:cubicBezTo>
                  <a:cubicBezTo>
                    <a:pt x="60" y="117"/>
                    <a:pt x="60" y="117"/>
                    <a:pt x="60" y="117"/>
                  </a:cubicBezTo>
                  <a:cubicBezTo>
                    <a:pt x="60" y="120"/>
                    <a:pt x="56" y="124"/>
                    <a:pt x="51" y="126"/>
                  </a:cubicBezTo>
                  <a:cubicBezTo>
                    <a:pt x="51" y="126"/>
                    <a:pt x="51" y="126"/>
                    <a:pt x="51" y="126"/>
                  </a:cubicBezTo>
                  <a:cubicBezTo>
                    <a:pt x="51" y="130"/>
                    <a:pt x="46" y="133"/>
                    <a:pt x="40" y="133"/>
                  </a:cubicBezTo>
                  <a:cubicBezTo>
                    <a:pt x="34" y="133"/>
                    <a:pt x="29" y="130"/>
                    <a:pt x="29" y="126"/>
                  </a:cubicBezTo>
                  <a:cubicBezTo>
                    <a:pt x="29" y="126"/>
                    <a:pt x="29" y="126"/>
                    <a:pt x="29" y="126"/>
                  </a:cubicBezTo>
                  <a:cubicBezTo>
                    <a:pt x="24" y="124"/>
                    <a:pt x="21" y="120"/>
                    <a:pt x="21" y="117"/>
                  </a:cubicBezTo>
                  <a:cubicBezTo>
                    <a:pt x="21" y="109"/>
                    <a:pt x="21" y="109"/>
                    <a:pt x="21" y="109"/>
                  </a:cubicBezTo>
                </a:path>
              </a:pathLst>
            </a:cu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32" name="Freeform 344">
              <a:extLst>
                <a:ext uri="{FF2B5EF4-FFF2-40B4-BE49-F238E27FC236}">
                  <a16:creationId xmlns:a16="http://schemas.microsoft.com/office/drawing/2014/main" id="{9111B71C-E46C-4232-88B1-BC9C570989DE}"/>
                </a:ext>
              </a:extLst>
            </p:cNvPr>
            <p:cNvSpPr>
              <a:spLocks/>
            </p:cNvSpPr>
            <p:nvPr/>
          </p:nvSpPr>
          <p:spPr bwMode="auto">
            <a:xfrm>
              <a:off x="477838" y="2093913"/>
              <a:ext cx="63500" cy="66675"/>
            </a:xfrm>
            <a:custGeom>
              <a:avLst/>
              <a:gdLst/>
              <a:ahLst/>
              <a:cxnLst>
                <a:cxn ang="0">
                  <a:pos x="0" y="29"/>
                </a:cxn>
                <a:cxn ang="0">
                  <a:pos x="28" y="0"/>
                </a:cxn>
              </a:cxnLst>
              <a:rect l="0" t="0" r="r" b="b"/>
              <a:pathLst>
                <a:path w="28" h="29">
                  <a:moveTo>
                    <a:pt x="0" y="29"/>
                  </a:moveTo>
                  <a:cubicBezTo>
                    <a:pt x="0" y="13"/>
                    <a:pt x="13" y="0"/>
                    <a:pt x="28" y="0"/>
                  </a:cubicBezTo>
                </a:path>
              </a:pathLst>
            </a:cu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33" name="Line 345">
              <a:extLst>
                <a:ext uri="{FF2B5EF4-FFF2-40B4-BE49-F238E27FC236}">
                  <a16:creationId xmlns:a16="http://schemas.microsoft.com/office/drawing/2014/main" id="{C849B470-91F2-4EBC-AB15-0282425115B1}"/>
                </a:ext>
              </a:extLst>
            </p:cNvPr>
            <p:cNvSpPr>
              <a:spLocks noChangeShapeType="1"/>
            </p:cNvSpPr>
            <p:nvPr/>
          </p:nvSpPr>
          <p:spPr bwMode="auto">
            <a:xfrm flipV="1">
              <a:off x="531813" y="1962150"/>
              <a:ext cx="1588" cy="66675"/>
            </a:xfrm>
            <a:prstGeom prst="line">
              <a:avLst/>
            </a:pr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34" name="Line 346">
              <a:extLst>
                <a:ext uri="{FF2B5EF4-FFF2-40B4-BE49-F238E27FC236}">
                  <a16:creationId xmlns:a16="http://schemas.microsoft.com/office/drawing/2014/main" id="{BC9126E8-394A-4557-B4D1-F320FC4D0DF4}"/>
                </a:ext>
              </a:extLst>
            </p:cNvPr>
            <p:cNvSpPr>
              <a:spLocks noChangeShapeType="1"/>
            </p:cNvSpPr>
            <p:nvPr/>
          </p:nvSpPr>
          <p:spPr bwMode="auto">
            <a:xfrm flipH="1" flipV="1">
              <a:off x="365126" y="2055813"/>
              <a:ext cx="58738" cy="34925"/>
            </a:xfrm>
            <a:prstGeom prst="line">
              <a:avLst/>
            </a:pr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35" name="Line 347">
              <a:extLst>
                <a:ext uri="{FF2B5EF4-FFF2-40B4-BE49-F238E27FC236}">
                  <a16:creationId xmlns:a16="http://schemas.microsoft.com/office/drawing/2014/main" id="{63A6FF77-5E25-4D23-B2B0-B273763D5AF0}"/>
                </a:ext>
              </a:extLst>
            </p:cNvPr>
            <p:cNvSpPr>
              <a:spLocks noChangeShapeType="1"/>
            </p:cNvSpPr>
            <p:nvPr/>
          </p:nvSpPr>
          <p:spPr bwMode="auto">
            <a:xfrm flipH="1">
              <a:off x="363538" y="2214563"/>
              <a:ext cx="55563" cy="33338"/>
            </a:xfrm>
            <a:prstGeom prst="line">
              <a:avLst/>
            </a:pr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36" name="Line 348">
              <a:extLst>
                <a:ext uri="{FF2B5EF4-FFF2-40B4-BE49-F238E27FC236}">
                  <a16:creationId xmlns:a16="http://schemas.microsoft.com/office/drawing/2014/main" id="{374CF60C-6F06-45EE-9837-694270BE339A}"/>
                </a:ext>
              </a:extLst>
            </p:cNvPr>
            <p:cNvSpPr>
              <a:spLocks noChangeShapeType="1"/>
            </p:cNvSpPr>
            <p:nvPr/>
          </p:nvSpPr>
          <p:spPr bwMode="auto">
            <a:xfrm>
              <a:off x="638176" y="2220913"/>
              <a:ext cx="55563" cy="31750"/>
            </a:xfrm>
            <a:prstGeom prst="line">
              <a:avLst/>
            </a:pr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37" name="Line 349">
              <a:extLst>
                <a:ext uri="{FF2B5EF4-FFF2-40B4-BE49-F238E27FC236}">
                  <a16:creationId xmlns:a16="http://schemas.microsoft.com/office/drawing/2014/main" id="{58C2AA1A-57E5-4055-A926-44BA4A267C16}"/>
                </a:ext>
              </a:extLst>
            </p:cNvPr>
            <p:cNvSpPr>
              <a:spLocks noChangeShapeType="1"/>
            </p:cNvSpPr>
            <p:nvPr/>
          </p:nvSpPr>
          <p:spPr bwMode="auto">
            <a:xfrm flipV="1">
              <a:off x="639763" y="2060575"/>
              <a:ext cx="58738" cy="33338"/>
            </a:xfrm>
            <a:prstGeom prst="line">
              <a:avLst/>
            </a:pr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138" name="Groupe 362">
            <a:extLst>
              <a:ext uri="{FF2B5EF4-FFF2-40B4-BE49-F238E27FC236}">
                <a16:creationId xmlns:a16="http://schemas.microsoft.com/office/drawing/2014/main" id="{33F74629-D635-4916-86D7-1596EF3CEEEE}"/>
              </a:ext>
            </a:extLst>
          </p:cNvPr>
          <p:cNvGrpSpPr/>
          <p:nvPr/>
        </p:nvGrpSpPr>
        <p:grpSpPr>
          <a:xfrm>
            <a:off x="10866529" y="4116837"/>
            <a:ext cx="387589" cy="489858"/>
            <a:chOff x="363538" y="1962150"/>
            <a:chExt cx="334963" cy="401638"/>
          </a:xfrm>
        </p:grpSpPr>
        <p:sp>
          <p:nvSpPr>
            <p:cNvPr id="139" name="Freeform 343">
              <a:extLst>
                <a:ext uri="{FF2B5EF4-FFF2-40B4-BE49-F238E27FC236}">
                  <a16:creationId xmlns:a16="http://schemas.microsoft.com/office/drawing/2014/main" id="{FA15249B-DC98-4A4C-B7F1-320E2B51C628}"/>
                </a:ext>
              </a:extLst>
            </p:cNvPr>
            <p:cNvSpPr>
              <a:spLocks/>
            </p:cNvSpPr>
            <p:nvPr/>
          </p:nvSpPr>
          <p:spPr bwMode="auto">
            <a:xfrm>
              <a:off x="441326" y="2063750"/>
              <a:ext cx="182563" cy="300038"/>
            </a:xfrm>
            <a:custGeom>
              <a:avLst/>
              <a:gdLst/>
              <a:ahLst/>
              <a:cxnLst>
                <a:cxn ang="0">
                  <a:pos x="60" y="76"/>
                </a:cxn>
                <a:cxn ang="0">
                  <a:pos x="81" y="40"/>
                </a:cxn>
                <a:cxn ang="0">
                  <a:pos x="40" y="0"/>
                </a:cxn>
                <a:cxn ang="0">
                  <a:pos x="0" y="40"/>
                </a:cxn>
                <a:cxn ang="0">
                  <a:pos x="21" y="76"/>
                </a:cxn>
                <a:cxn ang="0">
                  <a:pos x="21" y="95"/>
                </a:cxn>
                <a:cxn ang="0">
                  <a:pos x="60" y="95"/>
                </a:cxn>
                <a:cxn ang="0">
                  <a:pos x="60" y="117"/>
                </a:cxn>
                <a:cxn ang="0">
                  <a:pos x="51" y="126"/>
                </a:cxn>
                <a:cxn ang="0">
                  <a:pos x="51" y="126"/>
                </a:cxn>
                <a:cxn ang="0">
                  <a:pos x="40" y="133"/>
                </a:cxn>
                <a:cxn ang="0">
                  <a:pos x="29" y="126"/>
                </a:cxn>
                <a:cxn ang="0">
                  <a:pos x="29" y="126"/>
                </a:cxn>
                <a:cxn ang="0">
                  <a:pos x="21" y="117"/>
                </a:cxn>
                <a:cxn ang="0">
                  <a:pos x="21" y="109"/>
                </a:cxn>
              </a:cxnLst>
              <a:rect l="0" t="0" r="r" b="b"/>
              <a:pathLst>
                <a:path w="81" h="133">
                  <a:moveTo>
                    <a:pt x="60" y="76"/>
                  </a:moveTo>
                  <a:cubicBezTo>
                    <a:pt x="72" y="69"/>
                    <a:pt x="81" y="56"/>
                    <a:pt x="81" y="40"/>
                  </a:cubicBezTo>
                  <a:cubicBezTo>
                    <a:pt x="81" y="18"/>
                    <a:pt x="63" y="0"/>
                    <a:pt x="40" y="0"/>
                  </a:cubicBezTo>
                  <a:cubicBezTo>
                    <a:pt x="18" y="0"/>
                    <a:pt x="0" y="18"/>
                    <a:pt x="0" y="40"/>
                  </a:cubicBezTo>
                  <a:cubicBezTo>
                    <a:pt x="0" y="56"/>
                    <a:pt x="8" y="69"/>
                    <a:pt x="21" y="76"/>
                  </a:cubicBezTo>
                  <a:cubicBezTo>
                    <a:pt x="21" y="95"/>
                    <a:pt x="21" y="95"/>
                    <a:pt x="21" y="95"/>
                  </a:cubicBezTo>
                  <a:cubicBezTo>
                    <a:pt x="60" y="95"/>
                    <a:pt x="60" y="95"/>
                    <a:pt x="60" y="95"/>
                  </a:cubicBezTo>
                  <a:cubicBezTo>
                    <a:pt x="60" y="117"/>
                    <a:pt x="60" y="117"/>
                    <a:pt x="60" y="117"/>
                  </a:cubicBezTo>
                  <a:cubicBezTo>
                    <a:pt x="60" y="120"/>
                    <a:pt x="56" y="124"/>
                    <a:pt x="51" y="126"/>
                  </a:cubicBezTo>
                  <a:cubicBezTo>
                    <a:pt x="51" y="126"/>
                    <a:pt x="51" y="126"/>
                    <a:pt x="51" y="126"/>
                  </a:cubicBezTo>
                  <a:cubicBezTo>
                    <a:pt x="51" y="130"/>
                    <a:pt x="46" y="133"/>
                    <a:pt x="40" y="133"/>
                  </a:cubicBezTo>
                  <a:cubicBezTo>
                    <a:pt x="34" y="133"/>
                    <a:pt x="29" y="130"/>
                    <a:pt x="29" y="126"/>
                  </a:cubicBezTo>
                  <a:cubicBezTo>
                    <a:pt x="29" y="126"/>
                    <a:pt x="29" y="126"/>
                    <a:pt x="29" y="126"/>
                  </a:cubicBezTo>
                  <a:cubicBezTo>
                    <a:pt x="24" y="124"/>
                    <a:pt x="21" y="120"/>
                    <a:pt x="21" y="117"/>
                  </a:cubicBezTo>
                  <a:cubicBezTo>
                    <a:pt x="21" y="109"/>
                    <a:pt x="21" y="109"/>
                    <a:pt x="21" y="109"/>
                  </a:cubicBezTo>
                </a:path>
              </a:pathLst>
            </a:cu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47" name="Freeform 344">
              <a:extLst>
                <a:ext uri="{FF2B5EF4-FFF2-40B4-BE49-F238E27FC236}">
                  <a16:creationId xmlns:a16="http://schemas.microsoft.com/office/drawing/2014/main" id="{817D5296-A289-4334-9B65-61CDFB18F05F}"/>
                </a:ext>
              </a:extLst>
            </p:cNvPr>
            <p:cNvSpPr>
              <a:spLocks/>
            </p:cNvSpPr>
            <p:nvPr/>
          </p:nvSpPr>
          <p:spPr bwMode="auto">
            <a:xfrm>
              <a:off x="477838" y="2093913"/>
              <a:ext cx="63500" cy="66675"/>
            </a:xfrm>
            <a:custGeom>
              <a:avLst/>
              <a:gdLst/>
              <a:ahLst/>
              <a:cxnLst>
                <a:cxn ang="0">
                  <a:pos x="0" y="29"/>
                </a:cxn>
                <a:cxn ang="0">
                  <a:pos x="28" y="0"/>
                </a:cxn>
              </a:cxnLst>
              <a:rect l="0" t="0" r="r" b="b"/>
              <a:pathLst>
                <a:path w="28" h="29">
                  <a:moveTo>
                    <a:pt x="0" y="29"/>
                  </a:moveTo>
                  <a:cubicBezTo>
                    <a:pt x="0" y="13"/>
                    <a:pt x="13" y="0"/>
                    <a:pt x="28" y="0"/>
                  </a:cubicBezTo>
                </a:path>
              </a:pathLst>
            </a:cu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49" name="Line 345">
              <a:extLst>
                <a:ext uri="{FF2B5EF4-FFF2-40B4-BE49-F238E27FC236}">
                  <a16:creationId xmlns:a16="http://schemas.microsoft.com/office/drawing/2014/main" id="{8C045815-A8DB-481D-B594-CEAE5851E0D7}"/>
                </a:ext>
              </a:extLst>
            </p:cNvPr>
            <p:cNvSpPr>
              <a:spLocks noChangeShapeType="1"/>
            </p:cNvSpPr>
            <p:nvPr/>
          </p:nvSpPr>
          <p:spPr bwMode="auto">
            <a:xfrm flipV="1">
              <a:off x="531813" y="1962150"/>
              <a:ext cx="1588" cy="66675"/>
            </a:xfrm>
            <a:prstGeom prst="line">
              <a:avLst/>
            </a:pr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50" name="Line 346">
              <a:extLst>
                <a:ext uri="{FF2B5EF4-FFF2-40B4-BE49-F238E27FC236}">
                  <a16:creationId xmlns:a16="http://schemas.microsoft.com/office/drawing/2014/main" id="{8C6E869B-39BD-47ED-8598-AEE7280DC6B5}"/>
                </a:ext>
              </a:extLst>
            </p:cNvPr>
            <p:cNvSpPr>
              <a:spLocks noChangeShapeType="1"/>
            </p:cNvSpPr>
            <p:nvPr/>
          </p:nvSpPr>
          <p:spPr bwMode="auto">
            <a:xfrm flipH="1" flipV="1">
              <a:off x="365126" y="2055813"/>
              <a:ext cx="58738" cy="34925"/>
            </a:xfrm>
            <a:prstGeom prst="line">
              <a:avLst/>
            </a:pr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51" name="Line 347">
              <a:extLst>
                <a:ext uri="{FF2B5EF4-FFF2-40B4-BE49-F238E27FC236}">
                  <a16:creationId xmlns:a16="http://schemas.microsoft.com/office/drawing/2014/main" id="{73787152-FFCF-45DE-AE04-FC0EED6FED6D}"/>
                </a:ext>
              </a:extLst>
            </p:cNvPr>
            <p:cNvSpPr>
              <a:spLocks noChangeShapeType="1"/>
            </p:cNvSpPr>
            <p:nvPr/>
          </p:nvSpPr>
          <p:spPr bwMode="auto">
            <a:xfrm flipH="1">
              <a:off x="363538" y="2214563"/>
              <a:ext cx="55563" cy="33338"/>
            </a:xfrm>
            <a:prstGeom prst="line">
              <a:avLst/>
            </a:pr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52" name="Line 348">
              <a:extLst>
                <a:ext uri="{FF2B5EF4-FFF2-40B4-BE49-F238E27FC236}">
                  <a16:creationId xmlns:a16="http://schemas.microsoft.com/office/drawing/2014/main" id="{EA16293F-6C7B-48A2-89C9-928540DCEBBE}"/>
                </a:ext>
              </a:extLst>
            </p:cNvPr>
            <p:cNvSpPr>
              <a:spLocks noChangeShapeType="1"/>
            </p:cNvSpPr>
            <p:nvPr/>
          </p:nvSpPr>
          <p:spPr bwMode="auto">
            <a:xfrm>
              <a:off x="638176" y="2220913"/>
              <a:ext cx="55563" cy="31750"/>
            </a:xfrm>
            <a:prstGeom prst="line">
              <a:avLst/>
            </a:pr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53" name="Line 349">
              <a:extLst>
                <a:ext uri="{FF2B5EF4-FFF2-40B4-BE49-F238E27FC236}">
                  <a16:creationId xmlns:a16="http://schemas.microsoft.com/office/drawing/2014/main" id="{845FA191-48C3-4E91-BBB2-3FFD65084E03}"/>
                </a:ext>
              </a:extLst>
            </p:cNvPr>
            <p:cNvSpPr>
              <a:spLocks noChangeShapeType="1"/>
            </p:cNvSpPr>
            <p:nvPr/>
          </p:nvSpPr>
          <p:spPr bwMode="auto">
            <a:xfrm flipV="1">
              <a:off x="639763" y="2060575"/>
              <a:ext cx="58738" cy="33338"/>
            </a:xfrm>
            <a:prstGeom prst="line">
              <a:avLst/>
            </a:pr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sp>
        <p:nvSpPr>
          <p:cNvPr id="154" name="TextBox 153">
            <a:extLst>
              <a:ext uri="{FF2B5EF4-FFF2-40B4-BE49-F238E27FC236}">
                <a16:creationId xmlns:a16="http://schemas.microsoft.com/office/drawing/2014/main" id="{90F72D8E-216E-4079-82AF-809B9D0D5692}"/>
              </a:ext>
            </a:extLst>
          </p:cNvPr>
          <p:cNvSpPr txBox="1"/>
          <p:nvPr/>
        </p:nvSpPr>
        <p:spPr>
          <a:xfrm>
            <a:off x="10753355" y="5804296"/>
            <a:ext cx="1294053" cy="27413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1" i="1" u="none" strike="noStrike" kern="1200" cap="none" spc="0" normalizeH="0" baseline="0" noProof="0">
                <a:ln>
                  <a:noFill/>
                </a:ln>
                <a:solidFill>
                  <a:srgbClr val="0066A1"/>
                </a:solidFill>
                <a:effectLst/>
                <a:uLnTx/>
                <a:uFillTx/>
                <a:ea typeface="+mn-ea"/>
                <a:cs typeface="Arial" charset="0"/>
              </a:rPr>
              <a:t>Automation</a:t>
            </a:r>
            <a:endParaRPr kumimoji="0" lang="en-US" sz="1067" b="0" i="1" u="none" strike="noStrike" kern="1200" cap="none" spc="0" normalizeH="0" baseline="0" noProof="0">
              <a:ln>
                <a:noFill/>
              </a:ln>
              <a:solidFill>
                <a:srgbClr val="000000"/>
              </a:solidFill>
              <a:effectLst/>
              <a:uLnTx/>
              <a:uFillTx/>
              <a:ea typeface="+mn-ea"/>
              <a:cs typeface="+mn-cs"/>
            </a:endParaRPr>
          </a:p>
        </p:txBody>
      </p:sp>
      <p:grpSp>
        <p:nvGrpSpPr>
          <p:cNvPr id="116" name="Groupe 362">
            <a:extLst>
              <a:ext uri="{FF2B5EF4-FFF2-40B4-BE49-F238E27FC236}">
                <a16:creationId xmlns:a16="http://schemas.microsoft.com/office/drawing/2014/main" id="{D6F76CD4-33CF-41DC-BF01-2C51D61E0842}"/>
              </a:ext>
            </a:extLst>
          </p:cNvPr>
          <p:cNvGrpSpPr/>
          <p:nvPr/>
        </p:nvGrpSpPr>
        <p:grpSpPr>
          <a:xfrm>
            <a:off x="6165708" y="780937"/>
            <a:ext cx="387589" cy="489858"/>
            <a:chOff x="363538" y="1962150"/>
            <a:chExt cx="334963" cy="401638"/>
          </a:xfrm>
        </p:grpSpPr>
        <p:sp>
          <p:nvSpPr>
            <p:cNvPr id="117" name="Freeform 343">
              <a:extLst>
                <a:ext uri="{FF2B5EF4-FFF2-40B4-BE49-F238E27FC236}">
                  <a16:creationId xmlns:a16="http://schemas.microsoft.com/office/drawing/2014/main" id="{42CEA77B-0C25-4D42-866C-EF7672F98D48}"/>
                </a:ext>
              </a:extLst>
            </p:cNvPr>
            <p:cNvSpPr>
              <a:spLocks/>
            </p:cNvSpPr>
            <p:nvPr/>
          </p:nvSpPr>
          <p:spPr bwMode="auto">
            <a:xfrm>
              <a:off x="441326" y="2063750"/>
              <a:ext cx="182563" cy="300038"/>
            </a:xfrm>
            <a:custGeom>
              <a:avLst/>
              <a:gdLst/>
              <a:ahLst/>
              <a:cxnLst>
                <a:cxn ang="0">
                  <a:pos x="60" y="76"/>
                </a:cxn>
                <a:cxn ang="0">
                  <a:pos x="81" y="40"/>
                </a:cxn>
                <a:cxn ang="0">
                  <a:pos x="40" y="0"/>
                </a:cxn>
                <a:cxn ang="0">
                  <a:pos x="0" y="40"/>
                </a:cxn>
                <a:cxn ang="0">
                  <a:pos x="21" y="76"/>
                </a:cxn>
                <a:cxn ang="0">
                  <a:pos x="21" y="95"/>
                </a:cxn>
                <a:cxn ang="0">
                  <a:pos x="60" y="95"/>
                </a:cxn>
                <a:cxn ang="0">
                  <a:pos x="60" y="117"/>
                </a:cxn>
                <a:cxn ang="0">
                  <a:pos x="51" y="126"/>
                </a:cxn>
                <a:cxn ang="0">
                  <a:pos x="51" y="126"/>
                </a:cxn>
                <a:cxn ang="0">
                  <a:pos x="40" y="133"/>
                </a:cxn>
                <a:cxn ang="0">
                  <a:pos x="29" y="126"/>
                </a:cxn>
                <a:cxn ang="0">
                  <a:pos x="29" y="126"/>
                </a:cxn>
                <a:cxn ang="0">
                  <a:pos x="21" y="117"/>
                </a:cxn>
                <a:cxn ang="0">
                  <a:pos x="21" y="109"/>
                </a:cxn>
              </a:cxnLst>
              <a:rect l="0" t="0" r="r" b="b"/>
              <a:pathLst>
                <a:path w="81" h="133">
                  <a:moveTo>
                    <a:pt x="60" y="76"/>
                  </a:moveTo>
                  <a:cubicBezTo>
                    <a:pt x="72" y="69"/>
                    <a:pt x="81" y="56"/>
                    <a:pt x="81" y="40"/>
                  </a:cubicBezTo>
                  <a:cubicBezTo>
                    <a:pt x="81" y="18"/>
                    <a:pt x="63" y="0"/>
                    <a:pt x="40" y="0"/>
                  </a:cubicBezTo>
                  <a:cubicBezTo>
                    <a:pt x="18" y="0"/>
                    <a:pt x="0" y="18"/>
                    <a:pt x="0" y="40"/>
                  </a:cubicBezTo>
                  <a:cubicBezTo>
                    <a:pt x="0" y="56"/>
                    <a:pt x="8" y="69"/>
                    <a:pt x="21" y="76"/>
                  </a:cubicBezTo>
                  <a:cubicBezTo>
                    <a:pt x="21" y="95"/>
                    <a:pt x="21" y="95"/>
                    <a:pt x="21" y="95"/>
                  </a:cubicBezTo>
                  <a:cubicBezTo>
                    <a:pt x="60" y="95"/>
                    <a:pt x="60" y="95"/>
                    <a:pt x="60" y="95"/>
                  </a:cubicBezTo>
                  <a:cubicBezTo>
                    <a:pt x="60" y="117"/>
                    <a:pt x="60" y="117"/>
                    <a:pt x="60" y="117"/>
                  </a:cubicBezTo>
                  <a:cubicBezTo>
                    <a:pt x="60" y="120"/>
                    <a:pt x="56" y="124"/>
                    <a:pt x="51" y="126"/>
                  </a:cubicBezTo>
                  <a:cubicBezTo>
                    <a:pt x="51" y="126"/>
                    <a:pt x="51" y="126"/>
                    <a:pt x="51" y="126"/>
                  </a:cubicBezTo>
                  <a:cubicBezTo>
                    <a:pt x="51" y="130"/>
                    <a:pt x="46" y="133"/>
                    <a:pt x="40" y="133"/>
                  </a:cubicBezTo>
                  <a:cubicBezTo>
                    <a:pt x="34" y="133"/>
                    <a:pt x="29" y="130"/>
                    <a:pt x="29" y="126"/>
                  </a:cubicBezTo>
                  <a:cubicBezTo>
                    <a:pt x="29" y="126"/>
                    <a:pt x="29" y="126"/>
                    <a:pt x="29" y="126"/>
                  </a:cubicBezTo>
                  <a:cubicBezTo>
                    <a:pt x="24" y="124"/>
                    <a:pt x="21" y="120"/>
                    <a:pt x="21" y="117"/>
                  </a:cubicBezTo>
                  <a:cubicBezTo>
                    <a:pt x="21" y="109"/>
                    <a:pt x="21" y="109"/>
                    <a:pt x="21" y="109"/>
                  </a:cubicBezTo>
                </a:path>
              </a:pathLst>
            </a:cu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55" name="Freeform 344">
              <a:extLst>
                <a:ext uri="{FF2B5EF4-FFF2-40B4-BE49-F238E27FC236}">
                  <a16:creationId xmlns:a16="http://schemas.microsoft.com/office/drawing/2014/main" id="{6189C8FC-6526-453B-9921-304F03FDE528}"/>
                </a:ext>
              </a:extLst>
            </p:cNvPr>
            <p:cNvSpPr>
              <a:spLocks/>
            </p:cNvSpPr>
            <p:nvPr/>
          </p:nvSpPr>
          <p:spPr bwMode="auto">
            <a:xfrm>
              <a:off x="477838" y="2093913"/>
              <a:ext cx="63500" cy="66675"/>
            </a:xfrm>
            <a:custGeom>
              <a:avLst/>
              <a:gdLst/>
              <a:ahLst/>
              <a:cxnLst>
                <a:cxn ang="0">
                  <a:pos x="0" y="29"/>
                </a:cxn>
                <a:cxn ang="0">
                  <a:pos x="28" y="0"/>
                </a:cxn>
              </a:cxnLst>
              <a:rect l="0" t="0" r="r" b="b"/>
              <a:pathLst>
                <a:path w="28" h="29">
                  <a:moveTo>
                    <a:pt x="0" y="29"/>
                  </a:moveTo>
                  <a:cubicBezTo>
                    <a:pt x="0" y="13"/>
                    <a:pt x="13" y="0"/>
                    <a:pt x="28" y="0"/>
                  </a:cubicBezTo>
                </a:path>
              </a:pathLst>
            </a:cu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56" name="Line 345">
              <a:extLst>
                <a:ext uri="{FF2B5EF4-FFF2-40B4-BE49-F238E27FC236}">
                  <a16:creationId xmlns:a16="http://schemas.microsoft.com/office/drawing/2014/main" id="{BB9D2572-8493-4717-9C7C-4CEC73EEC314}"/>
                </a:ext>
              </a:extLst>
            </p:cNvPr>
            <p:cNvSpPr>
              <a:spLocks noChangeShapeType="1"/>
            </p:cNvSpPr>
            <p:nvPr/>
          </p:nvSpPr>
          <p:spPr bwMode="auto">
            <a:xfrm flipV="1">
              <a:off x="531813" y="1962150"/>
              <a:ext cx="1588" cy="66675"/>
            </a:xfrm>
            <a:prstGeom prst="line">
              <a:avLst/>
            </a:pr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57" name="Line 346">
              <a:extLst>
                <a:ext uri="{FF2B5EF4-FFF2-40B4-BE49-F238E27FC236}">
                  <a16:creationId xmlns:a16="http://schemas.microsoft.com/office/drawing/2014/main" id="{2610D8A7-CEB8-408D-9843-EE150F5A16E4}"/>
                </a:ext>
              </a:extLst>
            </p:cNvPr>
            <p:cNvSpPr>
              <a:spLocks noChangeShapeType="1"/>
            </p:cNvSpPr>
            <p:nvPr/>
          </p:nvSpPr>
          <p:spPr bwMode="auto">
            <a:xfrm flipH="1" flipV="1">
              <a:off x="365126" y="2055813"/>
              <a:ext cx="58738" cy="34925"/>
            </a:xfrm>
            <a:prstGeom prst="line">
              <a:avLst/>
            </a:pr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58" name="Line 347">
              <a:extLst>
                <a:ext uri="{FF2B5EF4-FFF2-40B4-BE49-F238E27FC236}">
                  <a16:creationId xmlns:a16="http://schemas.microsoft.com/office/drawing/2014/main" id="{1898BA4E-0EFD-4BCA-9C6F-0148F6410A53}"/>
                </a:ext>
              </a:extLst>
            </p:cNvPr>
            <p:cNvSpPr>
              <a:spLocks noChangeShapeType="1"/>
            </p:cNvSpPr>
            <p:nvPr/>
          </p:nvSpPr>
          <p:spPr bwMode="auto">
            <a:xfrm flipH="1">
              <a:off x="363538" y="2214563"/>
              <a:ext cx="55563" cy="33338"/>
            </a:xfrm>
            <a:prstGeom prst="line">
              <a:avLst/>
            </a:pr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59" name="Line 348">
              <a:extLst>
                <a:ext uri="{FF2B5EF4-FFF2-40B4-BE49-F238E27FC236}">
                  <a16:creationId xmlns:a16="http://schemas.microsoft.com/office/drawing/2014/main" id="{ED48D14A-0B23-47A2-AC1B-CBDE76B4C8E3}"/>
                </a:ext>
              </a:extLst>
            </p:cNvPr>
            <p:cNvSpPr>
              <a:spLocks noChangeShapeType="1"/>
            </p:cNvSpPr>
            <p:nvPr/>
          </p:nvSpPr>
          <p:spPr bwMode="auto">
            <a:xfrm>
              <a:off x="638176" y="2220913"/>
              <a:ext cx="55563" cy="31750"/>
            </a:xfrm>
            <a:prstGeom prst="line">
              <a:avLst/>
            </a:pr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65" name="Line 349">
              <a:extLst>
                <a:ext uri="{FF2B5EF4-FFF2-40B4-BE49-F238E27FC236}">
                  <a16:creationId xmlns:a16="http://schemas.microsoft.com/office/drawing/2014/main" id="{26FF4F95-AFB1-477E-822D-EAC675163BC8}"/>
                </a:ext>
              </a:extLst>
            </p:cNvPr>
            <p:cNvSpPr>
              <a:spLocks noChangeShapeType="1"/>
            </p:cNvSpPr>
            <p:nvPr/>
          </p:nvSpPr>
          <p:spPr bwMode="auto">
            <a:xfrm flipV="1">
              <a:off x="639763" y="2060575"/>
              <a:ext cx="58738" cy="33338"/>
            </a:xfrm>
            <a:prstGeom prst="line">
              <a:avLst/>
            </a:pr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sp>
        <p:nvSpPr>
          <p:cNvPr id="110" name="Rectangle 109">
            <a:extLst>
              <a:ext uri="{FF2B5EF4-FFF2-40B4-BE49-F238E27FC236}">
                <a16:creationId xmlns:a16="http://schemas.microsoft.com/office/drawing/2014/main" id="{F0872363-05A7-4E41-9259-3FA5EA705BF0}"/>
              </a:ext>
            </a:extLst>
          </p:cNvPr>
          <p:cNvSpPr/>
          <p:nvPr/>
        </p:nvSpPr>
        <p:spPr>
          <a:xfrm>
            <a:off x="510954" y="2924330"/>
            <a:ext cx="1309406" cy="350461"/>
          </a:xfrm>
          <a:prstGeom prst="rect">
            <a:avLst/>
          </a:prstGeom>
          <a:solidFill>
            <a:schemeClr val="tx2">
              <a:lumMod val="10000"/>
              <a:lumOff val="90000"/>
            </a:schemeClr>
          </a:solidFill>
          <a:ln w="952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ea typeface="+mn-ea"/>
                <a:cs typeface="+mn-cs"/>
              </a:rPr>
              <a:t>Enhancements</a:t>
            </a:r>
          </a:p>
        </p:txBody>
      </p:sp>
      <p:sp>
        <p:nvSpPr>
          <p:cNvPr id="173" name="Rounded Rectangle 192">
            <a:extLst>
              <a:ext uri="{FF2B5EF4-FFF2-40B4-BE49-F238E27FC236}">
                <a16:creationId xmlns:a16="http://schemas.microsoft.com/office/drawing/2014/main" id="{7DBDC845-01D5-4FD4-A2E4-ED826D0E6367}"/>
              </a:ext>
            </a:extLst>
          </p:cNvPr>
          <p:cNvSpPr/>
          <p:nvPr/>
        </p:nvSpPr>
        <p:spPr>
          <a:xfrm>
            <a:off x="5075627" y="5093058"/>
            <a:ext cx="2626462" cy="858461"/>
          </a:xfrm>
          <a:prstGeom prst="roundRect">
            <a:avLst>
              <a:gd name="adj" fmla="val 7834"/>
            </a:avLst>
          </a:prstGeom>
          <a:solidFill>
            <a:schemeClr val="bg2">
              <a:lumMod val="95000"/>
            </a:schemeClr>
          </a:solidFill>
          <a:ln w="19050">
            <a:solidFill>
              <a:schemeClr val="bg1"/>
            </a:solidFill>
          </a:ln>
          <a:effectLst>
            <a:outerShdw blurRad="76200" dir="13500000" sy="23000" kx="1200000" algn="br" rotWithShape="0">
              <a:prstClr val="black">
                <a:alpha val="20000"/>
              </a:prstClr>
            </a:outerShdw>
          </a:effectLst>
        </p:spPr>
        <p:style>
          <a:lnRef idx="2">
            <a:schemeClr val="accent1"/>
          </a:lnRef>
          <a:fillRef idx="1">
            <a:schemeClr val="lt1"/>
          </a:fillRef>
          <a:effectRef idx="0">
            <a:schemeClr val="accent1"/>
          </a:effectRef>
          <a:fontRef idx="minor">
            <a:schemeClr val="dk1"/>
          </a:fontRef>
        </p:style>
        <p:txBody>
          <a:bodyPr wrap="square" lIns="45720" tIns="45720" rIns="45720" bIns="45720" anchor="t" anchorCtr="0">
            <a:no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66A1"/>
                </a:solidFill>
                <a:effectLst/>
                <a:uLnTx/>
                <a:uFillTx/>
                <a:ea typeface="+mn-ea"/>
                <a:cs typeface="+mn-cs"/>
              </a:rPr>
              <a:t>Performance Testing</a:t>
            </a:r>
          </a:p>
          <a:p>
            <a:pPr marL="128585" marR="0" lvl="0" indent="-128585"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
              <a:tabLst/>
              <a:defRPr/>
            </a:pPr>
            <a:r>
              <a:rPr kumimoji="0" lang="en-US" sz="933" b="0" i="1" u="none" strike="noStrike" kern="1200" cap="none" spc="0" normalizeH="0" baseline="0" noProof="0">
                <a:ln>
                  <a:noFill/>
                </a:ln>
                <a:solidFill>
                  <a:srgbClr val="000000"/>
                </a:solidFill>
                <a:effectLst/>
                <a:uLnTx/>
                <a:uFillTx/>
                <a:ea typeface="+mn-ea"/>
                <a:cs typeface="+mn-cs"/>
              </a:rPr>
              <a:t>High Volume MPS Transactions</a:t>
            </a:r>
          </a:p>
          <a:p>
            <a:pPr marL="128585" marR="0" lvl="0" indent="-128585"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
              <a:tabLst/>
              <a:defRPr/>
            </a:pPr>
            <a:r>
              <a:rPr lang="en-US" sz="933" i="1">
                <a:solidFill>
                  <a:srgbClr val="000000"/>
                </a:solidFill>
              </a:rPr>
              <a:t>Load, Stress &amp; Performance testing</a:t>
            </a:r>
          </a:p>
          <a:p>
            <a:pPr marL="128585" marR="0" lvl="0" indent="-128585"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
              <a:tabLst/>
              <a:defRPr/>
            </a:pPr>
            <a:r>
              <a:rPr kumimoji="0" lang="en-US" sz="933" b="0" i="1" u="none" strike="noStrike" kern="1200" cap="none" spc="0" normalizeH="0" baseline="0" noProof="0">
                <a:ln>
                  <a:noFill/>
                </a:ln>
                <a:solidFill>
                  <a:srgbClr val="000000"/>
                </a:solidFill>
                <a:effectLst/>
                <a:uLnTx/>
                <a:uFillTx/>
                <a:ea typeface="+mn-ea"/>
                <a:cs typeface="+mn-cs"/>
              </a:rPr>
              <a:t>Database performance</a:t>
            </a:r>
          </a:p>
          <a:p>
            <a:pPr marL="128585" marR="0" lvl="0" indent="-128585"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
              <a:tabLst/>
              <a:defRPr/>
            </a:pPr>
            <a:endParaRPr kumimoji="0" lang="en-US" sz="933" b="1" i="0" u="none" strike="noStrike" kern="1200" cap="none" spc="0" normalizeH="0" baseline="0" noProof="0">
              <a:ln>
                <a:noFill/>
              </a:ln>
              <a:solidFill>
                <a:srgbClr val="F26E01"/>
              </a:solidFill>
              <a:effectLst/>
              <a:uLnTx/>
              <a:uFillTx/>
              <a:ea typeface="+mn-ea"/>
              <a:cs typeface="Arial" charset="0"/>
            </a:endParaRPr>
          </a:p>
        </p:txBody>
      </p:sp>
      <p:sp>
        <p:nvSpPr>
          <p:cNvPr id="191" name="Oval 190">
            <a:extLst>
              <a:ext uri="{FF2B5EF4-FFF2-40B4-BE49-F238E27FC236}">
                <a16:creationId xmlns:a16="http://schemas.microsoft.com/office/drawing/2014/main" id="{06C4E85D-1E2D-4FB5-B264-3BBFD0229C5B}"/>
              </a:ext>
            </a:extLst>
          </p:cNvPr>
          <p:cNvSpPr/>
          <p:nvPr/>
        </p:nvSpPr>
        <p:spPr>
          <a:xfrm>
            <a:off x="6029817" y="5851260"/>
            <a:ext cx="359040" cy="359040"/>
          </a:xfrm>
          <a:prstGeom prst="ellipse">
            <a:avLst/>
          </a:prstGeom>
          <a:solidFill>
            <a:schemeClr val="bg1">
              <a:lumMod val="95000"/>
            </a:schemeClr>
          </a:solidFill>
          <a:ln>
            <a:solidFill>
              <a:schemeClr val="accent2"/>
            </a:solidFill>
          </a:ln>
          <a:effectLst>
            <a:glow rad="101600">
              <a:schemeClr val="bg1">
                <a:alpha val="6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66A1"/>
                </a:solidFill>
                <a:effectLst/>
                <a:uLnTx/>
                <a:uFillTx/>
                <a:ea typeface="+mn-ea"/>
                <a:cs typeface="+mn-cs"/>
              </a:rPr>
              <a:t>6</a:t>
            </a:r>
          </a:p>
        </p:txBody>
      </p:sp>
      <p:grpSp>
        <p:nvGrpSpPr>
          <p:cNvPr id="195" name="Groupe 362">
            <a:extLst>
              <a:ext uri="{FF2B5EF4-FFF2-40B4-BE49-F238E27FC236}">
                <a16:creationId xmlns:a16="http://schemas.microsoft.com/office/drawing/2014/main" id="{DB2E2533-C12D-483A-A90E-C016B49799E1}"/>
              </a:ext>
            </a:extLst>
          </p:cNvPr>
          <p:cNvGrpSpPr/>
          <p:nvPr/>
        </p:nvGrpSpPr>
        <p:grpSpPr>
          <a:xfrm>
            <a:off x="7708528" y="5160752"/>
            <a:ext cx="387589" cy="489858"/>
            <a:chOff x="363538" y="1962150"/>
            <a:chExt cx="334963" cy="401638"/>
          </a:xfrm>
        </p:grpSpPr>
        <p:sp>
          <p:nvSpPr>
            <p:cNvPr id="196" name="Freeform 343">
              <a:extLst>
                <a:ext uri="{FF2B5EF4-FFF2-40B4-BE49-F238E27FC236}">
                  <a16:creationId xmlns:a16="http://schemas.microsoft.com/office/drawing/2014/main" id="{16C7F40B-5A0F-4919-B742-E1B2A457A24B}"/>
                </a:ext>
              </a:extLst>
            </p:cNvPr>
            <p:cNvSpPr>
              <a:spLocks/>
            </p:cNvSpPr>
            <p:nvPr/>
          </p:nvSpPr>
          <p:spPr bwMode="auto">
            <a:xfrm>
              <a:off x="441326" y="2063750"/>
              <a:ext cx="182563" cy="300038"/>
            </a:xfrm>
            <a:custGeom>
              <a:avLst/>
              <a:gdLst/>
              <a:ahLst/>
              <a:cxnLst>
                <a:cxn ang="0">
                  <a:pos x="60" y="76"/>
                </a:cxn>
                <a:cxn ang="0">
                  <a:pos x="81" y="40"/>
                </a:cxn>
                <a:cxn ang="0">
                  <a:pos x="40" y="0"/>
                </a:cxn>
                <a:cxn ang="0">
                  <a:pos x="0" y="40"/>
                </a:cxn>
                <a:cxn ang="0">
                  <a:pos x="21" y="76"/>
                </a:cxn>
                <a:cxn ang="0">
                  <a:pos x="21" y="95"/>
                </a:cxn>
                <a:cxn ang="0">
                  <a:pos x="60" y="95"/>
                </a:cxn>
                <a:cxn ang="0">
                  <a:pos x="60" y="117"/>
                </a:cxn>
                <a:cxn ang="0">
                  <a:pos x="51" y="126"/>
                </a:cxn>
                <a:cxn ang="0">
                  <a:pos x="51" y="126"/>
                </a:cxn>
                <a:cxn ang="0">
                  <a:pos x="40" y="133"/>
                </a:cxn>
                <a:cxn ang="0">
                  <a:pos x="29" y="126"/>
                </a:cxn>
                <a:cxn ang="0">
                  <a:pos x="29" y="126"/>
                </a:cxn>
                <a:cxn ang="0">
                  <a:pos x="21" y="117"/>
                </a:cxn>
                <a:cxn ang="0">
                  <a:pos x="21" y="109"/>
                </a:cxn>
              </a:cxnLst>
              <a:rect l="0" t="0" r="r" b="b"/>
              <a:pathLst>
                <a:path w="81" h="133">
                  <a:moveTo>
                    <a:pt x="60" y="76"/>
                  </a:moveTo>
                  <a:cubicBezTo>
                    <a:pt x="72" y="69"/>
                    <a:pt x="81" y="56"/>
                    <a:pt x="81" y="40"/>
                  </a:cubicBezTo>
                  <a:cubicBezTo>
                    <a:pt x="81" y="18"/>
                    <a:pt x="63" y="0"/>
                    <a:pt x="40" y="0"/>
                  </a:cubicBezTo>
                  <a:cubicBezTo>
                    <a:pt x="18" y="0"/>
                    <a:pt x="0" y="18"/>
                    <a:pt x="0" y="40"/>
                  </a:cubicBezTo>
                  <a:cubicBezTo>
                    <a:pt x="0" y="56"/>
                    <a:pt x="8" y="69"/>
                    <a:pt x="21" y="76"/>
                  </a:cubicBezTo>
                  <a:cubicBezTo>
                    <a:pt x="21" y="95"/>
                    <a:pt x="21" y="95"/>
                    <a:pt x="21" y="95"/>
                  </a:cubicBezTo>
                  <a:cubicBezTo>
                    <a:pt x="60" y="95"/>
                    <a:pt x="60" y="95"/>
                    <a:pt x="60" y="95"/>
                  </a:cubicBezTo>
                  <a:cubicBezTo>
                    <a:pt x="60" y="117"/>
                    <a:pt x="60" y="117"/>
                    <a:pt x="60" y="117"/>
                  </a:cubicBezTo>
                  <a:cubicBezTo>
                    <a:pt x="60" y="120"/>
                    <a:pt x="56" y="124"/>
                    <a:pt x="51" y="126"/>
                  </a:cubicBezTo>
                  <a:cubicBezTo>
                    <a:pt x="51" y="126"/>
                    <a:pt x="51" y="126"/>
                    <a:pt x="51" y="126"/>
                  </a:cubicBezTo>
                  <a:cubicBezTo>
                    <a:pt x="51" y="130"/>
                    <a:pt x="46" y="133"/>
                    <a:pt x="40" y="133"/>
                  </a:cubicBezTo>
                  <a:cubicBezTo>
                    <a:pt x="34" y="133"/>
                    <a:pt x="29" y="130"/>
                    <a:pt x="29" y="126"/>
                  </a:cubicBezTo>
                  <a:cubicBezTo>
                    <a:pt x="29" y="126"/>
                    <a:pt x="29" y="126"/>
                    <a:pt x="29" y="126"/>
                  </a:cubicBezTo>
                  <a:cubicBezTo>
                    <a:pt x="24" y="124"/>
                    <a:pt x="21" y="120"/>
                    <a:pt x="21" y="117"/>
                  </a:cubicBezTo>
                  <a:cubicBezTo>
                    <a:pt x="21" y="109"/>
                    <a:pt x="21" y="109"/>
                    <a:pt x="21" y="109"/>
                  </a:cubicBezTo>
                </a:path>
              </a:pathLst>
            </a:cu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97" name="Freeform 344">
              <a:extLst>
                <a:ext uri="{FF2B5EF4-FFF2-40B4-BE49-F238E27FC236}">
                  <a16:creationId xmlns:a16="http://schemas.microsoft.com/office/drawing/2014/main" id="{953B26A5-6EEC-40E2-8968-0C9AB5311F5F}"/>
                </a:ext>
              </a:extLst>
            </p:cNvPr>
            <p:cNvSpPr>
              <a:spLocks/>
            </p:cNvSpPr>
            <p:nvPr/>
          </p:nvSpPr>
          <p:spPr bwMode="auto">
            <a:xfrm>
              <a:off x="477838" y="2093913"/>
              <a:ext cx="63500" cy="66675"/>
            </a:xfrm>
            <a:custGeom>
              <a:avLst/>
              <a:gdLst/>
              <a:ahLst/>
              <a:cxnLst>
                <a:cxn ang="0">
                  <a:pos x="0" y="29"/>
                </a:cxn>
                <a:cxn ang="0">
                  <a:pos x="28" y="0"/>
                </a:cxn>
              </a:cxnLst>
              <a:rect l="0" t="0" r="r" b="b"/>
              <a:pathLst>
                <a:path w="28" h="29">
                  <a:moveTo>
                    <a:pt x="0" y="29"/>
                  </a:moveTo>
                  <a:cubicBezTo>
                    <a:pt x="0" y="13"/>
                    <a:pt x="13" y="0"/>
                    <a:pt x="28" y="0"/>
                  </a:cubicBezTo>
                </a:path>
              </a:pathLst>
            </a:cu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98" name="Line 345">
              <a:extLst>
                <a:ext uri="{FF2B5EF4-FFF2-40B4-BE49-F238E27FC236}">
                  <a16:creationId xmlns:a16="http://schemas.microsoft.com/office/drawing/2014/main" id="{5B879015-BA2E-4989-902B-93449E87107F}"/>
                </a:ext>
              </a:extLst>
            </p:cNvPr>
            <p:cNvSpPr>
              <a:spLocks noChangeShapeType="1"/>
            </p:cNvSpPr>
            <p:nvPr/>
          </p:nvSpPr>
          <p:spPr bwMode="auto">
            <a:xfrm flipV="1">
              <a:off x="531813" y="1962150"/>
              <a:ext cx="1588" cy="66675"/>
            </a:xfrm>
            <a:prstGeom prst="line">
              <a:avLst/>
            </a:pr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99" name="Line 346">
              <a:extLst>
                <a:ext uri="{FF2B5EF4-FFF2-40B4-BE49-F238E27FC236}">
                  <a16:creationId xmlns:a16="http://schemas.microsoft.com/office/drawing/2014/main" id="{A5A9B4DB-85A2-40EF-AA5E-2E9A10BC544E}"/>
                </a:ext>
              </a:extLst>
            </p:cNvPr>
            <p:cNvSpPr>
              <a:spLocks noChangeShapeType="1"/>
            </p:cNvSpPr>
            <p:nvPr/>
          </p:nvSpPr>
          <p:spPr bwMode="auto">
            <a:xfrm flipH="1" flipV="1">
              <a:off x="365126" y="2055813"/>
              <a:ext cx="58738" cy="34925"/>
            </a:xfrm>
            <a:prstGeom prst="line">
              <a:avLst/>
            </a:pr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00" name="Line 347">
              <a:extLst>
                <a:ext uri="{FF2B5EF4-FFF2-40B4-BE49-F238E27FC236}">
                  <a16:creationId xmlns:a16="http://schemas.microsoft.com/office/drawing/2014/main" id="{8120423A-0A1A-43C8-87AD-FBE4F185D948}"/>
                </a:ext>
              </a:extLst>
            </p:cNvPr>
            <p:cNvSpPr>
              <a:spLocks noChangeShapeType="1"/>
            </p:cNvSpPr>
            <p:nvPr/>
          </p:nvSpPr>
          <p:spPr bwMode="auto">
            <a:xfrm flipH="1">
              <a:off x="363538" y="2214563"/>
              <a:ext cx="55563" cy="33338"/>
            </a:xfrm>
            <a:prstGeom prst="line">
              <a:avLst/>
            </a:pr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01" name="Line 348">
              <a:extLst>
                <a:ext uri="{FF2B5EF4-FFF2-40B4-BE49-F238E27FC236}">
                  <a16:creationId xmlns:a16="http://schemas.microsoft.com/office/drawing/2014/main" id="{93FBD7CE-35DE-4153-8EA3-1353864E6030}"/>
                </a:ext>
              </a:extLst>
            </p:cNvPr>
            <p:cNvSpPr>
              <a:spLocks noChangeShapeType="1"/>
            </p:cNvSpPr>
            <p:nvPr/>
          </p:nvSpPr>
          <p:spPr bwMode="auto">
            <a:xfrm>
              <a:off x="638176" y="2220913"/>
              <a:ext cx="55563" cy="31750"/>
            </a:xfrm>
            <a:prstGeom prst="line">
              <a:avLst/>
            </a:pr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06" name="Line 349">
              <a:extLst>
                <a:ext uri="{FF2B5EF4-FFF2-40B4-BE49-F238E27FC236}">
                  <a16:creationId xmlns:a16="http://schemas.microsoft.com/office/drawing/2014/main" id="{B05AD1B3-7628-4D7D-8DD2-B664F5F2920B}"/>
                </a:ext>
              </a:extLst>
            </p:cNvPr>
            <p:cNvSpPr>
              <a:spLocks noChangeShapeType="1"/>
            </p:cNvSpPr>
            <p:nvPr/>
          </p:nvSpPr>
          <p:spPr bwMode="auto">
            <a:xfrm flipV="1">
              <a:off x="639763" y="2060575"/>
              <a:ext cx="58738" cy="33338"/>
            </a:xfrm>
            <a:prstGeom prst="line">
              <a:avLst/>
            </a:pr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grpSp>
        <p:nvGrpSpPr>
          <p:cNvPr id="166" name="Groupe 362">
            <a:extLst>
              <a:ext uri="{FF2B5EF4-FFF2-40B4-BE49-F238E27FC236}">
                <a16:creationId xmlns:a16="http://schemas.microsoft.com/office/drawing/2014/main" id="{0CE2D878-A9CE-4993-AD8A-451F59FECB7B}"/>
              </a:ext>
            </a:extLst>
          </p:cNvPr>
          <p:cNvGrpSpPr/>
          <p:nvPr/>
        </p:nvGrpSpPr>
        <p:grpSpPr>
          <a:xfrm>
            <a:off x="9053556" y="825022"/>
            <a:ext cx="387589" cy="489858"/>
            <a:chOff x="363538" y="1962150"/>
            <a:chExt cx="334963" cy="401638"/>
          </a:xfrm>
        </p:grpSpPr>
        <p:sp>
          <p:nvSpPr>
            <p:cNvPr id="207" name="Freeform 343">
              <a:extLst>
                <a:ext uri="{FF2B5EF4-FFF2-40B4-BE49-F238E27FC236}">
                  <a16:creationId xmlns:a16="http://schemas.microsoft.com/office/drawing/2014/main" id="{03FDE5A5-54C6-4C96-9B0C-81D58E340536}"/>
                </a:ext>
              </a:extLst>
            </p:cNvPr>
            <p:cNvSpPr>
              <a:spLocks/>
            </p:cNvSpPr>
            <p:nvPr/>
          </p:nvSpPr>
          <p:spPr bwMode="auto">
            <a:xfrm>
              <a:off x="441326" y="2063750"/>
              <a:ext cx="182563" cy="300038"/>
            </a:xfrm>
            <a:custGeom>
              <a:avLst/>
              <a:gdLst/>
              <a:ahLst/>
              <a:cxnLst>
                <a:cxn ang="0">
                  <a:pos x="60" y="76"/>
                </a:cxn>
                <a:cxn ang="0">
                  <a:pos x="81" y="40"/>
                </a:cxn>
                <a:cxn ang="0">
                  <a:pos x="40" y="0"/>
                </a:cxn>
                <a:cxn ang="0">
                  <a:pos x="0" y="40"/>
                </a:cxn>
                <a:cxn ang="0">
                  <a:pos x="21" y="76"/>
                </a:cxn>
                <a:cxn ang="0">
                  <a:pos x="21" y="95"/>
                </a:cxn>
                <a:cxn ang="0">
                  <a:pos x="60" y="95"/>
                </a:cxn>
                <a:cxn ang="0">
                  <a:pos x="60" y="117"/>
                </a:cxn>
                <a:cxn ang="0">
                  <a:pos x="51" y="126"/>
                </a:cxn>
                <a:cxn ang="0">
                  <a:pos x="51" y="126"/>
                </a:cxn>
                <a:cxn ang="0">
                  <a:pos x="40" y="133"/>
                </a:cxn>
                <a:cxn ang="0">
                  <a:pos x="29" y="126"/>
                </a:cxn>
                <a:cxn ang="0">
                  <a:pos x="29" y="126"/>
                </a:cxn>
                <a:cxn ang="0">
                  <a:pos x="21" y="117"/>
                </a:cxn>
                <a:cxn ang="0">
                  <a:pos x="21" y="109"/>
                </a:cxn>
              </a:cxnLst>
              <a:rect l="0" t="0" r="r" b="b"/>
              <a:pathLst>
                <a:path w="81" h="133">
                  <a:moveTo>
                    <a:pt x="60" y="76"/>
                  </a:moveTo>
                  <a:cubicBezTo>
                    <a:pt x="72" y="69"/>
                    <a:pt x="81" y="56"/>
                    <a:pt x="81" y="40"/>
                  </a:cubicBezTo>
                  <a:cubicBezTo>
                    <a:pt x="81" y="18"/>
                    <a:pt x="63" y="0"/>
                    <a:pt x="40" y="0"/>
                  </a:cubicBezTo>
                  <a:cubicBezTo>
                    <a:pt x="18" y="0"/>
                    <a:pt x="0" y="18"/>
                    <a:pt x="0" y="40"/>
                  </a:cubicBezTo>
                  <a:cubicBezTo>
                    <a:pt x="0" y="56"/>
                    <a:pt x="8" y="69"/>
                    <a:pt x="21" y="76"/>
                  </a:cubicBezTo>
                  <a:cubicBezTo>
                    <a:pt x="21" y="95"/>
                    <a:pt x="21" y="95"/>
                    <a:pt x="21" y="95"/>
                  </a:cubicBezTo>
                  <a:cubicBezTo>
                    <a:pt x="60" y="95"/>
                    <a:pt x="60" y="95"/>
                    <a:pt x="60" y="95"/>
                  </a:cubicBezTo>
                  <a:cubicBezTo>
                    <a:pt x="60" y="117"/>
                    <a:pt x="60" y="117"/>
                    <a:pt x="60" y="117"/>
                  </a:cubicBezTo>
                  <a:cubicBezTo>
                    <a:pt x="60" y="120"/>
                    <a:pt x="56" y="124"/>
                    <a:pt x="51" y="126"/>
                  </a:cubicBezTo>
                  <a:cubicBezTo>
                    <a:pt x="51" y="126"/>
                    <a:pt x="51" y="126"/>
                    <a:pt x="51" y="126"/>
                  </a:cubicBezTo>
                  <a:cubicBezTo>
                    <a:pt x="51" y="130"/>
                    <a:pt x="46" y="133"/>
                    <a:pt x="40" y="133"/>
                  </a:cubicBezTo>
                  <a:cubicBezTo>
                    <a:pt x="34" y="133"/>
                    <a:pt x="29" y="130"/>
                    <a:pt x="29" y="126"/>
                  </a:cubicBezTo>
                  <a:cubicBezTo>
                    <a:pt x="29" y="126"/>
                    <a:pt x="29" y="126"/>
                    <a:pt x="29" y="126"/>
                  </a:cubicBezTo>
                  <a:cubicBezTo>
                    <a:pt x="24" y="124"/>
                    <a:pt x="21" y="120"/>
                    <a:pt x="21" y="117"/>
                  </a:cubicBezTo>
                  <a:cubicBezTo>
                    <a:pt x="21" y="109"/>
                    <a:pt x="21" y="109"/>
                    <a:pt x="21" y="109"/>
                  </a:cubicBezTo>
                </a:path>
              </a:pathLst>
            </a:cu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08" name="Freeform 344">
              <a:extLst>
                <a:ext uri="{FF2B5EF4-FFF2-40B4-BE49-F238E27FC236}">
                  <a16:creationId xmlns:a16="http://schemas.microsoft.com/office/drawing/2014/main" id="{A2CAA0F5-8CE0-4A45-BCAB-2F2D5EF64AF4}"/>
                </a:ext>
              </a:extLst>
            </p:cNvPr>
            <p:cNvSpPr>
              <a:spLocks/>
            </p:cNvSpPr>
            <p:nvPr/>
          </p:nvSpPr>
          <p:spPr bwMode="auto">
            <a:xfrm>
              <a:off x="477838" y="2093913"/>
              <a:ext cx="63500" cy="66675"/>
            </a:xfrm>
            <a:custGeom>
              <a:avLst/>
              <a:gdLst/>
              <a:ahLst/>
              <a:cxnLst>
                <a:cxn ang="0">
                  <a:pos x="0" y="29"/>
                </a:cxn>
                <a:cxn ang="0">
                  <a:pos x="28" y="0"/>
                </a:cxn>
              </a:cxnLst>
              <a:rect l="0" t="0" r="r" b="b"/>
              <a:pathLst>
                <a:path w="28" h="29">
                  <a:moveTo>
                    <a:pt x="0" y="29"/>
                  </a:moveTo>
                  <a:cubicBezTo>
                    <a:pt x="0" y="13"/>
                    <a:pt x="13" y="0"/>
                    <a:pt x="28" y="0"/>
                  </a:cubicBezTo>
                </a:path>
              </a:pathLst>
            </a:cu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09" name="Line 345">
              <a:extLst>
                <a:ext uri="{FF2B5EF4-FFF2-40B4-BE49-F238E27FC236}">
                  <a16:creationId xmlns:a16="http://schemas.microsoft.com/office/drawing/2014/main" id="{216A663B-5278-4654-8B2A-023BB3B07577}"/>
                </a:ext>
              </a:extLst>
            </p:cNvPr>
            <p:cNvSpPr>
              <a:spLocks noChangeShapeType="1"/>
            </p:cNvSpPr>
            <p:nvPr/>
          </p:nvSpPr>
          <p:spPr bwMode="auto">
            <a:xfrm flipV="1">
              <a:off x="531813" y="1962150"/>
              <a:ext cx="1588" cy="66675"/>
            </a:xfrm>
            <a:prstGeom prst="line">
              <a:avLst/>
            </a:pr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11" name="Line 346">
              <a:extLst>
                <a:ext uri="{FF2B5EF4-FFF2-40B4-BE49-F238E27FC236}">
                  <a16:creationId xmlns:a16="http://schemas.microsoft.com/office/drawing/2014/main" id="{08086CF1-B5FA-4243-913F-BFC7A38D3F0D}"/>
                </a:ext>
              </a:extLst>
            </p:cNvPr>
            <p:cNvSpPr>
              <a:spLocks noChangeShapeType="1"/>
            </p:cNvSpPr>
            <p:nvPr/>
          </p:nvSpPr>
          <p:spPr bwMode="auto">
            <a:xfrm flipH="1" flipV="1">
              <a:off x="365126" y="2055813"/>
              <a:ext cx="58738" cy="34925"/>
            </a:xfrm>
            <a:prstGeom prst="line">
              <a:avLst/>
            </a:pr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12" name="Line 347">
              <a:extLst>
                <a:ext uri="{FF2B5EF4-FFF2-40B4-BE49-F238E27FC236}">
                  <a16:creationId xmlns:a16="http://schemas.microsoft.com/office/drawing/2014/main" id="{6A8C4237-DBC7-4B1B-83B2-85DBD3C61142}"/>
                </a:ext>
              </a:extLst>
            </p:cNvPr>
            <p:cNvSpPr>
              <a:spLocks noChangeShapeType="1"/>
            </p:cNvSpPr>
            <p:nvPr/>
          </p:nvSpPr>
          <p:spPr bwMode="auto">
            <a:xfrm flipH="1">
              <a:off x="363538" y="2214563"/>
              <a:ext cx="55563" cy="33338"/>
            </a:xfrm>
            <a:prstGeom prst="line">
              <a:avLst/>
            </a:pr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13" name="Line 348">
              <a:extLst>
                <a:ext uri="{FF2B5EF4-FFF2-40B4-BE49-F238E27FC236}">
                  <a16:creationId xmlns:a16="http://schemas.microsoft.com/office/drawing/2014/main" id="{D8FF1CDB-0B8D-47D8-B53F-0B1E51B5D847}"/>
                </a:ext>
              </a:extLst>
            </p:cNvPr>
            <p:cNvSpPr>
              <a:spLocks noChangeShapeType="1"/>
            </p:cNvSpPr>
            <p:nvPr/>
          </p:nvSpPr>
          <p:spPr bwMode="auto">
            <a:xfrm>
              <a:off x="638176" y="2220913"/>
              <a:ext cx="55563" cy="31750"/>
            </a:xfrm>
            <a:prstGeom prst="line">
              <a:avLst/>
            </a:pr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214" name="Line 349">
              <a:extLst>
                <a:ext uri="{FF2B5EF4-FFF2-40B4-BE49-F238E27FC236}">
                  <a16:creationId xmlns:a16="http://schemas.microsoft.com/office/drawing/2014/main" id="{DE5A31DC-7CE6-49B4-8B2C-4FDE2EFE853A}"/>
                </a:ext>
              </a:extLst>
            </p:cNvPr>
            <p:cNvSpPr>
              <a:spLocks noChangeShapeType="1"/>
            </p:cNvSpPr>
            <p:nvPr/>
          </p:nvSpPr>
          <p:spPr bwMode="auto">
            <a:xfrm flipV="1">
              <a:off x="639763" y="2060575"/>
              <a:ext cx="58738" cy="33338"/>
            </a:xfrm>
            <a:prstGeom prst="line">
              <a:avLst/>
            </a:prstGeom>
            <a:noFill/>
            <a:ln w="1270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pSp>
      <p:sp>
        <p:nvSpPr>
          <p:cNvPr id="2" name="Title 1">
            <a:extLst>
              <a:ext uri="{FF2B5EF4-FFF2-40B4-BE49-F238E27FC236}">
                <a16:creationId xmlns:a16="http://schemas.microsoft.com/office/drawing/2014/main" id="{8DA1814B-66E3-4B19-8217-878790082A4C}"/>
              </a:ext>
            </a:extLst>
          </p:cNvPr>
          <p:cNvSpPr>
            <a:spLocks noGrp="1"/>
          </p:cNvSpPr>
          <p:nvPr>
            <p:ph type="title"/>
          </p:nvPr>
        </p:nvSpPr>
        <p:spPr>
          <a:xfrm>
            <a:off x="303548" y="164637"/>
            <a:ext cx="11436096" cy="975360"/>
          </a:xfrm>
        </p:spPr>
        <p:txBody>
          <a:bodyPr/>
          <a:lstStyle/>
          <a:p>
            <a:r>
              <a:rPr lang="en-IN"/>
              <a:t>Approach – Features Enhancement Testing</a:t>
            </a:r>
            <a:endParaRPr lang="en-GB"/>
          </a:p>
        </p:txBody>
      </p:sp>
    </p:spTree>
    <p:extLst>
      <p:ext uri="{BB962C8B-B14F-4D97-AF65-F5344CB8AC3E}">
        <p14:creationId xmlns:p14="http://schemas.microsoft.com/office/powerpoint/2010/main" val="137668709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80F88DC4-62C7-4F8E-9F38-8074722091C1}"/>
              </a:ext>
            </a:extLst>
          </p:cNvPr>
          <p:cNvSpPr/>
          <p:nvPr/>
        </p:nvSpPr>
        <p:spPr>
          <a:xfrm>
            <a:off x="1140257" y="1346201"/>
            <a:ext cx="10480047" cy="46717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67">
              <a:latin typeface="+mj-lt"/>
            </a:endParaRPr>
          </a:p>
        </p:txBody>
      </p:sp>
      <p:sp>
        <p:nvSpPr>
          <p:cNvPr id="2" name="Title 1"/>
          <p:cNvSpPr>
            <a:spLocks noGrp="1"/>
          </p:cNvSpPr>
          <p:nvPr>
            <p:ph type="title"/>
          </p:nvPr>
        </p:nvSpPr>
        <p:spPr/>
        <p:txBody>
          <a:bodyPr/>
          <a:lstStyle/>
          <a:p>
            <a:r>
              <a:rPr lang="en-US"/>
              <a:t>Regression Testing Approach (Manual + Automation) </a:t>
            </a:r>
            <a:br>
              <a:rPr lang="en-US"/>
            </a:br>
            <a:endParaRPr lang="en-US"/>
          </a:p>
        </p:txBody>
      </p:sp>
      <p:sp>
        <p:nvSpPr>
          <p:cNvPr id="218" name="Rounded Rectangle 217"/>
          <p:cNvSpPr/>
          <p:nvPr/>
        </p:nvSpPr>
        <p:spPr>
          <a:xfrm>
            <a:off x="1640912" y="2550919"/>
            <a:ext cx="2688221" cy="1231111"/>
          </a:xfrm>
          <a:prstGeom prst="roundRect">
            <a:avLst>
              <a:gd name="adj" fmla="val 4406"/>
            </a:avLst>
          </a:prstGeom>
          <a:noFill/>
          <a:ln>
            <a:prstDash val="sysDot"/>
          </a:ln>
        </p:spPr>
        <p:style>
          <a:lnRef idx="1">
            <a:schemeClr val="dk1"/>
          </a:lnRef>
          <a:fillRef idx="2">
            <a:schemeClr val="dk1"/>
          </a:fillRef>
          <a:effectRef idx="1">
            <a:schemeClr val="dk1"/>
          </a:effectRef>
          <a:fontRef idx="minor">
            <a:schemeClr val="dk1"/>
          </a:fontRef>
        </p:style>
        <p:txBody>
          <a:bodyPr rtlCol="0" anchor="ctr"/>
          <a:lstStyle/>
          <a:p>
            <a:pPr algn="ctr"/>
            <a:endParaRPr lang="en-US" sz="800">
              <a:solidFill>
                <a:srgbClr val="000000"/>
              </a:solidFill>
              <a:latin typeface="+mj-lt"/>
            </a:endParaRPr>
          </a:p>
          <a:p>
            <a:pPr algn="ctr"/>
            <a:endParaRPr lang="en-US" sz="800">
              <a:solidFill>
                <a:srgbClr val="000000"/>
              </a:solidFill>
              <a:latin typeface="+mj-lt"/>
            </a:endParaRPr>
          </a:p>
        </p:txBody>
      </p:sp>
      <p:pic>
        <p:nvPicPr>
          <p:cNvPr id="222" name="Picture 8" descr="https://cdn2.iconfinder.com/data/icons/windows-8-metro-style/512/data_configuration.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83383" y="1585795"/>
            <a:ext cx="364463" cy="364463"/>
          </a:xfrm>
          <a:prstGeom prst="rect">
            <a:avLst/>
          </a:prstGeom>
          <a:noFill/>
          <a:extLst>
            <a:ext uri="{909E8E84-426E-40DD-AFC4-6F175D3DCCD1}">
              <a14:hiddenFill xmlns:a14="http://schemas.microsoft.com/office/drawing/2010/main">
                <a:solidFill>
                  <a:srgbClr val="FFFFFF"/>
                </a:solidFill>
              </a14:hiddenFill>
            </a:ext>
          </a:extLst>
        </p:spPr>
      </p:pic>
      <p:sp>
        <p:nvSpPr>
          <p:cNvPr id="223" name="TextBox 59"/>
          <p:cNvSpPr txBox="1"/>
          <p:nvPr/>
        </p:nvSpPr>
        <p:spPr>
          <a:xfrm>
            <a:off x="1920707" y="1498600"/>
            <a:ext cx="3320996" cy="600164"/>
          </a:xfrm>
          <a:prstGeom prst="rect">
            <a:avLst/>
          </a:prstGeom>
          <a:noFill/>
        </p:spPr>
        <p:txBody>
          <a:bodyPr wrap="square" rtlCol="0">
            <a:spAutoFit/>
          </a:bodyPr>
          <a:lstStyle/>
          <a:p>
            <a:pPr algn="ctr"/>
            <a:r>
              <a:rPr lang="en-US" sz="1100" b="1">
                <a:solidFill>
                  <a:srgbClr val="000000"/>
                </a:solidFill>
                <a:latin typeface="+mj-lt"/>
              </a:rPr>
              <a:t>MPS Existing Test Scripts +</a:t>
            </a:r>
          </a:p>
          <a:p>
            <a:pPr algn="ctr"/>
            <a:r>
              <a:rPr lang="en-US" sz="1100" b="1">
                <a:solidFill>
                  <a:srgbClr val="000000"/>
                </a:solidFill>
                <a:latin typeface="+mj-lt"/>
              </a:rPr>
              <a:t>New Features/Enhancements</a:t>
            </a:r>
          </a:p>
          <a:p>
            <a:pPr algn="ctr"/>
            <a:r>
              <a:rPr lang="en-US" sz="1100" b="1">
                <a:solidFill>
                  <a:srgbClr val="000000"/>
                </a:solidFill>
                <a:latin typeface="+mj-lt"/>
              </a:rPr>
              <a:t>(Functionality validated &amp; stable)</a:t>
            </a:r>
          </a:p>
        </p:txBody>
      </p:sp>
      <p:sp>
        <p:nvSpPr>
          <p:cNvPr id="227" name="Rounded Rectangle 226"/>
          <p:cNvSpPr/>
          <p:nvPr/>
        </p:nvSpPr>
        <p:spPr>
          <a:xfrm>
            <a:off x="5327856" y="1584436"/>
            <a:ext cx="6022763" cy="3332315"/>
          </a:xfrm>
          <a:prstGeom prst="roundRect">
            <a:avLst>
              <a:gd name="adj" fmla="val 2360"/>
            </a:avLst>
          </a:prstGeom>
          <a:ln w="12700">
            <a:prstDash val="dash"/>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467">
              <a:solidFill>
                <a:srgbClr val="000000"/>
              </a:solidFill>
              <a:latin typeface="+mj-lt"/>
            </a:endParaRPr>
          </a:p>
        </p:txBody>
      </p:sp>
      <p:sp>
        <p:nvSpPr>
          <p:cNvPr id="228" name="Circular Arrow 227"/>
          <p:cNvSpPr/>
          <p:nvPr/>
        </p:nvSpPr>
        <p:spPr>
          <a:xfrm>
            <a:off x="6062053" y="2039819"/>
            <a:ext cx="2464575" cy="2464576"/>
          </a:xfrm>
          <a:prstGeom prst="circularArrow">
            <a:avLst>
              <a:gd name="adj1" fmla="val 5544"/>
              <a:gd name="adj2" fmla="val 330680"/>
              <a:gd name="adj3" fmla="val 13823695"/>
              <a:gd name="adj4" fmla="val 17356959"/>
              <a:gd name="adj5" fmla="val 5757"/>
            </a:avLst>
          </a:prstGeom>
          <a:solidFill>
            <a:schemeClr val="tx1">
              <a:lumMod val="50000"/>
              <a:lumOff val="50000"/>
            </a:schemeClr>
          </a:solidFill>
        </p:spPr>
        <p:style>
          <a:lnRef idx="0">
            <a:schemeClr val="accent4">
              <a:hueOff val="0"/>
              <a:satOff val="0"/>
              <a:lumOff val="0"/>
              <a:alphaOff val="0"/>
            </a:schemeClr>
          </a:lnRef>
          <a:fillRef idx="1">
            <a:schemeClr val="accent4">
              <a:tint val="40000"/>
              <a:hueOff val="0"/>
              <a:satOff val="0"/>
              <a:lumOff val="0"/>
              <a:alphaOff val="0"/>
            </a:schemeClr>
          </a:fillRef>
          <a:effectRef idx="2">
            <a:schemeClr val="accent4">
              <a:tint val="40000"/>
              <a:hueOff val="0"/>
              <a:satOff val="0"/>
              <a:lumOff val="0"/>
              <a:alphaOff val="0"/>
            </a:schemeClr>
          </a:effectRef>
          <a:fontRef idx="minor">
            <a:schemeClr val="dk1">
              <a:hueOff val="0"/>
              <a:satOff val="0"/>
              <a:lumOff val="0"/>
              <a:alphaOff val="0"/>
            </a:schemeClr>
          </a:fontRef>
        </p:style>
      </p:sp>
      <p:sp>
        <p:nvSpPr>
          <p:cNvPr id="229" name="Freeform 228"/>
          <p:cNvSpPr/>
          <p:nvPr/>
        </p:nvSpPr>
        <p:spPr>
          <a:xfrm>
            <a:off x="6729239" y="2208823"/>
            <a:ext cx="1130203" cy="255333"/>
          </a:xfrm>
          <a:custGeom>
            <a:avLst/>
            <a:gdLst>
              <a:gd name="connsiteX0" fmla="*/ 0 w 1130203"/>
              <a:gd name="connsiteY0" fmla="*/ 42556 h 255333"/>
              <a:gd name="connsiteX1" fmla="*/ 42556 w 1130203"/>
              <a:gd name="connsiteY1" fmla="*/ 0 h 255333"/>
              <a:gd name="connsiteX2" fmla="*/ 1087647 w 1130203"/>
              <a:gd name="connsiteY2" fmla="*/ 0 h 255333"/>
              <a:gd name="connsiteX3" fmla="*/ 1130203 w 1130203"/>
              <a:gd name="connsiteY3" fmla="*/ 42556 h 255333"/>
              <a:gd name="connsiteX4" fmla="*/ 1130203 w 1130203"/>
              <a:gd name="connsiteY4" fmla="*/ 212777 h 255333"/>
              <a:gd name="connsiteX5" fmla="*/ 1087647 w 1130203"/>
              <a:gd name="connsiteY5" fmla="*/ 255333 h 255333"/>
              <a:gd name="connsiteX6" fmla="*/ 42556 w 1130203"/>
              <a:gd name="connsiteY6" fmla="*/ 255333 h 255333"/>
              <a:gd name="connsiteX7" fmla="*/ 0 w 1130203"/>
              <a:gd name="connsiteY7" fmla="*/ 212777 h 255333"/>
              <a:gd name="connsiteX8" fmla="*/ 0 w 1130203"/>
              <a:gd name="connsiteY8" fmla="*/ 42556 h 255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0203" h="255333">
                <a:moveTo>
                  <a:pt x="0" y="42556"/>
                </a:moveTo>
                <a:cubicBezTo>
                  <a:pt x="0" y="19053"/>
                  <a:pt x="19053" y="0"/>
                  <a:pt x="42556" y="0"/>
                </a:cubicBezTo>
                <a:lnTo>
                  <a:pt x="1087647" y="0"/>
                </a:lnTo>
                <a:cubicBezTo>
                  <a:pt x="1111150" y="0"/>
                  <a:pt x="1130203" y="19053"/>
                  <a:pt x="1130203" y="42556"/>
                </a:cubicBezTo>
                <a:lnTo>
                  <a:pt x="1130203" y="212777"/>
                </a:lnTo>
                <a:cubicBezTo>
                  <a:pt x="1130203" y="236280"/>
                  <a:pt x="1111150" y="255333"/>
                  <a:pt x="1087647" y="255333"/>
                </a:cubicBezTo>
                <a:lnTo>
                  <a:pt x="42556" y="255333"/>
                </a:lnTo>
                <a:cubicBezTo>
                  <a:pt x="19053" y="255333"/>
                  <a:pt x="0" y="236280"/>
                  <a:pt x="0" y="212777"/>
                </a:cubicBezTo>
                <a:lnTo>
                  <a:pt x="0" y="42556"/>
                </a:lnTo>
                <a:close/>
              </a:path>
            </a:pathLst>
          </a:custGeom>
          <a:solidFill>
            <a:schemeClr val="accent1"/>
          </a:solidFill>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54375" tIns="54375" rIns="54375" bIns="54375" numCol="1" spcCol="1270" anchor="ctr" anchorCtr="0">
            <a:noAutofit/>
          </a:bodyPr>
          <a:lstStyle/>
          <a:p>
            <a:pPr algn="ctr" defTabSz="488926">
              <a:lnSpc>
                <a:spcPct val="90000"/>
              </a:lnSpc>
              <a:spcBef>
                <a:spcPct val="0"/>
              </a:spcBef>
              <a:spcAft>
                <a:spcPct val="35000"/>
              </a:spcAft>
            </a:pPr>
            <a:r>
              <a:rPr lang="en-US" sz="933" b="1">
                <a:solidFill>
                  <a:srgbClr val="FFFFFF"/>
                </a:solidFill>
                <a:latin typeface="+mj-lt"/>
              </a:rPr>
              <a:t>MPS Component</a:t>
            </a:r>
          </a:p>
        </p:txBody>
      </p:sp>
      <p:sp>
        <p:nvSpPr>
          <p:cNvPr id="230" name="Freeform 229"/>
          <p:cNvSpPr/>
          <p:nvPr/>
        </p:nvSpPr>
        <p:spPr>
          <a:xfrm>
            <a:off x="7709423" y="2883267"/>
            <a:ext cx="1168939" cy="358879"/>
          </a:xfrm>
          <a:custGeom>
            <a:avLst/>
            <a:gdLst>
              <a:gd name="connsiteX0" fmla="*/ 0 w 1168939"/>
              <a:gd name="connsiteY0" fmla="*/ 59814 h 358879"/>
              <a:gd name="connsiteX1" fmla="*/ 59814 w 1168939"/>
              <a:gd name="connsiteY1" fmla="*/ 0 h 358879"/>
              <a:gd name="connsiteX2" fmla="*/ 1109125 w 1168939"/>
              <a:gd name="connsiteY2" fmla="*/ 0 h 358879"/>
              <a:gd name="connsiteX3" fmla="*/ 1168939 w 1168939"/>
              <a:gd name="connsiteY3" fmla="*/ 59814 h 358879"/>
              <a:gd name="connsiteX4" fmla="*/ 1168939 w 1168939"/>
              <a:gd name="connsiteY4" fmla="*/ 299065 h 358879"/>
              <a:gd name="connsiteX5" fmla="*/ 1109125 w 1168939"/>
              <a:gd name="connsiteY5" fmla="*/ 358879 h 358879"/>
              <a:gd name="connsiteX6" fmla="*/ 59814 w 1168939"/>
              <a:gd name="connsiteY6" fmla="*/ 358879 h 358879"/>
              <a:gd name="connsiteX7" fmla="*/ 0 w 1168939"/>
              <a:gd name="connsiteY7" fmla="*/ 299065 h 358879"/>
              <a:gd name="connsiteX8" fmla="*/ 0 w 1168939"/>
              <a:gd name="connsiteY8" fmla="*/ 59814 h 358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8939" h="358879">
                <a:moveTo>
                  <a:pt x="0" y="59814"/>
                </a:moveTo>
                <a:cubicBezTo>
                  <a:pt x="0" y="26780"/>
                  <a:pt x="26780" y="0"/>
                  <a:pt x="59814" y="0"/>
                </a:cubicBezTo>
                <a:lnTo>
                  <a:pt x="1109125" y="0"/>
                </a:lnTo>
                <a:cubicBezTo>
                  <a:pt x="1142159" y="0"/>
                  <a:pt x="1168939" y="26780"/>
                  <a:pt x="1168939" y="59814"/>
                </a:cubicBezTo>
                <a:lnTo>
                  <a:pt x="1168939" y="299065"/>
                </a:lnTo>
                <a:cubicBezTo>
                  <a:pt x="1168939" y="332099"/>
                  <a:pt x="1142159" y="358879"/>
                  <a:pt x="1109125" y="358879"/>
                </a:cubicBezTo>
                <a:lnTo>
                  <a:pt x="59814" y="358879"/>
                </a:lnTo>
                <a:cubicBezTo>
                  <a:pt x="26780" y="358879"/>
                  <a:pt x="0" y="332099"/>
                  <a:pt x="0" y="299065"/>
                </a:cubicBezTo>
                <a:lnTo>
                  <a:pt x="0" y="59814"/>
                </a:lnTo>
                <a:close/>
              </a:path>
            </a:pathLst>
          </a:custGeom>
          <a:solidFill>
            <a:schemeClr val="accent1"/>
          </a:solidFill>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59429" tIns="59429" rIns="59429" bIns="59429" numCol="1" spcCol="1270" anchor="ctr" anchorCtr="0">
            <a:noAutofit/>
          </a:bodyPr>
          <a:lstStyle/>
          <a:p>
            <a:pPr algn="ctr" defTabSz="488926">
              <a:lnSpc>
                <a:spcPct val="90000"/>
              </a:lnSpc>
              <a:spcBef>
                <a:spcPct val="0"/>
              </a:spcBef>
              <a:spcAft>
                <a:spcPct val="35000"/>
              </a:spcAft>
            </a:pPr>
            <a:r>
              <a:rPr lang="en-US" sz="933" b="1">
                <a:solidFill>
                  <a:srgbClr val="FFFFFF"/>
                </a:solidFill>
                <a:latin typeface="+mj-lt"/>
              </a:rPr>
              <a:t>Test Script</a:t>
            </a:r>
          </a:p>
        </p:txBody>
      </p:sp>
      <p:sp>
        <p:nvSpPr>
          <p:cNvPr id="231" name="Freeform 230"/>
          <p:cNvSpPr/>
          <p:nvPr/>
        </p:nvSpPr>
        <p:spPr>
          <a:xfrm>
            <a:off x="7509758" y="4081500"/>
            <a:ext cx="804679" cy="312505"/>
          </a:xfrm>
          <a:custGeom>
            <a:avLst/>
            <a:gdLst>
              <a:gd name="connsiteX0" fmla="*/ 0 w 804679"/>
              <a:gd name="connsiteY0" fmla="*/ 52085 h 312505"/>
              <a:gd name="connsiteX1" fmla="*/ 52085 w 804679"/>
              <a:gd name="connsiteY1" fmla="*/ 0 h 312505"/>
              <a:gd name="connsiteX2" fmla="*/ 752594 w 804679"/>
              <a:gd name="connsiteY2" fmla="*/ 0 h 312505"/>
              <a:gd name="connsiteX3" fmla="*/ 804679 w 804679"/>
              <a:gd name="connsiteY3" fmla="*/ 52085 h 312505"/>
              <a:gd name="connsiteX4" fmla="*/ 804679 w 804679"/>
              <a:gd name="connsiteY4" fmla="*/ 260420 h 312505"/>
              <a:gd name="connsiteX5" fmla="*/ 752594 w 804679"/>
              <a:gd name="connsiteY5" fmla="*/ 312505 h 312505"/>
              <a:gd name="connsiteX6" fmla="*/ 52085 w 804679"/>
              <a:gd name="connsiteY6" fmla="*/ 312505 h 312505"/>
              <a:gd name="connsiteX7" fmla="*/ 0 w 804679"/>
              <a:gd name="connsiteY7" fmla="*/ 260420 h 312505"/>
              <a:gd name="connsiteX8" fmla="*/ 0 w 804679"/>
              <a:gd name="connsiteY8" fmla="*/ 52085 h 312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4679" h="312505">
                <a:moveTo>
                  <a:pt x="0" y="52085"/>
                </a:moveTo>
                <a:cubicBezTo>
                  <a:pt x="0" y="23319"/>
                  <a:pt x="23319" y="0"/>
                  <a:pt x="52085" y="0"/>
                </a:cubicBezTo>
                <a:lnTo>
                  <a:pt x="752594" y="0"/>
                </a:lnTo>
                <a:cubicBezTo>
                  <a:pt x="781360" y="0"/>
                  <a:pt x="804679" y="23319"/>
                  <a:pt x="804679" y="52085"/>
                </a:cubicBezTo>
                <a:lnTo>
                  <a:pt x="804679" y="260420"/>
                </a:lnTo>
                <a:cubicBezTo>
                  <a:pt x="804679" y="289186"/>
                  <a:pt x="781360" y="312505"/>
                  <a:pt x="752594" y="312505"/>
                </a:cubicBezTo>
                <a:lnTo>
                  <a:pt x="52085" y="312505"/>
                </a:lnTo>
                <a:cubicBezTo>
                  <a:pt x="23319" y="312505"/>
                  <a:pt x="0" y="289186"/>
                  <a:pt x="0" y="260420"/>
                </a:cubicBezTo>
                <a:lnTo>
                  <a:pt x="0" y="52085"/>
                </a:lnTo>
                <a:close/>
              </a:path>
            </a:pathLst>
          </a:custGeom>
          <a:solidFill>
            <a:schemeClr val="accent1"/>
          </a:solidFill>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57165" tIns="57165" rIns="57165" bIns="57165" numCol="1" spcCol="1270" anchor="ctr" anchorCtr="0">
            <a:noAutofit/>
          </a:bodyPr>
          <a:lstStyle/>
          <a:p>
            <a:pPr algn="ctr" defTabSz="488926">
              <a:lnSpc>
                <a:spcPct val="90000"/>
              </a:lnSpc>
              <a:spcBef>
                <a:spcPct val="0"/>
              </a:spcBef>
              <a:spcAft>
                <a:spcPct val="35000"/>
              </a:spcAft>
            </a:pPr>
            <a:r>
              <a:rPr lang="en-US" sz="933" b="1">
                <a:solidFill>
                  <a:srgbClr val="FFFFFF"/>
                </a:solidFill>
                <a:latin typeface="+mj-lt"/>
              </a:rPr>
              <a:t>Test Suite</a:t>
            </a:r>
          </a:p>
        </p:txBody>
      </p:sp>
      <p:sp>
        <p:nvSpPr>
          <p:cNvPr id="232" name="Freeform 231"/>
          <p:cNvSpPr/>
          <p:nvPr/>
        </p:nvSpPr>
        <p:spPr>
          <a:xfrm>
            <a:off x="6140348" y="3850657"/>
            <a:ext cx="1017675" cy="304641"/>
          </a:xfrm>
          <a:custGeom>
            <a:avLst/>
            <a:gdLst>
              <a:gd name="connsiteX0" fmla="*/ 0 w 773367"/>
              <a:gd name="connsiteY0" fmla="*/ 50775 h 304641"/>
              <a:gd name="connsiteX1" fmla="*/ 50775 w 773367"/>
              <a:gd name="connsiteY1" fmla="*/ 0 h 304641"/>
              <a:gd name="connsiteX2" fmla="*/ 722592 w 773367"/>
              <a:gd name="connsiteY2" fmla="*/ 0 h 304641"/>
              <a:gd name="connsiteX3" fmla="*/ 773367 w 773367"/>
              <a:gd name="connsiteY3" fmla="*/ 50775 h 304641"/>
              <a:gd name="connsiteX4" fmla="*/ 773367 w 773367"/>
              <a:gd name="connsiteY4" fmla="*/ 253866 h 304641"/>
              <a:gd name="connsiteX5" fmla="*/ 722592 w 773367"/>
              <a:gd name="connsiteY5" fmla="*/ 304641 h 304641"/>
              <a:gd name="connsiteX6" fmla="*/ 50775 w 773367"/>
              <a:gd name="connsiteY6" fmla="*/ 304641 h 304641"/>
              <a:gd name="connsiteX7" fmla="*/ 0 w 773367"/>
              <a:gd name="connsiteY7" fmla="*/ 253866 h 304641"/>
              <a:gd name="connsiteX8" fmla="*/ 0 w 773367"/>
              <a:gd name="connsiteY8" fmla="*/ 50775 h 304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3367" h="304641">
                <a:moveTo>
                  <a:pt x="0" y="50775"/>
                </a:moveTo>
                <a:cubicBezTo>
                  <a:pt x="0" y="22733"/>
                  <a:pt x="22733" y="0"/>
                  <a:pt x="50775" y="0"/>
                </a:cubicBezTo>
                <a:lnTo>
                  <a:pt x="722592" y="0"/>
                </a:lnTo>
                <a:cubicBezTo>
                  <a:pt x="750634" y="0"/>
                  <a:pt x="773367" y="22733"/>
                  <a:pt x="773367" y="50775"/>
                </a:cubicBezTo>
                <a:lnTo>
                  <a:pt x="773367" y="253866"/>
                </a:lnTo>
                <a:cubicBezTo>
                  <a:pt x="773367" y="281908"/>
                  <a:pt x="750634" y="304641"/>
                  <a:pt x="722592" y="304641"/>
                </a:cubicBezTo>
                <a:lnTo>
                  <a:pt x="50775" y="304641"/>
                </a:lnTo>
                <a:cubicBezTo>
                  <a:pt x="22733" y="304641"/>
                  <a:pt x="0" y="281908"/>
                  <a:pt x="0" y="253866"/>
                </a:cubicBezTo>
                <a:lnTo>
                  <a:pt x="0" y="50775"/>
                </a:lnTo>
                <a:close/>
              </a:path>
            </a:pathLst>
          </a:custGeom>
          <a:solidFill>
            <a:schemeClr val="accent1"/>
          </a:solidFill>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56781" tIns="56781" rIns="56781" bIns="56781" numCol="1" spcCol="1270" anchor="ctr" anchorCtr="0">
            <a:noAutofit/>
          </a:bodyPr>
          <a:lstStyle/>
          <a:p>
            <a:pPr algn="ctr" defTabSz="488926">
              <a:lnSpc>
                <a:spcPct val="90000"/>
              </a:lnSpc>
              <a:spcBef>
                <a:spcPct val="0"/>
              </a:spcBef>
              <a:spcAft>
                <a:spcPct val="35000"/>
              </a:spcAft>
            </a:pPr>
            <a:r>
              <a:rPr lang="en-US" sz="933" b="1">
                <a:solidFill>
                  <a:srgbClr val="FFFFFF"/>
                </a:solidFill>
                <a:latin typeface="+mj-lt"/>
              </a:rPr>
              <a:t>Execution</a:t>
            </a:r>
          </a:p>
        </p:txBody>
      </p:sp>
      <p:sp>
        <p:nvSpPr>
          <p:cNvPr id="233" name="Freeform 232"/>
          <p:cNvSpPr/>
          <p:nvPr/>
        </p:nvSpPr>
        <p:spPr>
          <a:xfrm>
            <a:off x="5830759" y="2942929"/>
            <a:ext cx="928056" cy="239555"/>
          </a:xfrm>
          <a:custGeom>
            <a:avLst/>
            <a:gdLst>
              <a:gd name="connsiteX0" fmla="*/ 0 w 928056"/>
              <a:gd name="connsiteY0" fmla="*/ 39927 h 239555"/>
              <a:gd name="connsiteX1" fmla="*/ 39927 w 928056"/>
              <a:gd name="connsiteY1" fmla="*/ 0 h 239555"/>
              <a:gd name="connsiteX2" fmla="*/ 888129 w 928056"/>
              <a:gd name="connsiteY2" fmla="*/ 0 h 239555"/>
              <a:gd name="connsiteX3" fmla="*/ 928056 w 928056"/>
              <a:gd name="connsiteY3" fmla="*/ 39927 h 239555"/>
              <a:gd name="connsiteX4" fmla="*/ 928056 w 928056"/>
              <a:gd name="connsiteY4" fmla="*/ 199628 h 239555"/>
              <a:gd name="connsiteX5" fmla="*/ 888129 w 928056"/>
              <a:gd name="connsiteY5" fmla="*/ 239555 h 239555"/>
              <a:gd name="connsiteX6" fmla="*/ 39927 w 928056"/>
              <a:gd name="connsiteY6" fmla="*/ 239555 h 239555"/>
              <a:gd name="connsiteX7" fmla="*/ 0 w 928056"/>
              <a:gd name="connsiteY7" fmla="*/ 199628 h 239555"/>
              <a:gd name="connsiteX8" fmla="*/ 0 w 928056"/>
              <a:gd name="connsiteY8" fmla="*/ 39927 h 239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8056" h="239555">
                <a:moveTo>
                  <a:pt x="0" y="39927"/>
                </a:moveTo>
                <a:cubicBezTo>
                  <a:pt x="0" y="17876"/>
                  <a:pt x="17876" y="0"/>
                  <a:pt x="39927" y="0"/>
                </a:cubicBezTo>
                <a:lnTo>
                  <a:pt x="888129" y="0"/>
                </a:lnTo>
                <a:cubicBezTo>
                  <a:pt x="910180" y="0"/>
                  <a:pt x="928056" y="17876"/>
                  <a:pt x="928056" y="39927"/>
                </a:cubicBezTo>
                <a:lnTo>
                  <a:pt x="928056" y="199628"/>
                </a:lnTo>
                <a:cubicBezTo>
                  <a:pt x="928056" y="221679"/>
                  <a:pt x="910180" y="239555"/>
                  <a:pt x="888129" y="239555"/>
                </a:cubicBezTo>
                <a:lnTo>
                  <a:pt x="39927" y="239555"/>
                </a:lnTo>
                <a:cubicBezTo>
                  <a:pt x="17876" y="239555"/>
                  <a:pt x="0" y="221679"/>
                  <a:pt x="0" y="199628"/>
                </a:cubicBezTo>
                <a:lnTo>
                  <a:pt x="0" y="39927"/>
                </a:lnTo>
                <a:close/>
              </a:path>
            </a:pathLst>
          </a:custGeom>
          <a:solidFill>
            <a:schemeClr val="accent1"/>
          </a:solidFill>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53604" tIns="53604" rIns="53604" bIns="53604" numCol="1" spcCol="1270" anchor="ctr" anchorCtr="0">
            <a:noAutofit/>
          </a:bodyPr>
          <a:lstStyle/>
          <a:p>
            <a:pPr algn="ctr" defTabSz="488926">
              <a:lnSpc>
                <a:spcPct val="90000"/>
              </a:lnSpc>
              <a:spcBef>
                <a:spcPct val="0"/>
              </a:spcBef>
              <a:spcAft>
                <a:spcPct val="35000"/>
              </a:spcAft>
            </a:pPr>
            <a:r>
              <a:rPr lang="en-US" sz="933" b="1">
                <a:solidFill>
                  <a:srgbClr val="FFFFFF"/>
                </a:solidFill>
                <a:latin typeface="+mj-lt"/>
              </a:rPr>
              <a:t>Report</a:t>
            </a:r>
          </a:p>
        </p:txBody>
      </p:sp>
      <p:sp>
        <p:nvSpPr>
          <p:cNvPr id="234" name="TextBox 233"/>
          <p:cNvSpPr txBox="1"/>
          <p:nvPr/>
        </p:nvSpPr>
        <p:spPr>
          <a:xfrm>
            <a:off x="8220531" y="2135440"/>
            <a:ext cx="1865122" cy="379463"/>
          </a:xfrm>
          <a:prstGeom prst="rect">
            <a:avLst/>
          </a:prstGeom>
          <a:noFill/>
        </p:spPr>
        <p:txBody>
          <a:bodyPr wrap="square" rtlCol="0">
            <a:spAutoFit/>
          </a:bodyPr>
          <a:lstStyle/>
          <a:p>
            <a:r>
              <a:rPr lang="en-US" sz="933">
                <a:latin typeface="+mj-lt"/>
              </a:rPr>
              <a:t>Identify MPS individual components  for Automation </a:t>
            </a:r>
          </a:p>
        </p:txBody>
      </p:sp>
      <p:sp>
        <p:nvSpPr>
          <p:cNvPr id="235" name="TextBox 234"/>
          <p:cNvSpPr txBox="1"/>
          <p:nvPr/>
        </p:nvSpPr>
        <p:spPr>
          <a:xfrm>
            <a:off x="8390047" y="3294251"/>
            <a:ext cx="1635099" cy="523028"/>
          </a:xfrm>
          <a:prstGeom prst="rect">
            <a:avLst/>
          </a:prstGeom>
          <a:noFill/>
        </p:spPr>
        <p:txBody>
          <a:bodyPr wrap="square" rtlCol="0">
            <a:spAutoFit/>
          </a:bodyPr>
          <a:lstStyle/>
          <a:p>
            <a:r>
              <a:rPr lang="en-US" sz="933">
                <a:latin typeface="+mj-lt"/>
              </a:rPr>
              <a:t>Build test scripts for key regression Suit (Selenium, UFT)</a:t>
            </a:r>
          </a:p>
        </p:txBody>
      </p:sp>
      <p:sp>
        <p:nvSpPr>
          <p:cNvPr id="236" name="TextBox 235"/>
          <p:cNvSpPr txBox="1"/>
          <p:nvPr/>
        </p:nvSpPr>
        <p:spPr>
          <a:xfrm>
            <a:off x="7206216" y="4448124"/>
            <a:ext cx="2026073" cy="379463"/>
          </a:xfrm>
          <a:prstGeom prst="rect">
            <a:avLst/>
          </a:prstGeom>
          <a:noFill/>
        </p:spPr>
        <p:txBody>
          <a:bodyPr wrap="square" rtlCol="0">
            <a:spAutoFit/>
          </a:bodyPr>
          <a:lstStyle/>
          <a:p>
            <a:r>
              <a:rPr lang="en-US" sz="933">
                <a:latin typeface="+mj-lt"/>
              </a:rPr>
              <a:t>Build automated scripts for components- (Selenium, UFT)</a:t>
            </a:r>
          </a:p>
        </p:txBody>
      </p:sp>
      <p:sp>
        <p:nvSpPr>
          <p:cNvPr id="237" name="TextBox 236"/>
          <p:cNvSpPr txBox="1"/>
          <p:nvPr/>
        </p:nvSpPr>
        <p:spPr>
          <a:xfrm>
            <a:off x="5270305" y="4191001"/>
            <a:ext cx="1655404" cy="523028"/>
          </a:xfrm>
          <a:prstGeom prst="rect">
            <a:avLst/>
          </a:prstGeom>
          <a:noFill/>
        </p:spPr>
        <p:txBody>
          <a:bodyPr wrap="square" rtlCol="0">
            <a:spAutoFit/>
          </a:bodyPr>
          <a:lstStyle/>
          <a:p>
            <a:r>
              <a:rPr lang="en-US" sz="933">
                <a:latin typeface="+mj-lt"/>
              </a:rPr>
              <a:t>Run Automated &amp; Manual  Scripts every release/hotfix</a:t>
            </a:r>
          </a:p>
        </p:txBody>
      </p:sp>
      <p:sp>
        <p:nvSpPr>
          <p:cNvPr id="238" name="TextBox 237"/>
          <p:cNvSpPr txBox="1"/>
          <p:nvPr/>
        </p:nvSpPr>
        <p:spPr>
          <a:xfrm>
            <a:off x="5386363" y="2461569"/>
            <a:ext cx="1255348" cy="379463"/>
          </a:xfrm>
          <a:prstGeom prst="rect">
            <a:avLst/>
          </a:prstGeom>
          <a:noFill/>
        </p:spPr>
        <p:txBody>
          <a:bodyPr wrap="square" rtlCol="0">
            <a:spAutoFit/>
          </a:bodyPr>
          <a:lstStyle/>
          <a:p>
            <a:r>
              <a:rPr lang="en-US" sz="933">
                <a:latin typeface="+mj-lt"/>
              </a:rPr>
              <a:t>Execution Summary</a:t>
            </a:r>
          </a:p>
        </p:txBody>
      </p:sp>
      <p:sp>
        <p:nvSpPr>
          <p:cNvPr id="239" name="TextBox 238"/>
          <p:cNvSpPr txBox="1"/>
          <p:nvPr/>
        </p:nvSpPr>
        <p:spPr>
          <a:xfrm>
            <a:off x="8109467" y="1739191"/>
            <a:ext cx="3392371" cy="235898"/>
          </a:xfrm>
          <a:prstGeom prst="rect">
            <a:avLst/>
          </a:prstGeom>
          <a:noFill/>
        </p:spPr>
        <p:txBody>
          <a:bodyPr wrap="square" rtlCol="0">
            <a:spAutoFit/>
          </a:bodyPr>
          <a:lstStyle/>
          <a:p>
            <a:pPr algn="ctr"/>
            <a:endParaRPr lang="en-US" sz="933" b="1">
              <a:solidFill>
                <a:srgbClr val="000000"/>
              </a:solidFill>
              <a:latin typeface="+mj-lt"/>
            </a:endParaRPr>
          </a:p>
        </p:txBody>
      </p:sp>
      <p:pic>
        <p:nvPicPr>
          <p:cNvPr id="240" name="Picture 10" descr="http://icons.iconarchive.com/icons/custom-icon-design/pretty-office-3/256/accept-database-icon.png"/>
          <p:cNvPicPr>
            <a:picLocks noChangeAspect="1" noChangeArrowheads="1"/>
          </p:cNvPicPr>
          <p:nvPr/>
        </p:nvPicPr>
        <p:blipFill>
          <a:blip r:embed="rId4" cstate="print">
            <a:extLst>
              <a:ext uri="{28A0092B-C50C-407E-A947-70E740481C1C}">
                <a14:useLocalDpi xmlns:a14="http://schemas.microsoft.com/office/drawing/2010/main" val="0"/>
              </a:ext>
            </a:extLst>
          </a:blip>
          <a:srcRect l="12500"/>
          <a:stretch>
            <a:fillRect/>
          </a:stretch>
        </p:blipFill>
        <p:spPr bwMode="auto">
          <a:xfrm>
            <a:off x="8347520" y="3991582"/>
            <a:ext cx="431677" cy="45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1"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44133" y="2919539"/>
            <a:ext cx="690931" cy="5573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42" name="TextBox 241"/>
          <p:cNvSpPr txBox="1"/>
          <p:nvPr/>
        </p:nvSpPr>
        <p:spPr>
          <a:xfrm>
            <a:off x="6758815" y="3436227"/>
            <a:ext cx="1054423" cy="235898"/>
          </a:xfrm>
          <a:prstGeom prst="rect">
            <a:avLst/>
          </a:prstGeom>
          <a:noFill/>
        </p:spPr>
        <p:txBody>
          <a:bodyPr wrap="square" rtlCol="0">
            <a:spAutoFit/>
          </a:bodyPr>
          <a:lstStyle/>
          <a:p>
            <a:r>
              <a:rPr lang="en-US" sz="933" b="1">
                <a:solidFill>
                  <a:srgbClr val="000000"/>
                </a:solidFill>
                <a:latin typeface="+mj-lt"/>
              </a:rPr>
              <a:t>Iterations</a:t>
            </a:r>
          </a:p>
        </p:txBody>
      </p:sp>
      <p:sp>
        <p:nvSpPr>
          <p:cNvPr id="243" name="Right Arrow 242"/>
          <p:cNvSpPr/>
          <p:nvPr/>
        </p:nvSpPr>
        <p:spPr>
          <a:xfrm>
            <a:off x="9678139" y="3004242"/>
            <a:ext cx="527765" cy="297973"/>
          </a:xfrm>
          <a:prstGeom prst="rightArrow">
            <a:avLst/>
          </a:prstGeom>
          <a:solidFill>
            <a:schemeClr val="accent2"/>
          </a:solidFill>
          <a:ln>
            <a:noFill/>
          </a:ln>
          <a:effectLst/>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1467">
              <a:solidFill>
                <a:srgbClr val="FFFFFF"/>
              </a:solidFill>
              <a:latin typeface="+mj-lt"/>
            </a:endParaRPr>
          </a:p>
        </p:txBody>
      </p:sp>
      <p:pic>
        <p:nvPicPr>
          <p:cNvPr id="244" name="Picture 6"/>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888706" y="2613473"/>
            <a:ext cx="345465" cy="3473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5" name="Picture 10" descr="http://icons.iconarchive.com/icons/custom-icon-design/pretty-office-3/256/accept-database-icon.png"/>
          <p:cNvPicPr>
            <a:picLocks noChangeAspect="1" noChangeArrowheads="1"/>
          </p:cNvPicPr>
          <p:nvPr/>
        </p:nvPicPr>
        <p:blipFill>
          <a:blip r:embed="rId7" cstate="print">
            <a:extLst>
              <a:ext uri="{28A0092B-C50C-407E-A947-70E740481C1C}">
                <a14:useLocalDpi xmlns:a14="http://schemas.microsoft.com/office/drawing/2010/main" val="0"/>
              </a:ext>
            </a:extLst>
          </a:blip>
          <a:srcRect l="12500"/>
          <a:stretch>
            <a:fillRect/>
          </a:stretch>
        </p:blipFill>
        <p:spPr bwMode="auto">
          <a:xfrm>
            <a:off x="9103437" y="2859801"/>
            <a:ext cx="433535" cy="474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9" name="TextBox 248"/>
          <p:cNvSpPr txBox="1"/>
          <p:nvPr/>
        </p:nvSpPr>
        <p:spPr>
          <a:xfrm>
            <a:off x="8934925" y="2653240"/>
            <a:ext cx="1133159" cy="235898"/>
          </a:xfrm>
          <a:prstGeom prst="rect">
            <a:avLst/>
          </a:prstGeom>
          <a:noFill/>
        </p:spPr>
        <p:txBody>
          <a:bodyPr wrap="square" rtlCol="0">
            <a:spAutoFit/>
          </a:bodyPr>
          <a:lstStyle/>
          <a:p>
            <a:r>
              <a:rPr lang="en-US" sz="933" i="1">
                <a:solidFill>
                  <a:srgbClr val="0066A1">
                    <a:lumMod val="50000"/>
                  </a:srgbClr>
                </a:solidFill>
                <a:latin typeface="+mj-lt"/>
              </a:rPr>
              <a:t>Integration </a:t>
            </a:r>
          </a:p>
        </p:txBody>
      </p:sp>
      <p:pic>
        <p:nvPicPr>
          <p:cNvPr id="250" name="Picture 10" descr="http://icons.iconarchive.com/icons/custom-icon-design/pretty-office-3/256/accept-database-icon.png"/>
          <p:cNvPicPr>
            <a:picLocks noChangeAspect="1" noChangeArrowheads="1"/>
          </p:cNvPicPr>
          <p:nvPr/>
        </p:nvPicPr>
        <p:blipFill>
          <a:blip r:embed="rId4" cstate="print">
            <a:extLst>
              <a:ext uri="{28A0092B-C50C-407E-A947-70E740481C1C}">
                <a14:useLocalDpi xmlns:a14="http://schemas.microsoft.com/office/drawing/2010/main" val="0"/>
              </a:ext>
            </a:extLst>
          </a:blip>
          <a:srcRect l="12500"/>
          <a:stretch>
            <a:fillRect/>
          </a:stretch>
        </p:blipFill>
        <p:spPr bwMode="auto">
          <a:xfrm>
            <a:off x="10350284" y="2800060"/>
            <a:ext cx="405185" cy="4166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1" name="TextBox 250"/>
          <p:cNvSpPr txBox="1"/>
          <p:nvPr/>
        </p:nvSpPr>
        <p:spPr>
          <a:xfrm>
            <a:off x="9952396" y="3228030"/>
            <a:ext cx="1099347" cy="461665"/>
          </a:xfrm>
          <a:prstGeom prst="rect">
            <a:avLst/>
          </a:prstGeom>
          <a:noFill/>
        </p:spPr>
        <p:txBody>
          <a:bodyPr wrap="square" rtlCol="0">
            <a:spAutoFit/>
          </a:bodyPr>
          <a:lstStyle/>
          <a:p>
            <a:pPr algn="ctr"/>
            <a:r>
              <a:rPr lang="en-US" sz="800" b="1">
                <a:solidFill>
                  <a:srgbClr val="000000"/>
                </a:solidFill>
                <a:latin typeface="+mj-lt"/>
              </a:rPr>
              <a:t>Final MPS Regression Repository </a:t>
            </a:r>
          </a:p>
        </p:txBody>
      </p:sp>
      <p:sp>
        <p:nvSpPr>
          <p:cNvPr id="264" name="Right Arrow 263"/>
          <p:cNvSpPr/>
          <p:nvPr/>
        </p:nvSpPr>
        <p:spPr>
          <a:xfrm rot="5400000" flipV="1">
            <a:off x="2977779" y="2120388"/>
            <a:ext cx="339021" cy="416245"/>
          </a:xfrm>
          <a:prstGeom prst="rightArrow">
            <a:avLst/>
          </a:prstGeom>
          <a:solidFill>
            <a:schemeClr val="accent2"/>
          </a:solidFill>
          <a:ln>
            <a:noFill/>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1467">
              <a:solidFill>
                <a:srgbClr val="FFFFFF"/>
              </a:solidFill>
              <a:latin typeface="+mj-lt"/>
            </a:endParaRPr>
          </a:p>
        </p:txBody>
      </p:sp>
      <p:sp>
        <p:nvSpPr>
          <p:cNvPr id="267" name="TextBox 266"/>
          <p:cNvSpPr txBox="1"/>
          <p:nvPr/>
        </p:nvSpPr>
        <p:spPr>
          <a:xfrm>
            <a:off x="3342015" y="3874507"/>
            <a:ext cx="1520391" cy="415498"/>
          </a:xfrm>
          <a:prstGeom prst="rect">
            <a:avLst/>
          </a:prstGeom>
          <a:noFill/>
        </p:spPr>
        <p:txBody>
          <a:bodyPr wrap="square" rtlCol="0">
            <a:spAutoFit/>
          </a:bodyPr>
          <a:lstStyle/>
          <a:p>
            <a:r>
              <a:rPr lang="en-US" sz="1050">
                <a:solidFill>
                  <a:srgbClr val="000000"/>
                </a:solidFill>
                <a:latin typeface="+mj-lt"/>
              </a:rPr>
              <a:t>MPS Prioritized regression test suite</a:t>
            </a:r>
          </a:p>
        </p:txBody>
      </p:sp>
      <p:grpSp>
        <p:nvGrpSpPr>
          <p:cNvPr id="269" name="Group 869"/>
          <p:cNvGrpSpPr/>
          <p:nvPr/>
        </p:nvGrpSpPr>
        <p:grpSpPr>
          <a:xfrm>
            <a:off x="2504647" y="4155915"/>
            <a:ext cx="849560" cy="452631"/>
            <a:chOff x="0" y="0"/>
            <a:chExt cx="1132745" cy="603505"/>
          </a:xfrm>
          <a:solidFill>
            <a:schemeClr val="accent6">
              <a:lumMod val="75000"/>
            </a:schemeClr>
          </a:solidFill>
        </p:grpSpPr>
        <p:sp>
          <p:nvSpPr>
            <p:cNvPr id="270" name="Shape 867"/>
            <p:cNvSpPr/>
            <p:nvPr/>
          </p:nvSpPr>
          <p:spPr>
            <a:xfrm>
              <a:off x="0" y="0"/>
              <a:ext cx="1132745" cy="603505"/>
            </a:xfrm>
            <a:prstGeom prst="roundRect">
              <a:avLst>
                <a:gd name="adj" fmla="val 12407"/>
              </a:avLst>
            </a:prstGeom>
            <a:grpFill/>
            <a:ln w="12700" cap="flat">
              <a:noFill/>
              <a:miter lim="400000"/>
            </a:ln>
            <a:effectLst>
              <a:outerShdw blurRad="38100" dist="20000" dir="5400000" rotWithShape="0">
                <a:srgbClr val="000000">
                  <a:alpha val="38000"/>
                </a:srgbClr>
              </a:outerShdw>
            </a:effectLst>
          </p:spPr>
          <p:txBody>
            <a:bodyPr wrap="square" lIns="34289" tIns="34289" rIns="34289" bIns="34289" numCol="1" anchor="ctr">
              <a:noAutofit/>
            </a:bodyPr>
            <a:lstStyle/>
            <a:p>
              <a:pPr algn="ctr">
                <a:defRPr sz="900" b="1">
                  <a:solidFill>
                    <a:srgbClr val="FFFFFF"/>
                  </a:solidFill>
                </a:defRPr>
              </a:pPr>
              <a:endParaRPr sz="900" b="1">
                <a:solidFill>
                  <a:srgbClr val="FFFFFF"/>
                </a:solidFill>
                <a:latin typeface="+mj-lt"/>
              </a:endParaRPr>
            </a:p>
          </p:txBody>
        </p:sp>
        <p:sp>
          <p:nvSpPr>
            <p:cNvPr id="271" name="Shape 868"/>
            <p:cNvSpPr/>
            <p:nvPr/>
          </p:nvSpPr>
          <p:spPr>
            <a:xfrm>
              <a:off x="21931" y="163254"/>
              <a:ext cx="1088882" cy="276995"/>
            </a:xfrm>
            <a:prstGeom prst="rect">
              <a:avLst/>
            </a:prstGeom>
            <a:grpFill/>
            <a:ln w="12700" cap="flat">
              <a:noFill/>
              <a:miter lim="400000"/>
            </a:ln>
            <a:effectLst/>
            <a:extLst>
              <a:ext uri="{C572A759-6A51-4108-AA02-DFA0A04FC94B}">
                <ma14:wrappingTextBoxFlag xmlns="" xmlns:ma14="http://schemas.microsoft.com/office/mac/drawingml/2011/main" val="1"/>
              </a:ext>
            </a:extLst>
          </p:spPr>
          <p:txBody>
            <a:bodyPr wrap="square" lIns="34289" tIns="34289" rIns="34289" bIns="34289" numCol="1" anchor="ctr">
              <a:spAutoFit/>
            </a:bodyPr>
            <a:lstStyle>
              <a:lvl1pPr algn="ctr">
                <a:defRPr sz="900" b="1">
                  <a:solidFill>
                    <a:srgbClr val="FFFFFF"/>
                  </a:solidFill>
                </a:defRPr>
              </a:lvl1pPr>
            </a:lstStyle>
            <a:p>
              <a:r>
                <a:rPr>
                  <a:latin typeface="+mj-lt"/>
                </a:rPr>
                <a:t>R</a:t>
              </a:r>
              <a:r>
                <a:rPr lang="en-US">
                  <a:latin typeface="+mj-lt"/>
                </a:rPr>
                <a:t>isk </a:t>
              </a:r>
              <a:r>
                <a:rPr>
                  <a:latin typeface="+mj-lt"/>
                </a:rPr>
                <a:t>B</a:t>
              </a:r>
              <a:r>
                <a:rPr lang="en-US">
                  <a:latin typeface="+mj-lt"/>
                </a:rPr>
                <a:t>ased</a:t>
              </a:r>
            </a:p>
          </p:txBody>
        </p:sp>
      </p:grpSp>
      <p:sp>
        <p:nvSpPr>
          <p:cNvPr id="272" name="Shape 884"/>
          <p:cNvSpPr/>
          <p:nvPr/>
        </p:nvSpPr>
        <p:spPr>
          <a:xfrm>
            <a:off x="2359584" y="3942595"/>
            <a:ext cx="342901" cy="342901"/>
          </a:xfrm>
          <a:prstGeom prst="ellipse">
            <a:avLst/>
          </a:prstGeom>
          <a:solidFill>
            <a:srgbClr val="FFFFFF"/>
          </a:solidFill>
          <a:ln w="25400">
            <a:solidFill>
              <a:srgbClr val="00573B"/>
            </a:solidFill>
          </a:ln>
          <a:effectLst>
            <a:outerShdw blurRad="50800" dist="38100" dir="10800000" rotWithShape="0">
              <a:srgbClr val="000000">
                <a:alpha val="40000"/>
              </a:srgbClr>
            </a:outerShdw>
          </a:effectLst>
        </p:spPr>
        <p:txBody>
          <a:bodyPr lIns="34289" rIns="34289" anchor="ctr"/>
          <a:lstStyle/>
          <a:p>
            <a:pPr algn="ctr">
              <a:defRPr>
                <a:solidFill>
                  <a:srgbClr val="FFFFFF"/>
                </a:solidFill>
              </a:defRPr>
            </a:pPr>
            <a:endParaRPr sz="1467">
              <a:solidFill>
                <a:srgbClr val="FFFFFF"/>
              </a:solidFill>
              <a:latin typeface="+mj-lt"/>
            </a:endParaRPr>
          </a:p>
        </p:txBody>
      </p:sp>
      <p:pic>
        <p:nvPicPr>
          <p:cNvPr id="273" name="image18.tif" descr="https://harmon.ie/sites/default/files/images/re/solutions/social/sp_social_icon1.png"/>
          <p:cNvPicPr>
            <a:picLocks noChangeAspect="1"/>
          </p:cNvPicPr>
          <p:nvPr/>
        </p:nvPicPr>
        <p:blipFill>
          <a:blip r:embed="rId8"/>
          <a:stretch>
            <a:fillRect/>
          </a:stretch>
        </p:blipFill>
        <p:spPr>
          <a:xfrm>
            <a:off x="2414811" y="4049599"/>
            <a:ext cx="232455" cy="188660"/>
          </a:xfrm>
          <a:prstGeom prst="rect">
            <a:avLst/>
          </a:prstGeom>
          <a:noFill/>
          <a:ln w="12700">
            <a:noFill/>
            <a:miter lim="400000"/>
          </a:ln>
        </p:spPr>
      </p:pic>
      <p:cxnSp>
        <p:nvCxnSpPr>
          <p:cNvPr id="274" name="Straight Arrow Connector 273"/>
          <p:cNvCxnSpPr/>
          <p:nvPr/>
        </p:nvCxnSpPr>
        <p:spPr>
          <a:xfrm flipH="1">
            <a:off x="2929030" y="3859303"/>
            <a:ext cx="1" cy="274320"/>
          </a:xfrm>
          <a:prstGeom prst="straightConnector1">
            <a:avLst/>
          </a:prstGeom>
          <a:ln w="28575">
            <a:solidFill>
              <a:schemeClr val="accent6">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75" name="Elbow Connector 274"/>
          <p:cNvCxnSpPr/>
          <p:nvPr/>
        </p:nvCxnSpPr>
        <p:spPr>
          <a:xfrm flipV="1">
            <a:off x="3353594" y="3440801"/>
            <a:ext cx="2001001" cy="967635"/>
          </a:xfrm>
          <a:prstGeom prst="bentConnector3">
            <a:avLst>
              <a:gd name="adj1" fmla="val 71883"/>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283" name="Shape 874"/>
          <p:cNvSpPr/>
          <p:nvPr/>
        </p:nvSpPr>
        <p:spPr>
          <a:xfrm>
            <a:off x="7758771" y="5447403"/>
            <a:ext cx="470312" cy="470312"/>
          </a:xfrm>
          <a:prstGeom prst="ellipse">
            <a:avLst/>
          </a:prstGeom>
          <a:solidFill>
            <a:srgbClr val="FFFFFF"/>
          </a:solidFill>
          <a:ln w="25400">
            <a:solidFill>
              <a:schemeClr val="accent1"/>
            </a:solidFill>
          </a:ln>
          <a:effectLst>
            <a:outerShdw blurRad="50800" dist="38100" dir="10800000" rotWithShape="0">
              <a:srgbClr val="000000">
                <a:alpha val="40000"/>
              </a:srgbClr>
            </a:outerShdw>
          </a:effectLst>
        </p:spPr>
        <p:txBody>
          <a:bodyPr lIns="34289" rIns="34289" anchor="ctr"/>
          <a:lstStyle/>
          <a:p>
            <a:pPr algn="ctr">
              <a:defRPr>
                <a:solidFill>
                  <a:srgbClr val="FFFFFF"/>
                </a:solidFill>
              </a:defRPr>
            </a:pPr>
            <a:endParaRPr sz="1467">
              <a:solidFill>
                <a:srgbClr val="FFFFFF"/>
              </a:solidFill>
              <a:latin typeface="+mj-lt"/>
            </a:endParaRPr>
          </a:p>
        </p:txBody>
      </p:sp>
      <p:pic>
        <p:nvPicPr>
          <p:cNvPr id="284" name="image17.png" descr="http://www.iconsplace.com/download/orange-data-configuration-256.png"/>
          <p:cNvPicPr>
            <a:picLocks noChangeAspect="1"/>
          </p:cNvPicPr>
          <p:nvPr/>
        </p:nvPicPr>
        <p:blipFill>
          <a:blip r:embed="rId9">
            <a:extLst>
              <a:ext uri="{BEBA8EAE-BF5A-486C-A8C5-ECC9F3942E4B}">
                <a14:imgProps xmlns:a14="http://schemas.microsoft.com/office/drawing/2010/main">
                  <a14:imgLayer r:embed="rId10">
                    <a14:imgEffect>
                      <a14:saturation sat="0"/>
                    </a14:imgEffect>
                  </a14:imgLayer>
                </a14:imgProps>
              </a:ext>
            </a:extLst>
          </a:blip>
          <a:stretch>
            <a:fillRect/>
          </a:stretch>
        </p:blipFill>
        <p:spPr>
          <a:xfrm>
            <a:off x="7863860" y="5511988"/>
            <a:ext cx="319677" cy="319677"/>
          </a:xfrm>
          <a:prstGeom prst="rect">
            <a:avLst/>
          </a:prstGeom>
          <a:ln w="12700">
            <a:miter lim="400000"/>
          </a:ln>
        </p:spPr>
      </p:pic>
      <p:sp>
        <p:nvSpPr>
          <p:cNvPr id="285" name="Chevron 113"/>
          <p:cNvSpPr/>
          <p:nvPr/>
        </p:nvSpPr>
        <p:spPr>
          <a:xfrm rot="5400000">
            <a:off x="7863783" y="4989585"/>
            <a:ext cx="260288" cy="231843"/>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a:solidFill>
                <a:prstClr val="black"/>
              </a:solidFill>
              <a:latin typeface="+mj-lt"/>
            </a:endParaRPr>
          </a:p>
        </p:txBody>
      </p:sp>
      <p:sp>
        <p:nvSpPr>
          <p:cNvPr id="286" name="Shape 887"/>
          <p:cNvSpPr/>
          <p:nvPr/>
        </p:nvSpPr>
        <p:spPr>
          <a:xfrm>
            <a:off x="8314435" y="5388859"/>
            <a:ext cx="2289869" cy="379463"/>
          </a:xfrm>
          <a:prstGeom prst="rect">
            <a:avLst/>
          </a:prstGeom>
          <a:ln w="12700">
            <a:miter lim="400000"/>
          </a:ln>
          <a:extLst>
            <a:ext uri="{C572A759-6A51-4108-AA02-DFA0A04FC94B}">
              <ma14:wrappingTextBoxFlag xmlns="" xmlns:ma14="http://schemas.microsoft.com/office/mac/drawingml/2011/main" val="1"/>
            </a:ext>
          </a:extLst>
        </p:spPr>
        <p:txBody>
          <a:bodyPr wrap="square" lIns="34289" rIns="34289">
            <a:spAutoFit/>
          </a:bodyPr>
          <a:lstStyle>
            <a:lvl1pPr algn="ctr">
              <a:defRPr sz="1200" b="1" i="1">
                <a:solidFill>
                  <a:srgbClr val="00573B"/>
                </a:solidFill>
                <a:latin typeface="+mn-lt"/>
                <a:ea typeface="+mn-ea"/>
                <a:cs typeface="+mn-cs"/>
                <a:sym typeface="Calibri"/>
              </a:defRPr>
            </a:lvl1pPr>
          </a:lstStyle>
          <a:p>
            <a:pPr algn="l"/>
            <a:r>
              <a:rPr lang="en-US" sz="933" i="0">
                <a:solidFill>
                  <a:schemeClr val="tx1"/>
                </a:solidFill>
                <a:latin typeface="+mj-lt"/>
              </a:rPr>
              <a:t>Optimized MPS Regression Inventory (Manual +Automation)</a:t>
            </a:r>
            <a:endParaRPr sz="933" i="0">
              <a:solidFill>
                <a:schemeClr val="tx1"/>
              </a:solidFill>
              <a:latin typeface="+mj-lt"/>
            </a:endParaRPr>
          </a:p>
        </p:txBody>
      </p:sp>
      <p:sp>
        <p:nvSpPr>
          <p:cNvPr id="289" name="TextBox 288"/>
          <p:cNvSpPr txBox="1"/>
          <p:nvPr/>
        </p:nvSpPr>
        <p:spPr>
          <a:xfrm>
            <a:off x="2252905" y="5346405"/>
            <a:ext cx="2001001" cy="235898"/>
          </a:xfrm>
          <a:prstGeom prst="rect">
            <a:avLst/>
          </a:prstGeom>
          <a:noFill/>
        </p:spPr>
        <p:txBody>
          <a:bodyPr wrap="square" rtlCol="0">
            <a:spAutoFit/>
          </a:bodyPr>
          <a:lstStyle/>
          <a:p>
            <a:r>
              <a:rPr lang="en-US" sz="933" b="1">
                <a:solidFill>
                  <a:srgbClr val="000000"/>
                </a:solidFill>
                <a:latin typeface="+mj-lt"/>
              </a:rPr>
              <a:t>Automation Enablers</a:t>
            </a:r>
          </a:p>
        </p:txBody>
      </p:sp>
      <p:sp>
        <p:nvSpPr>
          <p:cNvPr id="293" name="TextBox 292"/>
          <p:cNvSpPr txBox="1"/>
          <p:nvPr/>
        </p:nvSpPr>
        <p:spPr>
          <a:xfrm>
            <a:off x="1214171" y="3826863"/>
            <a:ext cx="1354645" cy="577081"/>
          </a:xfrm>
          <a:prstGeom prst="rect">
            <a:avLst/>
          </a:prstGeom>
          <a:noFill/>
        </p:spPr>
        <p:txBody>
          <a:bodyPr wrap="square" rtlCol="0">
            <a:spAutoFit/>
          </a:bodyPr>
          <a:lstStyle/>
          <a:p>
            <a:r>
              <a:rPr lang="en-US" sz="1050">
                <a:solidFill>
                  <a:srgbClr val="000000"/>
                </a:solidFill>
                <a:latin typeface="+mj-lt"/>
              </a:rPr>
              <a:t>MPS Business  Criticality &amp; Impacts</a:t>
            </a:r>
          </a:p>
        </p:txBody>
      </p:sp>
      <p:sp>
        <p:nvSpPr>
          <p:cNvPr id="3" name="TextBox 2"/>
          <p:cNvSpPr txBox="1"/>
          <p:nvPr/>
        </p:nvSpPr>
        <p:spPr>
          <a:xfrm>
            <a:off x="8114497" y="4923506"/>
            <a:ext cx="3222315" cy="461665"/>
          </a:xfrm>
          <a:prstGeom prst="rect">
            <a:avLst/>
          </a:prstGeom>
          <a:noFill/>
        </p:spPr>
        <p:txBody>
          <a:bodyPr wrap="square" rtlCol="0">
            <a:spAutoFit/>
          </a:bodyPr>
          <a:lstStyle/>
          <a:p>
            <a:pPr algn="ctr"/>
            <a:r>
              <a:rPr lang="en-IN" sz="1200">
                <a:solidFill>
                  <a:prstClr val="black"/>
                </a:solidFill>
                <a:latin typeface="+mj-lt"/>
              </a:rPr>
              <a:t>Analyse and choose the end-to-end critical business flows test cases</a:t>
            </a:r>
          </a:p>
        </p:txBody>
      </p:sp>
      <p:sp>
        <p:nvSpPr>
          <p:cNvPr id="65" name="Freeform 64"/>
          <p:cNvSpPr/>
          <p:nvPr/>
        </p:nvSpPr>
        <p:spPr>
          <a:xfrm>
            <a:off x="3228939" y="2764506"/>
            <a:ext cx="855143" cy="375555"/>
          </a:xfrm>
          <a:custGeom>
            <a:avLst/>
            <a:gdLst>
              <a:gd name="connsiteX0" fmla="*/ 0 w 1504315"/>
              <a:gd name="connsiteY0" fmla="*/ 59523 h 357128"/>
              <a:gd name="connsiteX1" fmla="*/ 59523 w 1504315"/>
              <a:gd name="connsiteY1" fmla="*/ 0 h 357128"/>
              <a:gd name="connsiteX2" fmla="*/ 1444792 w 1504315"/>
              <a:gd name="connsiteY2" fmla="*/ 0 h 357128"/>
              <a:gd name="connsiteX3" fmla="*/ 1504315 w 1504315"/>
              <a:gd name="connsiteY3" fmla="*/ 59523 h 357128"/>
              <a:gd name="connsiteX4" fmla="*/ 1504315 w 1504315"/>
              <a:gd name="connsiteY4" fmla="*/ 297605 h 357128"/>
              <a:gd name="connsiteX5" fmla="*/ 1444792 w 1504315"/>
              <a:gd name="connsiteY5" fmla="*/ 357128 h 357128"/>
              <a:gd name="connsiteX6" fmla="*/ 59523 w 1504315"/>
              <a:gd name="connsiteY6" fmla="*/ 357128 h 357128"/>
              <a:gd name="connsiteX7" fmla="*/ 0 w 1504315"/>
              <a:gd name="connsiteY7" fmla="*/ 297605 h 357128"/>
              <a:gd name="connsiteX8" fmla="*/ 0 w 1504315"/>
              <a:gd name="connsiteY8" fmla="*/ 59523 h 35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4315" h="357128">
                <a:moveTo>
                  <a:pt x="0" y="59523"/>
                </a:moveTo>
                <a:cubicBezTo>
                  <a:pt x="0" y="26649"/>
                  <a:pt x="26649" y="0"/>
                  <a:pt x="59523" y="0"/>
                </a:cubicBezTo>
                <a:lnTo>
                  <a:pt x="1444792" y="0"/>
                </a:lnTo>
                <a:cubicBezTo>
                  <a:pt x="1477666" y="0"/>
                  <a:pt x="1504315" y="26649"/>
                  <a:pt x="1504315" y="59523"/>
                </a:cubicBezTo>
                <a:lnTo>
                  <a:pt x="1504315" y="297605"/>
                </a:lnTo>
                <a:cubicBezTo>
                  <a:pt x="1504315" y="330479"/>
                  <a:pt x="1477666" y="357128"/>
                  <a:pt x="1444792" y="357128"/>
                </a:cubicBezTo>
                <a:lnTo>
                  <a:pt x="59523" y="357128"/>
                </a:lnTo>
                <a:cubicBezTo>
                  <a:pt x="26649" y="357128"/>
                  <a:pt x="0" y="330479"/>
                  <a:pt x="0" y="297605"/>
                </a:cubicBezTo>
                <a:lnTo>
                  <a:pt x="0" y="59523"/>
                </a:lnTo>
                <a:close/>
              </a:path>
            </a:pathLst>
          </a:custGeom>
          <a:solidFill>
            <a:schemeClr val="bg1"/>
          </a:solidFill>
          <a:ln w="6350">
            <a:solidFill>
              <a:srgbClr val="A626AA"/>
            </a:solidFill>
          </a:ln>
        </p:spPr>
        <p:style>
          <a:lnRef idx="2">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8541" tIns="58541" rIns="58541" bIns="58541" numCol="1" spcCol="1270" anchor="ctr" anchorCtr="0">
            <a:noAutofit/>
          </a:bodyPr>
          <a:lstStyle/>
          <a:p>
            <a:pPr algn="ctr" defTabSz="444478">
              <a:lnSpc>
                <a:spcPct val="90000"/>
              </a:lnSpc>
              <a:spcBef>
                <a:spcPct val="0"/>
              </a:spcBef>
              <a:spcAft>
                <a:spcPct val="10000"/>
              </a:spcAft>
            </a:pPr>
            <a:r>
              <a:rPr lang="en-US" sz="900" i="1">
                <a:solidFill>
                  <a:srgbClr val="000000">
                    <a:hueOff val="0"/>
                    <a:satOff val="0"/>
                    <a:lumOff val="0"/>
                    <a:alphaOff val="0"/>
                  </a:srgbClr>
                </a:solidFill>
                <a:latin typeface="+mj-lt"/>
              </a:rPr>
              <a:t>High Data dependence</a:t>
            </a:r>
          </a:p>
        </p:txBody>
      </p:sp>
      <p:sp>
        <p:nvSpPr>
          <p:cNvPr id="66" name="Freeform 65"/>
          <p:cNvSpPr/>
          <p:nvPr/>
        </p:nvSpPr>
        <p:spPr>
          <a:xfrm>
            <a:off x="2252905" y="2788015"/>
            <a:ext cx="855143" cy="375555"/>
          </a:xfrm>
          <a:custGeom>
            <a:avLst/>
            <a:gdLst>
              <a:gd name="connsiteX0" fmla="*/ 0 w 1504315"/>
              <a:gd name="connsiteY0" fmla="*/ 59523 h 357128"/>
              <a:gd name="connsiteX1" fmla="*/ 59523 w 1504315"/>
              <a:gd name="connsiteY1" fmla="*/ 0 h 357128"/>
              <a:gd name="connsiteX2" fmla="*/ 1444792 w 1504315"/>
              <a:gd name="connsiteY2" fmla="*/ 0 h 357128"/>
              <a:gd name="connsiteX3" fmla="*/ 1504315 w 1504315"/>
              <a:gd name="connsiteY3" fmla="*/ 59523 h 357128"/>
              <a:gd name="connsiteX4" fmla="*/ 1504315 w 1504315"/>
              <a:gd name="connsiteY4" fmla="*/ 297605 h 357128"/>
              <a:gd name="connsiteX5" fmla="*/ 1444792 w 1504315"/>
              <a:gd name="connsiteY5" fmla="*/ 357128 h 357128"/>
              <a:gd name="connsiteX6" fmla="*/ 59523 w 1504315"/>
              <a:gd name="connsiteY6" fmla="*/ 357128 h 357128"/>
              <a:gd name="connsiteX7" fmla="*/ 0 w 1504315"/>
              <a:gd name="connsiteY7" fmla="*/ 297605 h 357128"/>
              <a:gd name="connsiteX8" fmla="*/ 0 w 1504315"/>
              <a:gd name="connsiteY8" fmla="*/ 59523 h 35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4315" h="357128">
                <a:moveTo>
                  <a:pt x="0" y="59523"/>
                </a:moveTo>
                <a:cubicBezTo>
                  <a:pt x="0" y="26649"/>
                  <a:pt x="26649" y="0"/>
                  <a:pt x="59523" y="0"/>
                </a:cubicBezTo>
                <a:lnTo>
                  <a:pt x="1444792" y="0"/>
                </a:lnTo>
                <a:cubicBezTo>
                  <a:pt x="1477666" y="0"/>
                  <a:pt x="1504315" y="26649"/>
                  <a:pt x="1504315" y="59523"/>
                </a:cubicBezTo>
                <a:lnTo>
                  <a:pt x="1504315" y="297605"/>
                </a:lnTo>
                <a:cubicBezTo>
                  <a:pt x="1504315" y="330479"/>
                  <a:pt x="1477666" y="357128"/>
                  <a:pt x="1444792" y="357128"/>
                </a:cubicBezTo>
                <a:lnTo>
                  <a:pt x="59523" y="357128"/>
                </a:lnTo>
                <a:cubicBezTo>
                  <a:pt x="26649" y="357128"/>
                  <a:pt x="0" y="330479"/>
                  <a:pt x="0" y="297605"/>
                </a:cubicBezTo>
                <a:lnTo>
                  <a:pt x="0" y="59523"/>
                </a:lnTo>
                <a:close/>
              </a:path>
            </a:pathLst>
          </a:custGeom>
          <a:solidFill>
            <a:schemeClr val="bg1"/>
          </a:solidFill>
          <a:ln w="6350">
            <a:solidFill>
              <a:srgbClr val="A626AA"/>
            </a:solidFill>
          </a:ln>
        </p:spPr>
        <p:style>
          <a:lnRef idx="2">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8541" tIns="58541" rIns="58541" bIns="58541" numCol="1" spcCol="1270" anchor="ctr" anchorCtr="0">
            <a:noAutofit/>
          </a:bodyPr>
          <a:lstStyle/>
          <a:p>
            <a:pPr algn="ctr" defTabSz="444478">
              <a:lnSpc>
                <a:spcPct val="90000"/>
              </a:lnSpc>
              <a:spcBef>
                <a:spcPct val="0"/>
              </a:spcBef>
              <a:spcAft>
                <a:spcPct val="10000"/>
              </a:spcAft>
            </a:pPr>
            <a:r>
              <a:rPr lang="en-US" sz="900" i="1">
                <a:solidFill>
                  <a:srgbClr val="000000">
                    <a:hueOff val="0"/>
                    <a:satOff val="0"/>
                    <a:lumOff val="0"/>
                    <a:alphaOff val="0"/>
                  </a:srgbClr>
                </a:solidFill>
                <a:latin typeface="+mj-lt"/>
              </a:rPr>
              <a:t>Functional Complexity</a:t>
            </a:r>
          </a:p>
        </p:txBody>
      </p:sp>
      <p:pic>
        <p:nvPicPr>
          <p:cNvPr id="67" name="Picture 8"/>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790488" y="2740586"/>
            <a:ext cx="356387" cy="391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8" name="Freeform 67"/>
          <p:cNvSpPr/>
          <p:nvPr/>
        </p:nvSpPr>
        <p:spPr>
          <a:xfrm>
            <a:off x="1879594" y="3224823"/>
            <a:ext cx="1253017" cy="357128"/>
          </a:xfrm>
          <a:custGeom>
            <a:avLst/>
            <a:gdLst>
              <a:gd name="connsiteX0" fmla="*/ 0 w 1504315"/>
              <a:gd name="connsiteY0" fmla="*/ 59523 h 357128"/>
              <a:gd name="connsiteX1" fmla="*/ 59523 w 1504315"/>
              <a:gd name="connsiteY1" fmla="*/ 0 h 357128"/>
              <a:gd name="connsiteX2" fmla="*/ 1444792 w 1504315"/>
              <a:gd name="connsiteY2" fmla="*/ 0 h 357128"/>
              <a:gd name="connsiteX3" fmla="*/ 1504315 w 1504315"/>
              <a:gd name="connsiteY3" fmla="*/ 59523 h 357128"/>
              <a:gd name="connsiteX4" fmla="*/ 1504315 w 1504315"/>
              <a:gd name="connsiteY4" fmla="*/ 297605 h 357128"/>
              <a:gd name="connsiteX5" fmla="*/ 1444792 w 1504315"/>
              <a:gd name="connsiteY5" fmla="*/ 357128 h 357128"/>
              <a:gd name="connsiteX6" fmla="*/ 59523 w 1504315"/>
              <a:gd name="connsiteY6" fmla="*/ 357128 h 357128"/>
              <a:gd name="connsiteX7" fmla="*/ 0 w 1504315"/>
              <a:gd name="connsiteY7" fmla="*/ 297605 h 357128"/>
              <a:gd name="connsiteX8" fmla="*/ 0 w 1504315"/>
              <a:gd name="connsiteY8" fmla="*/ 59523 h 35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4315" h="357128">
                <a:moveTo>
                  <a:pt x="0" y="59523"/>
                </a:moveTo>
                <a:cubicBezTo>
                  <a:pt x="0" y="26649"/>
                  <a:pt x="26649" y="0"/>
                  <a:pt x="59523" y="0"/>
                </a:cubicBezTo>
                <a:lnTo>
                  <a:pt x="1444792" y="0"/>
                </a:lnTo>
                <a:cubicBezTo>
                  <a:pt x="1477666" y="0"/>
                  <a:pt x="1504315" y="26649"/>
                  <a:pt x="1504315" y="59523"/>
                </a:cubicBezTo>
                <a:lnTo>
                  <a:pt x="1504315" y="297605"/>
                </a:lnTo>
                <a:cubicBezTo>
                  <a:pt x="1504315" y="330479"/>
                  <a:pt x="1477666" y="357128"/>
                  <a:pt x="1444792" y="357128"/>
                </a:cubicBezTo>
                <a:lnTo>
                  <a:pt x="59523" y="357128"/>
                </a:lnTo>
                <a:cubicBezTo>
                  <a:pt x="26649" y="357128"/>
                  <a:pt x="0" y="330479"/>
                  <a:pt x="0" y="297605"/>
                </a:cubicBezTo>
                <a:lnTo>
                  <a:pt x="0" y="59523"/>
                </a:lnTo>
                <a:close/>
              </a:path>
            </a:pathLst>
          </a:custGeom>
          <a:solidFill>
            <a:schemeClr val="bg1"/>
          </a:solidFill>
          <a:ln w="6350">
            <a:solidFill>
              <a:srgbClr val="A626AA"/>
            </a:solidFill>
          </a:ln>
        </p:spPr>
        <p:style>
          <a:lnRef idx="2">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8541" tIns="58541" rIns="58541" bIns="58541" numCol="1" spcCol="1270" anchor="ctr" anchorCtr="0">
            <a:noAutofit/>
          </a:bodyPr>
          <a:lstStyle/>
          <a:p>
            <a:pPr algn="ctr" defTabSz="444478">
              <a:lnSpc>
                <a:spcPct val="90000"/>
              </a:lnSpc>
              <a:spcBef>
                <a:spcPct val="0"/>
              </a:spcBef>
              <a:spcAft>
                <a:spcPct val="10000"/>
              </a:spcAft>
            </a:pPr>
            <a:r>
              <a:rPr lang="en-US" sz="900" i="1">
                <a:solidFill>
                  <a:srgbClr val="000000">
                    <a:hueOff val="0"/>
                    <a:satOff val="0"/>
                    <a:lumOff val="0"/>
                    <a:alphaOff val="0"/>
                  </a:srgbClr>
                </a:solidFill>
                <a:latin typeface="+mj-lt"/>
              </a:rPr>
              <a:t>Process Interdependencies</a:t>
            </a:r>
          </a:p>
        </p:txBody>
      </p:sp>
      <p:sp>
        <p:nvSpPr>
          <p:cNvPr id="69" name="Freeform 68"/>
          <p:cNvSpPr/>
          <p:nvPr/>
        </p:nvSpPr>
        <p:spPr>
          <a:xfrm>
            <a:off x="3241673" y="3218869"/>
            <a:ext cx="819729" cy="357128"/>
          </a:xfrm>
          <a:custGeom>
            <a:avLst/>
            <a:gdLst>
              <a:gd name="connsiteX0" fmla="*/ 0 w 1504315"/>
              <a:gd name="connsiteY0" fmla="*/ 59523 h 357128"/>
              <a:gd name="connsiteX1" fmla="*/ 59523 w 1504315"/>
              <a:gd name="connsiteY1" fmla="*/ 0 h 357128"/>
              <a:gd name="connsiteX2" fmla="*/ 1444792 w 1504315"/>
              <a:gd name="connsiteY2" fmla="*/ 0 h 357128"/>
              <a:gd name="connsiteX3" fmla="*/ 1504315 w 1504315"/>
              <a:gd name="connsiteY3" fmla="*/ 59523 h 357128"/>
              <a:gd name="connsiteX4" fmla="*/ 1504315 w 1504315"/>
              <a:gd name="connsiteY4" fmla="*/ 297605 h 357128"/>
              <a:gd name="connsiteX5" fmla="*/ 1444792 w 1504315"/>
              <a:gd name="connsiteY5" fmla="*/ 357128 h 357128"/>
              <a:gd name="connsiteX6" fmla="*/ 59523 w 1504315"/>
              <a:gd name="connsiteY6" fmla="*/ 357128 h 357128"/>
              <a:gd name="connsiteX7" fmla="*/ 0 w 1504315"/>
              <a:gd name="connsiteY7" fmla="*/ 297605 h 357128"/>
              <a:gd name="connsiteX8" fmla="*/ 0 w 1504315"/>
              <a:gd name="connsiteY8" fmla="*/ 59523 h 35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4315" h="357128">
                <a:moveTo>
                  <a:pt x="0" y="59523"/>
                </a:moveTo>
                <a:cubicBezTo>
                  <a:pt x="0" y="26649"/>
                  <a:pt x="26649" y="0"/>
                  <a:pt x="59523" y="0"/>
                </a:cubicBezTo>
                <a:lnTo>
                  <a:pt x="1444792" y="0"/>
                </a:lnTo>
                <a:cubicBezTo>
                  <a:pt x="1477666" y="0"/>
                  <a:pt x="1504315" y="26649"/>
                  <a:pt x="1504315" y="59523"/>
                </a:cubicBezTo>
                <a:lnTo>
                  <a:pt x="1504315" y="297605"/>
                </a:lnTo>
                <a:cubicBezTo>
                  <a:pt x="1504315" y="330479"/>
                  <a:pt x="1477666" y="357128"/>
                  <a:pt x="1444792" y="357128"/>
                </a:cubicBezTo>
                <a:lnTo>
                  <a:pt x="59523" y="357128"/>
                </a:lnTo>
                <a:cubicBezTo>
                  <a:pt x="26649" y="357128"/>
                  <a:pt x="0" y="330479"/>
                  <a:pt x="0" y="297605"/>
                </a:cubicBezTo>
                <a:lnTo>
                  <a:pt x="0" y="59523"/>
                </a:lnTo>
                <a:close/>
              </a:path>
            </a:pathLst>
          </a:custGeom>
          <a:solidFill>
            <a:schemeClr val="bg1"/>
          </a:solidFill>
          <a:ln w="6350">
            <a:solidFill>
              <a:srgbClr val="A626AA"/>
            </a:solidFill>
          </a:ln>
        </p:spPr>
        <p:style>
          <a:lnRef idx="2">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8541" tIns="58541" rIns="58541" bIns="58541" numCol="1" spcCol="1270" anchor="ctr" anchorCtr="0">
            <a:noAutofit/>
          </a:bodyPr>
          <a:lstStyle/>
          <a:p>
            <a:pPr algn="ctr" defTabSz="444478">
              <a:lnSpc>
                <a:spcPct val="90000"/>
              </a:lnSpc>
              <a:spcBef>
                <a:spcPct val="0"/>
              </a:spcBef>
              <a:spcAft>
                <a:spcPct val="10000"/>
              </a:spcAft>
            </a:pPr>
            <a:r>
              <a:rPr lang="en-US" sz="900" i="1">
                <a:solidFill>
                  <a:srgbClr val="000000">
                    <a:hueOff val="0"/>
                    <a:satOff val="0"/>
                    <a:lumOff val="0"/>
                    <a:alphaOff val="0"/>
                  </a:srgbClr>
                </a:solidFill>
                <a:latin typeface="+mj-lt"/>
              </a:rPr>
              <a:t>Automation Feasibility</a:t>
            </a:r>
          </a:p>
        </p:txBody>
      </p:sp>
      <p:sp>
        <p:nvSpPr>
          <p:cNvPr id="70" name="Rectangle 69">
            <a:extLst>
              <a:ext uri="{FF2B5EF4-FFF2-40B4-BE49-F238E27FC236}">
                <a16:creationId xmlns:a16="http://schemas.microsoft.com/office/drawing/2014/main" id="{5CF2FB30-CD2C-4506-9428-E4D55A1E920C}"/>
              </a:ext>
            </a:extLst>
          </p:cNvPr>
          <p:cNvSpPr/>
          <p:nvPr/>
        </p:nvSpPr>
        <p:spPr>
          <a:xfrm>
            <a:off x="3916417" y="4980514"/>
            <a:ext cx="2519680" cy="851151"/>
          </a:xfrm>
          <a:prstGeom prst="rect">
            <a:avLst/>
          </a:prstGeom>
          <a:solidFill>
            <a:schemeClr val="bg1"/>
          </a:solidFill>
          <a:ln w="25400" cap="flat" cmpd="sng" algn="ctr">
            <a:noFill/>
            <a:prstDash val="solid"/>
          </a:ln>
          <a:effectLst>
            <a:outerShdw blurRad="50800" dist="38100" dir="2700000" algn="tl" rotWithShape="0">
              <a:prstClr val="black">
                <a:alpha val="40000"/>
              </a:prstClr>
            </a:outerShdw>
          </a:effectLst>
        </p:spPr>
        <p:txBody>
          <a:bodyPr rtlCol="0" anchor="t" anchorCtr="0"/>
          <a:lstStyle/>
          <a:p>
            <a:pPr algn="ctr" defTabSz="1219170">
              <a:defRPr/>
            </a:pPr>
            <a:r>
              <a:rPr lang="en-US" sz="1100" kern="0">
                <a:solidFill>
                  <a:sysClr val="windowText" lastClr="000000"/>
                </a:solidFill>
                <a:latin typeface="+mj-lt"/>
              </a:rPr>
              <a:t>Test Data Management</a:t>
            </a:r>
          </a:p>
        </p:txBody>
      </p:sp>
      <p:sp>
        <p:nvSpPr>
          <p:cNvPr id="71" name="TextBox 70">
            <a:extLst>
              <a:ext uri="{FF2B5EF4-FFF2-40B4-BE49-F238E27FC236}">
                <a16:creationId xmlns:a16="http://schemas.microsoft.com/office/drawing/2014/main" id="{C460107B-2F17-4C03-A5A2-88F692C0D21D}"/>
              </a:ext>
            </a:extLst>
          </p:cNvPr>
          <p:cNvSpPr txBox="1"/>
          <p:nvPr/>
        </p:nvSpPr>
        <p:spPr>
          <a:xfrm>
            <a:off x="4084082" y="5273357"/>
            <a:ext cx="2193917" cy="379463"/>
          </a:xfrm>
          <a:prstGeom prst="rect">
            <a:avLst/>
          </a:prstGeom>
          <a:solidFill>
            <a:schemeClr val="accent4">
              <a:lumMod val="75000"/>
            </a:schemeClr>
          </a:solidFill>
          <a:effectLst/>
        </p:spPr>
        <p:txBody>
          <a:bodyPr wrap="square" rtlCol="0">
            <a:spAutoFit/>
          </a:bodyPr>
          <a:lstStyle/>
          <a:p>
            <a:pPr lvl="0" algn="ctr">
              <a:defRPr/>
            </a:pPr>
            <a:r>
              <a:rPr lang="en-US" sz="933" b="1" kern="0">
                <a:solidFill>
                  <a:schemeClr val="bg1"/>
                </a:solidFill>
                <a:latin typeface="+mj-lt"/>
              </a:rPr>
              <a:t>Automated generation of test data database/Manual </a:t>
            </a:r>
          </a:p>
        </p:txBody>
      </p:sp>
      <p:sp>
        <p:nvSpPr>
          <p:cNvPr id="5" name="Oval 4">
            <a:extLst>
              <a:ext uri="{FF2B5EF4-FFF2-40B4-BE49-F238E27FC236}">
                <a16:creationId xmlns:a16="http://schemas.microsoft.com/office/drawing/2014/main" id="{1587CCC6-56D5-417E-817A-5BF83707C570}"/>
              </a:ext>
            </a:extLst>
          </p:cNvPr>
          <p:cNvSpPr/>
          <p:nvPr/>
        </p:nvSpPr>
        <p:spPr>
          <a:xfrm>
            <a:off x="7358539" y="3974766"/>
            <a:ext cx="300023" cy="262985"/>
          </a:xfrm>
          <a:prstGeom prst="ellipse">
            <a:avLst/>
          </a:prstGeom>
          <a:solidFill>
            <a:srgbClr val="9E9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933" b="1">
                <a:solidFill>
                  <a:schemeClr val="bg1"/>
                </a:solidFill>
                <a:latin typeface="+mj-lt"/>
              </a:rPr>
              <a:t>A</a:t>
            </a:r>
          </a:p>
        </p:txBody>
      </p:sp>
      <p:sp>
        <p:nvSpPr>
          <p:cNvPr id="73" name="Oval 72">
            <a:extLst>
              <a:ext uri="{FF2B5EF4-FFF2-40B4-BE49-F238E27FC236}">
                <a16:creationId xmlns:a16="http://schemas.microsoft.com/office/drawing/2014/main" id="{60B4897C-7EFD-4EB0-AB59-D78DA41C0966}"/>
              </a:ext>
            </a:extLst>
          </p:cNvPr>
          <p:cNvSpPr/>
          <p:nvPr/>
        </p:nvSpPr>
        <p:spPr>
          <a:xfrm>
            <a:off x="6179151" y="4785125"/>
            <a:ext cx="300023" cy="262985"/>
          </a:xfrm>
          <a:prstGeom prst="ellipse">
            <a:avLst/>
          </a:prstGeom>
          <a:solidFill>
            <a:srgbClr val="9E9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933" b="1">
                <a:solidFill>
                  <a:schemeClr val="bg1"/>
                </a:solidFill>
                <a:latin typeface="+mj-lt"/>
              </a:rPr>
              <a:t>B</a:t>
            </a:r>
          </a:p>
        </p:txBody>
      </p:sp>
      <p:cxnSp>
        <p:nvCxnSpPr>
          <p:cNvPr id="14" name="Connector: Elbow 13">
            <a:extLst>
              <a:ext uri="{FF2B5EF4-FFF2-40B4-BE49-F238E27FC236}">
                <a16:creationId xmlns:a16="http://schemas.microsoft.com/office/drawing/2014/main" id="{7970F15B-F88C-4272-9D2D-A7F45127759E}"/>
              </a:ext>
            </a:extLst>
          </p:cNvPr>
          <p:cNvCxnSpPr>
            <a:cxnSpLocks/>
            <a:endCxn id="70" idx="3"/>
          </p:cNvCxnSpPr>
          <p:nvPr/>
        </p:nvCxnSpPr>
        <p:spPr>
          <a:xfrm rot="5400000">
            <a:off x="6364689" y="4496287"/>
            <a:ext cx="981211" cy="838395"/>
          </a:xfrm>
          <a:prstGeom prst="bentConnector2">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87" name="Shape 876"/>
          <p:cNvSpPr/>
          <p:nvPr/>
        </p:nvSpPr>
        <p:spPr>
          <a:xfrm>
            <a:off x="3654135" y="4849315"/>
            <a:ext cx="342901" cy="342901"/>
          </a:xfrm>
          <a:prstGeom prst="ellipse">
            <a:avLst/>
          </a:prstGeom>
          <a:solidFill>
            <a:srgbClr val="FFFFFF"/>
          </a:solidFill>
          <a:ln w="25400">
            <a:solidFill>
              <a:schemeClr val="accent1"/>
            </a:solidFill>
          </a:ln>
          <a:effectLst>
            <a:outerShdw blurRad="50800" dist="38100" dir="10800000" rotWithShape="0">
              <a:srgbClr val="000000">
                <a:alpha val="40000"/>
              </a:srgbClr>
            </a:outerShdw>
          </a:effectLst>
        </p:spPr>
        <p:txBody>
          <a:bodyPr lIns="34289" rIns="34289" anchor="ctr"/>
          <a:lstStyle/>
          <a:p>
            <a:pPr algn="ctr">
              <a:defRPr>
                <a:solidFill>
                  <a:srgbClr val="FFFFFF"/>
                </a:solidFill>
              </a:defRPr>
            </a:pPr>
            <a:endParaRPr sz="1467">
              <a:solidFill>
                <a:srgbClr val="FFFFFF"/>
              </a:solidFill>
              <a:latin typeface="+mj-lt"/>
            </a:endParaRPr>
          </a:p>
        </p:txBody>
      </p:sp>
      <p:pic>
        <p:nvPicPr>
          <p:cNvPr id="288" name="image18.png" descr="https://harmon.ie/sites/default/files/images/re/solutions/social/sp_social_icon1.png"/>
          <p:cNvPicPr>
            <a:picLocks noChangeAspect="1"/>
          </p:cNvPicPr>
          <p:nvPr/>
        </p:nvPicPr>
        <p:blipFill>
          <a:blip r:embed="rId12">
            <a:extLst>
              <a:ext uri="{BEBA8EAE-BF5A-486C-A8C5-ECC9F3942E4B}">
                <a14:imgProps xmlns:a14="http://schemas.microsoft.com/office/drawing/2010/main">
                  <a14:imgLayer r:embed="rId13">
                    <a14:imgEffect>
                      <a14:saturation sat="0"/>
                    </a14:imgEffect>
                  </a14:imgLayer>
                </a14:imgProps>
              </a:ext>
            </a:extLst>
          </a:blip>
          <a:stretch>
            <a:fillRect/>
          </a:stretch>
        </p:blipFill>
        <p:spPr>
          <a:xfrm>
            <a:off x="3683963" y="4938217"/>
            <a:ext cx="232455" cy="188660"/>
          </a:xfrm>
          <a:prstGeom prst="rect">
            <a:avLst/>
          </a:prstGeom>
          <a:ln w="12700">
            <a:noFill/>
            <a:miter lim="400000"/>
          </a:ln>
        </p:spPr>
      </p:pic>
      <p:sp>
        <p:nvSpPr>
          <p:cNvPr id="16" name="TextBox 15">
            <a:extLst>
              <a:ext uri="{FF2B5EF4-FFF2-40B4-BE49-F238E27FC236}">
                <a16:creationId xmlns:a16="http://schemas.microsoft.com/office/drawing/2014/main" id="{C99498CD-1EFC-4046-98F2-AD9E2C0144D0}"/>
              </a:ext>
            </a:extLst>
          </p:cNvPr>
          <p:cNvSpPr txBox="1"/>
          <p:nvPr/>
        </p:nvSpPr>
        <p:spPr>
          <a:xfrm>
            <a:off x="343467" y="3689695"/>
            <a:ext cx="348878" cy="2164867"/>
          </a:xfrm>
          <a:prstGeom prst="rect">
            <a:avLst/>
          </a:prstGeom>
          <a:noFill/>
          <a:ln w="3175">
            <a:solidFill>
              <a:schemeClr val="tx1"/>
            </a:solidFill>
          </a:ln>
        </p:spPr>
        <p:txBody>
          <a:bodyPr vert="vert270" wrap="square" rtlCol="0">
            <a:spAutoFit/>
          </a:bodyPr>
          <a:lstStyle/>
          <a:p>
            <a:pPr algn="ctr"/>
            <a:r>
              <a:rPr lang="en-IN" sz="1067">
                <a:latin typeface="+mj-lt"/>
              </a:rPr>
              <a:t>MPS New Enhancements</a:t>
            </a:r>
          </a:p>
        </p:txBody>
      </p:sp>
      <p:sp>
        <p:nvSpPr>
          <p:cNvPr id="90" name="TextBox 89">
            <a:extLst>
              <a:ext uri="{FF2B5EF4-FFF2-40B4-BE49-F238E27FC236}">
                <a16:creationId xmlns:a16="http://schemas.microsoft.com/office/drawing/2014/main" id="{4945E824-F777-4162-9507-E9D5F1A79E1E}"/>
              </a:ext>
            </a:extLst>
          </p:cNvPr>
          <p:cNvSpPr txBox="1"/>
          <p:nvPr/>
        </p:nvSpPr>
        <p:spPr>
          <a:xfrm>
            <a:off x="348268" y="1346201"/>
            <a:ext cx="348878" cy="2229796"/>
          </a:xfrm>
          <a:prstGeom prst="rect">
            <a:avLst/>
          </a:prstGeom>
          <a:noFill/>
          <a:ln w="3175">
            <a:solidFill>
              <a:schemeClr val="tx1"/>
            </a:solidFill>
          </a:ln>
        </p:spPr>
        <p:txBody>
          <a:bodyPr vert="vert270" wrap="square" rtlCol="0">
            <a:spAutoFit/>
          </a:bodyPr>
          <a:lstStyle>
            <a:defPPr>
              <a:defRPr lang="en-US"/>
            </a:defPPr>
            <a:lvl1pPr>
              <a:defRPr sz="800"/>
            </a:lvl1pPr>
          </a:lstStyle>
          <a:p>
            <a:pPr algn="ctr"/>
            <a:r>
              <a:rPr lang="en-IN" sz="1067">
                <a:latin typeface="+mj-lt"/>
              </a:rPr>
              <a:t>MPS Feature Enhancements</a:t>
            </a:r>
          </a:p>
        </p:txBody>
      </p:sp>
      <p:sp>
        <p:nvSpPr>
          <p:cNvPr id="18" name="Arrow: Chevron 17">
            <a:extLst>
              <a:ext uri="{FF2B5EF4-FFF2-40B4-BE49-F238E27FC236}">
                <a16:creationId xmlns:a16="http://schemas.microsoft.com/office/drawing/2014/main" id="{72A1036C-2F03-4A6E-BC81-5D69D6B8A80E}"/>
              </a:ext>
            </a:extLst>
          </p:cNvPr>
          <p:cNvSpPr/>
          <p:nvPr/>
        </p:nvSpPr>
        <p:spPr>
          <a:xfrm>
            <a:off x="817879" y="2066990"/>
            <a:ext cx="216691" cy="319021"/>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67">
              <a:solidFill>
                <a:schemeClr val="tx1"/>
              </a:solidFill>
              <a:latin typeface="+mj-lt"/>
            </a:endParaRPr>
          </a:p>
        </p:txBody>
      </p:sp>
      <p:sp>
        <p:nvSpPr>
          <p:cNvPr id="92" name="Arrow: Chevron 91">
            <a:extLst>
              <a:ext uri="{FF2B5EF4-FFF2-40B4-BE49-F238E27FC236}">
                <a16:creationId xmlns:a16="http://schemas.microsoft.com/office/drawing/2014/main" id="{0F9D1BC4-8E90-46B4-BEA8-E3D9E5690623}"/>
              </a:ext>
            </a:extLst>
          </p:cNvPr>
          <p:cNvSpPr/>
          <p:nvPr/>
        </p:nvSpPr>
        <p:spPr>
          <a:xfrm>
            <a:off x="817879" y="3567179"/>
            <a:ext cx="216691" cy="319021"/>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67">
              <a:solidFill>
                <a:schemeClr val="tx1"/>
              </a:solidFill>
              <a:latin typeface="+mj-lt"/>
            </a:endParaRPr>
          </a:p>
        </p:txBody>
      </p:sp>
      <p:sp>
        <p:nvSpPr>
          <p:cNvPr id="93" name="Arrow: Chevron 92">
            <a:extLst>
              <a:ext uri="{FF2B5EF4-FFF2-40B4-BE49-F238E27FC236}">
                <a16:creationId xmlns:a16="http://schemas.microsoft.com/office/drawing/2014/main" id="{8AB3B434-4EC5-4529-9E51-573CD284CAE5}"/>
              </a:ext>
            </a:extLst>
          </p:cNvPr>
          <p:cNvSpPr/>
          <p:nvPr/>
        </p:nvSpPr>
        <p:spPr>
          <a:xfrm>
            <a:off x="855188" y="4953000"/>
            <a:ext cx="216691" cy="319021"/>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67">
              <a:solidFill>
                <a:schemeClr val="tx1"/>
              </a:solidFill>
              <a:latin typeface="+mj-lt"/>
            </a:endParaRPr>
          </a:p>
        </p:txBody>
      </p:sp>
      <p:sp>
        <p:nvSpPr>
          <p:cNvPr id="19" name="TextBox 18">
            <a:extLst>
              <a:ext uri="{FF2B5EF4-FFF2-40B4-BE49-F238E27FC236}">
                <a16:creationId xmlns:a16="http://schemas.microsoft.com/office/drawing/2014/main" id="{CA2DF8D9-57D6-4603-9C3D-24E726781F20}"/>
              </a:ext>
            </a:extLst>
          </p:cNvPr>
          <p:cNvSpPr txBox="1"/>
          <p:nvPr/>
        </p:nvSpPr>
        <p:spPr>
          <a:xfrm>
            <a:off x="9713173" y="1739075"/>
            <a:ext cx="1823699" cy="230832"/>
          </a:xfrm>
          <a:prstGeom prst="rect">
            <a:avLst/>
          </a:prstGeom>
          <a:noFill/>
        </p:spPr>
        <p:txBody>
          <a:bodyPr wrap="square" rtlCol="0">
            <a:spAutoFit/>
          </a:bodyPr>
          <a:lstStyle/>
          <a:p>
            <a:r>
              <a:rPr lang="en-IN" sz="900">
                <a:latin typeface="+mj-lt"/>
              </a:rPr>
              <a:t>Manual + Automation</a:t>
            </a:r>
          </a:p>
        </p:txBody>
      </p:sp>
      <p:sp>
        <p:nvSpPr>
          <p:cNvPr id="4" name="Freeform 402">
            <a:extLst>
              <a:ext uri="{FF2B5EF4-FFF2-40B4-BE49-F238E27FC236}">
                <a16:creationId xmlns:a16="http://schemas.microsoft.com/office/drawing/2014/main" id="{D5D2B8E3-8F2E-4793-B325-294FBB5961BF}"/>
              </a:ext>
            </a:extLst>
          </p:cNvPr>
          <p:cNvSpPr>
            <a:spLocks noEditPoints="1"/>
          </p:cNvSpPr>
          <p:nvPr/>
        </p:nvSpPr>
        <p:spPr bwMode="auto">
          <a:xfrm>
            <a:off x="5723701" y="2050406"/>
            <a:ext cx="452043" cy="340189"/>
          </a:xfrm>
          <a:custGeom>
            <a:avLst/>
            <a:gdLst/>
            <a:ahLst/>
            <a:cxnLst>
              <a:cxn ang="0">
                <a:pos x="149" y="45"/>
              </a:cxn>
              <a:cxn ang="0">
                <a:pos x="169" y="94"/>
              </a:cxn>
              <a:cxn ang="0">
                <a:pos x="151" y="96"/>
              </a:cxn>
              <a:cxn ang="0">
                <a:pos x="176" y="48"/>
              </a:cxn>
              <a:cxn ang="0">
                <a:pos x="191" y="44"/>
              </a:cxn>
              <a:cxn ang="0">
                <a:pos x="179" y="29"/>
              </a:cxn>
              <a:cxn ang="0">
                <a:pos x="172" y="19"/>
              </a:cxn>
              <a:cxn ang="0">
                <a:pos x="164" y="0"/>
              </a:cxn>
              <a:cxn ang="0">
                <a:pos x="146" y="1"/>
              </a:cxn>
              <a:cxn ang="0">
                <a:pos x="139" y="20"/>
              </a:cxn>
              <a:cxn ang="0">
                <a:pos x="134" y="30"/>
              </a:cxn>
              <a:cxn ang="0">
                <a:pos x="122" y="46"/>
              </a:cxn>
              <a:cxn ang="0">
                <a:pos x="132" y="61"/>
              </a:cxn>
              <a:cxn ang="0">
                <a:pos x="151" y="58"/>
              </a:cxn>
              <a:cxn ang="0">
                <a:pos x="165" y="60"/>
              </a:cxn>
              <a:cxn ang="0">
                <a:pos x="177" y="76"/>
              </a:cxn>
              <a:cxn ang="0">
                <a:pos x="186" y="83"/>
              </a:cxn>
              <a:cxn ang="0">
                <a:pos x="204" y="92"/>
              </a:cxn>
              <a:cxn ang="0">
                <a:pos x="205" y="108"/>
              </a:cxn>
              <a:cxn ang="0">
                <a:pos x="189" y="120"/>
              </a:cxn>
              <a:cxn ang="0">
                <a:pos x="181" y="128"/>
              </a:cxn>
              <a:cxn ang="0">
                <a:pos x="173" y="146"/>
              </a:cxn>
              <a:cxn ang="0">
                <a:pos x="157" y="148"/>
              </a:cxn>
              <a:cxn ang="0">
                <a:pos x="145" y="132"/>
              </a:cxn>
              <a:cxn ang="0">
                <a:pos x="136" y="124"/>
              </a:cxn>
              <a:cxn ang="0">
                <a:pos x="118" y="115"/>
              </a:cxn>
              <a:cxn ang="0">
                <a:pos x="117" y="99"/>
              </a:cxn>
              <a:cxn ang="0">
                <a:pos x="132" y="86"/>
              </a:cxn>
              <a:cxn ang="0">
                <a:pos x="128" y="64"/>
              </a:cxn>
              <a:cxn ang="0">
                <a:pos x="105" y="47"/>
              </a:cxn>
              <a:cxn ang="0">
                <a:pos x="95" y="33"/>
              </a:cxn>
              <a:cxn ang="0">
                <a:pos x="82" y="7"/>
              </a:cxn>
              <a:cxn ang="0">
                <a:pos x="59" y="5"/>
              </a:cxn>
              <a:cxn ang="0">
                <a:pos x="42" y="28"/>
              </a:cxn>
              <a:cxn ang="0">
                <a:pos x="29" y="39"/>
              </a:cxn>
              <a:cxn ang="0">
                <a:pos x="2" y="51"/>
              </a:cxn>
              <a:cxn ang="0">
                <a:pos x="0" y="74"/>
              </a:cxn>
              <a:cxn ang="0">
                <a:pos x="23" y="91"/>
              </a:cxn>
              <a:cxn ang="0">
                <a:pos x="34" y="104"/>
              </a:cxn>
              <a:cxn ang="0">
                <a:pos x="46" y="131"/>
              </a:cxn>
              <a:cxn ang="0">
                <a:pos x="69" y="133"/>
              </a:cxn>
              <a:cxn ang="0">
                <a:pos x="87" y="110"/>
              </a:cxn>
              <a:cxn ang="0">
                <a:pos x="100" y="99"/>
              </a:cxn>
              <a:cxn ang="0">
                <a:pos x="61" y="51"/>
              </a:cxn>
            </a:cxnLst>
            <a:rect l="0" t="0" r="r" b="b"/>
            <a:pathLst>
              <a:path w="205" h="148">
                <a:moveTo>
                  <a:pt x="164" y="27"/>
                </a:moveTo>
                <a:cubicBezTo>
                  <a:pt x="169" y="31"/>
                  <a:pt x="169" y="38"/>
                  <a:pt x="165" y="43"/>
                </a:cubicBezTo>
                <a:cubicBezTo>
                  <a:pt x="161" y="48"/>
                  <a:pt x="154" y="49"/>
                  <a:pt x="149" y="45"/>
                </a:cubicBezTo>
                <a:cubicBezTo>
                  <a:pt x="144" y="41"/>
                  <a:pt x="143" y="33"/>
                  <a:pt x="147" y="28"/>
                </a:cubicBezTo>
                <a:cubicBezTo>
                  <a:pt x="152" y="23"/>
                  <a:pt x="159" y="23"/>
                  <a:pt x="164" y="27"/>
                </a:cubicBezTo>
                <a:close/>
                <a:moveTo>
                  <a:pt x="169" y="94"/>
                </a:moveTo>
                <a:cubicBezTo>
                  <a:pt x="174" y="98"/>
                  <a:pt x="175" y="106"/>
                  <a:pt x="171" y="112"/>
                </a:cubicBezTo>
                <a:cubicBezTo>
                  <a:pt x="166" y="117"/>
                  <a:pt x="158" y="118"/>
                  <a:pt x="153" y="113"/>
                </a:cubicBezTo>
                <a:cubicBezTo>
                  <a:pt x="147" y="109"/>
                  <a:pt x="147" y="101"/>
                  <a:pt x="151" y="96"/>
                </a:cubicBezTo>
                <a:cubicBezTo>
                  <a:pt x="156" y="90"/>
                  <a:pt x="164" y="89"/>
                  <a:pt x="169" y="94"/>
                </a:cubicBezTo>
                <a:close/>
                <a:moveTo>
                  <a:pt x="183" y="60"/>
                </a:moveTo>
                <a:cubicBezTo>
                  <a:pt x="176" y="48"/>
                  <a:pt x="176" y="48"/>
                  <a:pt x="176" y="48"/>
                </a:cubicBezTo>
                <a:cubicBezTo>
                  <a:pt x="176" y="48"/>
                  <a:pt x="177" y="47"/>
                  <a:pt x="177" y="46"/>
                </a:cubicBezTo>
                <a:cubicBezTo>
                  <a:pt x="178" y="46"/>
                  <a:pt x="178" y="45"/>
                  <a:pt x="178" y="44"/>
                </a:cubicBezTo>
                <a:cubicBezTo>
                  <a:pt x="191" y="44"/>
                  <a:pt x="191" y="44"/>
                  <a:pt x="191" y="44"/>
                </a:cubicBezTo>
                <a:cubicBezTo>
                  <a:pt x="192" y="37"/>
                  <a:pt x="192" y="37"/>
                  <a:pt x="192" y="37"/>
                </a:cubicBezTo>
                <a:cubicBezTo>
                  <a:pt x="180" y="33"/>
                  <a:pt x="180" y="33"/>
                  <a:pt x="180" y="33"/>
                </a:cubicBezTo>
                <a:cubicBezTo>
                  <a:pt x="180" y="31"/>
                  <a:pt x="179" y="30"/>
                  <a:pt x="179" y="29"/>
                </a:cubicBezTo>
                <a:cubicBezTo>
                  <a:pt x="189" y="20"/>
                  <a:pt x="189" y="20"/>
                  <a:pt x="189" y="20"/>
                </a:cubicBezTo>
                <a:cubicBezTo>
                  <a:pt x="185" y="14"/>
                  <a:pt x="185" y="14"/>
                  <a:pt x="185" y="14"/>
                </a:cubicBezTo>
                <a:cubicBezTo>
                  <a:pt x="172" y="19"/>
                  <a:pt x="172" y="19"/>
                  <a:pt x="172" y="19"/>
                </a:cubicBezTo>
                <a:cubicBezTo>
                  <a:pt x="171" y="18"/>
                  <a:pt x="170" y="17"/>
                  <a:pt x="169" y="16"/>
                </a:cubicBezTo>
                <a:cubicBezTo>
                  <a:pt x="171" y="3"/>
                  <a:pt x="171" y="3"/>
                  <a:pt x="171" y="3"/>
                </a:cubicBezTo>
                <a:cubicBezTo>
                  <a:pt x="164" y="0"/>
                  <a:pt x="164" y="0"/>
                  <a:pt x="164" y="0"/>
                </a:cubicBezTo>
                <a:cubicBezTo>
                  <a:pt x="158" y="12"/>
                  <a:pt x="158" y="12"/>
                  <a:pt x="158" y="12"/>
                </a:cubicBezTo>
                <a:cubicBezTo>
                  <a:pt x="156" y="12"/>
                  <a:pt x="155" y="12"/>
                  <a:pt x="153" y="12"/>
                </a:cubicBezTo>
                <a:cubicBezTo>
                  <a:pt x="146" y="1"/>
                  <a:pt x="146" y="1"/>
                  <a:pt x="146" y="1"/>
                </a:cubicBezTo>
                <a:cubicBezTo>
                  <a:pt x="140" y="4"/>
                  <a:pt x="140" y="4"/>
                  <a:pt x="140" y="4"/>
                </a:cubicBezTo>
                <a:cubicBezTo>
                  <a:pt x="142" y="17"/>
                  <a:pt x="142" y="17"/>
                  <a:pt x="142" y="17"/>
                </a:cubicBezTo>
                <a:cubicBezTo>
                  <a:pt x="141" y="18"/>
                  <a:pt x="140" y="19"/>
                  <a:pt x="139" y="20"/>
                </a:cubicBezTo>
                <a:cubicBezTo>
                  <a:pt x="127" y="16"/>
                  <a:pt x="127" y="16"/>
                  <a:pt x="127" y="16"/>
                </a:cubicBezTo>
                <a:cubicBezTo>
                  <a:pt x="123" y="22"/>
                  <a:pt x="123" y="22"/>
                  <a:pt x="123" y="22"/>
                </a:cubicBezTo>
                <a:cubicBezTo>
                  <a:pt x="134" y="30"/>
                  <a:pt x="134" y="30"/>
                  <a:pt x="134" y="30"/>
                </a:cubicBezTo>
                <a:cubicBezTo>
                  <a:pt x="133" y="32"/>
                  <a:pt x="133" y="33"/>
                  <a:pt x="133" y="34"/>
                </a:cubicBezTo>
                <a:cubicBezTo>
                  <a:pt x="121" y="39"/>
                  <a:pt x="121" y="39"/>
                  <a:pt x="121" y="39"/>
                </a:cubicBezTo>
                <a:cubicBezTo>
                  <a:pt x="122" y="46"/>
                  <a:pt x="122" y="46"/>
                  <a:pt x="122" y="46"/>
                </a:cubicBezTo>
                <a:cubicBezTo>
                  <a:pt x="136" y="46"/>
                  <a:pt x="136" y="46"/>
                  <a:pt x="136" y="46"/>
                </a:cubicBezTo>
                <a:cubicBezTo>
                  <a:pt x="136" y="47"/>
                  <a:pt x="137" y="49"/>
                  <a:pt x="138" y="50"/>
                </a:cubicBezTo>
                <a:cubicBezTo>
                  <a:pt x="132" y="61"/>
                  <a:pt x="132" y="61"/>
                  <a:pt x="132" y="61"/>
                </a:cubicBezTo>
                <a:cubicBezTo>
                  <a:pt x="137" y="66"/>
                  <a:pt x="137" y="66"/>
                  <a:pt x="137" y="66"/>
                </a:cubicBezTo>
                <a:cubicBezTo>
                  <a:pt x="147" y="57"/>
                  <a:pt x="147" y="57"/>
                  <a:pt x="147" y="57"/>
                </a:cubicBezTo>
                <a:cubicBezTo>
                  <a:pt x="149" y="58"/>
                  <a:pt x="150" y="58"/>
                  <a:pt x="151" y="58"/>
                </a:cubicBezTo>
                <a:cubicBezTo>
                  <a:pt x="155" y="71"/>
                  <a:pt x="155" y="71"/>
                  <a:pt x="155" y="71"/>
                </a:cubicBezTo>
                <a:cubicBezTo>
                  <a:pt x="161" y="72"/>
                  <a:pt x="161" y="72"/>
                  <a:pt x="161" y="72"/>
                </a:cubicBezTo>
                <a:cubicBezTo>
                  <a:pt x="165" y="60"/>
                  <a:pt x="165" y="60"/>
                  <a:pt x="165" y="60"/>
                </a:cubicBezTo>
                <a:cubicBezTo>
                  <a:pt x="172" y="61"/>
                  <a:pt x="172" y="61"/>
                  <a:pt x="172" y="61"/>
                </a:cubicBezTo>
                <a:cubicBezTo>
                  <a:pt x="172" y="74"/>
                  <a:pt x="172" y="74"/>
                  <a:pt x="172" y="74"/>
                </a:cubicBezTo>
                <a:cubicBezTo>
                  <a:pt x="174" y="74"/>
                  <a:pt x="175" y="75"/>
                  <a:pt x="177" y="76"/>
                </a:cubicBezTo>
                <a:cubicBezTo>
                  <a:pt x="187" y="68"/>
                  <a:pt x="187" y="68"/>
                  <a:pt x="187" y="68"/>
                </a:cubicBezTo>
                <a:cubicBezTo>
                  <a:pt x="192" y="72"/>
                  <a:pt x="192" y="72"/>
                  <a:pt x="192" y="72"/>
                </a:cubicBezTo>
                <a:cubicBezTo>
                  <a:pt x="186" y="83"/>
                  <a:pt x="186" y="83"/>
                  <a:pt x="186" y="83"/>
                </a:cubicBezTo>
                <a:cubicBezTo>
                  <a:pt x="187" y="85"/>
                  <a:pt x="188" y="86"/>
                  <a:pt x="189" y="87"/>
                </a:cubicBezTo>
                <a:cubicBezTo>
                  <a:pt x="201" y="85"/>
                  <a:pt x="201" y="85"/>
                  <a:pt x="201" y="85"/>
                </a:cubicBezTo>
                <a:cubicBezTo>
                  <a:pt x="204" y="92"/>
                  <a:pt x="204" y="92"/>
                  <a:pt x="204" y="92"/>
                </a:cubicBezTo>
                <a:cubicBezTo>
                  <a:pt x="193" y="98"/>
                  <a:pt x="193" y="98"/>
                  <a:pt x="193" y="98"/>
                </a:cubicBezTo>
                <a:cubicBezTo>
                  <a:pt x="193" y="100"/>
                  <a:pt x="193" y="102"/>
                  <a:pt x="193" y="103"/>
                </a:cubicBezTo>
                <a:cubicBezTo>
                  <a:pt x="205" y="108"/>
                  <a:pt x="205" y="108"/>
                  <a:pt x="205" y="108"/>
                </a:cubicBezTo>
                <a:cubicBezTo>
                  <a:pt x="204" y="115"/>
                  <a:pt x="204" y="115"/>
                  <a:pt x="204" y="115"/>
                </a:cubicBezTo>
                <a:cubicBezTo>
                  <a:pt x="191" y="115"/>
                  <a:pt x="191" y="115"/>
                  <a:pt x="191" y="115"/>
                </a:cubicBezTo>
                <a:cubicBezTo>
                  <a:pt x="190" y="117"/>
                  <a:pt x="190" y="118"/>
                  <a:pt x="189" y="120"/>
                </a:cubicBezTo>
                <a:cubicBezTo>
                  <a:pt x="197" y="129"/>
                  <a:pt x="197" y="129"/>
                  <a:pt x="197" y="129"/>
                </a:cubicBezTo>
                <a:cubicBezTo>
                  <a:pt x="192" y="135"/>
                  <a:pt x="192" y="135"/>
                  <a:pt x="192" y="135"/>
                </a:cubicBezTo>
                <a:cubicBezTo>
                  <a:pt x="181" y="128"/>
                  <a:pt x="181" y="128"/>
                  <a:pt x="181" y="128"/>
                </a:cubicBezTo>
                <a:cubicBezTo>
                  <a:pt x="180" y="130"/>
                  <a:pt x="179" y="131"/>
                  <a:pt x="177" y="131"/>
                </a:cubicBezTo>
                <a:cubicBezTo>
                  <a:pt x="179" y="144"/>
                  <a:pt x="179" y="144"/>
                  <a:pt x="179" y="144"/>
                </a:cubicBezTo>
                <a:cubicBezTo>
                  <a:pt x="173" y="146"/>
                  <a:pt x="173" y="146"/>
                  <a:pt x="173" y="146"/>
                </a:cubicBezTo>
                <a:cubicBezTo>
                  <a:pt x="166" y="135"/>
                  <a:pt x="166" y="135"/>
                  <a:pt x="166" y="135"/>
                </a:cubicBezTo>
                <a:cubicBezTo>
                  <a:pt x="165" y="136"/>
                  <a:pt x="163" y="136"/>
                  <a:pt x="161" y="136"/>
                </a:cubicBezTo>
                <a:cubicBezTo>
                  <a:pt x="157" y="148"/>
                  <a:pt x="157" y="148"/>
                  <a:pt x="157" y="148"/>
                </a:cubicBezTo>
                <a:cubicBezTo>
                  <a:pt x="150" y="147"/>
                  <a:pt x="150" y="147"/>
                  <a:pt x="150" y="147"/>
                </a:cubicBezTo>
                <a:cubicBezTo>
                  <a:pt x="150" y="134"/>
                  <a:pt x="150" y="134"/>
                  <a:pt x="150" y="134"/>
                </a:cubicBezTo>
                <a:cubicBezTo>
                  <a:pt x="148" y="133"/>
                  <a:pt x="147" y="132"/>
                  <a:pt x="145" y="132"/>
                </a:cubicBezTo>
                <a:cubicBezTo>
                  <a:pt x="135" y="140"/>
                  <a:pt x="135" y="140"/>
                  <a:pt x="135" y="140"/>
                </a:cubicBezTo>
                <a:cubicBezTo>
                  <a:pt x="130" y="135"/>
                  <a:pt x="130" y="135"/>
                  <a:pt x="130" y="135"/>
                </a:cubicBezTo>
                <a:cubicBezTo>
                  <a:pt x="136" y="124"/>
                  <a:pt x="136" y="124"/>
                  <a:pt x="136" y="124"/>
                </a:cubicBezTo>
                <a:cubicBezTo>
                  <a:pt x="135" y="123"/>
                  <a:pt x="134" y="121"/>
                  <a:pt x="133" y="120"/>
                </a:cubicBezTo>
                <a:cubicBezTo>
                  <a:pt x="121" y="122"/>
                  <a:pt x="121" y="122"/>
                  <a:pt x="121" y="122"/>
                </a:cubicBezTo>
                <a:cubicBezTo>
                  <a:pt x="118" y="115"/>
                  <a:pt x="118" y="115"/>
                  <a:pt x="118" y="115"/>
                </a:cubicBezTo>
                <a:cubicBezTo>
                  <a:pt x="129" y="109"/>
                  <a:pt x="129" y="109"/>
                  <a:pt x="129" y="109"/>
                </a:cubicBezTo>
                <a:cubicBezTo>
                  <a:pt x="129" y="107"/>
                  <a:pt x="129" y="106"/>
                  <a:pt x="129" y="104"/>
                </a:cubicBezTo>
                <a:cubicBezTo>
                  <a:pt x="117" y="99"/>
                  <a:pt x="117" y="99"/>
                  <a:pt x="117" y="99"/>
                </a:cubicBezTo>
                <a:cubicBezTo>
                  <a:pt x="118" y="92"/>
                  <a:pt x="118" y="92"/>
                  <a:pt x="118" y="92"/>
                </a:cubicBezTo>
                <a:cubicBezTo>
                  <a:pt x="131" y="92"/>
                  <a:pt x="131" y="92"/>
                  <a:pt x="131" y="92"/>
                </a:cubicBezTo>
                <a:cubicBezTo>
                  <a:pt x="131" y="91"/>
                  <a:pt x="131" y="88"/>
                  <a:pt x="132" y="86"/>
                </a:cubicBezTo>
                <a:cubicBezTo>
                  <a:pt x="111" y="81"/>
                  <a:pt x="111" y="81"/>
                  <a:pt x="111" y="81"/>
                </a:cubicBezTo>
                <a:cubicBezTo>
                  <a:pt x="111" y="81"/>
                  <a:pt x="111" y="73"/>
                  <a:pt x="111" y="70"/>
                </a:cubicBezTo>
                <a:cubicBezTo>
                  <a:pt x="128" y="64"/>
                  <a:pt x="128" y="64"/>
                  <a:pt x="128" y="64"/>
                </a:cubicBezTo>
                <a:cubicBezTo>
                  <a:pt x="127" y="54"/>
                  <a:pt x="127" y="54"/>
                  <a:pt x="127" y="54"/>
                </a:cubicBezTo>
                <a:cubicBezTo>
                  <a:pt x="108" y="53"/>
                  <a:pt x="108" y="53"/>
                  <a:pt x="108" y="53"/>
                </a:cubicBezTo>
                <a:cubicBezTo>
                  <a:pt x="107" y="51"/>
                  <a:pt x="106" y="49"/>
                  <a:pt x="105" y="47"/>
                </a:cubicBezTo>
                <a:cubicBezTo>
                  <a:pt x="117" y="33"/>
                  <a:pt x="117" y="33"/>
                  <a:pt x="117" y="33"/>
                </a:cubicBezTo>
                <a:cubicBezTo>
                  <a:pt x="111" y="25"/>
                  <a:pt x="111" y="25"/>
                  <a:pt x="111" y="25"/>
                </a:cubicBezTo>
                <a:cubicBezTo>
                  <a:pt x="95" y="33"/>
                  <a:pt x="95" y="33"/>
                  <a:pt x="95" y="33"/>
                </a:cubicBezTo>
                <a:cubicBezTo>
                  <a:pt x="93" y="32"/>
                  <a:pt x="91" y="30"/>
                  <a:pt x="89" y="29"/>
                </a:cubicBezTo>
                <a:cubicBezTo>
                  <a:pt x="92" y="11"/>
                  <a:pt x="92" y="11"/>
                  <a:pt x="92" y="11"/>
                </a:cubicBezTo>
                <a:cubicBezTo>
                  <a:pt x="82" y="7"/>
                  <a:pt x="82" y="7"/>
                  <a:pt x="82" y="7"/>
                </a:cubicBezTo>
                <a:cubicBezTo>
                  <a:pt x="73" y="23"/>
                  <a:pt x="73" y="23"/>
                  <a:pt x="73" y="23"/>
                </a:cubicBezTo>
                <a:cubicBezTo>
                  <a:pt x="70" y="23"/>
                  <a:pt x="68" y="22"/>
                  <a:pt x="65" y="22"/>
                </a:cubicBezTo>
                <a:cubicBezTo>
                  <a:pt x="59" y="5"/>
                  <a:pt x="59" y="5"/>
                  <a:pt x="59" y="5"/>
                </a:cubicBezTo>
                <a:cubicBezTo>
                  <a:pt x="49" y="6"/>
                  <a:pt x="49" y="6"/>
                  <a:pt x="49" y="6"/>
                </a:cubicBezTo>
                <a:cubicBezTo>
                  <a:pt x="49" y="25"/>
                  <a:pt x="49" y="25"/>
                  <a:pt x="49" y="25"/>
                </a:cubicBezTo>
                <a:cubicBezTo>
                  <a:pt x="46" y="26"/>
                  <a:pt x="44" y="27"/>
                  <a:pt x="42" y="28"/>
                </a:cubicBezTo>
                <a:cubicBezTo>
                  <a:pt x="28" y="16"/>
                  <a:pt x="28" y="16"/>
                  <a:pt x="28" y="16"/>
                </a:cubicBezTo>
                <a:cubicBezTo>
                  <a:pt x="20" y="22"/>
                  <a:pt x="20" y="22"/>
                  <a:pt x="20" y="22"/>
                </a:cubicBezTo>
                <a:cubicBezTo>
                  <a:pt x="29" y="39"/>
                  <a:pt x="29" y="39"/>
                  <a:pt x="29" y="39"/>
                </a:cubicBezTo>
                <a:cubicBezTo>
                  <a:pt x="27" y="40"/>
                  <a:pt x="26" y="42"/>
                  <a:pt x="24" y="44"/>
                </a:cubicBezTo>
                <a:cubicBezTo>
                  <a:pt x="6" y="41"/>
                  <a:pt x="6" y="41"/>
                  <a:pt x="6" y="41"/>
                </a:cubicBezTo>
                <a:cubicBezTo>
                  <a:pt x="2" y="51"/>
                  <a:pt x="2" y="51"/>
                  <a:pt x="2" y="51"/>
                </a:cubicBezTo>
                <a:cubicBezTo>
                  <a:pt x="18" y="60"/>
                  <a:pt x="18" y="60"/>
                  <a:pt x="18" y="60"/>
                </a:cubicBezTo>
                <a:cubicBezTo>
                  <a:pt x="18" y="63"/>
                  <a:pt x="18" y="65"/>
                  <a:pt x="18" y="68"/>
                </a:cubicBezTo>
                <a:cubicBezTo>
                  <a:pt x="0" y="74"/>
                  <a:pt x="0" y="74"/>
                  <a:pt x="0" y="74"/>
                </a:cubicBezTo>
                <a:cubicBezTo>
                  <a:pt x="2" y="84"/>
                  <a:pt x="2" y="84"/>
                  <a:pt x="2" y="84"/>
                </a:cubicBezTo>
                <a:cubicBezTo>
                  <a:pt x="20" y="84"/>
                  <a:pt x="20" y="84"/>
                  <a:pt x="20" y="84"/>
                </a:cubicBezTo>
                <a:cubicBezTo>
                  <a:pt x="21" y="87"/>
                  <a:pt x="22" y="89"/>
                  <a:pt x="23" y="91"/>
                </a:cubicBezTo>
                <a:cubicBezTo>
                  <a:pt x="11" y="105"/>
                  <a:pt x="11" y="105"/>
                  <a:pt x="11" y="105"/>
                </a:cubicBezTo>
                <a:cubicBezTo>
                  <a:pt x="18" y="113"/>
                  <a:pt x="18" y="113"/>
                  <a:pt x="18" y="113"/>
                </a:cubicBezTo>
                <a:cubicBezTo>
                  <a:pt x="34" y="104"/>
                  <a:pt x="34" y="104"/>
                  <a:pt x="34" y="104"/>
                </a:cubicBezTo>
                <a:cubicBezTo>
                  <a:pt x="36" y="106"/>
                  <a:pt x="38" y="107"/>
                  <a:pt x="40" y="109"/>
                </a:cubicBezTo>
                <a:cubicBezTo>
                  <a:pt x="36" y="127"/>
                  <a:pt x="36" y="127"/>
                  <a:pt x="36" y="127"/>
                </a:cubicBezTo>
                <a:cubicBezTo>
                  <a:pt x="46" y="131"/>
                  <a:pt x="46" y="131"/>
                  <a:pt x="46" y="131"/>
                </a:cubicBezTo>
                <a:cubicBezTo>
                  <a:pt x="56" y="115"/>
                  <a:pt x="56" y="115"/>
                  <a:pt x="56" y="115"/>
                </a:cubicBezTo>
                <a:cubicBezTo>
                  <a:pt x="58" y="115"/>
                  <a:pt x="61" y="115"/>
                  <a:pt x="63" y="115"/>
                </a:cubicBezTo>
                <a:cubicBezTo>
                  <a:pt x="69" y="133"/>
                  <a:pt x="69" y="133"/>
                  <a:pt x="69" y="133"/>
                </a:cubicBezTo>
                <a:cubicBezTo>
                  <a:pt x="79" y="131"/>
                  <a:pt x="79" y="131"/>
                  <a:pt x="79" y="131"/>
                </a:cubicBezTo>
                <a:cubicBezTo>
                  <a:pt x="80" y="113"/>
                  <a:pt x="80" y="113"/>
                  <a:pt x="80" y="113"/>
                </a:cubicBezTo>
                <a:cubicBezTo>
                  <a:pt x="82" y="112"/>
                  <a:pt x="84" y="111"/>
                  <a:pt x="87" y="110"/>
                </a:cubicBezTo>
                <a:cubicBezTo>
                  <a:pt x="101" y="122"/>
                  <a:pt x="101" y="122"/>
                  <a:pt x="101" y="122"/>
                </a:cubicBezTo>
                <a:cubicBezTo>
                  <a:pt x="109" y="116"/>
                  <a:pt x="109" y="116"/>
                  <a:pt x="109" y="116"/>
                </a:cubicBezTo>
                <a:cubicBezTo>
                  <a:pt x="100" y="99"/>
                  <a:pt x="100" y="99"/>
                  <a:pt x="100" y="99"/>
                </a:cubicBezTo>
                <a:moveTo>
                  <a:pt x="67" y="87"/>
                </a:moveTo>
                <a:cubicBezTo>
                  <a:pt x="57" y="89"/>
                  <a:pt x="48" y="82"/>
                  <a:pt x="46" y="72"/>
                </a:cubicBezTo>
                <a:cubicBezTo>
                  <a:pt x="44" y="62"/>
                  <a:pt x="51" y="52"/>
                  <a:pt x="61" y="51"/>
                </a:cubicBezTo>
                <a:cubicBezTo>
                  <a:pt x="71" y="49"/>
                  <a:pt x="81" y="56"/>
                  <a:pt x="82" y="66"/>
                </a:cubicBezTo>
                <a:cubicBezTo>
                  <a:pt x="84" y="76"/>
                  <a:pt x="77" y="85"/>
                  <a:pt x="67" y="87"/>
                </a:cubicBezTo>
                <a:close/>
              </a:path>
            </a:pathLst>
          </a:custGeom>
          <a:noFill/>
          <a:ln w="3175" cap="rnd">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endParaRPr lang="en-US" sz="933">
              <a:latin typeface="+mj-lt"/>
              <a:cs typeface="Arial" pitchFamily="34" charset="0"/>
            </a:endParaRPr>
          </a:p>
        </p:txBody>
      </p:sp>
      <p:sp>
        <p:nvSpPr>
          <p:cNvPr id="87" name="Freeform 402">
            <a:extLst>
              <a:ext uri="{FF2B5EF4-FFF2-40B4-BE49-F238E27FC236}">
                <a16:creationId xmlns:a16="http://schemas.microsoft.com/office/drawing/2014/main" id="{B519BD08-3F52-4192-A989-9128B569B404}"/>
              </a:ext>
            </a:extLst>
          </p:cNvPr>
          <p:cNvSpPr>
            <a:spLocks noEditPoints="1"/>
          </p:cNvSpPr>
          <p:nvPr/>
        </p:nvSpPr>
        <p:spPr bwMode="auto">
          <a:xfrm>
            <a:off x="8227576" y="1814571"/>
            <a:ext cx="452043" cy="340189"/>
          </a:xfrm>
          <a:custGeom>
            <a:avLst/>
            <a:gdLst/>
            <a:ahLst/>
            <a:cxnLst>
              <a:cxn ang="0">
                <a:pos x="149" y="45"/>
              </a:cxn>
              <a:cxn ang="0">
                <a:pos x="169" y="94"/>
              </a:cxn>
              <a:cxn ang="0">
                <a:pos x="151" y="96"/>
              </a:cxn>
              <a:cxn ang="0">
                <a:pos x="176" y="48"/>
              </a:cxn>
              <a:cxn ang="0">
                <a:pos x="191" y="44"/>
              </a:cxn>
              <a:cxn ang="0">
                <a:pos x="179" y="29"/>
              </a:cxn>
              <a:cxn ang="0">
                <a:pos x="172" y="19"/>
              </a:cxn>
              <a:cxn ang="0">
                <a:pos x="164" y="0"/>
              </a:cxn>
              <a:cxn ang="0">
                <a:pos x="146" y="1"/>
              </a:cxn>
              <a:cxn ang="0">
                <a:pos x="139" y="20"/>
              </a:cxn>
              <a:cxn ang="0">
                <a:pos x="134" y="30"/>
              </a:cxn>
              <a:cxn ang="0">
                <a:pos x="122" y="46"/>
              </a:cxn>
              <a:cxn ang="0">
                <a:pos x="132" y="61"/>
              </a:cxn>
              <a:cxn ang="0">
                <a:pos x="151" y="58"/>
              </a:cxn>
              <a:cxn ang="0">
                <a:pos x="165" y="60"/>
              </a:cxn>
              <a:cxn ang="0">
                <a:pos x="177" y="76"/>
              </a:cxn>
              <a:cxn ang="0">
                <a:pos x="186" y="83"/>
              </a:cxn>
              <a:cxn ang="0">
                <a:pos x="204" y="92"/>
              </a:cxn>
              <a:cxn ang="0">
                <a:pos x="205" y="108"/>
              </a:cxn>
              <a:cxn ang="0">
                <a:pos x="189" y="120"/>
              </a:cxn>
              <a:cxn ang="0">
                <a:pos x="181" y="128"/>
              </a:cxn>
              <a:cxn ang="0">
                <a:pos x="173" y="146"/>
              </a:cxn>
              <a:cxn ang="0">
                <a:pos x="157" y="148"/>
              </a:cxn>
              <a:cxn ang="0">
                <a:pos x="145" y="132"/>
              </a:cxn>
              <a:cxn ang="0">
                <a:pos x="136" y="124"/>
              </a:cxn>
              <a:cxn ang="0">
                <a:pos x="118" y="115"/>
              </a:cxn>
              <a:cxn ang="0">
                <a:pos x="117" y="99"/>
              </a:cxn>
              <a:cxn ang="0">
                <a:pos x="132" y="86"/>
              </a:cxn>
              <a:cxn ang="0">
                <a:pos x="128" y="64"/>
              </a:cxn>
              <a:cxn ang="0">
                <a:pos x="105" y="47"/>
              </a:cxn>
              <a:cxn ang="0">
                <a:pos x="95" y="33"/>
              </a:cxn>
              <a:cxn ang="0">
                <a:pos x="82" y="7"/>
              </a:cxn>
              <a:cxn ang="0">
                <a:pos x="59" y="5"/>
              </a:cxn>
              <a:cxn ang="0">
                <a:pos x="42" y="28"/>
              </a:cxn>
              <a:cxn ang="0">
                <a:pos x="29" y="39"/>
              </a:cxn>
              <a:cxn ang="0">
                <a:pos x="2" y="51"/>
              </a:cxn>
              <a:cxn ang="0">
                <a:pos x="0" y="74"/>
              </a:cxn>
              <a:cxn ang="0">
                <a:pos x="23" y="91"/>
              </a:cxn>
              <a:cxn ang="0">
                <a:pos x="34" y="104"/>
              </a:cxn>
              <a:cxn ang="0">
                <a:pos x="46" y="131"/>
              </a:cxn>
              <a:cxn ang="0">
                <a:pos x="69" y="133"/>
              </a:cxn>
              <a:cxn ang="0">
                <a:pos x="87" y="110"/>
              </a:cxn>
              <a:cxn ang="0">
                <a:pos x="100" y="99"/>
              </a:cxn>
              <a:cxn ang="0">
                <a:pos x="61" y="51"/>
              </a:cxn>
            </a:cxnLst>
            <a:rect l="0" t="0" r="r" b="b"/>
            <a:pathLst>
              <a:path w="205" h="148">
                <a:moveTo>
                  <a:pt x="164" y="27"/>
                </a:moveTo>
                <a:cubicBezTo>
                  <a:pt x="169" y="31"/>
                  <a:pt x="169" y="38"/>
                  <a:pt x="165" y="43"/>
                </a:cubicBezTo>
                <a:cubicBezTo>
                  <a:pt x="161" y="48"/>
                  <a:pt x="154" y="49"/>
                  <a:pt x="149" y="45"/>
                </a:cubicBezTo>
                <a:cubicBezTo>
                  <a:pt x="144" y="41"/>
                  <a:pt x="143" y="33"/>
                  <a:pt x="147" y="28"/>
                </a:cubicBezTo>
                <a:cubicBezTo>
                  <a:pt x="152" y="23"/>
                  <a:pt x="159" y="23"/>
                  <a:pt x="164" y="27"/>
                </a:cubicBezTo>
                <a:close/>
                <a:moveTo>
                  <a:pt x="169" y="94"/>
                </a:moveTo>
                <a:cubicBezTo>
                  <a:pt x="174" y="98"/>
                  <a:pt x="175" y="106"/>
                  <a:pt x="171" y="112"/>
                </a:cubicBezTo>
                <a:cubicBezTo>
                  <a:pt x="166" y="117"/>
                  <a:pt x="158" y="118"/>
                  <a:pt x="153" y="113"/>
                </a:cubicBezTo>
                <a:cubicBezTo>
                  <a:pt x="147" y="109"/>
                  <a:pt x="147" y="101"/>
                  <a:pt x="151" y="96"/>
                </a:cubicBezTo>
                <a:cubicBezTo>
                  <a:pt x="156" y="90"/>
                  <a:pt x="164" y="89"/>
                  <a:pt x="169" y="94"/>
                </a:cubicBezTo>
                <a:close/>
                <a:moveTo>
                  <a:pt x="183" y="60"/>
                </a:moveTo>
                <a:cubicBezTo>
                  <a:pt x="176" y="48"/>
                  <a:pt x="176" y="48"/>
                  <a:pt x="176" y="48"/>
                </a:cubicBezTo>
                <a:cubicBezTo>
                  <a:pt x="176" y="48"/>
                  <a:pt x="177" y="47"/>
                  <a:pt x="177" y="46"/>
                </a:cubicBezTo>
                <a:cubicBezTo>
                  <a:pt x="178" y="46"/>
                  <a:pt x="178" y="45"/>
                  <a:pt x="178" y="44"/>
                </a:cubicBezTo>
                <a:cubicBezTo>
                  <a:pt x="191" y="44"/>
                  <a:pt x="191" y="44"/>
                  <a:pt x="191" y="44"/>
                </a:cubicBezTo>
                <a:cubicBezTo>
                  <a:pt x="192" y="37"/>
                  <a:pt x="192" y="37"/>
                  <a:pt x="192" y="37"/>
                </a:cubicBezTo>
                <a:cubicBezTo>
                  <a:pt x="180" y="33"/>
                  <a:pt x="180" y="33"/>
                  <a:pt x="180" y="33"/>
                </a:cubicBezTo>
                <a:cubicBezTo>
                  <a:pt x="180" y="31"/>
                  <a:pt x="179" y="30"/>
                  <a:pt x="179" y="29"/>
                </a:cubicBezTo>
                <a:cubicBezTo>
                  <a:pt x="189" y="20"/>
                  <a:pt x="189" y="20"/>
                  <a:pt x="189" y="20"/>
                </a:cubicBezTo>
                <a:cubicBezTo>
                  <a:pt x="185" y="14"/>
                  <a:pt x="185" y="14"/>
                  <a:pt x="185" y="14"/>
                </a:cubicBezTo>
                <a:cubicBezTo>
                  <a:pt x="172" y="19"/>
                  <a:pt x="172" y="19"/>
                  <a:pt x="172" y="19"/>
                </a:cubicBezTo>
                <a:cubicBezTo>
                  <a:pt x="171" y="18"/>
                  <a:pt x="170" y="17"/>
                  <a:pt x="169" y="16"/>
                </a:cubicBezTo>
                <a:cubicBezTo>
                  <a:pt x="171" y="3"/>
                  <a:pt x="171" y="3"/>
                  <a:pt x="171" y="3"/>
                </a:cubicBezTo>
                <a:cubicBezTo>
                  <a:pt x="164" y="0"/>
                  <a:pt x="164" y="0"/>
                  <a:pt x="164" y="0"/>
                </a:cubicBezTo>
                <a:cubicBezTo>
                  <a:pt x="158" y="12"/>
                  <a:pt x="158" y="12"/>
                  <a:pt x="158" y="12"/>
                </a:cubicBezTo>
                <a:cubicBezTo>
                  <a:pt x="156" y="12"/>
                  <a:pt x="155" y="12"/>
                  <a:pt x="153" y="12"/>
                </a:cubicBezTo>
                <a:cubicBezTo>
                  <a:pt x="146" y="1"/>
                  <a:pt x="146" y="1"/>
                  <a:pt x="146" y="1"/>
                </a:cubicBezTo>
                <a:cubicBezTo>
                  <a:pt x="140" y="4"/>
                  <a:pt x="140" y="4"/>
                  <a:pt x="140" y="4"/>
                </a:cubicBezTo>
                <a:cubicBezTo>
                  <a:pt x="142" y="17"/>
                  <a:pt x="142" y="17"/>
                  <a:pt x="142" y="17"/>
                </a:cubicBezTo>
                <a:cubicBezTo>
                  <a:pt x="141" y="18"/>
                  <a:pt x="140" y="19"/>
                  <a:pt x="139" y="20"/>
                </a:cubicBezTo>
                <a:cubicBezTo>
                  <a:pt x="127" y="16"/>
                  <a:pt x="127" y="16"/>
                  <a:pt x="127" y="16"/>
                </a:cubicBezTo>
                <a:cubicBezTo>
                  <a:pt x="123" y="22"/>
                  <a:pt x="123" y="22"/>
                  <a:pt x="123" y="22"/>
                </a:cubicBezTo>
                <a:cubicBezTo>
                  <a:pt x="134" y="30"/>
                  <a:pt x="134" y="30"/>
                  <a:pt x="134" y="30"/>
                </a:cubicBezTo>
                <a:cubicBezTo>
                  <a:pt x="133" y="32"/>
                  <a:pt x="133" y="33"/>
                  <a:pt x="133" y="34"/>
                </a:cubicBezTo>
                <a:cubicBezTo>
                  <a:pt x="121" y="39"/>
                  <a:pt x="121" y="39"/>
                  <a:pt x="121" y="39"/>
                </a:cubicBezTo>
                <a:cubicBezTo>
                  <a:pt x="122" y="46"/>
                  <a:pt x="122" y="46"/>
                  <a:pt x="122" y="46"/>
                </a:cubicBezTo>
                <a:cubicBezTo>
                  <a:pt x="136" y="46"/>
                  <a:pt x="136" y="46"/>
                  <a:pt x="136" y="46"/>
                </a:cubicBezTo>
                <a:cubicBezTo>
                  <a:pt x="136" y="47"/>
                  <a:pt x="137" y="49"/>
                  <a:pt x="138" y="50"/>
                </a:cubicBezTo>
                <a:cubicBezTo>
                  <a:pt x="132" y="61"/>
                  <a:pt x="132" y="61"/>
                  <a:pt x="132" y="61"/>
                </a:cubicBezTo>
                <a:cubicBezTo>
                  <a:pt x="137" y="66"/>
                  <a:pt x="137" y="66"/>
                  <a:pt x="137" y="66"/>
                </a:cubicBezTo>
                <a:cubicBezTo>
                  <a:pt x="147" y="57"/>
                  <a:pt x="147" y="57"/>
                  <a:pt x="147" y="57"/>
                </a:cubicBezTo>
                <a:cubicBezTo>
                  <a:pt x="149" y="58"/>
                  <a:pt x="150" y="58"/>
                  <a:pt x="151" y="58"/>
                </a:cubicBezTo>
                <a:cubicBezTo>
                  <a:pt x="155" y="71"/>
                  <a:pt x="155" y="71"/>
                  <a:pt x="155" y="71"/>
                </a:cubicBezTo>
                <a:cubicBezTo>
                  <a:pt x="161" y="72"/>
                  <a:pt x="161" y="72"/>
                  <a:pt x="161" y="72"/>
                </a:cubicBezTo>
                <a:cubicBezTo>
                  <a:pt x="165" y="60"/>
                  <a:pt x="165" y="60"/>
                  <a:pt x="165" y="60"/>
                </a:cubicBezTo>
                <a:cubicBezTo>
                  <a:pt x="172" y="61"/>
                  <a:pt x="172" y="61"/>
                  <a:pt x="172" y="61"/>
                </a:cubicBezTo>
                <a:cubicBezTo>
                  <a:pt x="172" y="74"/>
                  <a:pt x="172" y="74"/>
                  <a:pt x="172" y="74"/>
                </a:cubicBezTo>
                <a:cubicBezTo>
                  <a:pt x="174" y="74"/>
                  <a:pt x="175" y="75"/>
                  <a:pt x="177" y="76"/>
                </a:cubicBezTo>
                <a:cubicBezTo>
                  <a:pt x="187" y="68"/>
                  <a:pt x="187" y="68"/>
                  <a:pt x="187" y="68"/>
                </a:cubicBezTo>
                <a:cubicBezTo>
                  <a:pt x="192" y="72"/>
                  <a:pt x="192" y="72"/>
                  <a:pt x="192" y="72"/>
                </a:cubicBezTo>
                <a:cubicBezTo>
                  <a:pt x="186" y="83"/>
                  <a:pt x="186" y="83"/>
                  <a:pt x="186" y="83"/>
                </a:cubicBezTo>
                <a:cubicBezTo>
                  <a:pt x="187" y="85"/>
                  <a:pt x="188" y="86"/>
                  <a:pt x="189" y="87"/>
                </a:cubicBezTo>
                <a:cubicBezTo>
                  <a:pt x="201" y="85"/>
                  <a:pt x="201" y="85"/>
                  <a:pt x="201" y="85"/>
                </a:cubicBezTo>
                <a:cubicBezTo>
                  <a:pt x="204" y="92"/>
                  <a:pt x="204" y="92"/>
                  <a:pt x="204" y="92"/>
                </a:cubicBezTo>
                <a:cubicBezTo>
                  <a:pt x="193" y="98"/>
                  <a:pt x="193" y="98"/>
                  <a:pt x="193" y="98"/>
                </a:cubicBezTo>
                <a:cubicBezTo>
                  <a:pt x="193" y="100"/>
                  <a:pt x="193" y="102"/>
                  <a:pt x="193" y="103"/>
                </a:cubicBezTo>
                <a:cubicBezTo>
                  <a:pt x="205" y="108"/>
                  <a:pt x="205" y="108"/>
                  <a:pt x="205" y="108"/>
                </a:cubicBezTo>
                <a:cubicBezTo>
                  <a:pt x="204" y="115"/>
                  <a:pt x="204" y="115"/>
                  <a:pt x="204" y="115"/>
                </a:cubicBezTo>
                <a:cubicBezTo>
                  <a:pt x="191" y="115"/>
                  <a:pt x="191" y="115"/>
                  <a:pt x="191" y="115"/>
                </a:cubicBezTo>
                <a:cubicBezTo>
                  <a:pt x="190" y="117"/>
                  <a:pt x="190" y="118"/>
                  <a:pt x="189" y="120"/>
                </a:cubicBezTo>
                <a:cubicBezTo>
                  <a:pt x="197" y="129"/>
                  <a:pt x="197" y="129"/>
                  <a:pt x="197" y="129"/>
                </a:cubicBezTo>
                <a:cubicBezTo>
                  <a:pt x="192" y="135"/>
                  <a:pt x="192" y="135"/>
                  <a:pt x="192" y="135"/>
                </a:cubicBezTo>
                <a:cubicBezTo>
                  <a:pt x="181" y="128"/>
                  <a:pt x="181" y="128"/>
                  <a:pt x="181" y="128"/>
                </a:cubicBezTo>
                <a:cubicBezTo>
                  <a:pt x="180" y="130"/>
                  <a:pt x="179" y="131"/>
                  <a:pt x="177" y="131"/>
                </a:cubicBezTo>
                <a:cubicBezTo>
                  <a:pt x="179" y="144"/>
                  <a:pt x="179" y="144"/>
                  <a:pt x="179" y="144"/>
                </a:cubicBezTo>
                <a:cubicBezTo>
                  <a:pt x="173" y="146"/>
                  <a:pt x="173" y="146"/>
                  <a:pt x="173" y="146"/>
                </a:cubicBezTo>
                <a:cubicBezTo>
                  <a:pt x="166" y="135"/>
                  <a:pt x="166" y="135"/>
                  <a:pt x="166" y="135"/>
                </a:cubicBezTo>
                <a:cubicBezTo>
                  <a:pt x="165" y="136"/>
                  <a:pt x="163" y="136"/>
                  <a:pt x="161" y="136"/>
                </a:cubicBezTo>
                <a:cubicBezTo>
                  <a:pt x="157" y="148"/>
                  <a:pt x="157" y="148"/>
                  <a:pt x="157" y="148"/>
                </a:cubicBezTo>
                <a:cubicBezTo>
                  <a:pt x="150" y="147"/>
                  <a:pt x="150" y="147"/>
                  <a:pt x="150" y="147"/>
                </a:cubicBezTo>
                <a:cubicBezTo>
                  <a:pt x="150" y="134"/>
                  <a:pt x="150" y="134"/>
                  <a:pt x="150" y="134"/>
                </a:cubicBezTo>
                <a:cubicBezTo>
                  <a:pt x="148" y="133"/>
                  <a:pt x="147" y="132"/>
                  <a:pt x="145" y="132"/>
                </a:cubicBezTo>
                <a:cubicBezTo>
                  <a:pt x="135" y="140"/>
                  <a:pt x="135" y="140"/>
                  <a:pt x="135" y="140"/>
                </a:cubicBezTo>
                <a:cubicBezTo>
                  <a:pt x="130" y="135"/>
                  <a:pt x="130" y="135"/>
                  <a:pt x="130" y="135"/>
                </a:cubicBezTo>
                <a:cubicBezTo>
                  <a:pt x="136" y="124"/>
                  <a:pt x="136" y="124"/>
                  <a:pt x="136" y="124"/>
                </a:cubicBezTo>
                <a:cubicBezTo>
                  <a:pt x="135" y="123"/>
                  <a:pt x="134" y="121"/>
                  <a:pt x="133" y="120"/>
                </a:cubicBezTo>
                <a:cubicBezTo>
                  <a:pt x="121" y="122"/>
                  <a:pt x="121" y="122"/>
                  <a:pt x="121" y="122"/>
                </a:cubicBezTo>
                <a:cubicBezTo>
                  <a:pt x="118" y="115"/>
                  <a:pt x="118" y="115"/>
                  <a:pt x="118" y="115"/>
                </a:cubicBezTo>
                <a:cubicBezTo>
                  <a:pt x="129" y="109"/>
                  <a:pt x="129" y="109"/>
                  <a:pt x="129" y="109"/>
                </a:cubicBezTo>
                <a:cubicBezTo>
                  <a:pt x="129" y="107"/>
                  <a:pt x="129" y="106"/>
                  <a:pt x="129" y="104"/>
                </a:cubicBezTo>
                <a:cubicBezTo>
                  <a:pt x="117" y="99"/>
                  <a:pt x="117" y="99"/>
                  <a:pt x="117" y="99"/>
                </a:cubicBezTo>
                <a:cubicBezTo>
                  <a:pt x="118" y="92"/>
                  <a:pt x="118" y="92"/>
                  <a:pt x="118" y="92"/>
                </a:cubicBezTo>
                <a:cubicBezTo>
                  <a:pt x="131" y="92"/>
                  <a:pt x="131" y="92"/>
                  <a:pt x="131" y="92"/>
                </a:cubicBezTo>
                <a:cubicBezTo>
                  <a:pt x="131" y="91"/>
                  <a:pt x="131" y="88"/>
                  <a:pt x="132" y="86"/>
                </a:cubicBezTo>
                <a:cubicBezTo>
                  <a:pt x="111" y="81"/>
                  <a:pt x="111" y="81"/>
                  <a:pt x="111" y="81"/>
                </a:cubicBezTo>
                <a:cubicBezTo>
                  <a:pt x="111" y="81"/>
                  <a:pt x="111" y="73"/>
                  <a:pt x="111" y="70"/>
                </a:cubicBezTo>
                <a:cubicBezTo>
                  <a:pt x="128" y="64"/>
                  <a:pt x="128" y="64"/>
                  <a:pt x="128" y="64"/>
                </a:cubicBezTo>
                <a:cubicBezTo>
                  <a:pt x="127" y="54"/>
                  <a:pt x="127" y="54"/>
                  <a:pt x="127" y="54"/>
                </a:cubicBezTo>
                <a:cubicBezTo>
                  <a:pt x="108" y="53"/>
                  <a:pt x="108" y="53"/>
                  <a:pt x="108" y="53"/>
                </a:cubicBezTo>
                <a:cubicBezTo>
                  <a:pt x="107" y="51"/>
                  <a:pt x="106" y="49"/>
                  <a:pt x="105" y="47"/>
                </a:cubicBezTo>
                <a:cubicBezTo>
                  <a:pt x="117" y="33"/>
                  <a:pt x="117" y="33"/>
                  <a:pt x="117" y="33"/>
                </a:cubicBezTo>
                <a:cubicBezTo>
                  <a:pt x="111" y="25"/>
                  <a:pt x="111" y="25"/>
                  <a:pt x="111" y="25"/>
                </a:cubicBezTo>
                <a:cubicBezTo>
                  <a:pt x="95" y="33"/>
                  <a:pt x="95" y="33"/>
                  <a:pt x="95" y="33"/>
                </a:cubicBezTo>
                <a:cubicBezTo>
                  <a:pt x="93" y="32"/>
                  <a:pt x="91" y="30"/>
                  <a:pt x="89" y="29"/>
                </a:cubicBezTo>
                <a:cubicBezTo>
                  <a:pt x="92" y="11"/>
                  <a:pt x="92" y="11"/>
                  <a:pt x="92" y="11"/>
                </a:cubicBezTo>
                <a:cubicBezTo>
                  <a:pt x="82" y="7"/>
                  <a:pt x="82" y="7"/>
                  <a:pt x="82" y="7"/>
                </a:cubicBezTo>
                <a:cubicBezTo>
                  <a:pt x="73" y="23"/>
                  <a:pt x="73" y="23"/>
                  <a:pt x="73" y="23"/>
                </a:cubicBezTo>
                <a:cubicBezTo>
                  <a:pt x="70" y="23"/>
                  <a:pt x="68" y="22"/>
                  <a:pt x="65" y="22"/>
                </a:cubicBezTo>
                <a:cubicBezTo>
                  <a:pt x="59" y="5"/>
                  <a:pt x="59" y="5"/>
                  <a:pt x="59" y="5"/>
                </a:cubicBezTo>
                <a:cubicBezTo>
                  <a:pt x="49" y="6"/>
                  <a:pt x="49" y="6"/>
                  <a:pt x="49" y="6"/>
                </a:cubicBezTo>
                <a:cubicBezTo>
                  <a:pt x="49" y="25"/>
                  <a:pt x="49" y="25"/>
                  <a:pt x="49" y="25"/>
                </a:cubicBezTo>
                <a:cubicBezTo>
                  <a:pt x="46" y="26"/>
                  <a:pt x="44" y="27"/>
                  <a:pt x="42" y="28"/>
                </a:cubicBezTo>
                <a:cubicBezTo>
                  <a:pt x="28" y="16"/>
                  <a:pt x="28" y="16"/>
                  <a:pt x="28" y="16"/>
                </a:cubicBezTo>
                <a:cubicBezTo>
                  <a:pt x="20" y="22"/>
                  <a:pt x="20" y="22"/>
                  <a:pt x="20" y="22"/>
                </a:cubicBezTo>
                <a:cubicBezTo>
                  <a:pt x="29" y="39"/>
                  <a:pt x="29" y="39"/>
                  <a:pt x="29" y="39"/>
                </a:cubicBezTo>
                <a:cubicBezTo>
                  <a:pt x="27" y="40"/>
                  <a:pt x="26" y="42"/>
                  <a:pt x="24" y="44"/>
                </a:cubicBezTo>
                <a:cubicBezTo>
                  <a:pt x="6" y="41"/>
                  <a:pt x="6" y="41"/>
                  <a:pt x="6" y="41"/>
                </a:cubicBezTo>
                <a:cubicBezTo>
                  <a:pt x="2" y="51"/>
                  <a:pt x="2" y="51"/>
                  <a:pt x="2" y="51"/>
                </a:cubicBezTo>
                <a:cubicBezTo>
                  <a:pt x="18" y="60"/>
                  <a:pt x="18" y="60"/>
                  <a:pt x="18" y="60"/>
                </a:cubicBezTo>
                <a:cubicBezTo>
                  <a:pt x="18" y="63"/>
                  <a:pt x="18" y="65"/>
                  <a:pt x="18" y="68"/>
                </a:cubicBezTo>
                <a:cubicBezTo>
                  <a:pt x="0" y="74"/>
                  <a:pt x="0" y="74"/>
                  <a:pt x="0" y="74"/>
                </a:cubicBezTo>
                <a:cubicBezTo>
                  <a:pt x="2" y="84"/>
                  <a:pt x="2" y="84"/>
                  <a:pt x="2" y="84"/>
                </a:cubicBezTo>
                <a:cubicBezTo>
                  <a:pt x="20" y="84"/>
                  <a:pt x="20" y="84"/>
                  <a:pt x="20" y="84"/>
                </a:cubicBezTo>
                <a:cubicBezTo>
                  <a:pt x="21" y="87"/>
                  <a:pt x="22" y="89"/>
                  <a:pt x="23" y="91"/>
                </a:cubicBezTo>
                <a:cubicBezTo>
                  <a:pt x="11" y="105"/>
                  <a:pt x="11" y="105"/>
                  <a:pt x="11" y="105"/>
                </a:cubicBezTo>
                <a:cubicBezTo>
                  <a:pt x="18" y="113"/>
                  <a:pt x="18" y="113"/>
                  <a:pt x="18" y="113"/>
                </a:cubicBezTo>
                <a:cubicBezTo>
                  <a:pt x="34" y="104"/>
                  <a:pt x="34" y="104"/>
                  <a:pt x="34" y="104"/>
                </a:cubicBezTo>
                <a:cubicBezTo>
                  <a:pt x="36" y="106"/>
                  <a:pt x="38" y="107"/>
                  <a:pt x="40" y="109"/>
                </a:cubicBezTo>
                <a:cubicBezTo>
                  <a:pt x="36" y="127"/>
                  <a:pt x="36" y="127"/>
                  <a:pt x="36" y="127"/>
                </a:cubicBezTo>
                <a:cubicBezTo>
                  <a:pt x="46" y="131"/>
                  <a:pt x="46" y="131"/>
                  <a:pt x="46" y="131"/>
                </a:cubicBezTo>
                <a:cubicBezTo>
                  <a:pt x="56" y="115"/>
                  <a:pt x="56" y="115"/>
                  <a:pt x="56" y="115"/>
                </a:cubicBezTo>
                <a:cubicBezTo>
                  <a:pt x="58" y="115"/>
                  <a:pt x="61" y="115"/>
                  <a:pt x="63" y="115"/>
                </a:cubicBezTo>
                <a:cubicBezTo>
                  <a:pt x="69" y="133"/>
                  <a:pt x="69" y="133"/>
                  <a:pt x="69" y="133"/>
                </a:cubicBezTo>
                <a:cubicBezTo>
                  <a:pt x="79" y="131"/>
                  <a:pt x="79" y="131"/>
                  <a:pt x="79" y="131"/>
                </a:cubicBezTo>
                <a:cubicBezTo>
                  <a:pt x="80" y="113"/>
                  <a:pt x="80" y="113"/>
                  <a:pt x="80" y="113"/>
                </a:cubicBezTo>
                <a:cubicBezTo>
                  <a:pt x="82" y="112"/>
                  <a:pt x="84" y="111"/>
                  <a:pt x="87" y="110"/>
                </a:cubicBezTo>
                <a:cubicBezTo>
                  <a:pt x="101" y="122"/>
                  <a:pt x="101" y="122"/>
                  <a:pt x="101" y="122"/>
                </a:cubicBezTo>
                <a:cubicBezTo>
                  <a:pt x="109" y="116"/>
                  <a:pt x="109" y="116"/>
                  <a:pt x="109" y="116"/>
                </a:cubicBezTo>
                <a:cubicBezTo>
                  <a:pt x="100" y="99"/>
                  <a:pt x="100" y="99"/>
                  <a:pt x="100" y="99"/>
                </a:cubicBezTo>
                <a:moveTo>
                  <a:pt x="67" y="87"/>
                </a:moveTo>
                <a:cubicBezTo>
                  <a:pt x="57" y="89"/>
                  <a:pt x="48" y="82"/>
                  <a:pt x="46" y="72"/>
                </a:cubicBezTo>
                <a:cubicBezTo>
                  <a:pt x="44" y="62"/>
                  <a:pt x="51" y="52"/>
                  <a:pt x="61" y="51"/>
                </a:cubicBezTo>
                <a:cubicBezTo>
                  <a:pt x="71" y="49"/>
                  <a:pt x="81" y="56"/>
                  <a:pt x="82" y="66"/>
                </a:cubicBezTo>
                <a:cubicBezTo>
                  <a:pt x="84" y="76"/>
                  <a:pt x="77" y="85"/>
                  <a:pt x="67" y="87"/>
                </a:cubicBezTo>
                <a:close/>
              </a:path>
            </a:pathLst>
          </a:custGeom>
          <a:noFill/>
          <a:ln w="3175" cap="rnd">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endParaRPr lang="en-US" sz="933">
              <a:latin typeface="+mj-lt"/>
              <a:cs typeface="Arial" pitchFamily="34" charset="0"/>
            </a:endParaRPr>
          </a:p>
        </p:txBody>
      </p:sp>
      <p:sp>
        <p:nvSpPr>
          <p:cNvPr id="6" name="Freeform 402">
            <a:extLst>
              <a:ext uri="{FF2B5EF4-FFF2-40B4-BE49-F238E27FC236}">
                <a16:creationId xmlns:a16="http://schemas.microsoft.com/office/drawing/2014/main" id="{DEFBC652-3B37-4943-B9F7-039FEE1F2ECB}"/>
              </a:ext>
            </a:extLst>
          </p:cNvPr>
          <p:cNvSpPr>
            <a:spLocks noEditPoints="1"/>
          </p:cNvSpPr>
          <p:nvPr/>
        </p:nvSpPr>
        <p:spPr bwMode="auto">
          <a:xfrm>
            <a:off x="5606619" y="3776807"/>
            <a:ext cx="452043" cy="340189"/>
          </a:xfrm>
          <a:custGeom>
            <a:avLst/>
            <a:gdLst/>
            <a:ahLst/>
            <a:cxnLst>
              <a:cxn ang="0">
                <a:pos x="149" y="45"/>
              </a:cxn>
              <a:cxn ang="0">
                <a:pos x="169" y="94"/>
              </a:cxn>
              <a:cxn ang="0">
                <a:pos x="151" y="96"/>
              </a:cxn>
              <a:cxn ang="0">
                <a:pos x="176" y="48"/>
              </a:cxn>
              <a:cxn ang="0">
                <a:pos x="191" y="44"/>
              </a:cxn>
              <a:cxn ang="0">
                <a:pos x="179" y="29"/>
              </a:cxn>
              <a:cxn ang="0">
                <a:pos x="172" y="19"/>
              </a:cxn>
              <a:cxn ang="0">
                <a:pos x="164" y="0"/>
              </a:cxn>
              <a:cxn ang="0">
                <a:pos x="146" y="1"/>
              </a:cxn>
              <a:cxn ang="0">
                <a:pos x="139" y="20"/>
              </a:cxn>
              <a:cxn ang="0">
                <a:pos x="134" y="30"/>
              </a:cxn>
              <a:cxn ang="0">
                <a:pos x="122" y="46"/>
              </a:cxn>
              <a:cxn ang="0">
                <a:pos x="132" y="61"/>
              </a:cxn>
              <a:cxn ang="0">
                <a:pos x="151" y="58"/>
              </a:cxn>
              <a:cxn ang="0">
                <a:pos x="165" y="60"/>
              </a:cxn>
              <a:cxn ang="0">
                <a:pos x="177" y="76"/>
              </a:cxn>
              <a:cxn ang="0">
                <a:pos x="186" y="83"/>
              </a:cxn>
              <a:cxn ang="0">
                <a:pos x="204" y="92"/>
              </a:cxn>
              <a:cxn ang="0">
                <a:pos x="205" y="108"/>
              </a:cxn>
              <a:cxn ang="0">
                <a:pos x="189" y="120"/>
              </a:cxn>
              <a:cxn ang="0">
                <a:pos x="181" y="128"/>
              </a:cxn>
              <a:cxn ang="0">
                <a:pos x="173" y="146"/>
              </a:cxn>
              <a:cxn ang="0">
                <a:pos x="157" y="148"/>
              </a:cxn>
              <a:cxn ang="0">
                <a:pos x="145" y="132"/>
              </a:cxn>
              <a:cxn ang="0">
                <a:pos x="136" y="124"/>
              </a:cxn>
              <a:cxn ang="0">
                <a:pos x="118" y="115"/>
              </a:cxn>
              <a:cxn ang="0">
                <a:pos x="117" y="99"/>
              </a:cxn>
              <a:cxn ang="0">
                <a:pos x="132" y="86"/>
              </a:cxn>
              <a:cxn ang="0">
                <a:pos x="128" y="64"/>
              </a:cxn>
              <a:cxn ang="0">
                <a:pos x="105" y="47"/>
              </a:cxn>
              <a:cxn ang="0">
                <a:pos x="95" y="33"/>
              </a:cxn>
              <a:cxn ang="0">
                <a:pos x="82" y="7"/>
              </a:cxn>
              <a:cxn ang="0">
                <a:pos x="59" y="5"/>
              </a:cxn>
              <a:cxn ang="0">
                <a:pos x="42" y="28"/>
              </a:cxn>
              <a:cxn ang="0">
                <a:pos x="29" y="39"/>
              </a:cxn>
              <a:cxn ang="0">
                <a:pos x="2" y="51"/>
              </a:cxn>
              <a:cxn ang="0">
                <a:pos x="0" y="74"/>
              </a:cxn>
              <a:cxn ang="0">
                <a:pos x="23" y="91"/>
              </a:cxn>
              <a:cxn ang="0">
                <a:pos x="34" y="104"/>
              </a:cxn>
              <a:cxn ang="0">
                <a:pos x="46" y="131"/>
              </a:cxn>
              <a:cxn ang="0">
                <a:pos x="69" y="133"/>
              </a:cxn>
              <a:cxn ang="0">
                <a:pos x="87" y="110"/>
              </a:cxn>
              <a:cxn ang="0">
                <a:pos x="100" y="99"/>
              </a:cxn>
              <a:cxn ang="0">
                <a:pos x="61" y="51"/>
              </a:cxn>
            </a:cxnLst>
            <a:rect l="0" t="0" r="r" b="b"/>
            <a:pathLst>
              <a:path w="205" h="148">
                <a:moveTo>
                  <a:pt x="164" y="27"/>
                </a:moveTo>
                <a:cubicBezTo>
                  <a:pt x="169" y="31"/>
                  <a:pt x="169" y="38"/>
                  <a:pt x="165" y="43"/>
                </a:cubicBezTo>
                <a:cubicBezTo>
                  <a:pt x="161" y="48"/>
                  <a:pt x="154" y="49"/>
                  <a:pt x="149" y="45"/>
                </a:cubicBezTo>
                <a:cubicBezTo>
                  <a:pt x="144" y="41"/>
                  <a:pt x="143" y="33"/>
                  <a:pt x="147" y="28"/>
                </a:cubicBezTo>
                <a:cubicBezTo>
                  <a:pt x="152" y="23"/>
                  <a:pt x="159" y="23"/>
                  <a:pt x="164" y="27"/>
                </a:cubicBezTo>
                <a:close/>
                <a:moveTo>
                  <a:pt x="169" y="94"/>
                </a:moveTo>
                <a:cubicBezTo>
                  <a:pt x="174" y="98"/>
                  <a:pt x="175" y="106"/>
                  <a:pt x="171" y="112"/>
                </a:cubicBezTo>
                <a:cubicBezTo>
                  <a:pt x="166" y="117"/>
                  <a:pt x="158" y="118"/>
                  <a:pt x="153" y="113"/>
                </a:cubicBezTo>
                <a:cubicBezTo>
                  <a:pt x="147" y="109"/>
                  <a:pt x="147" y="101"/>
                  <a:pt x="151" y="96"/>
                </a:cubicBezTo>
                <a:cubicBezTo>
                  <a:pt x="156" y="90"/>
                  <a:pt x="164" y="89"/>
                  <a:pt x="169" y="94"/>
                </a:cubicBezTo>
                <a:close/>
                <a:moveTo>
                  <a:pt x="183" y="60"/>
                </a:moveTo>
                <a:cubicBezTo>
                  <a:pt x="176" y="48"/>
                  <a:pt x="176" y="48"/>
                  <a:pt x="176" y="48"/>
                </a:cubicBezTo>
                <a:cubicBezTo>
                  <a:pt x="176" y="48"/>
                  <a:pt x="177" y="47"/>
                  <a:pt x="177" y="46"/>
                </a:cubicBezTo>
                <a:cubicBezTo>
                  <a:pt x="178" y="46"/>
                  <a:pt x="178" y="45"/>
                  <a:pt x="178" y="44"/>
                </a:cubicBezTo>
                <a:cubicBezTo>
                  <a:pt x="191" y="44"/>
                  <a:pt x="191" y="44"/>
                  <a:pt x="191" y="44"/>
                </a:cubicBezTo>
                <a:cubicBezTo>
                  <a:pt x="192" y="37"/>
                  <a:pt x="192" y="37"/>
                  <a:pt x="192" y="37"/>
                </a:cubicBezTo>
                <a:cubicBezTo>
                  <a:pt x="180" y="33"/>
                  <a:pt x="180" y="33"/>
                  <a:pt x="180" y="33"/>
                </a:cubicBezTo>
                <a:cubicBezTo>
                  <a:pt x="180" y="31"/>
                  <a:pt x="179" y="30"/>
                  <a:pt x="179" y="29"/>
                </a:cubicBezTo>
                <a:cubicBezTo>
                  <a:pt x="189" y="20"/>
                  <a:pt x="189" y="20"/>
                  <a:pt x="189" y="20"/>
                </a:cubicBezTo>
                <a:cubicBezTo>
                  <a:pt x="185" y="14"/>
                  <a:pt x="185" y="14"/>
                  <a:pt x="185" y="14"/>
                </a:cubicBezTo>
                <a:cubicBezTo>
                  <a:pt x="172" y="19"/>
                  <a:pt x="172" y="19"/>
                  <a:pt x="172" y="19"/>
                </a:cubicBezTo>
                <a:cubicBezTo>
                  <a:pt x="171" y="18"/>
                  <a:pt x="170" y="17"/>
                  <a:pt x="169" y="16"/>
                </a:cubicBezTo>
                <a:cubicBezTo>
                  <a:pt x="171" y="3"/>
                  <a:pt x="171" y="3"/>
                  <a:pt x="171" y="3"/>
                </a:cubicBezTo>
                <a:cubicBezTo>
                  <a:pt x="164" y="0"/>
                  <a:pt x="164" y="0"/>
                  <a:pt x="164" y="0"/>
                </a:cubicBezTo>
                <a:cubicBezTo>
                  <a:pt x="158" y="12"/>
                  <a:pt x="158" y="12"/>
                  <a:pt x="158" y="12"/>
                </a:cubicBezTo>
                <a:cubicBezTo>
                  <a:pt x="156" y="12"/>
                  <a:pt x="155" y="12"/>
                  <a:pt x="153" y="12"/>
                </a:cubicBezTo>
                <a:cubicBezTo>
                  <a:pt x="146" y="1"/>
                  <a:pt x="146" y="1"/>
                  <a:pt x="146" y="1"/>
                </a:cubicBezTo>
                <a:cubicBezTo>
                  <a:pt x="140" y="4"/>
                  <a:pt x="140" y="4"/>
                  <a:pt x="140" y="4"/>
                </a:cubicBezTo>
                <a:cubicBezTo>
                  <a:pt x="142" y="17"/>
                  <a:pt x="142" y="17"/>
                  <a:pt x="142" y="17"/>
                </a:cubicBezTo>
                <a:cubicBezTo>
                  <a:pt x="141" y="18"/>
                  <a:pt x="140" y="19"/>
                  <a:pt x="139" y="20"/>
                </a:cubicBezTo>
                <a:cubicBezTo>
                  <a:pt x="127" y="16"/>
                  <a:pt x="127" y="16"/>
                  <a:pt x="127" y="16"/>
                </a:cubicBezTo>
                <a:cubicBezTo>
                  <a:pt x="123" y="22"/>
                  <a:pt x="123" y="22"/>
                  <a:pt x="123" y="22"/>
                </a:cubicBezTo>
                <a:cubicBezTo>
                  <a:pt x="134" y="30"/>
                  <a:pt x="134" y="30"/>
                  <a:pt x="134" y="30"/>
                </a:cubicBezTo>
                <a:cubicBezTo>
                  <a:pt x="133" y="32"/>
                  <a:pt x="133" y="33"/>
                  <a:pt x="133" y="34"/>
                </a:cubicBezTo>
                <a:cubicBezTo>
                  <a:pt x="121" y="39"/>
                  <a:pt x="121" y="39"/>
                  <a:pt x="121" y="39"/>
                </a:cubicBezTo>
                <a:cubicBezTo>
                  <a:pt x="122" y="46"/>
                  <a:pt x="122" y="46"/>
                  <a:pt x="122" y="46"/>
                </a:cubicBezTo>
                <a:cubicBezTo>
                  <a:pt x="136" y="46"/>
                  <a:pt x="136" y="46"/>
                  <a:pt x="136" y="46"/>
                </a:cubicBezTo>
                <a:cubicBezTo>
                  <a:pt x="136" y="47"/>
                  <a:pt x="137" y="49"/>
                  <a:pt x="138" y="50"/>
                </a:cubicBezTo>
                <a:cubicBezTo>
                  <a:pt x="132" y="61"/>
                  <a:pt x="132" y="61"/>
                  <a:pt x="132" y="61"/>
                </a:cubicBezTo>
                <a:cubicBezTo>
                  <a:pt x="137" y="66"/>
                  <a:pt x="137" y="66"/>
                  <a:pt x="137" y="66"/>
                </a:cubicBezTo>
                <a:cubicBezTo>
                  <a:pt x="147" y="57"/>
                  <a:pt x="147" y="57"/>
                  <a:pt x="147" y="57"/>
                </a:cubicBezTo>
                <a:cubicBezTo>
                  <a:pt x="149" y="58"/>
                  <a:pt x="150" y="58"/>
                  <a:pt x="151" y="58"/>
                </a:cubicBezTo>
                <a:cubicBezTo>
                  <a:pt x="155" y="71"/>
                  <a:pt x="155" y="71"/>
                  <a:pt x="155" y="71"/>
                </a:cubicBezTo>
                <a:cubicBezTo>
                  <a:pt x="161" y="72"/>
                  <a:pt x="161" y="72"/>
                  <a:pt x="161" y="72"/>
                </a:cubicBezTo>
                <a:cubicBezTo>
                  <a:pt x="165" y="60"/>
                  <a:pt x="165" y="60"/>
                  <a:pt x="165" y="60"/>
                </a:cubicBezTo>
                <a:cubicBezTo>
                  <a:pt x="172" y="61"/>
                  <a:pt x="172" y="61"/>
                  <a:pt x="172" y="61"/>
                </a:cubicBezTo>
                <a:cubicBezTo>
                  <a:pt x="172" y="74"/>
                  <a:pt x="172" y="74"/>
                  <a:pt x="172" y="74"/>
                </a:cubicBezTo>
                <a:cubicBezTo>
                  <a:pt x="174" y="74"/>
                  <a:pt x="175" y="75"/>
                  <a:pt x="177" y="76"/>
                </a:cubicBezTo>
                <a:cubicBezTo>
                  <a:pt x="187" y="68"/>
                  <a:pt x="187" y="68"/>
                  <a:pt x="187" y="68"/>
                </a:cubicBezTo>
                <a:cubicBezTo>
                  <a:pt x="192" y="72"/>
                  <a:pt x="192" y="72"/>
                  <a:pt x="192" y="72"/>
                </a:cubicBezTo>
                <a:cubicBezTo>
                  <a:pt x="186" y="83"/>
                  <a:pt x="186" y="83"/>
                  <a:pt x="186" y="83"/>
                </a:cubicBezTo>
                <a:cubicBezTo>
                  <a:pt x="187" y="85"/>
                  <a:pt x="188" y="86"/>
                  <a:pt x="189" y="87"/>
                </a:cubicBezTo>
                <a:cubicBezTo>
                  <a:pt x="201" y="85"/>
                  <a:pt x="201" y="85"/>
                  <a:pt x="201" y="85"/>
                </a:cubicBezTo>
                <a:cubicBezTo>
                  <a:pt x="204" y="92"/>
                  <a:pt x="204" y="92"/>
                  <a:pt x="204" y="92"/>
                </a:cubicBezTo>
                <a:cubicBezTo>
                  <a:pt x="193" y="98"/>
                  <a:pt x="193" y="98"/>
                  <a:pt x="193" y="98"/>
                </a:cubicBezTo>
                <a:cubicBezTo>
                  <a:pt x="193" y="100"/>
                  <a:pt x="193" y="102"/>
                  <a:pt x="193" y="103"/>
                </a:cubicBezTo>
                <a:cubicBezTo>
                  <a:pt x="205" y="108"/>
                  <a:pt x="205" y="108"/>
                  <a:pt x="205" y="108"/>
                </a:cubicBezTo>
                <a:cubicBezTo>
                  <a:pt x="204" y="115"/>
                  <a:pt x="204" y="115"/>
                  <a:pt x="204" y="115"/>
                </a:cubicBezTo>
                <a:cubicBezTo>
                  <a:pt x="191" y="115"/>
                  <a:pt x="191" y="115"/>
                  <a:pt x="191" y="115"/>
                </a:cubicBezTo>
                <a:cubicBezTo>
                  <a:pt x="190" y="117"/>
                  <a:pt x="190" y="118"/>
                  <a:pt x="189" y="120"/>
                </a:cubicBezTo>
                <a:cubicBezTo>
                  <a:pt x="197" y="129"/>
                  <a:pt x="197" y="129"/>
                  <a:pt x="197" y="129"/>
                </a:cubicBezTo>
                <a:cubicBezTo>
                  <a:pt x="192" y="135"/>
                  <a:pt x="192" y="135"/>
                  <a:pt x="192" y="135"/>
                </a:cubicBezTo>
                <a:cubicBezTo>
                  <a:pt x="181" y="128"/>
                  <a:pt x="181" y="128"/>
                  <a:pt x="181" y="128"/>
                </a:cubicBezTo>
                <a:cubicBezTo>
                  <a:pt x="180" y="130"/>
                  <a:pt x="179" y="131"/>
                  <a:pt x="177" y="131"/>
                </a:cubicBezTo>
                <a:cubicBezTo>
                  <a:pt x="179" y="144"/>
                  <a:pt x="179" y="144"/>
                  <a:pt x="179" y="144"/>
                </a:cubicBezTo>
                <a:cubicBezTo>
                  <a:pt x="173" y="146"/>
                  <a:pt x="173" y="146"/>
                  <a:pt x="173" y="146"/>
                </a:cubicBezTo>
                <a:cubicBezTo>
                  <a:pt x="166" y="135"/>
                  <a:pt x="166" y="135"/>
                  <a:pt x="166" y="135"/>
                </a:cubicBezTo>
                <a:cubicBezTo>
                  <a:pt x="165" y="136"/>
                  <a:pt x="163" y="136"/>
                  <a:pt x="161" y="136"/>
                </a:cubicBezTo>
                <a:cubicBezTo>
                  <a:pt x="157" y="148"/>
                  <a:pt x="157" y="148"/>
                  <a:pt x="157" y="148"/>
                </a:cubicBezTo>
                <a:cubicBezTo>
                  <a:pt x="150" y="147"/>
                  <a:pt x="150" y="147"/>
                  <a:pt x="150" y="147"/>
                </a:cubicBezTo>
                <a:cubicBezTo>
                  <a:pt x="150" y="134"/>
                  <a:pt x="150" y="134"/>
                  <a:pt x="150" y="134"/>
                </a:cubicBezTo>
                <a:cubicBezTo>
                  <a:pt x="148" y="133"/>
                  <a:pt x="147" y="132"/>
                  <a:pt x="145" y="132"/>
                </a:cubicBezTo>
                <a:cubicBezTo>
                  <a:pt x="135" y="140"/>
                  <a:pt x="135" y="140"/>
                  <a:pt x="135" y="140"/>
                </a:cubicBezTo>
                <a:cubicBezTo>
                  <a:pt x="130" y="135"/>
                  <a:pt x="130" y="135"/>
                  <a:pt x="130" y="135"/>
                </a:cubicBezTo>
                <a:cubicBezTo>
                  <a:pt x="136" y="124"/>
                  <a:pt x="136" y="124"/>
                  <a:pt x="136" y="124"/>
                </a:cubicBezTo>
                <a:cubicBezTo>
                  <a:pt x="135" y="123"/>
                  <a:pt x="134" y="121"/>
                  <a:pt x="133" y="120"/>
                </a:cubicBezTo>
                <a:cubicBezTo>
                  <a:pt x="121" y="122"/>
                  <a:pt x="121" y="122"/>
                  <a:pt x="121" y="122"/>
                </a:cubicBezTo>
                <a:cubicBezTo>
                  <a:pt x="118" y="115"/>
                  <a:pt x="118" y="115"/>
                  <a:pt x="118" y="115"/>
                </a:cubicBezTo>
                <a:cubicBezTo>
                  <a:pt x="129" y="109"/>
                  <a:pt x="129" y="109"/>
                  <a:pt x="129" y="109"/>
                </a:cubicBezTo>
                <a:cubicBezTo>
                  <a:pt x="129" y="107"/>
                  <a:pt x="129" y="106"/>
                  <a:pt x="129" y="104"/>
                </a:cubicBezTo>
                <a:cubicBezTo>
                  <a:pt x="117" y="99"/>
                  <a:pt x="117" y="99"/>
                  <a:pt x="117" y="99"/>
                </a:cubicBezTo>
                <a:cubicBezTo>
                  <a:pt x="118" y="92"/>
                  <a:pt x="118" y="92"/>
                  <a:pt x="118" y="92"/>
                </a:cubicBezTo>
                <a:cubicBezTo>
                  <a:pt x="131" y="92"/>
                  <a:pt x="131" y="92"/>
                  <a:pt x="131" y="92"/>
                </a:cubicBezTo>
                <a:cubicBezTo>
                  <a:pt x="131" y="91"/>
                  <a:pt x="131" y="88"/>
                  <a:pt x="132" y="86"/>
                </a:cubicBezTo>
                <a:cubicBezTo>
                  <a:pt x="111" y="81"/>
                  <a:pt x="111" y="81"/>
                  <a:pt x="111" y="81"/>
                </a:cubicBezTo>
                <a:cubicBezTo>
                  <a:pt x="111" y="81"/>
                  <a:pt x="111" y="73"/>
                  <a:pt x="111" y="70"/>
                </a:cubicBezTo>
                <a:cubicBezTo>
                  <a:pt x="128" y="64"/>
                  <a:pt x="128" y="64"/>
                  <a:pt x="128" y="64"/>
                </a:cubicBezTo>
                <a:cubicBezTo>
                  <a:pt x="127" y="54"/>
                  <a:pt x="127" y="54"/>
                  <a:pt x="127" y="54"/>
                </a:cubicBezTo>
                <a:cubicBezTo>
                  <a:pt x="108" y="53"/>
                  <a:pt x="108" y="53"/>
                  <a:pt x="108" y="53"/>
                </a:cubicBezTo>
                <a:cubicBezTo>
                  <a:pt x="107" y="51"/>
                  <a:pt x="106" y="49"/>
                  <a:pt x="105" y="47"/>
                </a:cubicBezTo>
                <a:cubicBezTo>
                  <a:pt x="117" y="33"/>
                  <a:pt x="117" y="33"/>
                  <a:pt x="117" y="33"/>
                </a:cubicBezTo>
                <a:cubicBezTo>
                  <a:pt x="111" y="25"/>
                  <a:pt x="111" y="25"/>
                  <a:pt x="111" y="25"/>
                </a:cubicBezTo>
                <a:cubicBezTo>
                  <a:pt x="95" y="33"/>
                  <a:pt x="95" y="33"/>
                  <a:pt x="95" y="33"/>
                </a:cubicBezTo>
                <a:cubicBezTo>
                  <a:pt x="93" y="32"/>
                  <a:pt x="91" y="30"/>
                  <a:pt x="89" y="29"/>
                </a:cubicBezTo>
                <a:cubicBezTo>
                  <a:pt x="92" y="11"/>
                  <a:pt x="92" y="11"/>
                  <a:pt x="92" y="11"/>
                </a:cubicBezTo>
                <a:cubicBezTo>
                  <a:pt x="82" y="7"/>
                  <a:pt x="82" y="7"/>
                  <a:pt x="82" y="7"/>
                </a:cubicBezTo>
                <a:cubicBezTo>
                  <a:pt x="73" y="23"/>
                  <a:pt x="73" y="23"/>
                  <a:pt x="73" y="23"/>
                </a:cubicBezTo>
                <a:cubicBezTo>
                  <a:pt x="70" y="23"/>
                  <a:pt x="68" y="22"/>
                  <a:pt x="65" y="22"/>
                </a:cubicBezTo>
                <a:cubicBezTo>
                  <a:pt x="59" y="5"/>
                  <a:pt x="59" y="5"/>
                  <a:pt x="59" y="5"/>
                </a:cubicBezTo>
                <a:cubicBezTo>
                  <a:pt x="49" y="6"/>
                  <a:pt x="49" y="6"/>
                  <a:pt x="49" y="6"/>
                </a:cubicBezTo>
                <a:cubicBezTo>
                  <a:pt x="49" y="25"/>
                  <a:pt x="49" y="25"/>
                  <a:pt x="49" y="25"/>
                </a:cubicBezTo>
                <a:cubicBezTo>
                  <a:pt x="46" y="26"/>
                  <a:pt x="44" y="27"/>
                  <a:pt x="42" y="28"/>
                </a:cubicBezTo>
                <a:cubicBezTo>
                  <a:pt x="28" y="16"/>
                  <a:pt x="28" y="16"/>
                  <a:pt x="28" y="16"/>
                </a:cubicBezTo>
                <a:cubicBezTo>
                  <a:pt x="20" y="22"/>
                  <a:pt x="20" y="22"/>
                  <a:pt x="20" y="22"/>
                </a:cubicBezTo>
                <a:cubicBezTo>
                  <a:pt x="29" y="39"/>
                  <a:pt x="29" y="39"/>
                  <a:pt x="29" y="39"/>
                </a:cubicBezTo>
                <a:cubicBezTo>
                  <a:pt x="27" y="40"/>
                  <a:pt x="26" y="42"/>
                  <a:pt x="24" y="44"/>
                </a:cubicBezTo>
                <a:cubicBezTo>
                  <a:pt x="6" y="41"/>
                  <a:pt x="6" y="41"/>
                  <a:pt x="6" y="41"/>
                </a:cubicBezTo>
                <a:cubicBezTo>
                  <a:pt x="2" y="51"/>
                  <a:pt x="2" y="51"/>
                  <a:pt x="2" y="51"/>
                </a:cubicBezTo>
                <a:cubicBezTo>
                  <a:pt x="18" y="60"/>
                  <a:pt x="18" y="60"/>
                  <a:pt x="18" y="60"/>
                </a:cubicBezTo>
                <a:cubicBezTo>
                  <a:pt x="18" y="63"/>
                  <a:pt x="18" y="65"/>
                  <a:pt x="18" y="68"/>
                </a:cubicBezTo>
                <a:cubicBezTo>
                  <a:pt x="0" y="74"/>
                  <a:pt x="0" y="74"/>
                  <a:pt x="0" y="74"/>
                </a:cubicBezTo>
                <a:cubicBezTo>
                  <a:pt x="2" y="84"/>
                  <a:pt x="2" y="84"/>
                  <a:pt x="2" y="84"/>
                </a:cubicBezTo>
                <a:cubicBezTo>
                  <a:pt x="20" y="84"/>
                  <a:pt x="20" y="84"/>
                  <a:pt x="20" y="84"/>
                </a:cubicBezTo>
                <a:cubicBezTo>
                  <a:pt x="21" y="87"/>
                  <a:pt x="22" y="89"/>
                  <a:pt x="23" y="91"/>
                </a:cubicBezTo>
                <a:cubicBezTo>
                  <a:pt x="11" y="105"/>
                  <a:pt x="11" y="105"/>
                  <a:pt x="11" y="105"/>
                </a:cubicBezTo>
                <a:cubicBezTo>
                  <a:pt x="18" y="113"/>
                  <a:pt x="18" y="113"/>
                  <a:pt x="18" y="113"/>
                </a:cubicBezTo>
                <a:cubicBezTo>
                  <a:pt x="34" y="104"/>
                  <a:pt x="34" y="104"/>
                  <a:pt x="34" y="104"/>
                </a:cubicBezTo>
                <a:cubicBezTo>
                  <a:pt x="36" y="106"/>
                  <a:pt x="38" y="107"/>
                  <a:pt x="40" y="109"/>
                </a:cubicBezTo>
                <a:cubicBezTo>
                  <a:pt x="36" y="127"/>
                  <a:pt x="36" y="127"/>
                  <a:pt x="36" y="127"/>
                </a:cubicBezTo>
                <a:cubicBezTo>
                  <a:pt x="46" y="131"/>
                  <a:pt x="46" y="131"/>
                  <a:pt x="46" y="131"/>
                </a:cubicBezTo>
                <a:cubicBezTo>
                  <a:pt x="56" y="115"/>
                  <a:pt x="56" y="115"/>
                  <a:pt x="56" y="115"/>
                </a:cubicBezTo>
                <a:cubicBezTo>
                  <a:pt x="58" y="115"/>
                  <a:pt x="61" y="115"/>
                  <a:pt x="63" y="115"/>
                </a:cubicBezTo>
                <a:cubicBezTo>
                  <a:pt x="69" y="133"/>
                  <a:pt x="69" y="133"/>
                  <a:pt x="69" y="133"/>
                </a:cubicBezTo>
                <a:cubicBezTo>
                  <a:pt x="79" y="131"/>
                  <a:pt x="79" y="131"/>
                  <a:pt x="79" y="131"/>
                </a:cubicBezTo>
                <a:cubicBezTo>
                  <a:pt x="80" y="113"/>
                  <a:pt x="80" y="113"/>
                  <a:pt x="80" y="113"/>
                </a:cubicBezTo>
                <a:cubicBezTo>
                  <a:pt x="82" y="112"/>
                  <a:pt x="84" y="111"/>
                  <a:pt x="87" y="110"/>
                </a:cubicBezTo>
                <a:cubicBezTo>
                  <a:pt x="101" y="122"/>
                  <a:pt x="101" y="122"/>
                  <a:pt x="101" y="122"/>
                </a:cubicBezTo>
                <a:cubicBezTo>
                  <a:pt x="109" y="116"/>
                  <a:pt x="109" y="116"/>
                  <a:pt x="109" y="116"/>
                </a:cubicBezTo>
                <a:cubicBezTo>
                  <a:pt x="100" y="99"/>
                  <a:pt x="100" y="99"/>
                  <a:pt x="100" y="99"/>
                </a:cubicBezTo>
                <a:moveTo>
                  <a:pt x="67" y="87"/>
                </a:moveTo>
                <a:cubicBezTo>
                  <a:pt x="57" y="89"/>
                  <a:pt x="48" y="82"/>
                  <a:pt x="46" y="72"/>
                </a:cubicBezTo>
                <a:cubicBezTo>
                  <a:pt x="44" y="62"/>
                  <a:pt x="51" y="52"/>
                  <a:pt x="61" y="51"/>
                </a:cubicBezTo>
                <a:cubicBezTo>
                  <a:pt x="71" y="49"/>
                  <a:pt x="81" y="56"/>
                  <a:pt x="82" y="66"/>
                </a:cubicBezTo>
                <a:cubicBezTo>
                  <a:pt x="84" y="76"/>
                  <a:pt x="77" y="85"/>
                  <a:pt x="67" y="87"/>
                </a:cubicBezTo>
                <a:close/>
              </a:path>
            </a:pathLst>
          </a:custGeom>
          <a:noFill/>
          <a:ln w="3175" cap="rnd">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endParaRPr lang="en-US" sz="933">
              <a:latin typeface="+mj-lt"/>
              <a:cs typeface="Arial" pitchFamily="34" charset="0"/>
            </a:endParaRPr>
          </a:p>
        </p:txBody>
      </p:sp>
      <p:sp>
        <p:nvSpPr>
          <p:cNvPr id="7" name="Freeform 402">
            <a:extLst>
              <a:ext uri="{FF2B5EF4-FFF2-40B4-BE49-F238E27FC236}">
                <a16:creationId xmlns:a16="http://schemas.microsoft.com/office/drawing/2014/main" id="{896715E3-AEB4-4533-A795-791316DA7B21}"/>
              </a:ext>
            </a:extLst>
          </p:cNvPr>
          <p:cNvSpPr>
            <a:spLocks noEditPoints="1"/>
          </p:cNvSpPr>
          <p:nvPr/>
        </p:nvSpPr>
        <p:spPr bwMode="auto">
          <a:xfrm>
            <a:off x="8690596" y="3923014"/>
            <a:ext cx="452043" cy="340189"/>
          </a:xfrm>
          <a:custGeom>
            <a:avLst/>
            <a:gdLst/>
            <a:ahLst/>
            <a:cxnLst>
              <a:cxn ang="0">
                <a:pos x="149" y="45"/>
              </a:cxn>
              <a:cxn ang="0">
                <a:pos x="169" y="94"/>
              </a:cxn>
              <a:cxn ang="0">
                <a:pos x="151" y="96"/>
              </a:cxn>
              <a:cxn ang="0">
                <a:pos x="176" y="48"/>
              </a:cxn>
              <a:cxn ang="0">
                <a:pos x="191" y="44"/>
              </a:cxn>
              <a:cxn ang="0">
                <a:pos x="179" y="29"/>
              </a:cxn>
              <a:cxn ang="0">
                <a:pos x="172" y="19"/>
              </a:cxn>
              <a:cxn ang="0">
                <a:pos x="164" y="0"/>
              </a:cxn>
              <a:cxn ang="0">
                <a:pos x="146" y="1"/>
              </a:cxn>
              <a:cxn ang="0">
                <a:pos x="139" y="20"/>
              </a:cxn>
              <a:cxn ang="0">
                <a:pos x="134" y="30"/>
              </a:cxn>
              <a:cxn ang="0">
                <a:pos x="122" y="46"/>
              </a:cxn>
              <a:cxn ang="0">
                <a:pos x="132" y="61"/>
              </a:cxn>
              <a:cxn ang="0">
                <a:pos x="151" y="58"/>
              </a:cxn>
              <a:cxn ang="0">
                <a:pos x="165" y="60"/>
              </a:cxn>
              <a:cxn ang="0">
                <a:pos x="177" y="76"/>
              </a:cxn>
              <a:cxn ang="0">
                <a:pos x="186" y="83"/>
              </a:cxn>
              <a:cxn ang="0">
                <a:pos x="204" y="92"/>
              </a:cxn>
              <a:cxn ang="0">
                <a:pos x="205" y="108"/>
              </a:cxn>
              <a:cxn ang="0">
                <a:pos x="189" y="120"/>
              </a:cxn>
              <a:cxn ang="0">
                <a:pos x="181" y="128"/>
              </a:cxn>
              <a:cxn ang="0">
                <a:pos x="173" y="146"/>
              </a:cxn>
              <a:cxn ang="0">
                <a:pos x="157" y="148"/>
              </a:cxn>
              <a:cxn ang="0">
                <a:pos x="145" y="132"/>
              </a:cxn>
              <a:cxn ang="0">
                <a:pos x="136" y="124"/>
              </a:cxn>
              <a:cxn ang="0">
                <a:pos x="118" y="115"/>
              </a:cxn>
              <a:cxn ang="0">
                <a:pos x="117" y="99"/>
              </a:cxn>
              <a:cxn ang="0">
                <a:pos x="132" y="86"/>
              </a:cxn>
              <a:cxn ang="0">
                <a:pos x="128" y="64"/>
              </a:cxn>
              <a:cxn ang="0">
                <a:pos x="105" y="47"/>
              </a:cxn>
              <a:cxn ang="0">
                <a:pos x="95" y="33"/>
              </a:cxn>
              <a:cxn ang="0">
                <a:pos x="82" y="7"/>
              </a:cxn>
              <a:cxn ang="0">
                <a:pos x="59" y="5"/>
              </a:cxn>
              <a:cxn ang="0">
                <a:pos x="42" y="28"/>
              </a:cxn>
              <a:cxn ang="0">
                <a:pos x="29" y="39"/>
              </a:cxn>
              <a:cxn ang="0">
                <a:pos x="2" y="51"/>
              </a:cxn>
              <a:cxn ang="0">
                <a:pos x="0" y="74"/>
              </a:cxn>
              <a:cxn ang="0">
                <a:pos x="23" y="91"/>
              </a:cxn>
              <a:cxn ang="0">
                <a:pos x="34" y="104"/>
              </a:cxn>
              <a:cxn ang="0">
                <a:pos x="46" y="131"/>
              </a:cxn>
              <a:cxn ang="0">
                <a:pos x="69" y="133"/>
              </a:cxn>
              <a:cxn ang="0">
                <a:pos x="87" y="110"/>
              </a:cxn>
              <a:cxn ang="0">
                <a:pos x="100" y="99"/>
              </a:cxn>
              <a:cxn ang="0">
                <a:pos x="61" y="51"/>
              </a:cxn>
            </a:cxnLst>
            <a:rect l="0" t="0" r="r" b="b"/>
            <a:pathLst>
              <a:path w="205" h="148">
                <a:moveTo>
                  <a:pt x="164" y="27"/>
                </a:moveTo>
                <a:cubicBezTo>
                  <a:pt x="169" y="31"/>
                  <a:pt x="169" y="38"/>
                  <a:pt x="165" y="43"/>
                </a:cubicBezTo>
                <a:cubicBezTo>
                  <a:pt x="161" y="48"/>
                  <a:pt x="154" y="49"/>
                  <a:pt x="149" y="45"/>
                </a:cubicBezTo>
                <a:cubicBezTo>
                  <a:pt x="144" y="41"/>
                  <a:pt x="143" y="33"/>
                  <a:pt x="147" y="28"/>
                </a:cubicBezTo>
                <a:cubicBezTo>
                  <a:pt x="152" y="23"/>
                  <a:pt x="159" y="23"/>
                  <a:pt x="164" y="27"/>
                </a:cubicBezTo>
                <a:close/>
                <a:moveTo>
                  <a:pt x="169" y="94"/>
                </a:moveTo>
                <a:cubicBezTo>
                  <a:pt x="174" y="98"/>
                  <a:pt x="175" y="106"/>
                  <a:pt x="171" y="112"/>
                </a:cubicBezTo>
                <a:cubicBezTo>
                  <a:pt x="166" y="117"/>
                  <a:pt x="158" y="118"/>
                  <a:pt x="153" y="113"/>
                </a:cubicBezTo>
                <a:cubicBezTo>
                  <a:pt x="147" y="109"/>
                  <a:pt x="147" y="101"/>
                  <a:pt x="151" y="96"/>
                </a:cubicBezTo>
                <a:cubicBezTo>
                  <a:pt x="156" y="90"/>
                  <a:pt x="164" y="89"/>
                  <a:pt x="169" y="94"/>
                </a:cubicBezTo>
                <a:close/>
                <a:moveTo>
                  <a:pt x="183" y="60"/>
                </a:moveTo>
                <a:cubicBezTo>
                  <a:pt x="176" y="48"/>
                  <a:pt x="176" y="48"/>
                  <a:pt x="176" y="48"/>
                </a:cubicBezTo>
                <a:cubicBezTo>
                  <a:pt x="176" y="48"/>
                  <a:pt x="177" y="47"/>
                  <a:pt x="177" y="46"/>
                </a:cubicBezTo>
                <a:cubicBezTo>
                  <a:pt x="178" y="46"/>
                  <a:pt x="178" y="45"/>
                  <a:pt x="178" y="44"/>
                </a:cubicBezTo>
                <a:cubicBezTo>
                  <a:pt x="191" y="44"/>
                  <a:pt x="191" y="44"/>
                  <a:pt x="191" y="44"/>
                </a:cubicBezTo>
                <a:cubicBezTo>
                  <a:pt x="192" y="37"/>
                  <a:pt x="192" y="37"/>
                  <a:pt x="192" y="37"/>
                </a:cubicBezTo>
                <a:cubicBezTo>
                  <a:pt x="180" y="33"/>
                  <a:pt x="180" y="33"/>
                  <a:pt x="180" y="33"/>
                </a:cubicBezTo>
                <a:cubicBezTo>
                  <a:pt x="180" y="31"/>
                  <a:pt x="179" y="30"/>
                  <a:pt x="179" y="29"/>
                </a:cubicBezTo>
                <a:cubicBezTo>
                  <a:pt x="189" y="20"/>
                  <a:pt x="189" y="20"/>
                  <a:pt x="189" y="20"/>
                </a:cubicBezTo>
                <a:cubicBezTo>
                  <a:pt x="185" y="14"/>
                  <a:pt x="185" y="14"/>
                  <a:pt x="185" y="14"/>
                </a:cubicBezTo>
                <a:cubicBezTo>
                  <a:pt x="172" y="19"/>
                  <a:pt x="172" y="19"/>
                  <a:pt x="172" y="19"/>
                </a:cubicBezTo>
                <a:cubicBezTo>
                  <a:pt x="171" y="18"/>
                  <a:pt x="170" y="17"/>
                  <a:pt x="169" y="16"/>
                </a:cubicBezTo>
                <a:cubicBezTo>
                  <a:pt x="171" y="3"/>
                  <a:pt x="171" y="3"/>
                  <a:pt x="171" y="3"/>
                </a:cubicBezTo>
                <a:cubicBezTo>
                  <a:pt x="164" y="0"/>
                  <a:pt x="164" y="0"/>
                  <a:pt x="164" y="0"/>
                </a:cubicBezTo>
                <a:cubicBezTo>
                  <a:pt x="158" y="12"/>
                  <a:pt x="158" y="12"/>
                  <a:pt x="158" y="12"/>
                </a:cubicBezTo>
                <a:cubicBezTo>
                  <a:pt x="156" y="12"/>
                  <a:pt x="155" y="12"/>
                  <a:pt x="153" y="12"/>
                </a:cubicBezTo>
                <a:cubicBezTo>
                  <a:pt x="146" y="1"/>
                  <a:pt x="146" y="1"/>
                  <a:pt x="146" y="1"/>
                </a:cubicBezTo>
                <a:cubicBezTo>
                  <a:pt x="140" y="4"/>
                  <a:pt x="140" y="4"/>
                  <a:pt x="140" y="4"/>
                </a:cubicBezTo>
                <a:cubicBezTo>
                  <a:pt x="142" y="17"/>
                  <a:pt x="142" y="17"/>
                  <a:pt x="142" y="17"/>
                </a:cubicBezTo>
                <a:cubicBezTo>
                  <a:pt x="141" y="18"/>
                  <a:pt x="140" y="19"/>
                  <a:pt x="139" y="20"/>
                </a:cubicBezTo>
                <a:cubicBezTo>
                  <a:pt x="127" y="16"/>
                  <a:pt x="127" y="16"/>
                  <a:pt x="127" y="16"/>
                </a:cubicBezTo>
                <a:cubicBezTo>
                  <a:pt x="123" y="22"/>
                  <a:pt x="123" y="22"/>
                  <a:pt x="123" y="22"/>
                </a:cubicBezTo>
                <a:cubicBezTo>
                  <a:pt x="134" y="30"/>
                  <a:pt x="134" y="30"/>
                  <a:pt x="134" y="30"/>
                </a:cubicBezTo>
                <a:cubicBezTo>
                  <a:pt x="133" y="32"/>
                  <a:pt x="133" y="33"/>
                  <a:pt x="133" y="34"/>
                </a:cubicBezTo>
                <a:cubicBezTo>
                  <a:pt x="121" y="39"/>
                  <a:pt x="121" y="39"/>
                  <a:pt x="121" y="39"/>
                </a:cubicBezTo>
                <a:cubicBezTo>
                  <a:pt x="122" y="46"/>
                  <a:pt x="122" y="46"/>
                  <a:pt x="122" y="46"/>
                </a:cubicBezTo>
                <a:cubicBezTo>
                  <a:pt x="136" y="46"/>
                  <a:pt x="136" y="46"/>
                  <a:pt x="136" y="46"/>
                </a:cubicBezTo>
                <a:cubicBezTo>
                  <a:pt x="136" y="47"/>
                  <a:pt x="137" y="49"/>
                  <a:pt x="138" y="50"/>
                </a:cubicBezTo>
                <a:cubicBezTo>
                  <a:pt x="132" y="61"/>
                  <a:pt x="132" y="61"/>
                  <a:pt x="132" y="61"/>
                </a:cubicBezTo>
                <a:cubicBezTo>
                  <a:pt x="137" y="66"/>
                  <a:pt x="137" y="66"/>
                  <a:pt x="137" y="66"/>
                </a:cubicBezTo>
                <a:cubicBezTo>
                  <a:pt x="147" y="57"/>
                  <a:pt x="147" y="57"/>
                  <a:pt x="147" y="57"/>
                </a:cubicBezTo>
                <a:cubicBezTo>
                  <a:pt x="149" y="58"/>
                  <a:pt x="150" y="58"/>
                  <a:pt x="151" y="58"/>
                </a:cubicBezTo>
                <a:cubicBezTo>
                  <a:pt x="155" y="71"/>
                  <a:pt x="155" y="71"/>
                  <a:pt x="155" y="71"/>
                </a:cubicBezTo>
                <a:cubicBezTo>
                  <a:pt x="161" y="72"/>
                  <a:pt x="161" y="72"/>
                  <a:pt x="161" y="72"/>
                </a:cubicBezTo>
                <a:cubicBezTo>
                  <a:pt x="165" y="60"/>
                  <a:pt x="165" y="60"/>
                  <a:pt x="165" y="60"/>
                </a:cubicBezTo>
                <a:cubicBezTo>
                  <a:pt x="172" y="61"/>
                  <a:pt x="172" y="61"/>
                  <a:pt x="172" y="61"/>
                </a:cubicBezTo>
                <a:cubicBezTo>
                  <a:pt x="172" y="74"/>
                  <a:pt x="172" y="74"/>
                  <a:pt x="172" y="74"/>
                </a:cubicBezTo>
                <a:cubicBezTo>
                  <a:pt x="174" y="74"/>
                  <a:pt x="175" y="75"/>
                  <a:pt x="177" y="76"/>
                </a:cubicBezTo>
                <a:cubicBezTo>
                  <a:pt x="187" y="68"/>
                  <a:pt x="187" y="68"/>
                  <a:pt x="187" y="68"/>
                </a:cubicBezTo>
                <a:cubicBezTo>
                  <a:pt x="192" y="72"/>
                  <a:pt x="192" y="72"/>
                  <a:pt x="192" y="72"/>
                </a:cubicBezTo>
                <a:cubicBezTo>
                  <a:pt x="186" y="83"/>
                  <a:pt x="186" y="83"/>
                  <a:pt x="186" y="83"/>
                </a:cubicBezTo>
                <a:cubicBezTo>
                  <a:pt x="187" y="85"/>
                  <a:pt x="188" y="86"/>
                  <a:pt x="189" y="87"/>
                </a:cubicBezTo>
                <a:cubicBezTo>
                  <a:pt x="201" y="85"/>
                  <a:pt x="201" y="85"/>
                  <a:pt x="201" y="85"/>
                </a:cubicBezTo>
                <a:cubicBezTo>
                  <a:pt x="204" y="92"/>
                  <a:pt x="204" y="92"/>
                  <a:pt x="204" y="92"/>
                </a:cubicBezTo>
                <a:cubicBezTo>
                  <a:pt x="193" y="98"/>
                  <a:pt x="193" y="98"/>
                  <a:pt x="193" y="98"/>
                </a:cubicBezTo>
                <a:cubicBezTo>
                  <a:pt x="193" y="100"/>
                  <a:pt x="193" y="102"/>
                  <a:pt x="193" y="103"/>
                </a:cubicBezTo>
                <a:cubicBezTo>
                  <a:pt x="205" y="108"/>
                  <a:pt x="205" y="108"/>
                  <a:pt x="205" y="108"/>
                </a:cubicBezTo>
                <a:cubicBezTo>
                  <a:pt x="204" y="115"/>
                  <a:pt x="204" y="115"/>
                  <a:pt x="204" y="115"/>
                </a:cubicBezTo>
                <a:cubicBezTo>
                  <a:pt x="191" y="115"/>
                  <a:pt x="191" y="115"/>
                  <a:pt x="191" y="115"/>
                </a:cubicBezTo>
                <a:cubicBezTo>
                  <a:pt x="190" y="117"/>
                  <a:pt x="190" y="118"/>
                  <a:pt x="189" y="120"/>
                </a:cubicBezTo>
                <a:cubicBezTo>
                  <a:pt x="197" y="129"/>
                  <a:pt x="197" y="129"/>
                  <a:pt x="197" y="129"/>
                </a:cubicBezTo>
                <a:cubicBezTo>
                  <a:pt x="192" y="135"/>
                  <a:pt x="192" y="135"/>
                  <a:pt x="192" y="135"/>
                </a:cubicBezTo>
                <a:cubicBezTo>
                  <a:pt x="181" y="128"/>
                  <a:pt x="181" y="128"/>
                  <a:pt x="181" y="128"/>
                </a:cubicBezTo>
                <a:cubicBezTo>
                  <a:pt x="180" y="130"/>
                  <a:pt x="179" y="131"/>
                  <a:pt x="177" y="131"/>
                </a:cubicBezTo>
                <a:cubicBezTo>
                  <a:pt x="179" y="144"/>
                  <a:pt x="179" y="144"/>
                  <a:pt x="179" y="144"/>
                </a:cubicBezTo>
                <a:cubicBezTo>
                  <a:pt x="173" y="146"/>
                  <a:pt x="173" y="146"/>
                  <a:pt x="173" y="146"/>
                </a:cubicBezTo>
                <a:cubicBezTo>
                  <a:pt x="166" y="135"/>
                  <a:pt x="166" y="135"/>
                  <a:pt x="166" y="135"/>
                </a:cubicBezTo>
                <a:cubicBezTo>
                  <a:pt x="165" y="136"/>
                  <a:pt x="163" y="136"/>
                  <a:pt x="161" y="136"/>
                </a:cubicBezTo>
                <a:cubicBezTo>
                  <a:pt x="157" y="148"/>
                  <a:pt x="157" y="148"/>
                  <a:pt x="157" y="148"/>
                </a:cubicBezTo>
                <a:cubicBezTo>
                  <a:pt x="150" y="147"/>
                  <a:pt x="150" y="147"/>
                  <a:pt x="150" y="147"/>
                </a:cubicBezTo>
                <a:cubicBezTo>
                  <a:pt x="150" y="134"/>
                  <a:pt x="150" y="134"/>
                  <a:pt x="150" y="134"/>
                </a:cubicBezTo>
                <a:cubicBezTo>
                  <a:pt x="148" y="133"/>
                  <a:pt x="147" y="132"/>
                  <a:pt x="145" y="132"/>
                </a:cubicBezTo>
                <a:cubicBezTo>
                  <a:pt x="135" y="140"/>
                  <a:pt x="135" y="140"/>
                  <a:pt x="135" y="140"/>
                </a:cubicBezTo>
                <a:cubicBezTo>
                  <a:pt x="130" y="135"/>
                  <a:pt x="130" y="135"/>
                  <a:pt x="130" y="135"/>
                </a:cubicBezTo>
                <a:cubicBezTo>
                  <a:pt x="136" y="124"/>
                  <a:pt x="136" y="124"/>
                  <a:pt x="136" y="124"/>
                </a:cubicBezTo>
                <a:cubicBezTo>
                  <a:pt x="135" y="123"/>
                  <a:pt x="134" y="121"/>
                  <a:pt x="133" y="120"/>
                </a:cubicBezTo>
                <a:cubicBezTo>
                  <a:pt x="121" y="122"/>
                  <a:pt x="121" y="122"/>
                  <a:pt x="121" y="122"/>
                </a:cubicBezTo>
                <a:cubicBezTo>
                  <a:pt x="118" y="115"/>
                  <a:pt x="118" y="115"/>
                  <a:pt x="118" y="115"/>
                </a:cubicBezTo>
                <a:cubicBezTo>
                  <a:pt x="129" y="109"/>
                  <a:pt x="129" y="109"/>
                  <a:pt x="129" y="109"/>
                </a:cubicBezTo>
                <a:cubicBezTo>
                  <a:pt x="129" y="107"/>
                  <a:pt x="129" y="106"/>
                  <a:pt x="129" y="104"/>
                </a:cubicBezTo>
                <a:cubicBezTo>
                  <a:pt x="117" y="99"/>
                  <a:pt x="117" y="99"/>
                  <a:pt x="117" y="99"/>
                </a:cubicBezTo>
                <a:cubicBezTo>
                  <a:pt x="118" y="92"/>
                  <a:pt x="118" y="92"/>
                  <a:pt x="118" y="92"/>
                </a:cubicBezTo>
                <a:cubicBezTo>
                  <a:pt x="131" y="92"/>
                  <a:pt x="131" y="92"/>
                  <a:pt x="131" y="92"/>
                </a:cubicBezTo>
                <a:cubicBezTo>
                  <a:pt x="131" y="91"/>
                  <a:pt x="131" y="88"/>
                  <a:pt x="132" y="86"/>
                </a:cubicBezTo>
                <a:cubicBezTo>
                  <a:pt x="111" y="81"/>
                  <a:pt x="111" y="81"/>
                  <a:pt x="111" y="81"/>
                </a:cubicBezTo>
                <a:cubicBezTo>
                  <a:pt x="111" y="81"/>
                  <a:pt x="111" y="73"/>
                  <a:pt x="111" y="70"/>
                </a:cubicBezTo>
                <a:cubicBezTo>
                  <a:pt x="128" y="64"/>
                  <a:pt x="128" y="64"/>
                  <a:pt x="128" y="64"/>
                </a:cubicBezTo>
                <a:cubicBezTo>
                  <a:pt x="127" y="54"/>
                  <a:pt x="127" y="54"/>
                  <a:pt x="127" y="54"/>
                </a:cubicBezTo>
                <a:cubicBezTo>
                  <a:pt x="108" y="53"/>
                  <a:pt x="108" y="53"/>
                  <a:pt x="108" y="53"/>
                </a:cubicBezTo>
                <a:cubicBezTo>
                  <a:pt x="107" y="51"/>
                  <a:pt x="106" y="49"/>
                  <a:pt x="105" y="47"/>
                </a:cubicBezTo>
                <a:cubicBezTo>
                  <a:pt x="117" y="33"/>
                  <a:pt x="117" y="33"/>
                  <a:pt x="117" y="33"/>
                </a:cubicBezTo>
                <a:cubicBezTo>
                  <a:pt x="111" y="25"/>
                  <a:pt x="111" y="25"/>
                  <a:pt x="111" y="25"/>
                </a:cubicBezTo>
                <a:cubicBezTo>
                  <a:pt x="95" y="33"/>
                  <a:pt x="95" y="33"/>
                  <a:pt x="95" y="33"/>
                </a:cubicBezTo>
                <a:cubicBezTo>
                  <a:pt x="93" y="32"/>
                  <a:pt x="91" y="30"/>
                  <a:pt x="89" y="29"/>
                </a:cubicBezTo>
                <a:cubicBezTo>
                  <a:pt x="92" y="11"/>
                  <a:pt x="92" y="11"/>
                  <a:pt x="92" y="11"/>
                </a:cubicBezTo>
                <a:cubicBezTo>
                  <a:pt x="82" y="7"/>
                  <a:pt x="82" y="7"/>
                  <a:pt x="82" y="7"/>
                </a:cubicBezTo>
                <a:cubicBezTo>
                  <a:pt x="73" y="23"/>
                  <a:pt x="73" y="23"/>
                  <a:pt x="73" y="23"/>
                </a:cubicBezTo>
                <a:cubicBezTo>
                  <a:pt x="70" y="23"/>
                  <a:pt x="68" y="22"/>
                  <a:pt x="65" y="22"/>
                </a:cubicBezTo>
                <a:cubicBezTo>
                  <a:pt x="59" y="5"/>
                  <a:pt x="59" y="5"/>
                  <a:pt x="59" y="5"/>
                </a:cubicBezTo>
                <a:cubicBezTo>
                  <a:pt x="49" y="6"/>
                  <a:pt x="49" y="6"/>
                  <a:pt x="49" y="6"/>
                </a:cubicBezTo>
                <a:cubicBezTo>
                  <a:pt x="49" y="25"/>
                  <a:pt x="49" y="25"/>
                  <a:pt x="49" y="25"/>
                </a:cubicBezTo>
                <a:cubicBezTo>
                  <a:pt x="46" y="26"/>
                  <a:pt x="44" y="27"/>
                  <a:pt x="42" y="28"/>
                </a:cubicBezTo>
                <a:cubicBezTo>
                  <a:pt x="28" y="16"/>
                  <a:pt x="28" y="16"/>
                  <a:pt x="28" y="16"/>
                </a:cubicBezTo>
                <a:cubicBezTo>
                  <a:pt x="20" y="22"/>
                  <a:pt x="20" y="22"/>
                  <a:pt x="20" y="22"/>
                </a:cubicBezTo>
                <a:cubicBezTo>
                  <a:pt x="29" y="39"/>
                  <a:pt x="29" y="39"/>
                  <a:pt x="29" y="39"/>
                </a:cubicBezTo>
                <a:cubicBezTo>
                  <a:pt x="27" y="40"/>
                  <a:pt x="26" y="42"/>
                  <a:pt x="24" y="44"/>
                </a:cubicBezTo>
                <a:cubicBezTo>
                  <a:pt x="6" y="41"/>
                  <a:pt x="6" y="41"/>
                  <a:pt x="6" y="41"/>
                </a:cubicBezTo>
                <a:cubicBezTo>
                  <a:pt x="2" y="51"/>
                  <a:pt x="2" y="51"/>
                  <a:pt x="2" y="51"/>
                </a:cubicBezTo>
                <a:cubicBezTo>
                  <a:pt x="18" y="60"/>
                  <a:pt x="18" y="60"/>
                  <a:pt x="18" y="60"/>
                </a:cubicBezTo>
                <a:cubicBezTo>
                  <a:pt x="18" y="63"/>
                  <a:pt x="18" y="65"/>
                  <a:pt x="18" y="68"/>
                </a:cubicBezTo>
                <a:cubicBezTo>
                  <a:pt x="0" y="74"/>
                  <a:pt x="0" y="74"/>
                  <a:pt x="0" y="74"/>
                </a:cubicBezTo>
                <a:cubicBezTo>
                  <a:pt x="2" y="84"/>
                  <a:pt x="2" y="84"/>
                  <a:pt x="2" y="84"/>
                </a:cubicBezTo>
                <a:cubicBezTo>
                  <a:pt x="20" y="84"/>
                  <a:pt x="20" y="84"/>
                  <a:pt x="20" y="84"/>
                </a:cubicBezTo>
                <a:cubicBezTo>
                  <a:pt x="21" y="87"/>
                  <a:pt x="22" y="89"/>
                  <a:pt x="23" y="91"/>
                </a:cubicBezTo>
                <a:cubicBezTo>
                  <a:pt x="11" y="105"/>
                  <a:pt x="11" y="105"/>
                  <a:pt x="11" y="105"/>
                </a:cubicBezTo>
                <a:cubicBezTo>
                  <a:pt x="18" y="113"/>
                  <a:pt x="18" y="113"/>
                  <a:pt x="18" y="113"/>
                </a:cubicBezTo>
                <a:cubicBezTo>
                  <a:pt x="34" y="104"/>
                  <a:pt x="34" y="104"/>
                  <a:pt x="34" y="104"/>
                </a:cubicBezTo>
                <a:cubicBezTo>
                  <a:pt x="36" y="106"/>
                  <a:pt x="38" y="107"/>
                  <a:pt x="40" y="109"/>
                </a:cubicBezTo>
                <a:cubicBezTo>
                  <a:pt x="36" y="127"/>
                  <a:pt x="36" y="127"/>
                  <a:pt x="36" y="127"/>
                </a:cubicBezTo>
                <a:cubicBezTo>
                  <a:pt x="46" y="131"/>
                  <a:pt x="46" y="131"/>
                  <a:pt x="46" y="131"/>
                </a:cubicBezTo>
                <a:cubicBezTo>
                  <a:pt x="56" y="115"/>
                  <a:pt x="56" y="115"/>
                  <a:pt x="56" y="115"/>
                </a:cubicBezTo>
                <a:cubicBezTo>
                  <a:pt x="58" y="115"/>
                  <a:pt x="61" y="115"/>
                  <a:pt x="63" y="115"/>
                </a:cubicBezTo>
                <a:cubicBezTo>
                  <a:pt x="69" y="133"/>
                  <a:pt x="69" y="133"/>
                  <a:pt x="69" y="133"/>
                </a:cubicBezTo>
                <a:cubicBezTo>
                  <a:pt x="79" y="131"/>
                  <a:pt x="79" y="131"/>
                  <a:pt x="79" y="131"/>
                </a:cubicBezTo>
                <a:cubicBezTo>
                  <a:pt x="80" y="113"/>
                  <a:pt x="80" y="113"/>
                  <a:pt x="80" y="113"/>
                </a:cubicBezTo>
                <a:cubicBezTo>
                  <a:pt x="82" y="112"/>
                  <a:pt x="84" y="111"/>
                  <a:pt x="87" y="110"/>
                </a:cubicBezTo>
                <a:cubicBezTo>
                  <a:pt x="101" y="122"/>
                  <a:pt x="101" y="122"/>
                  <a:pt x="101" y="122"/>
                </a:cubicBezTo>
                <a:cubicBezTo>
                  <a:pt x="109" y="116"/>
                  <a:pt x="109" y="116"/>
                  <a:pt x="109" y="116"/>
                </a:cubicBezTo>
                <a:cubicBezTo>
                  <a:pt x="100" y="99"/>
                  <a:pt x="100" y="99"/>
                  <a:pt x="100" y="99"/>
                </a:cubicBezTo>
                <a:moveTo>
                  <a:pt x="67" y="87"/>
                </a:moveTo>
                <a:cubicBezTo>
                  <a:pt x="57" y="89"/>
                  <a:pt x="48" y="82"/>
                  <a:pt x="46" y="72"/>
                </a:cubicBezTo>
                <a:cubicBezTo>
                  <a:pt x="44" y="62"/>
                  <a:pt x="51" y="52"/>
                  <a:pt x="61" y="51"/>
                </a:cubicBezTo>
                <a:cubicBezTo>
                  <a:pt x="71" y="49"/>
                  <a:pt x="81" y="56"/>
                  <a:pt x="82" y="66"/>
                </a:cubicBezTo>
                <a:cubicBezTo>
                  <a:pt x="84" y="76"/>
                  <a:pt x="77" y="85"/>
                  <a:pt x="67" y="87"/>
                </a:cubicBezTo>
                <a:close/>
              </a:path>
            </a:pathLst>
          </a:custGeom>
          <a:noFill/>
          <a:ln w="3175" cap="rnd">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endParaRPr lang="en-US" sz="933">
              <a:latin typeface="+mj-lt"/>
              <a:cs typeface="Arial" pitchFamily="34" charset="0"/>
            </a:endParaRPr>
          </a:p>
        </p:txBody>
      </p:sp>
      <p:sp>
        <p:nvSpPr>
          <p:cNvPr id="8" name="TextBox 7">
            <a:extLst>
              <a:ext uri="{FF2B5EF4-FFF2-40B4-BE49-F238E27FC236}">
                <a16:creationId xmlns:a16="http://schemas.microsoft.com/office/drawing/2014/main" id="{8A72DD42-DC50-415A-98C4-8B16F62977E6}"/>
              </a:ext>
            </a:extLst>
          </p:cNvPr>
          <p:cNvSpPr txBox="1"/>
          <p:nvPr/>
        </p:nvSpPr>
        <p:spPr>
          <a:xfrm>
            <a:off x="1654980" y="2307299"/>
            <a:ext cx="946521" cy="289198"/>
          </a:xfrm>
          <a:prstGeom prst="rect">
            <a:avLst/>
          </a:prstGeom>
          <a:noFill/>
        </p:spPr>
        <p:txBody>
          <a:bodyPr wrap="square" lIns="0" tIns="0" rIns="0" bIns="0" rtlCol="0">
            <a:noAutofit/>
          </a:bodyPr>
          <a:lstStyle/>
          <a:p>
            <a:pPr algn="l"/>
            <a:r>
              <a:rPr lang="en-IN" sz="1000">
                <a:latin typeface="+mj-lt"/>
              </a:rPr>
              <a:t>Parameters</a:t>
            </a:r>
          </a:p>
        </p:txBody>
      </p:sp>
    </p:spTree>
    <p:extLst>
      <p:ext uri="{BB962C8B-B14F-4D97-AF65-F5344CB8AC3E}">
        <p14:creationId xmlns:p14="http://schemas.microsoft.com/office/powerpoint/2010/main" val="318263778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 name="Rounded Rectangle 52">
            <a:extLst>
              <a:ext uri="{FF2B5EF4-FFF2-40B4-BE49-F238E27FC236}">
                <a16:creationId xmlns:a16="http://schemas.microsoft.com/office/drawing/2014/main" id="{3DDDBF73-3B6A-406F-83D2-808CAF2ADA7F}"/>
              </a:ext>
            </a:extLst>
          </p:cNvPr>
          <p:cNvSpPr/>
          <p:nvPr/>
        </p:nvSpPr>
        <p:spPr>
          <a:xfrm>
            <a:off x="4553875" y="4153520"/>
            <a:ext cx="3234532" cy="1744119"/>
          </a:xfrm>
          <a:prstGeom prst="roundRect">
            <a:avLst>
              <a:gd name="adj" fmla="val 10640"/>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mj-lt"/>
            </a:endParaRPr>
          </a:p>
        </p:txBody>
      </p:sp>
      <p:sp>
        <p:nvSpPr>
          <p:cNvPr id="4" name="Title 3">
            <a:extLst>
              <a:ext uri="{FF2B5EF4-FFF2-40B4-BE49-F238E27FC236}">
                <a16:creationId xmlns:a16="http://schemas.microsoft.com/office/drawing/2014/main" id="{81485E1E-1C79-4676-B87B-E32DC1F71907}"/>
              </a:ext>
            </a:extLst>
          </p:cNvPr>
          <p:cNvSpPr>
            <a:spLocks noGrp="1"/>
          </p:cNvSpPr>
          <p:nvPr>
            <p:ph type="title"/>
          </p:nvPr>
        </p:nvSpPr>
        <p:spPr/>
        <p:txBody>
          <a:bodyPr/>
          <a:lstStyle/>
          <a:p>
            <a:r>
              <a:rPr lang="en-IN"/>
              <a:t>Approach -Performance Testing</a:t>
            </a:r>
            <a:br>
              <a:rPr lang="en-IN"/>
            </a:br>
            <a:endParaRPr lang="en-IN" b="0"/>
          </a:p>
        </p:txBody>
      </p:sp>
      <p:sp>
        <p:nvSpPr>
          <p:cNvPr id="5" name="Right Arrow 4">
            <a:extLst>
              <a:ext uri="{FF2B5EF4-FFF2-40B4-BE49-F238E27FC236}">
                <a16:creationId xmlns:a16="http://schemas.microsoft.com/office/drawing/2014/main" id="{C6AEC402-37FA-4756-9E3B-C6D14B13FCBB}"/>
              </a:ext>
            </a:extLst>
          </p:cNvPr>
          <p:cNvSpPr/>
          <p:nvPr/>
        </p:nvSpPr>
        <p:spPr>
          <a:xfrm>
            <a:off x="10907233" y="4165896"/>
            <a:ext cx="765223" cy="274405"/>
          </a:xfrm>
          <a:prstGeom prst="right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mj-lt"/>
            </a:endParaRPr>
          </a:p>
        </p:txBody>
      </p:sp>
      <p:sp>
        <p:nvSpPr>
          <p:cNvPr id="6" name="Rectangle 5">
            <a:extLst>
              <a:ext uri="{FF2B5EF4-FFF2-40B4-BE49-F238E27FC236}">
                <a16:creationId xmlns:a16="http://schemas.microsoft.com/office/drawing/2014/main" id="{FCD6F347-BE3D-4120-9B70-A693043081A1}"/>
              </a:ext>
            </a:extLst>
          </p:cNvPr>
          <p:cNvSpPr/>
          <p:nvPr/>
        </p:nvSpPr>
        <p:spPr>
          <a:xfrm>
            <a:off x="1402903" y="3163319"/>
            <a:ext cx="9519207" cy="2990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mj-lt"/>
            </a:endParaRPr>
          </a:p>
        </p:txBody>
      </p:sp>
      <p:sp>
        <p:nvSpPr>
          <p:cNvPr id="7" name="Right Arrow 6">
            <a:extLst>
              <a:ext uri="{FF2B5EF4-FFF2-40B4-BE49-F238E27FC236}">
                <a16:creationId xmlns:a16="http://schemas.microsoft.com/office/drawing/2014/main" id="{3966C5E2-C5F1-48DA-85E3-C0BD277133CF}"/>
              </a:ext>
            </a:extLst>
          </p:cNvPr>
          <p:cNvSpPr/>
          <p:nvPr/>
        </p:nvSpPr>
        <p:spPr>
          <a:xfrm>
            <a:off x="9392107" y="3390449"/>
            <a:ext cx="344510" cy="881019"/>
          </a:xfrm>
          <a:prstGeom prst="rightArrow">
            <a:avLst>
              <a:gd name="adj1" fmla="val 10000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mj-lt"/>
            </a:endParaRPr>
          </a:p>
        </p:txBody>
      </p:sp>
      <p:grpSp>
        <p:nvGrpSpPr>
          <p:cNvPr id="8" name="Group 7">
            <a:extLst>
              <a:ext uri="{FF2B5EF4-FFF2-40B4-BE49-F238E27FC236}">
                <a16:creationId xmlns:a16="http://schemas.microsoft.com/office/drawing/2014/main" id="{DC6FE3F2-A012-4A6C-AD96-25E18B9F056F}"/>
              </a:ext>
            </a:extLst>
          </p:cNvPr>
          <p:cNvGrpSpPr/>
          <p:nvPr/>
        </p:nvGrpSpPr>
        <p:grpSpPr>
          <a:xfrm>
            <a:off x="1382976" y="2628342"/>
            <a:ext cx="1681049" cy="487861"/>
            <a:chOff x="252412" y="1143000"/>
            <a:chExt cx="2385279" cy="1037492"/>
          </a:xfrm>
        </p:grpSpPr>
        <p:sp>
          <p:nvSpPr>
            <p:cNvPr id="9" name="Flowchart: Alternate Process 8">
              <a:extLst>
                <a:ext uri="{FF2B5EF4-FFF2-40B4-BE49-F238E27FC236}">
                  <a16:creationId xmlns:a16="http://schemas.microsoft.com/office/drawing/2014/main" id="{BF41417C-ACFD-4A0C-85DC-792C95626C77}"/>
                </a:ext>
              </a:extLst>
            </p:cNvPr>
            <p:cNvSpPr/>
            <p:nvPr/>
          </p:nvSpPr>
          <p:spPr>
            <a:xfrm>
              <a:off x="252412" y="1143000"/>
              <a:ext cx="2385279" cy="1037492"/>
            </a:xfrm>
            <a:prstGeom prst="flowChartAlternateProces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mj-lt"/>
              </a:endParaRPr>
            </a:p>
          </p:txBody>
        </p:sp>
        <p:sp>
          <p:nvSpPr>
            <p:cNvPr id="10" name="Rounded Rectangle 162">
              <a:extLst>
                <a:ext uri="{FF2B5EF4-FFF2-40B4-BE49-F238E27FC236}">
                  <a16:creationId xmlns:a16="http://schemas.microsoft.com/office/drawing/2014/main" id="{3E5A7ED6-5A2E-412A-98C4-820B41850F31}"/>
                </a:ext>
              </a:extLst>
            </p:cNvPr>
            <p:cNvSpPr/>
            <p:nvPr/>
          </p:nvSpPr>
          <p:spPr>
            <a:xfrm>
              <a:off x="418734" y="1215343"/>
              <a:ext cx="2057768" cy="892807"/>
            </a:xfrm>
            <a:prstGeom prst="round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US" sz="1051" b="1">
                <a:solidFill>
                  <a:srgbClr val="000000"/>
                </a:solidFill>
                <a:latin typeface="+mj-lt"/>
              </a:endParaRPr>
            </a:p>
          </p:txBody>
        </p:sp>
      </p:grpSp>
      <p:sp>
        <p:nvSpPr>
          <p:cNvPr id="11" name="Oval 10">
            <a:extLst>
              <a:ext uri="{FF2B5EF4-FFF2-40B4-BE49-F238E27FC236}">
                <a16:creationId xmlns:a16="http://schemas.microsoft.com/office/drawing/2014/main" id="{A7EA7920-8065-4BFC-A731-36623EC65726}"/>
              </a:ext>
            </a:extLst>
          </p:cNvPr>
          <p:cNvSpPr/>
          <p:nvPr/>
        </p:nvSpPr>
        <p:spPr>
          <a:xfrm>
            <a:off x="5850575" y="3160992"/>
            <a:ext cx="378605" cy="292885"/>
          </a:xfrm>
          <a:prstGeom prst="ellipse">
            <a:avLst/>
          </a:prstGeom>
          <a:solidFill>
            <a:schemeClr val="bg1"/>
          </a:solidFill>
          <a:ln>
            <a:solidFill>
              <a:schemeClr val="accent2"/>
            </a:solidFill>
          </a:ln>
          <a:effectLst>
            <a:glow rad="101600">
              <a:schemeClr val="bg1">
                <a:alpha val="6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rgbClr val="F26E01"/>
                </a:solidFill>
                <a:latin typeface="+mj-lt"/>
              </a:rPr>
              <a:t>2</a:t>
            </a:r>
          </a:p>
        </p:txBody>
      </p:sp>
      <p:sp>
        <p:nvSpPr>
          <p:cNvPr id="12" name="Oval 11">
            <a:extLst>
              <a:ext uri="{FF2B5EF4-FFF2-40B4-BE49-F238E27FC236}">
                <a16:creationId xmlns:a16="http://schemas.microsoft.com/office/drawing/2014/main" id="{9A1CAC5E-A81D-4CDD-AA4E-D771227DF73A}"/>
              </a:ext>
            </a:extLst>
          </p:cNvPr>
          <p:cNvSpPr/>
          <p:nvPr/>
        </p:nvSpPr>
        <p:spPr>
          <a:xfrm>
            <a:off x="10472973" y="3165550"/>
            <a:ext cx="378605" cy="292885"/>
          </a:xfrm>
          <a:prstGeom prst="ellipse">
            <a:avLst/>
          </a:prstGeom>
          <a:solidFill>
            <a:schemeClr val="bg1"/>
          </a:solidFill>
          <a:ln>
            <a:solidFill>
              <a:schemeClr val="accent2"/>
            </a:solidFill>
          </a:ln>
          <a:effectLst>
            <a:glow rad="101600">
              <a:schemeClr val="bg1">
                <a:alpha val="6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rgbClr val="F26E01"/>
                </a:solidFill>
                <a:latin typeface="+mj-lt"/>
              </a:rPr>
              <a:t>3</a:t>
            </a:r>
          </a:p>
        </p:txBody>
      </p:sp>
      <p:sp>
        <p:nvSpPr>
          <p:cNvPr id="13" name="Oval 12">
            <a:extLst>
              <a:ext uri="{FF2B5EF4-FFF2-40B4-BE49-F238E27FC236}">
                <a16:creationId xmlns:a16="http://schemas.microsoft.com/office/drawing/2014/main" id="{86B719F3-2659-4326-86DB-4C3198D8A753}"/>
              </a:ext>
            </a:extLst>
          </p:cNvPr>
          <p:cNvSpPr/>
          <p:nvPr/>
        </p:nvSpPr>
        <p:spPr>
          <a:xfrm>
            <a:off x="9441244" y="4006446"/>
            <a:ext cx="258026" cy="292885"/>
          </a:xfrm>
          <a:prstGeom prst="ellipse">
            <a:avLst/>
          </a:prstGeom>
          <a:solidFill>
            <a:schemeClr val="bg1"/>
          </a:solidFill>
          <a:ln>
            <a:solidFill>
              <a:schemeClr val="accent2"/>
            </a:solidFill>
          </a:ln>
          <a:effectLst>
            <a:glow rad="101600">
              <a:schemeClr val="bg1">
                <a:alpha val="6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rgbClr val="F26E01"/>
                </a:solidFill>
                <a:latin typeface="+mj-lt"/>
              </a:rPr>
              <a:t>4</a:t>
            </a:r>
          </a:p>
        </p:txBody>
      </p:sp>
      <p:grpSp>
        <p:nvGrpSpPr>
          <p:cNvPr id="14" name="Group 13">
            <a:extLst>
              <a:ext uri="{FF2B5EF4-FFF2-40B4-BE49-F238E27FC236}">
                <a16:creationId xmlns:a16="http://schemas.microsoft.com/office/drawing/2014/main" id="{9ADF01DD-36E4-41A9-A438-BA131EE65DE2}"/>
              </a:ext>
            </a:extLst>
          </p:cNvPr>
          <p:cNvGrpSpPr/>
          <p:nvPr/>
        </p:nvGrpSpPr>
        <p:grpSpPr>
          <a:xfrm>
            <a:off x="3390937" y="3175778"/>
            <a:ext cx="276399" cy="272431"/>
            <a:chOff x="2697955" y="2308773"/>
            <a:chExt cx="282159" cy="186777"/>
          </a:xfrm>
        </p:grpSpPr>
        <p:sp>
          <p:nvSpPr>
            <p:cNvPr id="15" name="Chevron 159">
              <a:extLst>
                <a:ext uri="{FF2B5EF4-FFF2-40B4-BE49-F238E27FC236}">
                  <a16:creationId xmlns:a16="http://schemas.microsoft.com/office/drawing/2014/main" id="{2B233A18-EB0A-4732-83D4-072209D109B4}"/>
                </a:ext>
              </a:extLst>
            </p:cNvPr>
            <p:cNvSpPr/>
            <p:nvPr/>
          </p:nvSpPr>
          <p:spPr>
            <a:xfrm>
              <a:off x="2807493" y="2308773"/>
              <a:ext cx="172621" cy="186777"/>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mj-lt"/>
              </a:endParaRPr>
            </a:p>
          </p:txBody>
        </p:sp>
        <p:sp>
          <p:nvSpPr>
            <p:cNvPr id="16" name="Chevron 160">
              <a:extLst>
                <a:ext uri="{FF2B5EF4-FFF2-40B4-BE49-F238E27FC236}">
                  <a16:creationId xmlns:a16="http://schemas.microsoft.com/office/drawing/2014/main" id="{6981552C-7E7B-4082-9331-EECE162233DF}"/>
                </a:ext>
              </a:extLst>
            </p:cNvPr>
            <p:cNvSpPr/>
            <p:nvPr/>
          </p:nvSpPr>
          <p:spPr>
            <a:xfrm>
              <a:off x="2697955" y="2308773"/>
              <a:ext cx="172621" cy="186777"/>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mj-lt"/>
              </a:endParaRPr>
            </a:p>
          </p:txBody>
        </p:sp>
      </p:grpSp>
      <p:grpSp>
        <p:nvGrpSpPr>
          <p:cNvPr id="17" name="Group 16">
            <a:extLst>
              <a:ext uri="{FF2B5EF4-FFF2-40B4-BE49-F238E27FC236}">
                <a16:creationId xmlns:a16="http://schemas.microsoft.com/office/drawing/2014/main" id="{AA3B3901-D58E-41B9-99C6-B733E9858DB9}"/>
              </a:ext>
            </a:extLst>
          </p:cNvPr>
          <p:cNvGrpSpPr/>
          <p:nvPr/>
        </p:nvGrpSpPr>
        <p:grpSpPr>
          <a:xfrm>
            <a:off x="6388475" y="3175778"/>
            <a:ext cx="276399" cy="272431"/>
            <a:chOff x="2697955" y="2308773"/>
            <a:chExt cx="282159" cy="186777"/>
          </a:xfrm>
        </p:grpSpPr>
        <p:sp>
          <p:nvSpPr>
            <p:cNvPr id="18" name="Chevron 157">
              <a:extLst>
                <a:ext uri="{FF2B5EF4-FFF2-40B4-BE49-F238E27FC236}">
                  <a16:creationId xmlns:a16="http://schemas.microsoft.com/office/drawing/2014/main" id="{840EE1FA-22A7-4EAF-8E02-30842D045BBD}"/>
                </a:ext>
              </a:extLst>
            </p:cNvPr>
            <p:cNvSpPr/>
            <p:nvPr/>
          </p:nvSpPr>
          <p:spPr>
            <a:xfrm>
              <a:off x="2807493" y="2308773"/>
              <a:ext cx="172621" cy="186777"/>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mj-lt"/>
              </a:endParaRPr>
            </a:p>
          </p:txBody>
        </p:sp>
        <p:sp>
          <p:nvSpPr>
            <p:cNvPr id="19" name="Chevron 158">
              <a:extLst>
                <a:ext uri="{FF2B5EF4-FFF2-40B4-BE49-F238E27FC236}">
                  <a16:creationId xmlns:a16="http://schemas.microsoft.com/office/drawing/2014/main" id="{E450D8A6-2AFA-4084-95BB-669C2FD6695B}"/>
                </a:ext>
              </a:extLst>
            </p:cNvPr>
            <p:cNvSpPr/>
            <p:nvPr/>
          </p:nvSpPr>
          <p:spPr>
            <a:xfrm>
              <a:off x="2697955" y="2308773"/>
              <a:ext cx="172621" cy="186777"/>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mj-lt"/>
              </a:endParaRPr>
            </a:p>
          </p:txBody>
        </p:sp>
      </p:grpSp>
      <p:grpSp>
        <p:nvGrpSpPr>
          <p:cNvPr id="20" name="Group 19">
            <a:extLst>
              <a:ext uri="{FF2B5EF4-FFF2-40B4-BE49-F238E27FC236}">
                <a16:creationId xmlns:a16="http://schemas.microsoft.com/office/drawing/2014/main" id="{2DE8E067-60D4-4ABC-8078-99FEBC7BD008}"/>
              </a:ext>
            </a:extLst>
          </p:cNvPr>
          <p:cNvGrpSpPr/>
          <p:nvPr/>
        </p:nvGrpSpPr>
        <p:grpSpPr>
          <a:xfrm>
            <a:off x="8513809" y="3223038"/>
            <a:ext cx="276399" cy="207877"/>
            <a:chOff x="2697955" y="2308773"/>
            <a:chExt cx="282159" cy="186777"/>
          </a:xfrm>
        </p:grpSpPr>
        <p:sp>
          <p:nvSpPr>
            <p:cNvPr id="21" name="Chevron 155">
              <a:extLst>
                <a:ext uri="{FF2B5EF4-FFF2-40B4-BE49-F238E27FC236}">
                  <a16:creationId xmlns:a16="http://schemas.microsoft.com/office/drawing/2014/main" id="{656B273C-DF17-40F9-A6CF-DD6668218F9B}"/>
                </a:ext>
              </a:extLst>
            </p:cNvPr>
            <p:cNvSpPr/>
            <p:nvPr/>
          </p:nvSpPr>
          <p:spPr>
            <a:xfrm>
              <a:off x="2807493" y="2308773"/>
              <a:ext cx="172621" cy="186777"/>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mj-lt"/>
              </a:endParaRPr>
            </a:p>
          </p:txBody>
        </p:sp>
        <p:sp>
          <p:nvSpPr>
            <p:cNvPr id="22" name="Chevron 156">
              <a:extLst>
                <a:ext uri="{FF2B5EF4-FFF2-40B4-BE49-F238E27FC236}">
                  <a16:creationId xmlns:a16="http://schemas.microsoft.com/office/drawing/2014/main" id="{6FCA6226-B9CD-44FC-AA90-B701AD856620}"/>
                </a:ext>
              </a:extLst>
            </p:cNvPr>
            <p:cNvSpPr/>
            <p:nvPr/>
          </p:nvSpPr>
          <p:spPr>
            <a:xfrm>
              <a:off x="2697955" y="2308773"/>
              <a:ext cx="172621" cy="186777"/>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mj-lt"/>
              </a:endParaRPr>
            </a:p>
          </p:txBody>
        </p:sp>
      </p:grpSp>
      <p:sp>
        <p:nvSpPr>
          <p:cNvPr id="23" name="TextBox 22">
            <a:extLst>
              <a:ext uri="{FF2B5EF4-FFF2-40B4-BE49-F238E27FC236}">
                <a16:creationId xmlns:a16="http://schemas.microsoft.com/office/drawing/2014/main" id="{267F37DA-392A-4EFA-B14F-C5ED073A8B81}"/>
              </a:ext>
            </a:extLst>
          </p:cNvPr>
          <p:cNvSpPr txBox="1"/>
          <p:nvPr/>
        </p:nvSpPr>
        <p:spPr>
          <a:xfrm>
            <a:off x="1310107" y="1607700"/>
            <a:ext cx="1945139" cy="154658"/>
          </a:xfrm>
          <a:prstGeom prst="rect">
            <a:avLst/>
          </a:prstGeom>
          <a:noFill/>
        </p:spPr>
        <p:txBody>
          <a:bodyPr wrap="square" lIns="13716" tIns="13716" rIns="13716" bIns="13716" rtlCol="0">
            <a:spAutoFit/>
          </a:bodyPr>
          <a:lstStyle/>
          <a:p>
            <a:pPr algn="ctr"/>
            <a:endParaRPr lang="en-US" sz="825" b="1">
              <a:solidFill>
                <a:srgbClr val="F26E01"/>
              </a:solidFill>
              <a:latin typeface="+mj-lt"/>
            </a:endParaRPr>
          </a:p>
        </p:txBody>
      </p:sp>
      <p:grpSp>
        <p:nvGrpSpPr>
          <p:cNvPr id="24" name="Group 23">
            <a:extLst>
              <a:ext uri="{FF2B5EF4-FFF2-40B4-BE49-F238E27FC236}">
                <a16:creationId xmlns:a16="http://schemas.microsoft.com/office/drawing/2014/main" id="{11346EBB-5591-493F-BE00-3B20FCE23BB8}"/>
              </a:ext>
            </a:extLst>
          </p:cNvPr>
          <p:cNvGrpSpPr/>
          <p:nvPr/>
        </p:nvGrpSpPr>
        <p:grpSpPr>
          <a:xfrm>
            <a:off x="5091462" y="2628342"/>
            <a:ext cx="1681049" cy="487861"/>
            <a:chOff x="252412" y="1143000"/>
            <a:chExt cx="2385279" cy="1037492"/>
          </a:xfrm>
        </p:grpSpPr>
        <p:sp>
          <p:nvSpPr>
            <p:cNvPr id="25" name="Flowchart: Alternate Process 24">
              <a:extLst>
                <a:ext uri="{FF2B5EF4-FFF2-40B4-BE49-F238E27FC236}">
                  <a16:creationId xmlns:a16="http://schemas.microsoft.com/office/drawing/2014/main" id="{53EFF2C6-C5C1-4CE5-B5BC-5A05D119FE30}"/>
                </a:ext>
              </a:extLst>
            </p:cNvPr>
            <p:cNvSpPr/>
            <p:nvPr/>
          </p:nvSpPr>
          <p:spPr>
            <a:xfrm>
              <a:off x="252412" y="1143000"/>
              <a:ext cx="2385279" cy="1037492"/>
            </a:xfrm>
            <a:prstGeom prst="flowChartAlternateProces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mj-lt"/>
              </a:endParaRPr>
            </a:p>
          </p:txBody>
        </p:sp>
        <p:sp>
          <p:nvSpPr>
            <p:cNvPr id="26" name="Rounded Rectangle 154">
              <a:extLst>
                <a:ext uri="{FF2B5EF4-FFF2-40B4-BE49-F238E27FC236}">
                  <a16:creationId xmlns:a16="http://schemas.microsoft.com/office/drawing/2014/main" id="{304DB3D7-B9BE-42B3-B284-8ED4FA413D24}"/>
                </a:ext>
              </a:extLst>
            </p:cNvPr>
            <p:cNvSpPr/>
            <p:nvPr/>
          </p:nvSpPr>
          <p:spPr>
            <a:xfrm>
              <a:off x="418733" y="1215343"/>
              <a:ext cx="2057767" cy="892807"/>
            </a:xfrm>
            <a:prstGeom prst="round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US" sz="1051" b="1">
                <a:solidFill>
                  <a:srgbClr val="000000"/>
                </a:solidFill>
                <a:latin typeface="+mj-lt"/>
              </a:endParaRPr>
            </a:p>
          </p:txBody>
        </p:sp>
      </p:grpSp>
      <p:sp>
        <p:nvSpPr>
          <p:cNvPr id="27" name="TextBox 26">
            <a:extLst>
              <a:ext uri="{FF2B5EF4-FFF2-40B4-BE49-F238E27FC236}">
                <a16:creationId xmlns:a16="http://schemas.microsoft.com/office/drawing/2014/main" id="{D65E1391-1271-45D3-AC45-77217F15BAF2}"/>
              </a:ext>
            </a:extLst>
          </p:cNvPr>
          <p:cNvSpPr txBox="1"/>
          <p:nvPr/>
        </p:nvSpPr>
        <p:spPr>
          <a:xfrm>
            <a:off x="4863064" y="1310902"/>
            <a:ext cx="2445021" cy="1115242"/>
          </a:xfrm>
          <a:prstGeom prst="rect">
            <a:avLst/>
          </a:prstGeom>
          <a:noFill/>
        </p:spPr>
        <p:txBody>
          <a:bodyPr wrap="square" lIns="13716" tIns="13716" rIns="13716" bIns="13716" rtlCol="0">
            <a:spAutoFit/>
          </a:bodyPr>
          <a:lstStyle/>
          <a:p>
            <a:pPr>
              <a:buClr>
                <a:srgbClr val="00573B"/>
              </a:buClr>
            </a:pPr>
            <a:r>
              <a:rPr lang="en-US" sz="1067" b="1">
                <a:solidFill>
                  <a:srgbClr val="F26E01"/>
                </a:solidFill>
                <a:latin typeface="+mj-lt"/>
              </a:rPr>
              <a:t>Test Environment Setup</a:t>
            </a:r>
          </a:p>
          <a:p>
            <a:pPr marL="128585" indent="-128585">
              <a:buClr>
                <a:srgbClr val="000000"/>
              </a:buClr>
              <a:buFont typeface="Wingdings" panose="05000000000000000000" pitchFamily="2" charset="2"/>
              <a:buChar char="§"/>
            </a:pPr>
            <a:r>
              <a:rPr lang="en-US" sz="1000">
                <a:solidFill>
                  <a:srgbClr val="000000"/>
                </a:solidFill>
                <a:latin typeface="+mj-lt"/>
              </a:rPr>
              <a:t>Install and configure JMeter/Storm-runner in MPS Test Environment</a:t>
            </a:r>
          </a:p>
          <a:p>
            <a:pPr marL="128585" indent="-128585">
              <a:buClr>
                <a:srgbClr val="000000"/>
              </a:buClr>
              <a:buFont typeface="Wingdings" panose="05000000000000000000" pitchFamily="2" charset="2"/>
              <a:buChar char="§"/>
            </a:pPr>
            <a:r>
              <a:rPr lang="en-US" sz="1000">
                <a:solidFill>
                  <a:srgbClr val="000000"/>
                </a:solidFill>
                <a:latin typeface="+mj-lt"/>
              </a:rPr>
              <a:t>Configure performance monitors </a:t>
            </a:r>
          </a:p>
          <a:p>
            <a:pPr marL="128585" indent="-128585">
              <a:buClr>
                <a:srgbClr val="000000"/>
              </a:buClr>
              <a:buFont typeface="Wingdings" panose="05000000000000000000" pitchFamily="2" charset="2"/>
              <a:buChar char="§"/>
            </a:pPr>
            <a:r>
              <a:rPr lang="en-US" sz="1000">
                <a:solidFill>
                  <a:srgbClr val="000000"/>
                </a:solidFill>
                <a:latin typeface="+mj-lt"/>
              </a:rPr>
              <a:t>Ensure test bed readiness with required data</a:t>
            </a:r>
          </a:p>
        </p:txBody>
      </p:sp>
      <p:sp>
        <p:nvSpPr>
          <p:cNvPr id="28" name="Flowchart: Alternate Process 27">
            <a:extLst>
              <a:ext uri="{FF2B5EF4-FFF2-40B4-BE49-F238E27FC236}">
                <a16:creationId xmlns:a16="http://schemas.microsoft.com/office/drawing/2014/main" id="{77D457AA-69DB-44CC-B789-DC79C96F7438}"/>
              </a:ext>
            </a:extLst>
          </p:cNvPr>
          <p:cNvSpPr/>
          <p:nvPr/>
        </p:nvSpPr>
        <p:spPr>
          <a:xfrm>
            <a:off x="8701656" y="2627695"/>
            <a:ext cx="1681049" cy="487861"/>
          </a:xfrm>
          <a:prstGeom prst="flowChartAlternateProces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mj-lt"/>
            </a:endParaRPr>
          </a:p>
        </p:txBody>
      </p:sp>
      <p:sp>
        <p:nvSpPr>
          <p:cNvPr id="29" name="Rounded Rectangle 18">
            <a:extLst>
              <a:ext uri="{FF2B5EF4-FFF2-40B4-BE49-F238E27FC236}">
                <a16:creationId xmlns:a16="http://schemas.microsoft.com/office/drawing/2014/main" id="{64D1AC1B-94FA-4005-B493-E7681E034443}"/>
              </a:ext>
            </a:extLst>
          </p:cNvPr>
          <p:cNvSpPr/>
          <p:nvPr/>
        </p:nvSpPr>
        <p:spPr>
          <a:xfrm>
            <a:off x="8818873" y="2661713"/>
            <a:ext cx="1450231" cy="419827"/>
          </a:xfrm>
          <a:prstGeom prst="round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US" sz="1051" b="1">
              <a:solidFill>
                <a:srgbClr val="000000"/>
              </a:solidFill>
              <a:latin typeface="+mj-lt"/>
            </a:endParaRPr>
          </a:p>
        </p:txBody>
      </p:sp>
      <p:sp>
        <p:nvSpPr>
          <p:cNvPr id="30" name="TextBox 29">
            <a:extLst>
              <a:ext uri="{FF2B5EF4-FFF2-40B4-BE49-F238E27FC236}">
                <a16:creationId xmlns:a16="http://schemas.microsoft.com/office/drawing/2014/main" id="{B102067D-E08F-4B94-BD35-968B7E2E777F}"/>
              </a:ext>
            </a:extLst>
          </p:cNvPr>
          <p:cNvSpPr txBox="1"/>
          <p:nvPr/>
        </p:nvSpPr>
        <p:spPr>
          <a:xfrm>
            <a:off x="8384423" y="1283921"/>
            <a:ext cx="2693108" cy="1115242"/>
          </a:xfrm>
          <a:prstGeom prst="rect">
            <a:avLst/>
          </a:prstGeom>
          <a:noFill/>
        </p:spPr>
        <p:txBody>
          <a:bodyPr wrap="square" lIns="13716" tIns="13716" rIns="13716" bIns="13716" rtlCol="0">
            <a:spAutoFit/>
          </a:bodyPr>
          <a:lstStyle/>
          <a:p>
            <a:pPr>
              <a:buClr>
                <a:srgbClr val="00573B"/>
              </a:buClr>
            </a:pPr>
            <a:r>
              <a:rPr lang="en-US" sz="1067" b="1">
                <a:solidFill>
                  <a:srgbClr val="F26E01"/>
                </a:solidFill>
                <a:latin typeface="+mj-lt"/>
              </a:rPr>
              <a:t>Performance Test Scripting</a:t>
            </a:r>
          </a:p>
          <a:p>
            <a:pPr marL="128585" indent="-128585">
              <a:buClr>
                <a:srgbClr val="000000"/>
              </a:buClr>
              <a:buFont typeface="Wingdings" panose="05000000000000000000" pitchFamily="2" charset="2"/>
              <a:buChar char="§"/>
            </a:pPr>
            <a:r>
              <a:rPr lang="en-US" sz="1000">
                <a:solidFill>
                  <a:srgbClr val="000000"/>
                </a:solidFill>
                <a:latin typeface="+mj-lt"/>
              </a:rPr>
              <a:t>Create / Customize test scripts to support multi-user execution</a:t>
            </a:r>
          </a:p>
          <a:p>
            <a:pPr marL="300030" indent="-171446">
              <a:buClr>
                <a:schemeClr val="accent2"/>
              </a:buClr>
              <a:buFont typeface="Wingdings" panose="05000000000000000000" pitchFamily="2" charset="2"/>
              <a:buChar char="§"/>
            </a:pPr>
            <a:r>
              <a:rPr lang="en-US" sz="1000">
                <a:solidFill>
                  <a:srgbClr val="000000"/>
                </a:solidFill>
                <a:latin typeface="+mj-lt"/>
              </a:rPr>
              <a:t>Build Test Sets and Load Profiles</a:t>
            </a:r>
          </a:p>
          <a:p>
            <a:pPr marL="300030" indent="-171446">
              <a:buClr>
                <a:schemeClr val="accent2"/>
              </a:buClr>
              <a:buFont typeface="Wingdings" panose="05000000000000000000" pitchFamily="2" charset="2"/>
              <a:buChar char="§"/>
            </a:pPr>
            <a:r>
              <a:rPr lang="en-US" sz="1000">
                <a:solidFill>
                  <a:srgbClr val="000000"/>
                </a:solidFill>
                <a:latin typeface="+mj-lt"/>
              </a:rPr>
              <a:t>Dry run the script</a:t>
            </a:r>
          </a:p>
          <a:p>
            <a:pPr marL="300030" indent="-171446">
              <a:buClr>
                <a:schemeClr val="accent2"/>
              </a:buClr>
              <a:buFont typeface="Wingdings" panose="05000000000000000000" pitchFamily="2" charset="2"/>
              <a:buChar char="§"/>
            </a:pPr>
            <a:r>
              <a:rPr lang="en-US" sz="1000">
                <a:solidFill>
                  <a:srgbClr val="000000"/>
                </a:solidFill>
                <a:latin typeface="+mj-lt"/>
              </a:rPr>
              <a:t>Define scenarios based on Volumetrics</a:t>
            </a:r>
          </a:p>
        </p:txBody>
      </p:sp>
      <p:grpSp>
        <p:nvGrpSpPr>
          <p:cNvPr id="31" name="Group 30">
            <a:extLst>
              <a:ext uri="{FF2B5EF4-FFF2-40B4-BE49-F238E27FC236}">
                <a16:creationId xmlns:a16="http://schemas.microsoft.com/office/drawing/2014/main" id="{F264CC7C-F50F-4907-9681-CA01A94FF1E8}"/>
              </a:ext>
            </a:extLst>
          </p:cNvPr>
          <p:cNvGrpSpPr/>
          <p:nvPr/>
        </p:nvGrpSpPr>
        <p:grpSpPr>
          <a:xfrm>
            <a:off x="8764364" y="4267270"/>
            <a:ext cx="1681049" cy="487861"/>
            <a:chOff x="252412" y="1143000"/>
            <a:chExt cx="2385279" cy="1037492"/>
          </a:xfrm>
        </p:grpSpPr>
        <p:sp>
          <p:nvSpPr>
            <p:cNvPr id="32" name="Flowchart: Alternate Process 31">
              <a:extLst>
                <a:ext uri="{FF2B5EF4-FFF2-40B4-BE49-F238E27FC236}">
                  <a16:creationId xmlns:a16="http://schemas.microsoft.com/office/drawing/2014/main" id="{C4AA4A51-B027-4AEB-BA0E-8BAABB46042B}"/>
                </a:ext>
              </a:extLst>
            </p:cNvPr>
            <p:cNvSpPr/>
            <p:nvPr/>
          </p:nvSpPr>
          <p:spPr>
            <a:xfrm>
              <a:off x="252412" y="1143000"/>
              <a:ext cx="2385279" cy="1037492"/>
            </a:xfrm>
            <a:prstGeom prst="flowChartAlternateProces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mj-lt"/>
              </a:endParaRPr>
            </a:p>
          </p:txBody>
        </p:sp>
        <p:sp>
          <p:nvSpPr>
            <p:cNvPr id="33" name="Rounded Rectangle 152">
              <a:extLst>
                <a:ext uri="{FF2B5EF4-FFF2-40B4-BE49-F238E27FC236}">
                  <a16:creationId xmlns:a16="http://schemas.microsoft.com/office/drawing/2014/main" id="{980C241F-F78B-46B0-9933-2D23EF7E6E9B}"/>
                </a:ext>
              </a:extLst>
            </p:cNvPr>
            <p:cNvSpPr/>
            <p:nvPr/>
          </p:nvSpPr>
          <p:spPr>
            <a:xfrm>
              <a:off x="418733" y="1215343"/>
              <a:ext cx="2057767" cy="892807"/>
            </a:xfrm>
            <a:prstGeom prst="round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US" sz="1051" b="1">
                <a:solidFill>
                  <a:srgbClr val="000000"/>
                </a:solidFill>
                <a:latin typeface="+mj-lt"/>
              </a:endParaRPr>
            </a:p>
          </p:txBody>
        </p:sp>
      </p:grpSp>
      <p:sp>
        <p:nvSpPr>
          <p:cNvPr id="34" name="TextBox 33">
            <a:extLst>
              <a:ext uri="{FF2B5EF4-FFF2-40B4-BE49-F238E27FC236}">
                <a16:creationId xmlns:a16="http://schemas.microsoft.com/office/drawing/2014/main" id="{34087F2A-A2A1-474E-9324-4B6B142D5D71}"/>
              </a:ext>
            </a:extLst>
          </p:cNvPr>
          <p:cNvSpPr txBox="1"/>
          <p:nvPr/>
        </p:nvSpPr>
        <p:spPr>
          <a:xfrm>
            <a:off x="8124700" y="4840346"/>
            <a:ext cx="3547756" cy="807465"/>
          </a:xfrm>
          <a:prstGeom prst="rect">
            <a:avLst/>
          </a:prstGeom>
          <a:noFill/>
        </p:spPr>
        <p:txBody>
          <a:bodyPr wrap="square" lIns="13716" tIns="13716" rIns="13716" bIns="13716" rtlCol="0">
            <a:spAutoFit/>
          </a:bodyPr>
          <a:lstStyle/>
          <a:p>
            <a:pPr>
              <a:buClr>
                <a:srgbClr val="00573B"/>
              </a:buClr>
            </a:pPr>
            <a:r>
              <a:rPr lang="en-US" sz="1067" b="1">
                <a:solidFill>
                  <a:srgbClr val="F26E01"/>
                </a:solidFill>
                <a:latin typeface="+mj-lt"/>
              </a:rPr>
              <a:t>Test Execution </a:t>
            </a:r>
          </a:p>
          <a:p>
            <a:pPr marL="128585" indent="-128585">
              <a:buClr>
                <a:srgbClr val="000000"/>
              </a:buClr>
              <a:buFont typeface="Wingdings" panose="05000000000000000000" pitchFamily="2" charset="2"/>
              <a:buChar char="§"/>
            </a:pPr>
            <a:r>
              <a:rPr lang="en-US" sz="1000">
                <a:solidFill>
                  <a:srgbClr val="000000"/>
                </a:solidFill>
                <a:latin typeface="+mj-lt"/>
              </a:rPr>
              <a:t>Configure the Test Run in the Controller</a:t>
            </a:r>
          </a:p>
          <a:p>
            <a:pPr marL="128585" indent="-128585">
              <a:buClr>
                <a:srgbClr val="000000"/>
              </a:buClr>
              <a:buFont typeface="Wingdings" panose="05000000000000000000" pitchFamily="2" charset="2"/>
              <a:buChar char="§"/>
            </a:pPr>
            <a:r>
              <a:rPr lang="en-US" sz="1000">
                <a:solidFill>
                  <a:srgbClr val="000000"/>
                </a:solidFill>
                <a:latin typeface="+mj-lt"/>
              </a:rPr>
              <a:t>Run MPS transactions/ scenarios</a:t>
            </a:r>
          </a:p>
          <a:p>
            <a:pPr marL="128585" indent="-128585">
              <a:buClr>
                <a:srgbClr val="000000"/>
              </a:buClr>
              <a:buFont typeface="Wingdings" panose="05000000000000000000" pitchFamily="2" charset="2"/>
              <a:buChar char="§"/>
            </a:pPr>
            <a:r>
              <a:rPr lang="en-US" sz="1000">
                <a:solidFill>
                  <a:srgbClr val="000000"/>
                </a:solidFill>
                <a:latin typeface="+mj-lt"/>
              </a:rPr>
              <a:t>Setup performance monitors &amp; Diagnostics</a:t>
            </a:r>
          </a:p>
          <a:p>
            <a:pPr marL="128585" indent="-128585">
              <a:buClr>
                <a:srgbClr val="000000"/>
              </a:buClr>
              <a:buFont typeface="Wingdings" panose="05000000000000000000" pitchFamily="2" charset="2"/>
              <a:buChar char="§"/>
            </a:pPr>
            <a:r>
              <a:rPr lang="en-US" sz="1000">
                <a:solidFill>
                  <a:srgbClr val="000000"/>
                </a:solidFill>
                <a:latin typeface="+mj-lt"/>
              </a:rPr>
              <a:t>Monitor and analyze the system statics and servers</a:t>
            </a:r>
          </a:p>
        </p:txBody>
      </p:sp>
      <p:sp>
        <p:nvSpPr>
          <p:cNvPr id="35" name="TextBox 34">
            <a:extLst>
              <a:ext uri="{FF2B5EF4-FFF2-40B4-BE49-F238E27FC236}">
                <a16:creationId xmlns:a16="http://schemas.microsoft.com/office/drawing/2014/main" id="{47683522-25EC-4C60-83A1-ED206544C305}"/>
              </a:ext>
            </a:extLst>
          </p:cNvPr>
          <p:cNvSpPr txBox="1"/>
          <p:nvPr/>
        </p:nvSpPr>
        <p:spPr>
          <a:xfrm>
            <a:off x="10785613" y="4435233"/>
            <a:ext cx="1008461" cy="314830"/>
          </a:xfrm>
          <a:prstGeom prst="rect">
            <a:avLst/>
          </a:prstGeom>
          <a:noFill/>
        </p:spPr>
        <p:txBody>
          <a:bodyPr wrap="square" lIns="13716" tIns="13716" rIns="13716" bIns="13716" rtlCol="0">
            <a:spAutoFit/>
          </a:bodyPr>
          <a:lstStyle/>
          <a:p>
            <a:pPr algn="ctr"/>
            <a:r>
              <a:rPr lang="en-US" sz="933" b="1">
                <a:solidFill>
                  <a:srgbClr val="F26E01"/>
                </a:solidFill>
                <a:latin typeface="+mj-lt"/>
              </a:rPr>
              <a:t>Performance</a:t>
            </a:r>
          </a:p>
          <a:p>
            <a:pPr algn="ctr"/>
            <a:r>
              <a:rPr lang="en-US" sz="933" b="1">
                <a:solidFill>
                  <a:srgbClr val="F26E01"/>
                </a:solidFill>
                <a:latin typeface="+mj-lt"/>
              </a:rPr>
              <a:t> Sign-off</a:t>
            </a:r>
            <a:endParaRPr lang="en-US" sz="933" i="1">
              <a:solidFill>
                <a:srgbClr val="000000"/>
              </a:solidFill>
              <a:latin typeface="+mj-lt"/>
            </a:endParaRPr>
          </a:p>
        </p:txBody>
      </p:sp>
      <p:grpSp>
        <p:nvGrpSpPr>
          <p:cNvPr id="36" name="Group 349">
            <a:extLst>
              <a:ext uri="{FF2B5EF4-FFF2-40B4-BE49-F238E27FC236}">
                <a16:creationId xmlns:a16="http://schemas.microsoft.com/office/drawing/2014/main" id="{021B4456-E4A9-4C46-987C-18F07D3147FD}"/>
              </a:ext>
            </a:extLst>
          </p:cNvPr>
          <p:cNvGrpSpPr>
            <a:grpSpLocks/>
          </p:cNvGrpSpPr>
          <p:nvPr/>
        </p:nvGrpSpPr>
        <p:grpSpPr bwMode="auto">
          <a:xfrm>
            <a:off x="3273932" y="2703120"/>
            <a:ext cx="501179" cy="324267"/>
            <a:chOff x="673" y="1350"/>
            <a:chExt cx="207" cy="260"/>
          </a:xfrm>
        </p:grpSpPr>
        <p:grpSp>
          <p:nvGrpSpPr>
            <p:cNvPr id="37" name="Group 350">
              <a:extLst>
                <a:ext uri="{FF2B5EF4-FFF2-40B4-BE49-F238E27FC236}">
                  <a16:creationId xmlns:a16="http://schemas.microsoft.com/office/drawing/2014/main" id="{DC7AC058-FEF2-4058-857B-3F231D757219}"/>
                </a:ext>
              </a:extLst>
            </p:cNvPr>
            <p:cNvGrpSpPr>
              <a:grpSpLocks/>
            </p:cNvGrpSpPr>
            <p:nvPr/>
          </p:nvGrpSpPr>
          <p:grpSpPr bwMode="auto">
            <a:xfrm>
              <a:off x="673" y="1350"/>
              <a:ext cx="140" cy="189"/>
              <a:chOff x="4871" y="1410"/>
              <a:chExt cx="155" cy="208"/>
            </a:xfrm>
          </p:grpSpPr>
          <p:sp>
            <p:nvSpPr>
              <p:cNvPr id="45" name="Rectangle 351">
                <a:extLst>
                  <a:ext uri="{FF2B5EF4-FFF2-40B4-BE49-F238E27FC236}">
                    <a16:creationId xmlns:a16="http://schemas.microsoft.com/office/drawing/2014/main" id="{194A96B3-2696-463F-9656-5EEC4CAE37FC}"/>
                  </a:ext>
                </a:extLst>
              </p:cNvPr>
              <p:cNvSpPr>
                <a:spLocks noChangeArrowheads="1"/>
              </p:cNvSpPr>
              <p:nvPr/>
            </p:nvSpPr>
            <p:spPr bwMode="auto">
              <a:xfrm>
                <a:off x="4871" y="1410"/>
                <a:ext cx="154" cy="192"/>
              </a:xfrm>
              <a:prstGeom prst="rect">
                <a:avLst/>
              </a:prstGeom>
              <a:solidFill>
                <a:schemeClr val="bg1"/>
              </a:solidFill>
              <a:ln w="12700">
                <a:solidFill>
                  <a:srgbClr val="969696"/>
                </a:solidFill>
                <a:miter lim="800000"/>
                <a:headEnd/>
                <a:tailEnd/>
              </a:ln>
            </p:spPr>
            <p:txBody>
              <a:bodyPr wrap="none" anchor="ctr"/>
              <a:lstStyle/>
              <a:p>
                <a:pPr eaLnBrk="0" hangingPunct="0"/>
                <a:endParaRPr lang="ja-JP" altLang="en-US">
                  <a:solidFill>
                    <a:srgbClr val="000000"/>
                  </a:solidFill>
                  <a:latin typeface="+mj-lt"/>
                </a:endParaRPr>
              </a:p>
            </p:txBody>
          </p:sp>
          <p:sp>
            <p:nvSpPr>
              <p:cNvPr id="46" name="Line 352">
                <a:extLst>
                  <a:ext uri="{FF2B5EF4-FFF2-40B4-BE49-F238E27FC236}">
                    <a16:creationId xmlns:a16="http://schemas.microsoft.com/office/drawing/2014/main" id="{C1EBD47D-ADF9-4925-9652-AE789CC79883}"/>
                  </a:ext>
                </a:extLst>
              </p:cNvPr>
              <p:cNvSpPr>
                <a:spLocks noChangeShapeType="1"/>
              </p:cNvSpPr>
              <p:nvPr/>
            </p:nvSpPr>
            <p:spPr bwMode="auto">
              <a:xfrm>
                <a:off x="4908" y="1459"/>
                <a:ext cx="115" cy="0"/>
              </a:xfrm>
              <a:prstGeom prst="line">
                <a:avLst/>
              </a:prstGeom>
              <a:noFill/>
              <a:ln w="9525">
                <a:solidFill>
                  <a:schemeClr val="tx1"/>
                </a:solidFill>
                <a:round/>
                <a:headEnd/>
                <a:tailEnd/>
              </a:ln>
            </p:spPr>
            <p:txBody>
              <a:bodyPr/>
              <a:lstStyle/>
              <a:p>
                <a:pPr eaLnBrk="0" hangingPunct="0"/>
                <a:endParaRPr lang="en-US">
                  <a:solidFill>
                    <a:srgbClr val="000000"/>
                  </a:solidFill>
                  <a:latin typeface="+mj-lt"/>
                </a:endParaRPr>
              </a:p>
            </p:txBody>
          </p:sp>
          <p:sp>
            <p:nvSpPr>
              <p:cNvPr id="47" name="Line 353">
                <a:extLst>
                  <a:ext uri="{FF2B5EF4-FFF2-40B4-BE49-F238E27FC236}">
                    <a16:creationId xmlns:a16="http://schemas.microsoft.com/office/drawing/2014/main" id="{7F226B9A-2DF4-4AE8-8839-66B3F20F6114}"/>
                  </a:ext>
                </a:extLst>
              </p:cNvPr>
              <p:cNvSpPr>
                <a:spLocks noChangeShapeType="1"/>
              </p:cNvSpPr>
              <p:nvPr/>
            </p:nvSpPr>
            <p:spPr bwMode="auto">
              <a:xfrm>
                <a:off x="4908" y="1488"/>
                <a:ext cx="115" cy="0"/>
              </a:xfrm>
              <a:prstGeom prst="line">
                <a:avLst/>
              </a:prstGeom>
              <a:noFill/>
              <a:ln w="9525">
                <a:solidFill>
                  <a:srgbClr val="FF0000"/>
                </a:solidFill>
                <a:round/>
                <a:headEnd/>
                <a:tailEnd/>
              </a:ln>
            </p:spPr>
            <p:txBody>
              <a:bodyPr/>
              <a:lstStyle/>
              <a:p>
                <a:pPr eaLnBrk="0" hangingPunct="0"/>
                <a:endParaRPr lang="en-US">
                  <a:solidFill>
                    <a:srgbClr val="000000"/>
                  </a:solidFill>
                  <a:latin typeface="+mj-lt"/>
                </a:endParaRPr>
              </a:p>
            </p:txBody>
          </p:sp>
          <p:sp>
            <p:nvSpPr>
              <p:cNvPr id="48" name="Line 354">
                <a:extLst>
                  <a:ext uri="{FF2B5EF4-FFF2-40B4-BE49-F238E27FC236}">
                    <a16:creationId xmlns:a16="http://schemas.microsoft.com/office/drawing/2014/main" id="{93A62610-5636-44BD-BC4C-9DC943E25B96}"/>
                  </a:ext>
                </a:extLst>
              </p:cNvPr>
              <p:cNvSpPr>
                <a:spLocks noChangeShapeType="1"/>
              </p:cNvSpPr>
              <p:nvPr/>
            </p:nvSpPr>
            <p:spPr bwMode="auto">
              <a:xfrm>
                <a:off x="4910" y="1529"/>
                <a:ext cx="116" cy="0"/>
              </a:xfrm>
              <a:prstGeom prst="line">
                <a:avLst/>
              </a:prstGeom>
              <a:noFill/>
              <a:ln w="9525">
                <a:solidFill>
                  <a:schemeClr val="tx1"/>
                </a:solidFill>
                <a:round/>
                <a:headEnd/>
                <a:tailEnd/>
              </a:ln>
            </p:spPr>
            <p:txBody>
              <a:bodyPr/>
              <a:lstStyle/>
              <a:p>
                <a:pPr eaLnBrk="0" hangingPunct="0"/>
                <a:endParaRPr lang="en-US">
                  <a:solidFill>
                    <a:srgbClr val="000000"/>
                  </a:solidFill>
                  <a:latin typeface="+mj-lt"/>
                </a:endParaRPr>
              </a:p>
            </p:txBody>
          </p:sp>
          <p:sp>
            <p:nvSpPr>
              <p:cNvPr id="49" name="Line 355">
                <a:extLst>
                  <a:ext uri="{FF2B5EF4-FFF2-40B4-BE49-F238E27FC236}">
                    <a16:creationId xmlns:a16="http://schemas.microsoft.com/office/drawing/2014/main" id="{442EDDD5-9B04-4D07-A45A-03EA7A2EAD30}"/>
                  </a:ext>
                </a:extLst>
              </p:cNvPr>
              <p:cNvSpPr>
                <a:spLocks noChangeShapeType="1"/>
              </p:cNvSpPr>
              <p:nvPr/>
            </p:nvSpPr>
            <p:spPr bwMode="auto">
              <a:xfrm>
                <a:off x="4910" y="1558"/>
                <a:ext cx="116" cy="0"/>
              </a:xfrm>
              <a:prstGeom prst="line">
                <a:avLst/>
              </a:prstGeom>
              <a:noFill/>
              <a:ln w="9525">
                <a:solidFill>
                  <a:srgbClr val="FF0000"/>
                </a:solidFill>
                <a:round/>
                <a:headEnd/>
                <a:tailEnd/>
              </a:ln>
            </p:spPr>
            <p:txBody>
              <a:bodyPr/>
              <a:lstStyle/>
              <a:p>
                <a:pPr eaLnBrk="0" hangingPunct="0"/>
                <a:endParaRPr lang="en-US">
                  <a:solidFill>
                    <a:srgbClr val="000000"/>
                  </a:solidFill>
                  <a:latin typeface="+mj-lt"/>
                </a:endParaRPr>
              </a:p>
            </p:txBody>
          </p:sp>
          <p:sp>
            <p:nvSpPr>
              <p:cNvPr id="50" name="Line 356">
                <a:extLst>
                  <a:ext uri="{FF2B5EF4-FFF2-40B4-BE49-F238E27FC236}">
                    <a16:creationId xmlns:a16="http://schemas.microsoft.com/office/drawing/2014/main" id="{2DB9AB54-02D1-412A-AD8B-8D33786211B9}"/>
                  </a:ext>
                </a:extLst>
              </p:cNvPr>
              <p:cNvSpPr>
                <a:spLocks noChangeShapeType="1"/>
              </p:cNvSpPr>
              <p:nvPr/>
            </p:nvSpPr>
            <p:spPr bwMode="auto">
              <a:xfrm>
                <a:off x="4908" y="1589"/>
                <a:ext cx="115" cy="0"/>
              </a:xfrm>
              <a:prstGeom prst="line">
                <a:avLst/>
              </a:prstGeom>
              <a:noFill/>
              <a:ln w="9525">
                <a:solidFill>
                  <a:schemeClr val="tx1"/>
                </a:solidFill>
                <a:round/>
                <a:headEnd/>
                <a:tailEnd/>
              </a:ln>
            </p:spPr>
            <p:txBody>
              <a:bodyPr/>
              <a:lstStyle/>
              <a:p>
                <a:pPr eaLnBrk="0" hangingPunct="0"/>
                <a:endParaRPr lang="en-US">
                  <a:solidFill>
                    <a:srgbClr val="000000"/>
                  </a:solidFill>
                  <a:latin typeface="+mj-lt"/>
                </a:endParaRPr>
              </a:p>
            </p:txBody>
          </p:sp>
          <p:sp>
            <p:nvSpPr>
              <p:cNvPr id="51" name="Line 357">
                <a:extLst>
                  <a:ext uri="{FF2B5EF4-FFF2-40B4-BE49-F238E27FC236}">
                    <a16:creationId xmlns:a16="http://schemas.microsoft.com/office/drawing/2014/main" id="{5DBE6E50-DDFD-43D4-8FBD-138AFF4B7764}"/>
                  </a:ext>
                </a:extLst>
              </p:cNvPr>
              <p:cNvSpPr>
                <a:spLocks noChangeShapeType="1"/>
              </p:cNvSpPr>
              <p:nvPr/>
            </p:nvSpPr>
            <p:spPr bwMode="auto">
              <a:xfrm>
                <a:off x="4908" y="1618"/>
                <a:ext cx="115" cy="0"/>
              </a:xfrm>
              <a:prstGeom prst="line">
                <a:avLst/>
              </a:prstGeom>
              <a:noFill/>
              <a:ln w="9525">
                <a:solidFill>
                  <a:srgbClr val="FF0000"/>
                </a:solidFill>
                <a:round/>
                <a:headEnd/>
                <a:tailEnd/>
              </a:ln>
            </p:spPr>
            <p:txBody>
              <a:bodyPr/>
              <a:lstStyle/>
              <a:p>
                <a:pPr eaLnBrk="0" hangingPunct="0"/>
                <a:endParaRPr lang="en-US">
                  <a:solidFill>
                    <a:srgbClr val="000000"/>
                  </a:solidFill>
                  <a:latin typeface="+mj-lt"/>
                </a:endParaRPr>
              </a:p>
            </p:txBody>
          </p:sp>
        </p:grpSp>
        <p:grpSp>
          <p:nvGrpSpPr>
            <p:cNvPr id="38" name="Group 358">
              <a:extLst>
                <a:ext uri="{FF2B5EF4-FFF2-40B4-BE49-F238E27FC236}">
                  <a16:creationId xmlns:a16="http://schemas.microsoft.com/office/drawing/2014/main" id="{95B56DC5-A477-41AC-9EEE-9019986A4A77}"/>
                </a:ext>
              </a:extLst>
            </p:cNvPr>
            <p:cNvGrpSpPr>
              <a:grpSpLocks/>
            </p:cNvGrpSpPr>
            <p:nvPr/>
          </p:nvGrpSpPr>
          <p:grpSpPr bwMode="auto">
            <a:xfrm>
              <a:off x="741" y="1435"/>
              <a:ext cx="139" cy="175"/>
              <a:chOff x="4886" y="1440"/>
              <a:chExt cx="154" cy="192"/>
            </a:xfrm>
          </p:grpSpPr>
          <p:sp>
            <p:nvSpPr>
              <p:cNvPr id="39" name="Rectangle 359">
                <a:extLst>
                  <a:ext uri="{FF2B5EF4-FFF2-40B4-BE49-F238E27FC236}">
                    <a16:creationId xmlns:a16="http://schemas.microsoft.com/office/drawing/2014/main" id="{4A243320-23C9-49B8-9F9A-C097B8D81D0E}"/>
                  </a:ext>
                </a:extLst>
              </p:cNvPr>
              <p:cNvSpPr>
                <a:spLocks noChangeArrowheads="1"/>
              </p:cNvSpPr>
              <p:nvPr/>
            </p:nvSpPr>
            <p:spPr bwMode="auto">
              <a:xfrm>
                <a:off x="4886" y="1440"/>
                <a:ext cx="154" cy="192"/>
              </a:xfrm>
              <a:prstGeom prst="rect">
                <a:avLst/>
              </a:prstGeom>
              <a:solidFill>
                <a:schemeClr val="bg1"/>
              </a:solidFill>
              <a:ln w="12700">
                <a:solidFill>
                  <a:srgbClr val="969696"/>
                </a:solidFill>
                <a:miter lim="800000"/>
                <a:headEnd/>
                <a:tailEnd/>
              </a:ln>
            </p:spPr>
            <p:txBody>
              <a:bodyPr wrap="none" anchor="ctr"/>
              <a:lstStyle/>
              <a:p>
                <a:pPr eaLnBrk="0" hangingPunct="0"/>
                <a:endParaRPr lang="ja-JP" altLang="en-US">
                  <a:solidFill>
                    <a:srgbClr val="000000"/>
                  </a:solidFill>
                  <a:latin typeface="+mj-lt"/>
                </a:endParaRPr>
              </a:p>
            </p:txBody>
          </p:sp>
          <p:sp>
            <p:nvSpPr>
              <p:cNvPr id="40" name="Line 360">
                <a:extLst>
                  <a:ext uri="{FF2B5EF4-FFF2-40B4-BE49-F238E27FC236}">
                    <a16:creationId xmlns:a16="http://schemas.microsoft.com/office/drawing/2014/main" id="{0966D8E5-E84E-4D41-9711-0CAFDF77F7F4}"/>
                  </a:ext>
                </a:extLst>
              </p:cNvPr>
              <p:cNvSpPr>
                <a:spLocks noChangeShapeType="1"/>
              </p:cNvSpPr>
              <p:nvPr/>
            </p:nvSpPr>
            <p:spPr bwMode="auto">
              <a:xfrm>
                <a:off x="4908" y="1459"/>
                <a:ext cx="115" cy="0"/>
              </a:xfrm>
              <a:prstGeom prst="line">
                <a:avLst/>
              </a:prstGeom>
              <a:noFill/>
              <a:ln w="9525">
                <a:solidFill>
                  <a:schemeClr val="tx1"/>
                </a:solidFill>
                <a:round/>
                <a:headEnd/>
                <a:tailEnd/>
              </a:ln>
            </p:spPr>
            <p:txBody>
              <a:bodyPr/>
              <a:lstStyle/>
              <a:p>
                <a:pPr eaLnBrk="0" hangingPunct="0"/>
                <a:endParaRPr lang="en-US">
                  <a:solidFill>
                    <a:srgbClr val="000000"/>
                  </a:solidFill>
                  <a:latin typeface="+mj-lt"/>
                </a:endParaRPr>
              </a:p>
            </p:txBody>
          </p:sp>
          <p:sp>
            <p:nvSpPr>
              <p:cNvPr id="41" name="Line 361">
                <a:extLst>
                  <a:ext uri="{FF2B5EF4-FFF2-40B4-BE49-F238E27FC236}">
                    <a16:creationId xmlns:a16="http://schemas.microsoft.com/office/drawing/2014/main" id="{0AA126F2-8CC7-4BE8-A73C-3317C1789BF4}"/>
                  </a:ext>
                </a:extLst>
              </p:cNvPr>
              <p:cNvSpPr>
                <a:spLocks noChangeShapeType="1"/>
              </p:cNvSpPr>
              <p:nvPr/>
            </p:nvSpPr>
            <p:spPr bwMode="auto">
              <a:xfrm>
                <a:off x="4908" y="1488"/>
                <a:ext cx="115" cy="0"/>
              </a:xfrm>
              <a:prstGeom prst="line">
                <a:avLst/>
              </a:prstGeom>
              <a:noFill/>
              <a:ln w="9525">
                <a:solidFill>
                  <a:srgbClr val="FF0000"/>
                </a:solidFill>
                <a:round/>
                <a:headEnd/>
                <a:tailEnd/>
              </a:ln>
            </p:spPr>
            <p:txBody>
              <a:bodyPr/>
              <a:lstStyle/>
              <a:p>
                <a:pPr eaLnBrk="0" hangingPunct="0"/>
                <a:endParaRPr lang="en-US">
                  <a:solidFill>
                    <a:srgbClr val="000000"/>
                  </a:solidFill>
                  <a:latin typeface="+mj-lt"/>
                </a:endParaRPr>
              </a:p>
            </p:txBody>
          </p:sp>
          <p:sp>
            <p:nvSpPr>
              <p:cNvPr id="42" name="Line 363">
                <a:extLst>
                  <a:ext uri="{FF2B5EF4-FFF2-40B4-BE49-F238E27FC236}">
                    <a16:creationId xmlns:a16="http://schemas.microsoft.com/office/drawing/2014/main" id="{D42525A5-7E10-4CC4-8957-98CD1A0DA4DB}"/>
                  </a:ext>
                </a:extLst>
              </p:cNvPr>
              <p:cNvSpPr>
                <a:spLocks noChangeShapeType="1"/>
              </p:cNvSpPr>
              <p:nvPr/>
            </p:nvSpPr>
            <p:spPr bwMode="auto">
              <a:xfrm>
                <a:off x="4910" y="1558"/>
                <a:ext cx="116" cy="0"/>
              </a:xfrm>
              <a:prstGeom prst="line">
                <a:avLst/>
              </a:prstGeom>
              <a:noFill/>
              <a:ln w="9525">
                <a:solidFill>
                  <a:srgbClr val="FF0000"/>
                </a:solidFill>
                <a:round/>
                <a:headEnd/>
                <a:tailEnd/>
              </a:ln>
            </p:spPr>
            <p:txBody>
              <a:bodyPr/>
              <a:lstStyle/>
              <a:p>
                <a:pPr eaLnBrk="0" hangingPunct="0"/>
                <a:endParaRPr lang="en-US">
                  <a:solidFill>
                    <a:srgbClr val="000000"/>
                  </a:solidFill>
                  <a:latin typeface="+mj-lt"/>
                </a:endParaRPr>
              </a:p>
            </p:txBody>
          </p:sp>
          <p:sp>
            <p:nvSpPr>
              <p:cNvPr id="43" name="Line 364">
                <a:extLst>
                  <a:ext uri="{FF2B5EF4-FFF2-40B4-BE49-F238E27FC236}">
                    <a16:creationId xmlns:a16="http://schemas.microsoft.com/office/drawing/2014/main" id="{AA9F7E7A-BB6E-4F35-A8F7-1450CDB58485}"/>
                  </a:ext>
                </a:extLst>
              </p:cNvPr>
              <p:cNvSpPr>
                <a:spLocks noChangeShapeType="1"/>
              </p:cNvSpPr>
              <p:nvPr/>
            </p:nvSpPr>
            <p:spPr bwMode="auto">
              <a:xfrm>
                <a:off x="4908" y="1589"/>
                <a:ext cx="115" cy="0"/>
              </a:xfrm>
              <a:prstGeom prst="line">
                <a:avLst/>
              </a:prstGeom>
              <a:noFill/>
              <a:ln w="9525">
                <a:solidFill>
                  <a:schemeClr val="tx1"/>
                </a:solidFill>
                <a:round/>
                <a:headEnd/>
                <a:tailEnd/>
              </a:ln>
            </p:spPr>
            <p:txBody>
              <a:bodyPr/>
              <a:lstStyle/>
              <a:p>
                <a:pPr eaLnBrk="0" hangingPunct="0"/>
                <a:endParaRPr lang="en-US">
                  <a:solidFill>
                    <a:srgbClr val="000000"/>
                  </a:solidFill>
                  <a:latin typeface="+mj-lt"/>
                </a:endParaRPr>
              </a:p>
            </p:txBody>
          </p:sp>
          <p:sp>
            <p:nvSpPr>
              <p:cNvPr id="44" name="Line 365">
                <a:extLst>
                  <a:ext uri="{FF2B5EF4-FFF2-40B4-BE49-F238E27FC236}">
                    <a16:creationId xmlns:a16="http://schemas.microsoft.com/office/drawing/2014/main" id="{30188543-E4CD-4C56-87D5-A29A61660D1B}"/>
                  </a:ext>
                </a:extLst>
              </p:cNvPr>
              <p:cNvSpPr>
                <a:spLocks noChangeShapeType="1"/>
              </p:cNvSpPr>
              <p:nvPr/>
            </p:nvSpPr>
            <p:spPr bwMode="auto">
              <a:xfrm>
                <a:off x="4908" y="1618"/>
                <a:ext cx="115" cy="0"/>
              </a:xfrm>
              <a:prstGeom prst="line">
                <a:avLst/>
              </a:prstGeom>
              <a:noFill/>
              <a:ln w="9525">
                <a:solidFill>
                  <a:srgbClr val="FF0000"/>
                </a:solidFill>
                <a:round/>
                <a:headEnd/>
                <a:tailEnd/>
              </a:ln>
            </p:spPr>
            <p:txBody>
              <a:bodyPr/>
              <a:lstStyle/>
              <a:p>
                <a:pPr eaLnBrk="0" hangingPunct="0"/>
                <a:endParaRPr lang="en-US">
                  <a:solidFill>
                    <a:srgbClr val="000000"/>
                  </a:solidFill>
                  <a:latin typeface="+mj-lt"/>
                </a:endParaRPr>
              </a:p>
            </p:txBody>
          </p:sp>
        </p:grpSp>
      </p:grpSp>
      <p:sp>
        <p:nvSpPr>
          <p:cNvPr id="52" name="Text Box 387">
            <a:extLst>
              <a:ext uri="{FF2B5EF4-FFF2-40B4-BE49-F238E27FC236}">
                <a16:creationId xmlns:a16="http://schemas.microsoft.com/office/drawing/2014/main" id="{771B8DD5-D10E-482B-BCEE-C2C55E95BE95}"/>
              </a:ext>
            </a:extLst>
          </p:cNvPr>
          <p:cNvSpPr txBox="1">
            <a:spLocks noChangeArrowheads="1"/>
          </p:cNvSpPr>
          <p:nvPr/>
        </p:nvSpPr>
        <p:spPr bwMode="auto">
          <a:xfrm>
            <a:off x="2871201" y="2331230"/>
            <a:ext cx="1771557" cy="338554"/>
          </a:xfrm>
          <a:prstGeom prst="rect">
            <a:avLst/>
          </a:prstGeom>
          <a:noFill/>
          <a:ln w="9525">
            <a:noFill/>
            <a:miter lim="800000"/>
            <a:headEnd/>
            <a:tailEnd/>
          </a:ln>
        </p:spPr>
        <p:txBody>
          <a:bodyPr wrap="square">
            <a:spAutoFit/>
          </a:bodyPr>
          <a:lstStyle/>
          <a:p>
            <a:pPr algn="ctr" eaLnBrk="0" hangingPunct="0"/>
            <a:r>
              <a:rPr lang="en-US" altLang="ja-JP" sz="800" b="1">
                <a:latin typeface="+mj-lt"/>
              </a:rPr>
              <a:t>Performance Test Plan &amp; Performance Test Matrix</a:t>
            </a:r>
          </a:p>
        </p:txBody>
      </p:sp>
      <p:grpSp>
        <p:nvGrpSpPr>
          <p:cNvPr id="53" name="Group 126">
            <a:extLst>
              <a:ext uri="{FF2B5EF4-FFF2-40B4-BE49-F238E27FC236}">
                <a16:creationId xmlns:a16="http://schemas.microsoft.com/office/drawing/2014/main" id="{DB0006E9-7F65-4E9E-928E-38B7534969E8}"/>
              </a:ext>
            </a:extLst>
          </p:cNvPr>
          <p:cNvGrpSpPr/>
          <p:nvPr/>
        </p:nvGrpSpPr>
        <p:grpSpPr>
          <a:xfrm>
            <a:off x="9618189" y="4372704"/>
            <a:ext cx="238743" cy="242193"/>
            <a:chOff x="3235212" y="1556746"/>
            <a:chExt cx="210797" cy="276433"/>
          </a:xfrm>
        </p:grpSpPr>
        <p:sp>
          <p:nvSpPr>
            <p:cNvPr id="54" name="Freeform 1108">
              <a:extLst>
                <a:ext uri="{FF2B5EF4-FFF2-40B4-BE49-F238E27FC236}">
                  <a16:creationId xmlns:a16="http://schemas.microsoft.com/office/drawing/2014/main" id="{004A6924-D1CF-4E74-88A1-E57AD4EE5797}"/>
                </a:ext>
              </a:extLst>
            </p:cNvPr>
            <p:cNvSpPr>
              <a:spLocks/>
            </p:cNvSpPr>
            <p:nvPr/>
          </p:nvSpPr>
          <p:spPr bwMode="auto">
            <a:xfrm>
              <a:off x="3235212" y="1556746"/>
              <a:ext cx="210797" cy="276433"/>
            </a:xfrm>
            <a:custGeom>
              <a:avLst/>
              <a:gdLst>
                <a:gd name="T0" fmla="*/ 0 w 122"/>
                <a:gd name="T1" fmla="*/ 123805 h 159"/>
                <a:gd name="T2" fmla="*/ 0 w 122"/>
                <a:gd name="T3" fmla="*/ 123805 h 159"/>
                <a:gd name="T4" fmla="*/ 3969 w 122"/>
                <a:gd name="T5" fmla="*/ 120610 h 159"/>
                <a:gd name="T6" fmla="*/ 12700 w 122"/>
                <a:gd name="T7" fmla="*/ 113421 h 159"/>
                <a:gd name="T8" fmla="*/ 16669 w 122"/>
                <a:gd name="T9" fmla="*/ 109428 h 159"/>
                <a:gd name="T10" fmla="*/ 20638 w 122"/>
                <a:gd name="T11" fmla="*/ 106233 h 159"/>
                <a:gd name="T12" fmla="*/ 22225 w 122"/>
                <a:gd name="T13" fmla="*/ 102239 h 159"/>
                <a:gd name="T14" fmla="*/ 22225 w 122"/>
                <a:gd name="T15" fmla="*/ 99843 h 159"/>
                <a:gd name="T16" fmla="*/ 22225 w 122"/>
                <a:gd name="T17" fmla="*/ 98245 h 159"/>
                <a:gd name="T18" fmla="*/ 22225 w 122"/>
                <a:gd name="T19" fmla="*/ 98245 h 159"/>
                <a:gd name="T20" fmla="*/ 17463 w 122"/>
                <a:gd name="T21" fmla="*/ 87063 h 159"/>
                <a:gd name="T22" fmla="*/ 11906 w 122"/>
                <a:gd name="T23" fmla="*/ 69491 h 159"/>
                <a:gd name="T24" fmla="*/ 8731 w 122"/>
                <a:gd name="T25" fmla="*/ 59906 h 159"/>
                <a:gd name="T26" fmla="*/ 5556 w 122"/>
                <a:gd name="T27" fmla="*/ 50321 h 159"/>
                <a:gd name="T28" fmla="*/ 4763 w 122"/>
                <a:gd name="T29" fmla="*/ 41535 h 159"/>
                <a:gd name="T30" fmla="*/ 5556 w 122"/>
                <a:gd name="T31" fmla="*/ 35145 h 159"/>
                <a:gd name="T32" fmla="*/ 5556 w 122"/>
                <a:gd name="T33" fmla="*/ 35145 h 159"/>
                <a:gd name="T34" fmla="*/ 8731 w 122"/>
                <a:gd name="T35" fmla="*/ 26358 h 159"/>
                <a:gd name="T36" fmla="*/ 12700 w 122"/>
                <a:gd name="T37" fmla="*/ 17572 h 159"/>
                <a:gd name="T38" fmla="*/ 18256 w 122"/>
                <a:gd name="T39" fmla="*/ 10384 h 159"/>
                <a:gd name="T40" fmla="*/ 23813 w 122"/>
                <a:gd name="T41" fmla="*/ 5591 h 159"/>
                <a:gd name="T42" fmla="*/ 30956 w 122"/>
                <a:gd name="T43" fmla="*/ 1597 h 159"/>
                <a:gd name="T44" fmla="*/ 39688 w 122"/>
                <a:gd name="T45" fmla="*/ 0 h 159"/>
                <a:gd name="T46" fmla="*/ 48419 w 122"/>
                <a:gd name="T47" fmla="*/ 0 h 159"/>
                <a:gd name="T48" fmla="*/ 57944 w 122"/>
                <a:gd name="T49" fmla="*/ 2396 h 159"/>
                <a:gd name="T50" fmla="*/ 57944 w 122"/>
                <a:gd name="T51" fmla="*/ 2396 h 159"/>
                <a:gd name="T52" fmla="*/ 67469 w 122"/>
                <a:gd name="T53" fmla="*/ 6390 h 159"/>
                <a:gd name="T54" fmla="*/ 75407 w 122"/>
                <a:gd name="T55" fmla="*/ 10384 h 159"/>
                <a:gd name="T56" fmla="*/ 80169 w 122"/>
                <a:gd name="T57" fmla="*/ 14377 h 159"/>
                <a:gd name="T58" fmla="*/ 84138 w 122"/>
                <a:gd name="T59" fmla="*/ 19170 h 159"/>
                <a:gd name="T60" fmla="*/ 87313 w 122"/>
                <a:gd name="T61" fmla="*/ 23164 h 159"/>
                <a:gd name="T62" fmla="*/ 88107 w 122"/>
                <a:gd name="T63" fmla="*/ 27157 h 159"/>
                <a:gd name="T64" fmla="*/ 88107 w 122"/>
                <a:gd name="T65" fmla="*/ 29553 h 159"/>
                <a:gd name="T66" fmla="*/ 88107 w 122"/>
                <a:gd name="T67" fmla="*/ 33547 h 159"/>
                <a:gd name="T68" fmla="*/ 88107 w 122"/>
                <a:gd name="T69" fmla="*/ 33547 h 159"/>
                <a:gd name="T70" fmla="*/ 87313 w 122"/>
                <a:gd name="T71" fmla="*/ 39937 h 159"/>
                <a:gd name="T72" fmla="*/ 86519 w 122"/>
                <a:gd name="T73" fmla="*/ 43931 h 159"/>
                <a:gd name="T74" fmla="*/ 88107 w 122"/>
                <a:gd name="T75" fmla="*/ 47126 h 159"/>
                <a:gd name="T76" fmla="*/ 92075 w 122"/>
                <a:gd name="T77" fmla="*/ 52717 h 159"/>
                <a:gd name="T78" fmla="*/ 92075 w 122"/>
                <a:gd name="T79" fmla="*/ 52717 h 159"/>
                <a:gd name="T80" fmla="*/ 94457 w 122"/>
                <a:gd name="T81" fmla="*/ 57509 h 159"/>
                <a:gd name="T82" fmla="*/ 96838 w 122"/>
                <a:gd name="T83" fmla="*/ 60704 h 159"/>
                <a:gd name="T84" fmla="*/ 96838 w 122"/>
                <a:gd name="T85" fmla="*/ 63899 h 159"/>
                <a:gd name="T86" fmla="*/ 93663 w 122"/>
                <a:gd name="T87" fmla="*/ 67094 h 159"/>
                <a:gd name="T88" fmla="*/ 93663 w 122"/>
                <a:gd name="T89" fmla="*/ 67094 h 159"/>
                <a:gd name="T90" fmla="*/ 92075 w 122"/>
                <a:gd name="T91" fmla="*/ 68692 h 159"/>
                <a:gd name="T92" fmla="*/ 89694 w 122"/>
                <a:gd name="T93" fmla="*/ 73484 h 159"/>
                <a:gd name="T94" fmla="*/ 88107 w 122"/>
                <a:gd name="T95" fmla="*/ 82270 h 159"/>
                <a:gd name="T96" fmla="*/ 88107 w 122"/>
                <a:gd name="T97" fmla="*/ 82270 h 159"/>
                <a:gd name="T98" fmla="*/ 88107 w 122"/>
                <a:gd name="T99" fmla="*/ 85465 h 159"/>
                <a:gd name="T100" fmla="*/ 88900 w 122"/>
                <a:gd name="T101" fmla="*/ 88660 h 159"/>
                <a:gd name="T102" fmla="*/ 88900 w 122"/>
                <a:gd name="T103" fmla="*/ 90258 h 159"/>
                <a:gd name="T104" fmla="*/ 88107 w 122"/>
                <a:gd name="T105" fmla="*/ 94252 h 159"/>
                <a:gd name="T106" fmla="*/ 88107 w 122"/>
                <a:gd name="T107" fmla="*/ 94252 h 159"/>
                <a:gd name="T108" fmla="*/ 86519 w 122"/>
                <a:gd name="T109" fmla="*/ 95849 h 159"/>
                <a:gd name="T110" fmla="*/ 83344 w 122"/>
                <a:gd name="T111" fmla="*/ 97447 h 159"/>
                <a:gd name="T112" fmla="*/ 73819 w 122"/>
                <a:gd name="T113" fmla="*/ 98245 h 159"/>
                <a:gd name="T114" fmla="*/ 61119 w 122"/>
                <a:gd name="T115" fmla="*/ 98245 h 159"/>
                <a:gd name="T116" fmla="*/ 61119 w 122"/>
                <a:gd name="T117" fmla="*/ 98245 h 159"/>
                <a:gd name="T118" fmla="*/ 96838 w 122"/>
                <a:gd name="T119" fmla="*/ 127000 h 15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2"/>
                <a:gd name="T181" fmla="*/ 0 h 159"/>
                <a:gd name="T182" fmla="*/ 122 w 122"/>
                <a:gd name="T183" fmla="*/ 159 h 15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2" h="159">
                  <a:moveTo>
                    <a:pt x="0" y="155"/>
                  </a:moveTo>
                  <a:lnTo>
                    <a:pt x="0" y="155"/>
                  </a:lnTo>
                  <a:lnTo>
                    <a:pt x="5" y="151"/>
                  </a:lnTo>
                  <a:lnTo>
                    <a:pt x="16" y="142"/>
                  </a:lnTo>
                  <a:lnTo>
                    <a:pt x="21" y="137"/>
                  </a:lnTo>
                  <a:lnTo>
                    <a:pt x="26" y="133"/>
                  </a:lnTo>
                  <a:lnTo>
                    <a:pt x="28" y="128"/>
                  </a:lnTo>
                  <a:lnTo>
                    <a:pt x="28" y="125"/>
                  </a:lnTo>
                  <a:lnTo>
                    <a:pt x="28" y="123"/>
                  </a:lnTo>
                  <a:lnTo>
                    <a:pt x="22" y="109"/>
                  </a:lnTo>
                  <a:lnTo>
                    <a:pt x="15" y="87"/>
                  </a:lnTo>
                  <a:lnTo>
                    <a:pt x="11" y="75"/>
                  </a:lnTo>
                  <a:lnTo>
                    <a:pt x="7" y="63"/>
                  </a:lnTo>
                  <a:lnTo>
                    <a:pt x="6" y="52"/>
                  </a:lnTo>
                  <a:lnTo>
                    <a:pt x="7" y="44"/>
                  </a:lnTo>
                  <a:lnTo>
                    <a:pt x="11" y="33"/>
                  </a:lnTo>
                  <a:lnTo>
                    <a:pt x="16" y="22"/>
                  </a:lnTo>
                  <a:lnTo>
                    <a:pt x="23" y="13"/>
                  </a:lnTo>
                  <a:lnTo>
                    <a:pt x="30" y="7"/>
                  </a:lnTo>
                  <a:lnTo>
                    <a:pt x="39" y="2"/>
                  </a:lnTo>
                  <a:lnTo>
                    <a:pt x="50" y="0"/>
                  </a:lnTo>
                  <a:lnTo>
                    <a:pt x="61" y="0"/>
                  </a:lnTo>
                  <a:lnTo>
                    <a:pt x="73" y="3"/>
                  </a:lnTo>
                  <a:lnTo>
                    <a:pt x="85" y="8"/>
                  </a:lnTo>
                  <a:lnTo>
                    <a:pt x="95" y="13"/>
                  </a:lnTo>
                  <a:lnTo>
                    <a:pt x="101" y="18"/>
                  </a:lnTo>
                  <a:lnTo>
                    <a:pt x="106" y="24"/>
                  </a:lnTo>
                  <a:lnTo>
                    <a:pt x="110" y="29"/>
                  </a:lnTo>
                  <a:lnTo>
                    <a:pt x="111" y="34"/>
                  </a:lnTo>
                  <a:lnTo>
                    <a:pt x="111" y="37"/>
                  </a:lnTo>
                  <a:lnTo>
                    <a:pt x="111" y="42"/>
                  </a:lnTo>
                  <a:lnTo>
                    <a:pt x="110" y="50"/>
                  </a:lnTo>
                  <a:lnTo>
                    <a:pt x="109" y="55"/>
                  </a:lnTo>
                  <a:lnTo>
                    <a:pt x="111" y="59"/>
                  </a:lnTo>
                  <a:lnTo>
                    <a:pt x="116" y="66"/>
                  </a:lnTo>
                  <a:lnTo>
                    <a:pt x="119" y="72"/>
                  </a:lnTo>
                  <a:lnTo>
                    <a:pt x="122" y="76"/>
                  </a:lnTo>
                  <a:lnTo>
                    <a:pt x="122" y="80"/>
                  </a:lnTo>
                  <a:lnTo>
                    <a:pt x="118" y="84"/>
                  </a:lnTo>
                  <a:lnTo>
                    <a:pt x="116" y="86"/>
                  </a:lnTo>
                  <a:lnTo>
                    <a:pt x="113" y="92"/>
                  </a:lnTo>
                  <a:lnTo>
                    <a:pt x="111" y="103"/>
                  </a:lnTo>
                  <a:lnTo>
                    <a:pt x="111" y="107"/>
                  </a:lnTo>
                  <a:lnTo>
                    <a:pt x="112" y="111"/>
                  </a:lnTo>
                  <a:lnTo>
                    <a:pt x="112" y="113"/>
                  </a:lnTo>
                  <a:lnTo>
                    <a:pt x="111" y="118"/>
                  </a:lnTo>
                  <a:lnTo>
                    <a:pt x="109" y="120"/>
                  </a:lnTo>
                  <a:lnTo>
                    <a:pt x="105" y="122"/>
                  </a:lnTo>
                  <a:lnTo>
                    <a:pt x="93" y="123"/>
                  </a:lnTo>
                  <a:lnTo>
                    <a:pt x="77" y="123"/>
                  </a:lnTo>
                  <a:lnTo>
                    <a:pt x="122" y="159"/>
                  </a:lnTo>
                </a:path>
              </a:pathLst>
            </a:custGeom>
            <a:noFill/>
            <a:ln w="19050">
              <a:solidFill>
                <a:schemeClr val="tx2"/>
              </a:solidFill>
              <a:prstDash val="solid"/>
              <a:round/>
              <a:headEnd/>
              <a:tailEnd/>
            </a:ln>
          </p:spPr>
          <p:txBody>
            <a:bodyPr/>
            <a:lstStyle/>
            <a:p>
              <a:endParaRPr lang="en-US">
                <a:solidFill>
                  <a:srgbClr val="000000"/>
                </a:solidFill>
                <a:latin typeface="+mj-lt"/>
              </a:endParaRPr>
            </a:p>
          </p:txBody>
        </p:sp>
        <p:sp>
          <p:nvSpPr>
            <p:cNvPr id="55" name="Freeform 1109">
              <a:extLst>
                <a:ext uri="{FF2B5EF4-FFF2-40B4-BE49-F238E27FC236}">
                  <a16:creationId xmlns:a16="http://schemas.microsoft.com/office/drawing/2014/main" id="{53CE7AEE-0855-4173-89C5-B67855AC71A7}"/>
                </a:ext>
              </a:extLst>
            </p:cNvPr>
            <p:cNvSpPr>
              <a:spLocks/>
            </p:cNvSpPr>
            <p:nvPr/>
          </p:nvSpPr>
          <p:spPr bwMode="auto">
            <a:xfrm>
              <a:off x="3318148" y="1629311"/>
              <a:ext cx="48379" cy="69108"/>
            </a:xfrm>
            <a:custGeom>
              <a:avLst/>
              <a:gdLst>
                <a:gd name="T0" fmla="*/ 22225 w 28"/>
                <a:gd name="T1" fmla="*/ 23435 h 42"/>
                <a:gd name="T2" fmla="*/ 22225 w 28"/>
                <a:gd name="T3" fmla="*/ 23435 h 42"/>
                <a:gd name="T4" fmla="*/ 20638 w 28"/>
                <a:gd name="T5" fmla="*/ 26458 h 42"/>
                <a:gd name="T6" fmla="*/ 19050 w 28"/>
                <a:gd name="T7" fmla="*/ 28726 h 42"/>
                <a:gd name="T8" fmla="*/ 15875 w 28"/>
                <a:gd name="T9" fmla="*/ 30238 h 42"/>
                <a:gd name="T10" fmla="*/ 13494 w 28"/>
                <a:gd name="T11" fmla="*/ 31750 h 42"/>
                <a:gd name="T12" fmla="*/ 8731 w 28"/>
                <a:gd name="T13" fmla="*/ 31750 h 42"/>
                <a:gd name="T14" fmla="*/ 8731 w 28"/>
                <a:gd name="T15" fmla="*/ 31750 h 42"/>
                <a:gd name="T16" fmla="*/ 4763 w 28"/>
                <a:gd name="T17" fmla="*/ 30238 h 42"/>
                <a:gd name="T18" fmla="*/ 1588 w 28"/>
                <a:gd name="T19" fmla="*/ 28726 h 42"/>
                <a:gd name="T20" fmla="*/ 794 w 28"/>
                <a:gd name="T21" fmla="*/ 26458 h 42"/>
                <a:gd name="T22" fmla="*/ 0 w 28"/>
                <a:gd name="T23" fmla="*/ 23435 h 42"/>
                <a:gd name="T24" fmla="*/ 0 w 28"/>
                <a:gd name="T25" fmla="*/ 8315 h 42"/>
                <a:gd name="T26" fmla="*/ 0 w 28"/>
                <a:gd name="T27" fmla="*/ 8315 h 42"/>
                <a:gd name="T28" fmla="*/ 794 w 28"/>
                <a:gd name="T29" fmla="*/ 4536 h 42"/>
                <a:gd name="T30" fmla="*/ 1588 w 28"/>
                <a:gd name="T31" fmla="*/ 3024 h 42"/>
                <a:gd name="T32" fmla="*/ 4763 w 28"/>
                <a:gd name="T33" fmla="*/ 756 h 42"/>
                <a:gd name="T34" fmla="*/ 8731 w 28"/>
                <a:gd name="T35" fmla="*/ 0 h 42"/>
                <a:gd name="T36" fmla="*/ 13494 w 28"/>
                <a:gd name="T37" fmla="*/ 0 h 42"/>
                <a:gd name="T38" fmla="*/ 13494 w 28"/>
                <a:gd name="T39" fmla="*/ 0 h 42"/>
                <a:gd name="T40" fmla="*/ 15875 w 28"/>
                <a:gd name="T41" fmla="*/ 756 h 42"/>
                <a:gd name="T42" fmla="*/ 19050 w 28"/>
                <a:gd name="T43" fmla="*/ 3024 h 42"/>
                <a:gd name="T44" fmla="*/ 20638 w 28"/>
                <a:gd name="T45" fmla="*/ 4536 h 42"/>
                <a:gd name="T46" fmla="*/ 22225 w 28"/>
                <a:gd name="T47" fmla="*/ 8315 h 42"/>
                <a:gd name="T48" fmla="*/ 22225 w 28"/>
                <a:gd name="T49" fmla="*/ 23435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8"/>
                <a:gd name="T76" fmla="*/ 0 h 42"/>
                <a:gd name="T77" fmla="*/ 28 w 28"/>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8" h="42">
                  <a:moveTo>
                    <a:pt x="28" y="31"/>
                  </a:moveTo>
                  <a:lnTo>
                    <a:pt x="28" y="31"/>
                  </a:lnTo>
                  <a:lnTo>
                    <a:pt x="26" y="35"/>
                  </a:lnTo>
                  <a:lnTo>
                    <a:pt x="24" y="38"/>
                  </a:lnTo>
                  <a:lnTo>
                    <a:pt x="20" y="40"/>
                  </a:lnTo>
                  <a:lnTo>
                    <a:pt x="17" y="42"/>
                  </a:lnTo>
                  <a:lnTo>
                    <a:pt x="11" y="42"/>
                  </a:lnTo>
                  <a:lnTo>
                    <a:pt x="6" y="40"/>
                  </a:lnTo>
                  <a:lnTo>
                    <a:pt x="2" y="38"/>
                  </a:lnTo>
                  <a:lnTo>
                    <a:pt x="1" y="35"/>
                  </a:lnTo>
                  <a:lnTo>
                    <a:pt x="0" y="31"/>
                  </a:lnTo>
                  <a:lnTo>
                    <a:pt x="0" y="11"/>
                  </a:lnTo>
                  <a:lnTo>
                    <a:pt x="1" y="6"/>
                  </a:lnTo>
                  <a:lnTo>
                    <a:pt x="2" y="4"/>
                  </a:lnTo>
                  <a:lnTo>
                    <a:pt x="6" y="1"/>
                  </a:lnTo>
                  <a:lnTo>
                    <a:pt x="11" y="0"/>
                  </a:lnTo>
                  <a:lnTo>
                    <a:pt x="17" y="0"/>
                  </a:lnTo>
                  <a:lnTo>
                    <a:pt x="20" y="1"/>
                  </a:lnTo>
                  <a:lnTo>
                    <a:pt x="24" y="4"/>
                  </a:lnTo>
                  <a:lnTo>
                    <a:pt x="26" y="6"/>
                  </a:lnTo>
                  <a:lnTo>
                    <a:pt x="28" y="11"/>
                  </a:lnTo>
                  <a:lnTo>
                    <a:pt x="28" y="31"/>
                  </a:lnTo>
                  <a:close/>
                </a:path>
              </a:pathLst>
            </a:custGeom>
            <a:noFill/>
            <a:ln w="19050">
              <a:solidFill>
                <a:schemeClr val="tx2"/>
              </a:solidFill>
              <a:prstDash val="solid"/>
              <a:round/>
              <a:headEnd/>
              <a:tailEnd/>
            </a:ln>
          </p:spPr>
          <p:txBody>
            <a:bodyPr/>
            <a:lstStyle/>
            <a:p>
              <a:endParaRPr lang="en-US">
                <a:solidFill>
                  <a:srgbClr val="000000"/>
                </a:solidFill>
                <a:latin typeface="+mj-lt"/>
              </a:endParaRPr>
            </a:p>
          </p:txBody>
        </p:sp>
        <p:sp>
          <p:nvSpPr>
            <p:cNvPr id="56" name="Freeform 1110">
              <a:extLst>
                <a:ext uri="{FF2B5EF4-FFF2-40B4-BE49-F238E27FC236}">
                  <a16:creationId xmlns:a16="http://schemas.microsoft.com/office/drawing/2014/main" id="{4932E018-A489-41AF-9D05-B75C2AFE07E7}"/>
                </a:ext>
              </a:extLst>
            </p:cNvPr>
            <p:cNvSpPr>
              <a:spLocks/>
            </p:cNvSpPr>
            <p:nvPr/>
          </p:nvSpPr>
          <p:spPr bwMode="auto">
            <a:xfrm>
              <a:off x="3383805" y="1708784"/>
              <a:ext cx="20734" cy="17278"/>
            </a:xfrm>
            <a:custGeom>
              <a:avLst/>
              <a:gdLst>
                <a:gd name="T0" fmla="*/ 9525 w 12"/>
                <a:gd name="T1" fmla="*/ 5051 h 11"/>
                <a:gd name="T2" fmla="*/ 9525 w 12"/>
                <a:gd name="T3" fmla="*/ 5051 h 11"/>
                <a:gd name="T4" fmla="*/ 8731 w 12"/>
                <a:gd name="T5" fmla="*/ 6495 h 11"/>
                <a:gd name="T6" fmla="*/ 7144 w 12"/>
                <a:gd name="T7" fmla="*/ 7216 h 11"/>
                <a:gd name="T8" fmla="*/ 6350 w 12"/>
                <a:gd name="T9" fmla="*/ 7938 h 11"/>
                <a:gd name="T10" fmla="*/ 4763 w 12"/>
                <a:gd name="T11" fmla="*/ 7938 h 11"/>
                <a:gd name="T12" fmla="*/ 4763 w 12"/>
                <a:gd name="T13" fmla="*/ 7938 h 11"/>
                <a:gd name="T14" fmla="*/ 2381 w 12"/>
                <a:gd name="T15" fmla="*/ 7938 h 11"/>
                <a:gd name="T16" fmla="*/ 794 w 12"/>
                <a:gd name="T17" fmla="*/ 7216 h 11"/>
                <a:gd name="T18" fmla="*/ 0 w 12"/>
                <a:gd name="T19" fmla="*/ 6495 h 11"/>
                <a:gd name="T20" fmla="*/ 0 w 12"/>
                <a:gd name="T21" fmla="*/ 5051 h 11"/>
                <a:gd name="T22" fmla="*/ 0 w 12"/>
                <a:gd name="T23" fmla="*/ 5051 h 11"/>
                <a:gd name="T24" fmla="*/ 0 w 12"/>
                <a:gd name="T25" fmla="*/ 2887 h 11"/>
                <a:gd name="T26" fmla="*/ 794 w 12"/>
                <a:gd name="T27" fmla="*/ 2165 h 11"/>
                <a:gd name="T28" fmla="*/ 2381 w 12"/>
                <a:gd name="T29" fmla="*/ 1443 h 11"/>
                <a:gd name="T30" fmla="*/ 4763 w 12"/>
                <a:gd name="T31" fmla="*/ 0 h 11"/>
                <a:gd name="T32" fmla="*/ 4763 w 12"/>
                <a:gd name="T33" fmla="*/ 0 h 11"/>
                <a:gd name="T34" fmla="*/ 6350 w 12"/>
                <a:gd name="T35" fmla="*/ 1443 h 11"/>
                <a:gd name="T36" fmla="*/ 7144 w 12"/>
                <a:gd name="T37" fmla="*/ 2165 h 11"/>
                <a:gd name="T38" fmla="*/ 8731 w 12"/>
                <a:gd name="T39" fmla="*/ 2887 h 11"/>
                <a:gd name="T40" fmla="*/ 9525 w 12"/>
                <a:gd name="T41" fmla="*/ 5051 h 11"/>
                <a:gd name="T42" fmla="*/ 9525 w 12"/>
                <a:gd name="T43" fmla="*/ 5051 h 1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
                <a:gd name="T67" fmla="*/ 0 h 11"/>
                <a:gd name="T68" fmla="*/ 12 w 12"/>
                <a:gd name="T69" fmla="*/ 11 h 1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 h="11">
                  <a:moveTo>
                    <a:pt x="12" y="7"/>
                  </a:moveTo>
                  <a:lnTo>
                    <a:pt x="12" y="7"/>
                  </a:lnTo>
                  <a:lnTo>
                    <a:pt x="11" y="9"/>
                  </a:lnTo>
                  <a:lnTo>
                    <a:pt x="9" y="10"/>
                  </a:lnTo>
                  <a:lnTo>
                    <a:pt x="8" y="11"/>
                  </a:lnTo>
                  <a:lnTo>
                    <a:pt x="6" y="11"/>
                  </a:lnTo>
                  <a:lnTo>
                    <a:pt x="3" y="11"/>
                  </a:lnTo>
                  <a:lnTo>
                    <a:pt x="1" y="10"/>
                  </a:lnTo>
                  <a:lnTo>
                    <a:pt x="0" y="9"/>
                  </a:lnTo>
                  <a:lnTo>
                    <a:pt x="0" y="7"/>
                  </a:lnTo>
                  <a:lnTo>
                    <a:pt x="0" y="4"/>
                  </a:lnTo>
                  <a:lnTo>
                    <a:pt x="1" y="3"/>
                  </a:lnTo>
                  <a:lnTo>
                    <a:pt x="3" y="2"/>
                  </a:lnTo>
                  <a:lnTo>
                    <a:pt x="6" y="0"/>
                  </a:lnTo>
                  <a:lnTo>
                    <a:pt x="8" y="2"/>
                  </a:lnTo>
                  <a:lnTo>
                    <a:pt x="9" y="3"/>
                  </a:lnTo>
                  <a:lnTo>
                    <a:pt x="11" y="4"/>
                  </a:lnTo>
                  <a:lnTo>
                    <a:pt x="12" y="7"/>
                  </a:lnTo>
                  <a:close/>
                </a:path>
              </a:pathLst>
            </a:custGeom>
            <a:noFill/>
            <a:ln w="19050">
              <a:solidFill>
                <a:schemeClr val="tx2"/>
              </a:solidFill>
              <a:prstDash val="solid"/>
              <a:round/>
              <a:headEnd/>
              <a:tailEnd/>
            </a:ln>
          </p:spPr>
          <p:txBody>
            <a:bodyPr/>
            <a:lstStyle/>
            <a:p>
              <a:endParaRPr lang="en-US">
                <a:solidFill>
                  <a:srgbClr val="000000"/>
                </a:solidFill>
                <a:latin typeface="+mj-lt"/>
              </a:endParaRPr>
            </a:p>
          </p:txBody>
        </p:sp>
        <p:sp>
          <p:nvSpPr>
            <p:cNvPr id="57" name="Freeform 1111">
              <a:extLst>
                <a:ext uri="{FF2B5EF4-FFF2-40B4-BE49-F238E27FC236}">
                  <a16:creationId xmlns:a16="http://schemas.microsoft.com/office/drawing/2014/main" id="{E08A21AC-85FF-4EE6-BCF0-58BAC7BF1C85}"/>
                </a:ext>
              </a:extLst>
            </p:cNvPr>
            <p:cNvSpPr>
              <a:spLocks/>
            </p:cNvSpPr>
            <p:nvPr/>
          </p:nvSpPr>
          <p:spPr bwMode="auto">
            <a:xfrm>
              <a:off x="3300868" y="1556746"/>
              <a:ext cx="24191" cy="72565"/>
            </a:xfrm>
            <a:custGeom>
              <a:avLst/>
              <a:gdLst>
                <a:gd name="T0" fmla="*/ 11113 w 14"/>
                <a:gd name="T1" fmla="*/ 0 h 42"/>
                <a:gd name="T2" fmla="*/ 11113 w 14"/>
                <a:gd name="T3" fmla="*/ 0 h 42"/>
                <a:gd name="T4" fmla="*/ 7938 w 14"/>
                <a:gd name="T5" fmla="*/ 794 h 42"/>
                <a:gd name="T6" fmla="*/ 4763 w 14"/>
                <a:gd name="T7" fmla="*/ 1588 h 42"/>
                <a:gd name="T8" fmla="*/ 1588 w 14"/>
                <a:gd name="T9" fmla="*/ 3969 h 42"/>
                <a:gd name="T10" fmla="*/ 794 w 14"/>
                <a:gd name="T11" fmla="*/ 5556 h 42"/>
                <a:gd name="T12" fmla="*/ 0 w 14"/>
                <a:gd name="T13" fmla="*/ 7144 h 42"/>
                <a:gd name="T14" fmla="*/ 0 w 14"/>
                <a:gd name="T15" fmla="*/ 10319 h 42"/>
                <a:gd name="T16" fmla="*/ 0 w 14"/>
                <a:gd name="T17" fmla="*/ 14288 h 42"/>
                <a:gd name="T18" fmla="*/ 794 w 14"/>
                <a:gd name="T19" fmla="*/ 18257 h 42"/>
                <a:gd name="T20" fmla="*/ 2381 w 14"/>
                <a:gd name="T21" fmla="*/ 22225 h 42"/>
                <a:gd name="T22" fmla="*/ 10319 w 14"/>
                <a:gd name="T23" fmla="*/ 33338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
                <a:gd name="T37" fmla="*/ 0 h 42"/>
                <a:gd name="T38" fmla="*/ 14 w 14"/>
                <a:gd name="T39" fmla="*/ 42 h 4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 h="42">
                  <a:moveTo>
                    <a:pt x="14" y="0"/>
                  </a:moveTo>
                  <a:lnTo>
                    <a:pt x="14" y="0"/>
                  </a:lnTo>
                  <a:lnTo>
                    <a:pt x="10" y="1"/>
                  </a:lnTo>
                  <a:lnTo>
                    <a:pt x="6" y="2"/>
                  </a:lnTo>
                  <a:lnTo>
                    <a:pt x="2" y="5"/>
                  </a:lnTo>
                  <a:lnTo>
                    <a:pt x="1" y="7"/>
                  </a:lnTo>
                  <a:lnTo>
                    <a:pt x="0" y="9"/>
                  </a:lnTo>
                  <a:lnTo>
                    <a:pt x="0" y="13"/>
                  </a:lnTo>
                  <a:lnTo>
                    <a:pt x="0" y="18"/>
                  </a:lnTo>
                  <a:lnTo>
                    <a:pt x="1" y="23"/>
                  </a:lnTo>
                  <a:lnTo>
                    <a:pt x="3" y="28"/>
                  </a:lnTo>
                  <a:lnTo>
                    <a:pt x="13" y="42"/>
                  </a:lnTo>
                </a:path>
              </a:pathLst>
            </a:custGeom>
            <a:noFill/>
            <a:ln w="19050">
              <a:solidFill>
                <a:schemeClr val="tx2"/>
              </a:solidFill>
              <a:prstDash val="solid"/>
              <a:round/>
              <a:headEnd/>
              <a:tailEnd/>
            </a:ln>
          </p:spPr>
          <p:txBody>
            <a:bodyPr/>
            <a:lstStyle/>
            <a:p>
              <a:endParaRPr lang="en-US">
                <a:solidFill>
                  <a:srgbClr val="000000"/>
                </a:solidFill>
                <a:latin typeface="+mj-lt"/>
              </a:endParaRPr>
            </a:p>
          </p:txBody>
        </p:sp>
        <p:sp>
          <p:nvSpPr>
            <p:cNvPr id="58" name="Freeform 1112">
              <a:extLst>
                <a:ext uri="{FF2B5EF4-FFF2-40B4-BE49-F238E27FC236}">
                  <a16:creationId xmlns:a16="http://schemas.microsoft.com/office/drawing/2014/main" id="{662989D4-6D29-45BE-BAE7-31FA9F798940}"/>
                </a:ext>
              </a:extLst>
            </p:cNvPr>
            <p:cNvSpPr>
              <a:spLocks/>
            </p:cNvSpPr>
            <p:nvPr/>
          </p:nvSpPr>
          <p:spPr bwMode="auto">
            <a:xfrm>
              <a:off x="3356159" y="1698419"/>
              <a:ext cx="38013" cy="17278"/>
            </a:xfrm>
            <a:custGeom>
              <a:avLst/>
              <a:gdLst>
                <a:gd name="T0" fmla="*/ 17463 w 22"/>
                <a:gd name="T1" fmla="*/ 7938 h 11"/>
                <a:gd name="T2" fmla="*/ 17463 w 22"/>
                <a:gd name="T3" fmla="*/ 7938 h 11"/>
                <a:gd name="T4" fmla="*/ 11113 w 22"/>
                <a:gd name="T5" fmla="*/ 7938 h 11"/>
                <a:gd name="T6" fmla="*/ 6350 w 22"/>
                <a:gd name="T7" fmla="*/ 6495 h 11"/>
                <a:gd name="T8" fmla="*/ 2381 w 22"/>
                <a:gd name="T9" fmla="*/ 3608 h 11"/>
                <a:gd name="T10" fmla="*/ 0 w 22"/>
                <a:gd name="T11" fmla="*/ 0 h 11"/>
                <a:gd name="T12" fmla="*/ 0 60000 65536"/>
                <a:gd name="T13" fmla="*/ 0 60000 65536"/>
                <a:gd name="T14" fmla="*/ 0 60000 65536"/>
                <a:gd name="T15" fmla="*/ 0 60000 65536"/>
                <a:gd name="T16" fmla="*/ 0 60000 65536"/>
                <a:gd name="T17" fmla="*/ 0 60000 65536"/>
                <a:gd name="T18" fmla="*/ 0 w 22"/>
                <a:gd name="T19" fmla="*/ 0 h 11"/>
                <a:gd name="T20" fmla="*/ 22 w 22"/>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22" h="11">
                  <a:moveTo>
                    <a:pt x="22" y="11"/>
                  </a:moveTo>
                  <a:lnTo>
                    <a:pt x="22" y="11"/>
                  </a:lnTo>
                  <a:lnTo>
                    <a:pt x="14" y="11"/>
                  </a:lnTo>
                  <a:lnTo>
                    <a:pt x="8" y="9"/>
                  </a:lnTo>
                  <a:lnTo>
                    <a:pt x="3" y="5"/>
                  </a:lnTo>
                  <a:lnTo>
                    <a:pt x="0" y="0"/>
                  </a:lnTo>
                </a:path>
              </a:pathLst>
            </a:custGeom>
            <a:noFill/>
            <a:ln w="19050">
              <a:solidFill>
                <a:schemeClr val="tx2"/>
              </a:solidFill>
              <a:prstDash val="solid"/>
              <a:round/>
              <a:headEnd/>
              <a:tailEnd/>
            </a:ln>
          </p:spPr>
          <p:txBody>
            <a:bodyPr/>
            <a:lstStyle/>
            <a:p>
              <a:endParaRPr lang="en-US">
                <a:solidFill>
                  <a:srgbClr val="000000"/>
                </a:solidFill>
                <a:latin typeface="+mj-lt"/>
              </a:endParaRPr>
            </a:p>
          </p:txBody>
        </p:sp>
      </p:grpSp>
      <p:cxnSp>
        <p:nvCxnSpPr>
          <p:cNvPr id="60" name="Straight Arrow Connector 59">
            <a:extLst>
              <a:ext uri="{FF2B5EF4-FFF2-40B4-BE49-F238E27FC236}">
                <a16:creationId xmlns:a16="http://schemas.microsoft.com/office/drawing/2014/main" id="{319D75EB-C6A5-4AF0-B3EB-9304AF5E1E39}"/>
              </a:ext>
            </a:extLst>
          </p:cNvPr>
          <p:cNvCxnSpPr/>
          <p:nvPr/>
        </p:nvCxnSpPr>
        <p:spPr bwMode="auto">
          <a:xfrm>
            <a:off x="10191631" y="4129195"/>
            <a:ext cx="537439" cy="0"/>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61" name="Picture 5" descr="http://cdn1.iconfinder.com/data/icons/IconsLandVistaPeopleIconsDemo/128/Customer_Female_Light.png">
            <a:extLst>
              <a:ext uri="{FF2B5EF4-FFF2-40B4-BE49-F238E27FC236}">
                <a16:creationId xmlns:a16="http://schemas.microsoft.com/office/drawing/2014/main" id="{7E26A588-C50A-426D-864E-053FA631AC82}"/>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0994073" y="3974516"/>
            <a:ext cx="374208" cy="217112"/>
          </a:xfrm>
          <a:prstGeom prst="rect">
            <a:avLst/>
          </a:prstGeom>
          <a:noFill/>
          <a:extLst>
            <a:ext uri="{909E8E84-426E-40DD-AFC4-6F175D3DCCD1}">
              <a14:hiddenFill xmlns:a14="http://schemas.microsoft.com/office/drawing/2010/main">
                <a:solidFill>
                  <a:srgbClr val="FFFFFF"/>
                </a:solidFill>
              </a14:hiddenFill>
            </a:ext>
          </a:extLst>
        </p:spPr>
      </p:pic>
      <p:grpSp>
        <p:nvGrpSpPr>
          <p:cNvPr id="62" name="Group 61">
            <a:extLst>
              <a:ext uri="{FF2B5EF4-FFF2-40B4-BE49-F238E27FC236}">
                <a16:creationId xmlns:a16="http://schemas.microsoft.com/office/drawing/2014/main" id="{AA94EF9E-7056-46FD-BBFA-CF670C88E3AA}"/>
              </a:ext>
            </a:extLst>
          </p:cNvPr>
          <p:cNvGrpSpPr/>
          <p:nvPr/>
        </p:nvGrpSpPr>
        <p:grpSpPr>
          <a:xfrm>
            <a:off x="1720597" y="2758250"/>
            <a:ext cx="434072" cy="219868"/>
            <a:chOff x="1066806" y="1826775"/>
            <a:chExt cx="715332" cy="468380"/>
          </a:xfrm>
        </p:grpSpPr>
        <p:sp>
          <p:nvSpPr>
            <p:cNvPr id="63" name="Freeform 407">
              <a:extLst>
                <a:ext uri="{FF2B5EF4-FFF2-40B4-BE49-F238E27FC236}">
                  <a16:creationId xmlns:a16="http://schemas.microsoft.com/office/drawing/2014/main" id="{486DAA92-8CC7-46B2-9BA3-9A807DA15D1D}"/>
                </a:ext>
              </a:extLst>
            </p:cNvPr>
            <p:cNvSpPr>
              <a:spLocks/>
            </p:cNvSpPr>
            <p:nvPr/>
          </p:nvSpPr>
          <p:spPr bwMode="auto">
            <a:xfrm>
              <a:off x="1066806" y="1847852"/>
              <a:ext cx="715332" cy="439903"/>
            </a:xfrm>
            <a:custGeom>
              <a:avLst/>
              <a:gdLst/>
              <a:ahLst/>
              <a:cxnLst>
                <a:cxn ang="0">
                  <a:pos x="242" y="136"/>
                </a:cxn>
                <a:cxn ang="0">
                  <a:pos x="242" y="136"/>
                </a:cxn>
                <a:cxn ang="0">
                  <a:pos x="240" y="142"/>
                </a:cxn>
                <a:cxn ang="0">
                  <a:pos x="238" y="147"/>
                </a:cxn>
                <a:cxn ang="0">
                  <a:pos x="231" y="151"/>
                </a:cxn>
                <a:cxn ang="0">
                  <a:pos x="225" y="152"/>
                </a:cxn>
                <a:cxn ang="0">
                  <a:pos x="16" y="152"/>
                </a:cxn>
                <a:cxn ang="0">
                  <a:pos x="16" y="152"/>
                </a:cxn>
                <a:cxn ang="0">
                  <a:pos x="10" y="151"/>
                </a:cxn>
                <a:cxn ang="0">
                  <a:pos x="5" y="147"/>
                </a:cxn>
                <a:cxn ang="0">
                  <a:pos x="1" y="142"/>
                </a:cxn>
                <a:cxn ang="0">
                  <a:pos x="0" y="136"/>
                </a:cxn>
                <a:cxn ang="0">
                  <a:pos x="220" y="136"/>
                </a:cxn>
                <a:cxn ang="0">
                  <a:pos x="220" y="0"/>
                </a:cxn>
                <a:cxn ang="0">
                  <a:pos x="21" y="0"/>
                </a:cxn>
                <a:cxn ang="0">
                  <a:pos x="21" y="117"/>
                </a:cxn>
              </a:cxnLst>
              <a:rect l="0" t="0" r="r" b="b"/>
              <a:pathLst>
                <a:path w="242" h="152">
                  <a:moveTo>
                    <a:pt x="242" y="136"/>
                  </a:moveTo>
                  <a:lnTo>
                    <a:pt x="242" y="136"/>
                  </a:lnTo>
                  <a:lnTo>
                    <a:pt x="240" y="142"/>
                  </a:lnTo>
                  <a:lnTo>
                    <a:pt x="238" y="147"/>
                  </a:lnTo>
                  <a:lnTo>
                    <a:pt x="231" y="151"/>
                  </a:lnTo>
                  <a:lnTo>
                    <a:pt x="225" y="152"/>
                  </a:lnTo>
                  <a:lnTo>
                    <a:pt x="16" y="152"/>
                  </a:lnTo>
                  <a:lnTo>
                    <a:pt x="16" y="152"/>
                  </a:lnTo>
                  <a:lnTo>
                    <a:pt x="10" y="151"/>
                  </a:lnTo>
                  <a:lnTo>
                    <a:pt x="5" y="147"/>
                  </a:lnTo>
                  <a:lnTo>
                    <a:pt x="1" y="142"/>
                  </a:lnTo>
                  <a:lnTo>
                    <a:pt x="0" y="136"/>
                  </a:lnTo>
                  <a:lnTo>
                    <a:pt x="220" y="136"/>
                  </a:lnTo>
                  <a:lnTo>
                    <a:pt x="220" y="0"/>
                  </a:lnTo>
                  <a:lnTo>
                    <a:pt x="21" y="0"/>
                  </a:lnTo>
                  <a:lnTo>
                    <a:pt x="21" y="117"/>
                  </a:lnTo>
                </a:path>
              </a:pathLst>
            </a:custGeom>
            <a:noFill/>
            <a:ln w="19050">
              <a:solidFill>
                <a:schemeClr val="tx2"/>
              </a:solidFill>
              <a:prstDash val="solid"/>
              <a:round/>
              <a:headEnd/>
              <a:tailEnd/>
            </a:ln>
          </p:spPr>
          <p:txBody>
            <a:bodyPr vert="horz" wrap="square" lIns="62977" tIns="31489" rIns="62977" bIns="31489" numCol="1" anchor="t" anchorCtr="0" compatLnSpc="1">
              <a:prstTxWarp prst="textNoShape">
                <a:avLst/>
              </a:prstTxWarp>
            </a:bodyPr>
            <a:lstStyle/>
            <a:p>
              <a:endParaRPr lang="en-US">
                <a:solidFill>
                  <a:srgbClr val="000000"/>
                </a:solidFill>
                <a:latin typeface="+mj-lt"/>
              </a:endParaRPr>
            </a:p>
          </p:txBody>
        </p:sp>
        <p:grpSp>
          <p:nvGrpSpPr>
            <p:cNvPr id="64" name="Groupe 657">
              <a:extLst>
                <a:ext uri="{FF2B5EF4-FFF2-40B4-BE49-F238E27FC236}">
                  <a16:creationId xmlns:a16="http://schemas.microsoft.com/office/drawing/2014/main" id="{FE9AECAC-7810-4758-9B32-A6199A8EE75A}"/>
                </a:ext>
              </a:extLst>
            </p:cNvPr>
            <p:cNvGrpSpPr/>
            <p:nvPr/>
          </p:nvGrpSpPr>
          <p:grpSpPr>
            <a:xfrm>
              <a:off x="1075035" y="1826775"/>
              <a:ext cx="453727" cy="468380"/>
              <a:chOff x="1222351" y="7762676"/>
              <a:chExt cx="292100" cy="307975"/>
            </a:xfrm>
            <a:solidFill>
              <a:schemeClr val="bg1">
                <a:lumMod val="95000"/>
              </a:schemeClr>
            </a:solidFill>
          </p:grpSpPr>
          <p:sp>
            <p:nvSpPr>
              <p:cNvPr id="65" name="Freeform 487">
                <a:extLst>
                  <a:ext uri="{FF2B5EF4-FFF2-40B4-BE49-F238E27FC236}">
                    <a16:creationId xmlns:a16="http://schemas.microsoft.com/office/drawing/2014/main" id="{96BD61FD-50E3-4277-B919-49F5B7774760}"/>
                  </a:ext>
                </a:extLst>
              </p:cNvPr>
              <p:cNvSpPr>
                <a:spLocks/>
              </p:cNvSpPr>
              <p:nvPr/>
            </p:nvSpPr>
            <p:spPr bwMode="auto">
              <a:xfrm>
                <a:off x="1381101" y="7762676"/>
                <a:ext cx="133350" cy="157162"/>
              </a:xfrm>
              <a:custGeom>
                <a:avLst/>
                <a:gdLst/>
                <a:ahLst/>
                <a:cxnLst>
                  <a:cxn ang="0">
                    <a:pos x="20" y="77"/>
                  </a:cxn>
                  <a:cxn ang="0">
                    <a:pos x="6" y="99"/>
                  </a:cxn>
                  <a:cxn ang="0">
                    <a:pos x="6" y="99"/>
                  </a:cxn>
                  <a:cxn ang="0">
                    <a:pos x="27" y="94"/>
                  </a:cxn>
                  <a:cxn ang="0">
                    <a:pos x="43" y="89"/>
                  </a:cxn>
                  <a:cxn ang="0">
                    <a:pos x="56" y="84"/>
                  </a:cxn>
                  <a:cxn ang="0">
                    <a:pos x="56" y="84"/>
                  </a:cxn>
                  <a:cxn ang="0">
                    <a:pos x="63" y="80"/>
                  </a:cxn>
                  <a:cxn ang="0">
                    <a:pos x="70" y="75"/>
                  </a:cxn>
                  <a:cxn ang="0">
                    <a:pos x="76" y="67"/>
                  </a:cxn>
                  <a:cxn ang="0">
                    <a:pos x="78" y="62"/>
                  </a:cxn>
                  <a:cxn ang="0">
                    <a:pos x="81" y="56"/>
                  </a:cxn>
                  <a:cxn ang="0">
                    <a:pos x="81" y="56"/>
                  </a:cxn>
                  <a:cxn ang="0">
                    <a:pos x="84" y="48"/>
                  </a:cxn>
                  <a:cxn ang="0">
                    <a:pos x="84" y="39"/>
                  </a:cxn>
                  <a:cxn ang="0">
                    <a:pos x="82" y="32"/>
                  </a:cxn>
                  <a:cxn ang="0">
                    <a:pos x="80" y="24"/>
                  </a:cxn>
                  <a:cxn ang="0">
                    <a:pos x="76" y="18"/>
                  </a:cxn>
                  <a:cxn ang="0">
                    <a:pos x="71" y="12"/>
                  </a:cxn>
                  <a:cxn ang="0">
                    <a:pos x="63" y="6"/>
                  </a:cxn>
                  <a:cxn ang="0">
                    <a:pos x="56" y="3"/>
                  </a:cxn>
                  <a:cxn ang="0">
                    <a:pos x="56" y="3"/>
                  </a:cxn>
                  <a:cxn ang="0">
                    <a:pos x="48" y="1"/>
                  </a:cxn>
                  <a:cxn ang="0">
                    <a:pos x="39" y="0"/>
                  </a:cxn>
                  <a:cxn ang="0">
                    <a:pos x="32" y="1"/>
                  </a:cxn>
                  <a:cxn ang="0">
                    <a:pos x="24" y="5"/>
                  </a:cxn>
                  <a:cxn ang="0">
                    <a:pos x="18" y="9"/>
                  </a:cxn>
                  <a:cxn ang="0">
                    <a:pos x="11" y="14"/>
                  </a:cxn>
                  <a:cxn ang="0">
                    <a:pos x="6" y="20"/>
                  </a:cxn>
                  <a:cxn ang="0">
                    <a:pos x="2" y="28"/>
                  </a:cxn>
                  <a:cxn ang="0">
                    <a:pos x="2" y="28"/>
                  </a:cxn>
                  <a:cxn ang="0">
                    <a:pos x="0" y="39"/>
                  </a:cxn>
                  <a:cxn ang="0">
                    <a:pos x="1" y="50"/>
                  </a:cxn>
                  <a:cxn ang="0">
                    <a:pos x="4" y="60"/>
                  </a:cxn>
                  <a:cxn ang="0">
                    <a:pos x="9" y="69"/>
                  </a:cxn>
                </a:cxnLst>
                <a:rect l="0" t="0" r="r" b="b"/>
                <a:pathLst>
                  <a:path w="84" h="99">
                    <a:moveTo>
                      <a:pt x="20" y="77"/>
                    </a:moveTo>
                    <a:lnTo>
                      <a:pt x="6" y="99"/>
                    </a:lnTo>
                    <a:lnTo>
                      <a:pt x="6" y="99"/>
                    </a:lnTo>
                    <a:lnTo>
                      <a:pt x="27" y="94"/>
                    </a:lnTo>
                    <a:lnTo>
                      <a:pt x="43" y="89"/>
                    </a:lnTo>
                    <a:lnTo>
                      <a:pt x="56" y="84"/>
                    </a:lnTo>
                    <a:lnTo>
                      <a:pt x="56" y="84"/>
                    </a:lnTo>
                    <a:lnTo>
                      <a:pt x="63" y="80"/>
                    </a:lnTo>
                    <a:lnTo>
                      <a:pt x="70" y="75"/>
                    </a:lnTo>
                    <a:lnTo>
                      <a:pt x="76" y="67"/>
                    </a:lnTo>
                    <a:lnTo>
                      <a:pt x="78" y="62"/>
                    </a:lnTo>
                    <a:lnTo>
                      <a:pt x="81" y="56"/>
                    </a:lnTo>
                    <a:lnTo>
                      <a:pt x="81" y="56"/>
                    </a:lnTo>
                    <a:lnTo>
                      <a:pt x="84" y="48"/>
                    </a:lnTo>
                    <a:lnTo>
                      <a:pt x="84" y="39"/>
                    </a:lnTo>
                    <a:lnTo>
                      <a:pt x="82" y="32"/>
                    </a:lnTo>
                    <a:lnTo>
                      <a:pt x="80" y="24"/>
                    </a:lnTo>
                    <a:lnTo>
                      <a:pt x="76" y="18"/>
                    </a:lnTo>
                    <a:lnTo>
                      <a:pt x="71" y="12"/>
                    </a:lnTo>
                    <a:lnTo>
                      <a:pt x="63" y="6"/>
                    </a:lnTo>
                    <a:lnTo>
                      <a:pt x="56" y="3"/>
                    </a:lnTo>
                    <a:lnTo>
                      <a:pt x="56" y="3"/>
                    </a:lnTo>
                    <a:lnTo>
                      <a:pt x="48" y="1"/>
                    </a:lnTo>
                    <a:lnTo>
                      <a:pt x="39" y="0"/>
                    </a:lnTo>
                    <a:lnTo>
                      <a:pt x="32" y="1"/>
                    </a:lnTo>
                    <a:lnTo>
                      <a:pt x="24" y="5"/>
                    </a:lnTo>
                    <a:lnTo>
                      <a:pt x="18" y="9"/>
                    </a:lnTo>
                    <a:lnTo>
                      <a:pt x="11" y="14"/>
                    </a:lnTo>
                    <a:lnTo>
                      <a:pt x="6" y="20"/>
                    </a:lnTo>
                    <a:lnTo>
                      <a:pt x="2" y="28"/>
                    </a:lnTo>
                    <a:lnTo>
                      <a:pt x="2" y="28"/>
                    </a:lnTo>
                    <a:lnTo>
                      <a:pt x="0" y="39"/>
                    </a:lnTo>
                    <a:lnTo>
                      <a:pt x="1" y="50"/>
                    </a:lnTo>
                    <a:lnTo>
                      <a:pt x="4" y="60"/>
                    </a:lnTo>
                    <a:lnTo>
                      <a:pt x="9" y="69"/>
                    </a:lnTo>
                  </a:path>
                </a:pathLst>
              </a:custGeom>
              <a:grpFill/>
              <a:ln w="19050">
                <a:solidFill>
                  <a:schemeClr val="tx2"/>
                </a:solidFill>
                <a:prstDash val="solid"/>
                <a:round/>
                <a:headEnd/>
                <a:tailEnd/>
              </a:ln>
            </p:spPr>
            <p:txBody>
              <a:bodyPr vert="horz" wrap="square" lIns="68580" tIns="34291" rIns="68580" bIns="34291" numCol="1" anchor="t" anchorCtr="0" compatLnSpc="1">
                <a:prstTxWarp prst="textNoShape">
                  <a:avLst/>
                </a:prstTxWarp>
              </a:bodyPr>
              <a:lstStyle/>
              <a:p>
                <a:endParaRPr lang="en-US">
                  <a:solidFill>
                    <a:srgbClr val="000000"/>
                  </a:solidFill>
                  <a:latin typeface="+mj-lt"/>
                </a:endParaRPr>
              </a:p>
            </p:txBody>
          </p:sp>
          <p:sp>
            <p:nvSpPr>
              <p:cNvPr id="66" name="Freeform 488">
                <a:extLst>
                  <a:ext uri="{FF2B5EF4-FFF2-40B4-BE49-F238E27FC236}">
                    <a16:creationId xmlns:a16="http://schemas.microsoft.com/office/drawing/2014/main" id="{0D77484D-B729-4A74-B530-048B42ABA3CA}"/>
                  </a:ext>
                </a:extLst>
              </p:cNvPr>
              <p:cNvSpPr>
                <a:spLocks/>
              </p:cNvSpPr>
              <p:nvPr/>
            </p:nvSpPr>
            <p:spPr bwMode="auto">
              <a:xfrm>
                <a:off x="1276326" y="7851576"/>
                <a:ext cx="76200" cy="88900"/>
              </a:xfrm>
              <a:custGeom>
                <a:avLst/>
                <a:gdLst/>
                <a:ahLst/>
                <a:cxnLst>
                  <a:cxn ang="0">
                    <a:pos x="48" y="28"/>
                  </a:cxn>
                  <a:cxn ang="0">
                    <a:pos x="48" y="28"/>
                  </a:cxn>
                  <a:cxn ang="0">
                    <a:pos x="48" y="34"/>
                  </a:cxn>
                  <a:cxn ang="0">
                    <a:pos x="47" y="39"/>
                  </a:cxn>
                  <a:cxn ang="0">
                    <a:pos x="44" y="44"/>
                  </a:cxn>
                  <a:cxn ang="0">
                    <a:pos x="42" y="48"/>
                  </a:cxn>
                  <a:cxn ang="0">
                    <a:pos x="38" y="52"/>
                  </a:cxn>
                  <a:cxn ang="0">
                    <a:pos x="33" y="54"/>
                  </a:cxn>
                  <a:cxn ang="0">
                    <a:pos x="29" y="56"/>
                  </a:cxn>
                  <a:cxn ang="0">
                    <a:pos x="24" y="56"/>
                  </a:cxn>
                  <a:cxn ang="0">
                    <a:pos x="24" y="56"/>
                  </a:cxn>
                  <a:cxn ang="0">
                    <a:pos x="19" y="56"/>
                  </a:cxn>
                  <a:cxn ang="0">
                    <a:pos x="15" y="54"/>
                  </a:cxn>
                  <a:cxn ang="0">
                    <a:pos x="10" y="52"/>
                  </a:cxn>
                  <a:cxn ang="0">
                    <a:pos x="6" y="48"/>
                  </a:cxn>
                  <a:cxn ang="0">
                    <a:pos x="4" y="44"/>
                  </a:cxn>
                  <a:cxn ang="0">
                    <a:pos x="1" y="39"/>
                  </a:cxn>
                  <a:cxn ang="0">
                    <a:pos x="0" y="34"/>
                  </a:cxn>
                  <a:cxn ang="0">
                    <a:pos x="0" y="28"/>
                  </a:cxn>
                  <a:cxn ang="0">
                    <a:pos x="0" y="28"/>
                  </a:cxn>
                  <a:cxn ang="0">
                    <a:pos x="0" y="23"/>
                  </a:cxn>
                  <a:cxn ang="0">
                    <a:pos x="1" y="18"/>
                  </a:cxn>
                  <a:cxn ang="0">
                    <a:pos x="4" y="13"/>
                  </a:cxn>
                  <a:cxn ang="0">
                    <a:pos x="6" y="9"/>
                  </a:cxn>
                  <a:cxn ang="0">
                    <a:pos x="10" y="5"/>
                  </a:cxn>
                  <a:cxn ang="0">
                    <a:pos x="15" y="2"/>
                  </a:cxn>
                  <a:cxn ang="0">
                    <a:pos x="19" y="1"/>
                  </a:cxn>
                  <a:cxn ang="0">
                    <a:pos x="24" y="0"/>
                  </a:cxn>
                  <a:cxn ang="0">
                    <a:pos x="24" y="0"/>
                  </a:cxn>
                  <a:cxn ang="0">
                    <a:pos x="29" y="1"/>
                  </a:cxn>
                  <a:cxn ang="0">
                    <a:pos x="33" y="2"/>
                  </a:cxn>
                  <a:cxn ang="0">
                    <a:pos x="38" y="5"/>
                  </a:cxn>
                  <a:cxn ang="0">
                    <a:pos x="42" y="9"/>
                  </a:cxn>
                  <a:cxn ang="0">
                    <a:pos x="44" y="13"/>
                  </a:cxn>
                  <a:cxn ang="0">
                    <a:pos x="47" y="18"/>
                  </a:cxn>
                  <a:cxn ang="0">
                    <a:pos x="48" y="23"/>
                  </a:cxn>
                  <a:cxn ang="0">
                    <a:pos x="48" y="28"/>
                  </a:cxn>
                  <a:cxn ang="0">
                    <a:pos x="48" y="28"/>
                  </a:cxn>
                </a:cxnLst>
                <a:rect l="0" t="0" r="r" b="b"/>
                <a:pathLst>
                  <a:path w="48" h="56">
                    <a:moveTo>
                      <a:pt x="48" y="28"/>
                    </a:moveTo>
                    <a:lnTo>
                      <a:pt x="48" y="28"/>
                    </a:lnTo>
                    <a:lnTo>
                      <a:pt x="48" y="34"/>
                    </a:lnTo>
                    <a:lnTo>
                      <a:pt x="47" y="39"/>
                    </a:lnTo>
                    <a:lnTo>
                      <a:pt x="44" y="44"/>
                    </a:lnTo>
                    <a:lnTo>
                      <a:pt x="42" y="48"/>
                    </a:lnTo>
                    <a:lnTo>
                      <a:pt x="38" y="52"/>
                    </a:lnTo>
                    <a:lnTo>
                      <a:pt x="33" y="54"/>
                    </a:lnTo>
                    <a:lnTo>
                      <a:pt x="29" y="56"/>
                    </a:lnTo>
                    <a:lnTo>
                      <a:pt x="24" y="56"/>
                    </a:lnTo>
                    <a:lnTo>
                      <a:pt x="24" y="56"/>
                    </a:lnTo>
                    <a:lnTo>
                      <a:pt x="19" y="56"/>
                    </a:lnTo>
                    <a:lnTo>
                      <a:pt x="15" y="54"/>
                    </a:lnTo>
                    <a:lnTo>
                      <a:pt x="10" y="52"/>
                    </a:lnTo>
                    <a:lnTo>
                      <a:pt x="6" y="48"/>
                    </a:lnTo>
                    <a:lnTo>
                      <a:pt x="4" y="44"/>
                    </a:lnTo>
                    <a:lnTo>
                      <a:pt x="1" y="39"/>
                    </a:lnTo>
                    <a:lnTo>
                      <a:pt x="0" y="34"/>
                    </a:lnTo>
                    <a:lnTo>
                      <a:pt x="0" y="28"/>
                    </a:lnTo>
                    <a:lnTo>
                      <a:pt x="0" y="28"/>
                    </a:lnTo>
                    <a:lnTo>
                      <a:pt x="0" y="23"/>
                    </a:lnTo>
                    <a:lnTo>
                      <a:pt x="1" y="18"/>
                    </a:lnTo>
                    <a:lnTo>
                      <a:pt x="4" y="13"/>
                    </a:lnTo>
                    <a:lnTo>
                      <a:pt x="6" y="9"/>
                    </a:lnTo>
                    <a:lnTo>
                      <a:pt x="10" y="5"/>
                    </a:lnTo>
                    <a:lnTo>
                      <a:pt x="15" y="2"/>
                    </a:lnTo>
                    <a:lnTo>
                      <a:pt x="19" y="1"/>
                    </a:lnTo>
                    <a:lnTo>
                      <a:pt x="24" y="0"/>
                    </a:lnTo>
                    <a:lnTo>
                      <a:pt x="24" y="0"/>
                    </a:lnTo>
                    <a:lnTo>
                      <a:pt x="29" y="1"/>
                    </a:lnTo>
                    <a:lnTo>
                      <a:pt x="33" y="2"/>
                    </a:lnTo>
                    <a:lnTo>
                      <a:pt x="38" y="5"/>
                    </a:lnTo>
                    <a:lnTo>
                      <a:pt x="42" y="9"/>
                    </a:lnTo>
                    <a:lnTo>
                      <a:pt x="44" y="13"/>
                    </a:lnTo>
                    <a:lnTo>
                      <a:pt x="47" y="18"/>
                    </a:lnTo>
                    <a:lnTo>
                      <a:pt x="48" y="23"/>
                    </a:lnTo>
                    <a:lnTo>
                      <a:pt x="48" y="28"/>
                    </a:lnTo>
                    <a:lnTo>
                      <a:pt x="48" y="28"/>
                    </a:lnTo>
                    <a:close/>
                  </a:path>
                </a:pathLst>
              </a:custGeom>
              <a:grpFill/>
              <a:ln w="19050">
                <a:solidFill>
                  <a:schemeClr val="tx2"/>
                </a:solidFill>
                <a:prstDash val="solid"/>
                <a:round/>
                <a:headEnd/>
                <a:tailEnd/>
              </a:ln>
            </p:spPr>
            <p:txBody>
              <a:bodyPr vert="horz" wrap="square" lIns="68580" tIns="34291" rIns="68580" bIns="34291" numCol="1" anchor="t" anchorCtr="0" compatLnSpc="1">
                <a:prstTxWarp prst="textNoShape">
                  <a:avLst/>
                </a:prstTxWarp>
              </a:bodyPr>
              <a:lstStyle/>
              <a:p>
                <a:endParaRPr lang="en-US">
                  <a:solidFill>
                    <a:srgbClr val="000000"/>
                  </a:solidFill>
                  <a:latin typeface="+mj-lt"/>
                </a:endParaRPr>
              </a:p>
            </p:txBody>
          </p:sp>
          <p:sp>
            <p:nvSpPr>
              <p:cNvPr id="67" name="Freeform 489">
                <a:extLst>
                  <a:ext uri="{FF2B5EF4-FFF2-40B4-BE49-F238E27FC236}">
                    <a16:creationId xmlns:a16="http://schemas.microsoft.com/office/drawing/2014/main" id="{30CB5516-13CF-49C5-B3E8-A8C0E12F8D47}"/>
                  </a:ext>
                </a:extLst>
              </p:cNvPr>
              <p:cNvSpPr>
                <a:spLocks/>
              </p:cNvSpPr>
              <p:nvPr/>
            </p:nvSpPr>
            <p:spPr bwMode="auto">
              <a:xfrm>
                <a:off x="1222351" y="7940476"/>
                <a:ext cx="184150" cy="130175"/>
              </a:xfrm>
              <a:custGeom>
                <a:avLst/>
                <a:gdLst/>
                <a:ahLst/>
                <a:cxnLst>
                  <a:cxn ang="0">
                    <a:pos x="0" y="82"/>
                  </a:cxn>
                  <a:cxn ang="0">
                    <a:pos x="0" y="82"/>
                  </a:cxn>
                  <a:cxn ang="0">
                    <a:pos x="0" y="67"/>
                  </a:cxn>
                  <a:cxn ang="0">
                    <a:pos x="2" y="53"/>
                  </a:cxn>
                  <a:cxn ang="0">
                    <a:pos x="5" y="39"/>
                  </a:cxn>
                  <a:cxn ang="0">
                    <a:pos x="11" y="26"/>
                  </a:cxn>
                  <a:cxn ang="0">
                    <a:pos x="15" y="21"/>
                  </a:cxn>
                  <a:cxn ang="0">
                    <a:pos x="19" y="16"/>
                  </a:cxn>
                  <a:cxn ang="0">
                    <a:pos x="24" y="11"/>
                  </a:cxn>
                  <a:cxn ang="0">
                    <a:pos x="29" y="7"/>
                  </a:cxn>
                  <a:cxn ang="0">
                    <a:pos x="35" y="5"/>
                  </a:cxn>
                  <a:cxn ang="0">
                    <a:pos x="42" y="2"/>
                  </a:cxn>
                  <a:cxn ang="0">
                    <a:pos x="49" y="1"/>
                  </a:cxn>
                  <a:cxn ang="0">
                    <a:pos x="58" y="0"/>
                  </a:cxn>
                  <a:cxn ang="0">
                    <a:pos x="58" y="0"/>
                  </a:cxn>
                  <a:cxn ang="0">
                    <a:pos x="67" y="1"/>
                  </a:cxn>
                  <a:cxn ang="0">
                    <a:pos x="75" y="2"/>
                  </a:cxn>
                  <a:cxn ang="0">
                    <a:pos x="81" y="5"/>
                  </a:cxn>
                  <a:cxn ang="0">
                    <a:pos x="87" y="7"/>
                  </a:cxn>
                  <a:cxn ang="0">
                    <a:pos x="92" y="11"/>
                  </a:cxn>
                  <a:cxn ang="0">
                    <a:pos x="97" y="16"/>
                  </a:cxn>
                  <a:cxn ang="0">
                    <a:pos x="101" y="21"/>
                  </a:cxn>
                  <a:cxn ang="0">
                    <a:pos x="105" y="26"/>
                  </a:cxn>
                  <a:cxn ang="0">
                    <a:pos x="111" y="39"/>
                  </a:cxn>
                  <a:cxn ang="0">
                    <a:pos x="114" y="53"/>
                  </a:cxn>
                  <a:cxn ang="0">
                    <a:pos x="116" y="67"/>
                  </a:cxn>
                  <a:cxn ang="0">
                    <a:pos x="116" y="82"/>
                  </a:cxn>
                </a:cxnLst>
                <a:rect l="0" t="0" r="r" b="b"/>
                <a:pathLst>
                  <a:path w="116" h="82">
                    <a:moveTo>
                      <a:pt x="0" y="82"/>
                    </a:moveTo>
                    <a:lnTo>
                      <a:pt x="0" y="82"/>
                    </a:lnTo>
                    <a:lnTo>
                      <a:pt x="0" y="67"/>
                    </a:lnTo>
                    <a:lnTo>
                      <a:pt x="2" y="53"/>
                    </a:lnTo>
                    <a:lnTo>
                      <a:pt x="5" y="39"/>
                    </a:lnTo>
                    <a:lnTo>
                      <a:pt x="11" y="26"/>
                    </a:lnTo>
                    <a:lnTo>
                      <a:pt x="15" y="21"/>
                    </a:lnTo>
                    <a:lnTo>
                      <a:pt x="19" y="16"/>
                    </a:lnTo>
                    <a:lnTo>
                      <a:pt x="24" y="11"/>
                    </a:lnTo>
                    <a:lnTo>
                      <a:pt x="29" y="7"/>
                    </a:lnTo>
                    <a:lnTo>
                      <a:pt x="35" y="5"/>
                    </a:lnTo>
                    <a:lnTo>
                      <a:pt x="42" y="2"/>
                    </a:lnTo>
                    <a:lnTo>
                      <a:pt x="49" y="1"/>
                    </a:lnTo>
                    <a:lnTo>
                      <a:pt x="58" y="0"/>
                    </a:lnTo>
                    <a:lnTo>
                      <a:pt x="58" y="0"/>
                    </a:lnTo>
                    <a:lnTo>
                      <a:pt x="67" y="1"/>
                    </a:lnTo>
                    <a:lnTo>
                      <a:pt x="75" y="2"/>
                    </a:lnTo>
                    <a:lnTo>
                      <a:pt x="81" y="5"/>
                    </a:lnTo>
                    <a:lnTo>
                      <a:pt x="87" y="7"/>
                    </a:lnTo>
                    <a:lnTo>
                      <a:pt x="92" y="11"/>
                    </a:lnTo>
                    <a:lnTo>
                      <a:pt x="97" y="16"/>
                    </a:lnTo>
                    <a:lnTo>
                      <a:pt x="101" y="21"/>
                    </a:lnTo>
                    <a:lnTo>
                      <a:pt x="105" y="26"/>
                    </a:lnTo>
                    <a:lnTo>
                      <a:pt x="111" y="39"/>
                    </a:lnTo>
                    <a:lnTo>
                      <a:pt x="114" y="53"/>
                    </a:lnTo>
                    <a:lnTo>
                      <a:pt x="116" y="67"/>
                    </a:lnTo>
                    <a:lnTo>
                      <a:pt x="116" y="82"/>
                    </a:lnTo>
                  </a:path>
                </a:pathLst>
              </a:custGeom>
              <a:grpFill/>
              <a:ln w="19050">
                <a:solidFill>
                  <a:schemeClr val="tx2"/>
                </a:solidFill>
                <a:prstDash val="solid"/>
                <a:round/>
                <a:headEnd/>
                <a:tailEnd/>
              </a:ln>
            </p:spPr>
            <p:txBody>
              <a:bodyPr vert="horz" wrap="square" lIns="68580" tIns="34291" rIns="68580" bIns="34291" numCol="1" anchor="t" anchorCtr="0" compatLnSpc="1">
                <a:prstTxWarp prst="textNoShape">
                  <a:avLst/>
                </a:prstTxWarp>
              </a:bodyPr>
              <a:lstStyle/>
              <a:p>
                <a:endParaRPr lang="en-US">
                  <a:solidFill>
                    <a:srgbClr val="000000"/>
                  </a:solidFill>
                  <a:latin typeface="+mj-lt"/>
                </a:endParaRPr>
              </a:p>
            </p:txBody>
          </p:sp>
          <p:sp>
            <p:nvSpPr>
              <p:cNvPr id="68" name="Freeform 490">
                <a:extLst>
                  <a:ext uri="{FF2B5EF4-FFF2-40B4-BE49-F238E27FC236}">
                    <a16:creationId xmlns:a16="http://schemas.microsoft.com/office/drawing/2014/main" id="{6226D6C4-A8BC-48CF-9BA2-CEA5DCC1CA7A}"/>
                  </a:ext>
                </a:extLst>
              </p:cNvPr>
              <p:cNvSpPr>
                <a:spLocks/>
              </p:cNvSpPr>
              <p:nvPr/>
            </p:nvSpPr>
            <p:spPr bwMode="auto">
              <a:xfrm>
                <a:off x="1352526" y="8000801"/>
                <a:ext cx="12700" cy="69850"/>
              </a:xfrm>
              <a:custGeom>
                <a:avLst/>
                <a:gdLst/>
                <a:ahLst/>
                <a:cxnLst>
                  <a:cxn ang="0">
                    <a:pos x="8" y="44"/>
                  </a:cxn>
                  <a:cxn ang="0">
                    <a:pos x="8" y="44"/>
                  </a:cxn>
                  <a:cxn ang="0">
                    <a:pos x="8" y="29"/>
                  </a:cxn>
                  <a:cxn ang="0">
                    <a:pos x="8" y="17"/>
                  </a:cxn>
                  <a:cxn ang="0">
                    <a:pos x="5" y="9"/>
                  </a:cxn>
                  <a:cxn ang="0">
                    <a:pos x="0" y="0"/>
                  </a:cxn>
                </a:cxnLst>
                <a:rect l="0" t="0" r="r" b="b"/>
                <a:pathLst>
                  <a:path w="8" h="44">
                    <a:moveTo>
                      <a:pt x="8" y="44"/>
                    </a:moveTo>
                    <a:lnTo>
                      <a:pt x="8" y="44"/>
                    </a:lnTo>
                    <a:lnTo>
                      <a:pt x="8" y="29"/>
                    </a:lnTo>
                    <a:lnTo>
                      <a:pt x="8" y="17"/>
                    </a:lnTo>
                    <a:lnTo>
                      <a:pt x="5" y="9"/>
                    </a:lnTo>
                    <a:lnTo>
                      <a:pt x="0" y="0"/>
                    </a:lnTo>
                  </a:path>
                </a:pathLst>
              </a:custGeom>
              <a:grpFill/>
              <a:ln w="19050">
                <a:solidFill>
                  <a:schemeClr val="tx2"/>
                </a:solidFill>
                <a:prstDash val="solid"/>
                <a:round/>
                <a:headEnd/>
                <a:tailEnd/>
              </a:ln>
            </p:spPr>
            <p:txBody>
              <a:bodyPr vert="horz" wrap="square" lIns="68580" tIns="34291" rIns="68580" bIns="34291" numCol="1" anchor="t" anchorCtr="0" compatLnSpc="1">
                <a:prstTxWarp prst="textNoShape">
                  <a:avLst/>
                </a:prstTxWarp>
              </a:bodyPr>
              <a:lstStyle/>
              <a:p>
                <a:endParaRPr lang="en-US">
                  <a:solidFill>
                    <a:srgbClr val="000000"/>
                  </a:solidFill>
                  <a:latin typeface="+mj-lt"/>
                </a:endParaRPr>
              </a:p>
            </p:txBody>
          </p:sp>
          <p:sp>
            <p:nvSpPr>
              <p:cNvPr id="69" name="Freeform 491">
                <a:extLst>
                  <a:ext uri="{FF2B5EF4-FFF2-40B4-BE49-F238E27FC236}">
                    <a16:creationId xmlns:a16="http://schemas.microsoft.com/office/drawing/2014/main" id="{AD62AA2B-739A-4053-8F4B-06816CE427B5}"/>
                  </a:ext>
                </a:extLst>
              </p:cNvPr>
              <p:cNvSpPr>
                <a:spLocks/>
              </p:cNvSpPr>
              <p:nvPr/>
            </p:nvSpPr>
            <p:spPr bwMode="auto">
              <a:xfrm>
                <a:off x="1263626" y="8000801"/>
                <a:ext cx="12700" cy="69850"/>
              </a:xfrm>
              <a:custGeom>
                <a:avLst/>
                <a:gdLst/>
                <a:ahLst/>
                <a:cxnLst>
                  <a:cxn ang="0">
                    <a:pos x="8" y="0"/>
                  </a:cxn>
                  <a:cxn ang="0">
                    <a:pos x="8" y="0"/>
                  </a:cxn>
                  <a:cxn ang="0">
                    <a:pos x="3" y="9"/>
                  </a:cxn>
                  <a:cxn ang="0">
                    <a:pos x="0" y="17"/>
                  </a:cxn>
                  <a:cxn ang="0">
                    <a:pos x="0" y="29"/>
                  </a:cxn>
                  <a:cxn ang="0">
                    <a:pos x="0" y="44"/>
                  </a:cxn>
                </a:cxnLst>
                <a:rect l="0" t="0" r="r" b="b"/>
                <a:pathLst>
                  <a:path w="8" h="44">
                    <a:moveTo>
                      <a:pt x="8" y="0"/>
                    </a:moveTo>
                    <a:lnTo>
                      <a:pt x="8" y="0"/>
                    </a:lnTo>
                    <a:lnTo>
                      <a:pt x="3" y="9"/>
                    </a:lnTo>
                    <a:lnTo>
                      <a:pt x="0" y="17"/>
                    </a:lnTo>
                    <a:lnTo>
                      <a:pt x="0" y="29"/>
                    </a:lnTo>
                    <a:lnTo>
                      <a:pt x="0" y="44"/>
                    </a:lnTo>
                  </a:path>
                </a:pathLst>
              </a:custGeom>
              <a:grpFill/>
              <a:ln w="19050">
                <a:solidFill>
                  <a:schemeClr val="tx2"/>
                </a:solidFill>
                <a:prstDash val="solid"/>
                <a:round/>
                <a:headEnd/>
                <a:tailEnd/>
              </a:ln>
            </p:spPr>
            <p:txBody>
              <a:bodyPr vert="horz" wrap="square" lIns="68580" tIns="34291" rIns="68580" bIns="34291" numCol="1" anchor="t" anchorCtr="0" compatLnSpc="1">
                <a:prstTxWarp prst="textNoShape">
                  <a:avLst/>
                </a:prstTxWarp>
              </a:bodyPr>
              <a:lstStyle/>
              <a:p>
                <a:endParaRPr lang="en-US">
                  <a:solidFill>
                    <a:srgbClr val="000000"/>
                  </a:solidFill>
                  <a:latin typeface="+mj-lt"/>
                </a:endParaRPr>
              </a:p>
            </p:txBody>
          </p:sp>
        </p:grpSp>
      </p:grpSp>
      <p:grpSp>
        <p:nvGrpSpPr>
          <p:cNvPr id="70" name="Group 69">
            <a:extLst>
              <a:ext uri="{FF2B5EF4-FFF2-40B4-BE49-F238E27FC236}">
                <a16:creationId xmlns:a16="http://schemas.microsoft.com/office/drawing/2014/main" id="{E87B7436-5631-4267-B998-00560B901E49}"/>
              </a:ext>
            </a:extLst>
          </p:cNvPr>
          <p:cNvGrpSpPr/>
          <p:nvPr/>
        </p:nvGrpSpPr>
        <p:grpSpPr>
          <a:xfrm>
            <a:off x="5776138" y="2791948"/>
            <a:ext cx="533823" cy="270395"/>
            <a:chOff x="1066806" y="1826775"/>
            <a:chExt cx="715332" cy="468380"/>
          </a:xfrm>
        </p:grpSpPr>
        <p:sp>
          <p:nvSpPr>
            <p:cNvPr id="71" name="Freeform 407">
              <a:extLst>
                <a:ext uri="{FF2B5EF4-FFF2-40B4-BE49-F238E27FC236}">
                  <a16:creationId xmlns:a16="http://schemas.microsoft.com/office/drawing/2014/main" id="{4D80A8BE-9804-4B66-907F-3CDF2EDDAE17}"/>
                </a:ext>
              </a:extLst>
            </p:cNvPr>
            <p:cNvSpPr>
              <a:spLocks/>
            </p:cNvSpPr>
            <p:nvPr/>
          </p:nvSpPr>
          <p:spPr bwMode="auto">
            <a:xfrm>
              <a:off x="1066806" y="1847852"/>
              <a:ext cx="715332" cy="439903"/>
            </a:xfrm>
            <a:custGeom>
              <a:avLst/>
              <a:gdLst/>
              <a:ahLst/>
              <a:cxnLst>
                <a:cxn ang="0">
                  <a:pos x="242" y="136"/>
                </a:cxn>
                <a:cxn ang="0">
                  <a:pos x="242" y="136"/>
                </a:cxn>
                <a:cxn ang="0">
                  <a:pos x="240" y="142"/>
                </a:cxn>
                <a:cxn ang="0">
                  <a:pos x="238" y="147"/>
                </a:cxn>
                <a:cxn ang="0">
                  <a:pos x="231" y="151"/>
                </a:cxn>
                <a:cxn ang="0">
                  <a:pos x="225" y="152"/>
                </a:cxn>
                <a:cxn ang="0">
                  <a:pos x="16" y="152"/>
                </a:cxn>
                <a:cxn ang="0">
                  <a:pos x="16" y="152"/>
                </a:cxn>
                <a:cxn ang="0">
                  <a:pos x="10" y="151"/>
                </a:cxn>
                <a:cxn ang="0">
                  <a:pos x="5" y="147"/>
                </a:cxn>
                <a:cxn ang="0">
                  <a:pos x="1" y="142"/>
                </a:cxn>
                <a:cxn ang="0">
                  <a:pos x="0" y="136"/>
                </a:cxn>
                <a:cxn ang="0">
                  <a:pos x="220" y="136"/>
                </a:cxn>
                <a:cxn ang="0">
                  <a:pos x="220" y="0"/>
                </a:cxn>
                <a:cxn ang="0">
                  <a:pos x="21" y="0"/>
                </a:cxn>
                <a:cxn ang="0">
                  <a:pos x="21" y="117"/>
                </a:cxn>
              </a:cxnLst>
              <a:rect l="0" t="0" r="r" b="b"/>
              <a:pathLst>
                <a:path w="242" h="152">
                  <a:moveTo>
                    <a:pt x="242" y="136"/>
                  </a:moveTo>
                  <a:lnTo>
                    <a:pt x="242" y="136"/>
                  </a:lnTo>
                  <a:lnTo>
                    <a:pt x="240" y="142"/>
                  </a:lnTo>
                  <a:lnTo>
                    <a:pt x="238" y="147"/>
                  </a:lnTo>
                  <a:lnTo>
                    <a:pt x="231" y="151"/>
                  </a:lnTo>
                  <a:lnTo>
                    <a:pt x="225" y="152"/>
                  </a:lnTo>
                  <a:lnTo>
                    <a:pt x="16" y="152"/>
                  </a:lnTo>
                  <a:lnTo>
                    <a:pt x="16" y="152"/>
                  </a:lnTo>
                  <a:lnTo>
                    <a:pt x="10" y="151"/>
                  </a:lnTo>
                  <a:lnTo>
                    <a:pt x="5" y="147"/>
                  </a:lnTo>
                  <a:lnTo>
                    <a:pt x="1" y="142"/>
                  </a:lnTo>
                  <a:lnTo>
                    <a:pt x="0" y="136"/>
                  </a:lnTo>
                  <a:lnTo>
                    <a:pt x="220" y="136"/>
                  </a:lnTo>
                  <a:lnTo>
                    <a:pt x="220" y="0"/>
                  </a:lnTo>
                  <a:lnTo>
                    <a:pt x="21" y="0"/>
                  </a:lnTo>
                  <a:lnTo>
                    <a:pt x="21" y="117"/>
                  </a:lnTo>
                </a:path>
              </a:pathLst>
            </a:custGeom>
            <a:noFill/>
            <a:ln w="19050">
              <a:solidFill>
                <a:schemeClr val="tx2"/>
              </a:solidFill>
              <a:prstDash val="solid"/>
              <a:round/>
              <a:headEnd/>
              <a:tailEnd/>
            </a:ln>
          </p:spPr>
          <p:txBody>
            <a:bodyPr vert="horz" wrap="square" lIns="62977" tIns="31489" rIns="62977" bIns="31489" numCol="1" anchor="t" anchorCtr="0" compatLnSpc="1">
              <a:prstTxWarp prst="textNoShape">
                <a:avLst/>
              </a:prstTxWarp>
            </a:bodyPr>
            <a:lstStyle/>
            <a:p>
              <a:endParaRPr lang="en-US">
                <a:solidFill>
                  <a:srgbClr val="000000"/>
                </a:solidFill>
                <a:latin typeface="+mj-lt"/>
              </a:endParaRPr>
            </a:p>
          </p:txBody>
        </p:sp>
        <p:grpSp>
          <p:nvGrpSpPr>
            <p:cNvPr id="72" name="Groupe 657">
              <a:extLst>
                <a:ext uri="{FF2B5EF4-FFF2-40B4-BE49-F238E27FC236}">
                  <a16:creationId xmlns:a16="http://schemas.microsoft.com/office/drawing/2014/main" id="{BED05A1E-DBEA-4BCE-A357-52423C7332E6}"/>
                </a:ext>
              </a:extLst>
            </p:cNvPr>
            <p:cNvGrpSpPr/>
            <p:nvPr/>
          </p:nvGrpSpPr>
          <p:grpSpPr>
            <a:xfrm>
              <a:off x="1075035" y="1826775"/>
              <a:ext cx="453727" cy="468380"/>
              <a:chOff x="1222351" y="7762676"/>
              <a:chExt cx="292100" cy="307975"/>
            </a:xfrm>
            <a:solidFill>
              <a:schemeClr val="bg1">
                <a:lumMod val="95000"/>
              </a:schemeClr>
            </a:solidFill>
          </p:grpSpPr>
          <p:sp>
            <p:nvSpPr>
              <p:cNvPr id="73" name="Freeform 487">
                <a:extLst>
                  <a:ext uri="{FF2B5EF4-FFF2-40B4-BE49-F238E27FC236}">
                    <a16:creationId xmlns:a16="http://schemas.microsoft.com/office/drawing/2014/main" id="{9AE4C1E1-72EC-4AF4-8E69-1EC6BB3801CD}"/>
                  </a:ext>
                </a:extLst>
              </p:cNvPr>
              <p:cNvSpPr>
                <a:spLocks/>
              </p:cNvSpPr>
              <p:nvPr/>
            </p:nvSpPr>
            <p:spPr bwMode="auto">
              <a:xfrm>
                <a:off x="1381101" y="7762676"/>
                <a:ext cx="133350" cy="157162"/>
              </a:xfrm>
              <a:custGeom>
                <a:avLst/>
                <a:gdLst/>
                <a:ahLst/>
                <a:cxnLst>
                  <a:cxn ang="0">
                    <a:pos x="20" y="77"/>
                  </a:cxn>
                  <a:cxn ang="0">
                    <a:pos x="6" y="99"/>
                  </a:cxn>
                  <a:cxn ang="0">
                    <a:pos x="6" y="99"/>
                  </a:cxn>
                  <a:cxn ang="0">
                    <a:pos x="27" y="94"/>
                  </a:cxn>
                  <a:cxn ang="0">
                    <a:pos x="43" y="89"/>
                  </a:cxn>
                  <a:cxn ang="0">
                    <a:pos x="56" y="84"/>
                  </a:cxn>
                  <a:cxn ang="0">
                    <a:pos x="56" y="84"/>
                  </a:cxn>
                  <a:cxn ang="0">
                    <a:pos x="63" y="80"/>
                  </a:cxn>
                  <a:cxn ang="0">
                    <a:pos x="70" y="75"/>
                  </a:cxn>
                  <a:cxn ang="0">
                    <a:pos x="76" y="67"/>
                  </a:cxn>
                  <a:cxn ang="0">
                    <a:pos x="78" y="62"/>
                  </a:cxn>
                  <a:cxn ang="0">
                    <a:pos x="81" y="56"/>
                  </a:cxn>
                  <a:cxn ang="0">
                    <a:pos x="81" y="56"/>
                  </a:cxn>
                  <a:cxn ang="0">
                    <a:pos x="84" y="48"/>
                  </a:cxn>
                  <a:cxn ang="0">
                    <a:pos x="84" y="39"/>
                  </a:cxn>
                  <a:cxn ang="0">
                    <a:pos x="82" y="32"/>
                  </a:cxn>
                  <a:cxn ang="0">
                    <a:pos x="80" y="24"/>
                  </a:cxn>
                  <a:cxn ang="0">
                    <a:pos x="76" y="18"/>
                  </a:cxn>
                  <a:cxn ang="0">
                    <a:pos x="71" y="12"/>
                  </a:cxn>
                  <a:cxn ang="0">
                    <a:pos x="63" y="6"/>
                  </a:cxn>
                  <a:cxn ang="0">
                    <a:pos x="56" y="3"/>
                  </a:cxn>
                  <a:cxn ang="0">
                    <a:pos x="56" y="3"/>
                  </a:cxn>
                  <a:cxn ang="0">
                    <a:pos x="48" y="1"/>
                  </a:cxn>
                  <a:cxn ang="0">
                    <a:pos x="39" y="0"/>
                  </a:cxn>
                  <a:cxn ang="0">
                    <a:pos x="32" y="1"/>
                  </a:cxn>
                  <a:cxn ang="0">
                    <a:pos x="24" y="5"/>
                  </a:cxn>
                  <a:cxn ang="0">
                    <a:pos x="18" y="9"/>
                  </a:cxn>
                  <a:cxn ang="0">
                    <a:pos x="11" y="14"/>
                  </a:cxn>
                  <a:cxn ang="0">
                    <a:pos x="6" y="20"/>
                  </a:cxn>
                  <a:cxn ang="0">
                    <a:pos x="2" y="28"/>
                  </a:cxn>
                  <a:cxn ang="0">
                    <a:pos x="2" y="28"/>
                  </a:cxn>
                  <a:cxn ang="0">
                    <a:pos x="0" y="39"/>
                  </a:cxn>
                  <a:cxn ang="0">
                    <a:pos x="1" y="50"/>
                  </a:cxn>
                  <a:cxn ang="0">
                    <a:pos x="4" y="60"/>
                  </a:cxn>
                  <a:cxn ang="0">
                    <a:pos x="9" y="69"/>
                  </a:cxn>
                </a:cxnLst>
                <a:rect l="0" t="0" r="r" b="b"/>
                <a:pathLst>
                  <a:path w="84" h="99">
                    <a:moveTo>
                      <a:pt x="20" y="77"/>
                    </a:moveTo>
                    <a:lnTo>
                      <a:pt x="6" y="99"/>
                    </a:lnTo>
                    <a:lnTo>
                      <a:pt x="6" y="99"/>
                    </a:lnTo>
                    <a:lnTo>
                      <a:pt x="27" y="94"/>
                    </a:lnTo>
                    <a:lnTo>
                      <a:pt x="43" y="89"/>
                    </a:lnTo>
                    <a:lnTo>
                      <a:pt x="56" y="84"/>
                    </a:lnTo>
                    <a:lnTo>
                      <a:pt x="56" y="84"/>
                    </a:lnTo>
                    <a:lnTo>
                      <a:pt x="63" y="80"/>
                    </a:lnTo>
                    <a:lnTo>
                      <a:pt x="70" y="75"/>
                    </a:lnTo>
                    <a:lnTo>
                      <a:pt x="76" y="67"/>
                    </a:lnTo>
                    <a:lnTo>
                      <a:pt x="78" y="62"/>
                    </a:lnTo>
                    <a:lnTo>
                      <a:pt x="81" y="56"/>
                    </a:lnTo>
                    <a:lnTo>
                      <a:pt x="81" y="56"/>
                    </a:lnTo>
                    <a:lnTo>
                      <a:pt x="84" y="48"/>
                    </a:lnTo>
                    <a:lnTo>
                      <a:pt x="84" y="39"/>
                    </a:lnTo>
                    <a:lnTo>
                      <a:pt x="82" y="32"/>
                    </a:lnTo>
                    <a:lnTo>
                      <a:pt x="80" y="24"/>
                    </a:lnTo>
                    <a:lnTo>
                      <a:pt x="76" y="18"/>
                    </a:lnTo>
                    <a:lnTo>
                      <a:pt x="71" y="12"/>
                    </a:lnTo>
                    <a:lnTo>
                      <a:pt x="63" y="6"/>
                    </a:lnTo>
                    <a:lnTo>
                      <a:pt x="56" y="3"/>
                    </a:lnTo>
                    <a:lnTo>
                      <a:pt x="56" y="3"/>
                    </a:lnTo>
                    <a:lnTo>
                      <a:pt x="48" y="1"/>
                    </a:lnTo>
                    <a:lnTo>
                      <a:pt x="39" y="0"/>
                    </a:lnTo>
                    <a:lnTo>
                      <a:pt x="32" y="1"/>
                    </a:lnTo>
                    <a:lnTo>
                      <a:pt x="24" y="5"/>
                    </a:lnTo>
                    <a:lnTo>
                      <a:pt x="18" y="9"/>
                    </a:lnTo>
                    <a:lnTo>
                      <a:pt x="11" y="14"/>
                    </a:lnTo>
                    <a:lnTo>
                      <a:pt x="6" y="20"/>
                    </a:lnTo>
                    <a:lnTo>
                      <a:pt x="2" y="28"/>
                    </a:lnTo>
                    <a:lnTo>
                      <a:pt x="2" y="28"/>
                    </a:lnTo>
                    <a:lnTo>
                      <a:pt x="0" y="39"/>
                    </a:lnTo>
                    <a:lnTo>
                      <a:pt x="1" y="50"/>
                    </a:lnTo>
                    <a:lnTo>
                      <a:pt x="4" y="60"/>
                    </a:lnTo>
                    <a:lnTo>
                      <a:pt x="9" y="69"/>
                    </a:lnTo>
                  </a:path>
                </a:pathLst>
              </a:custGeom>
              <a:grpFill/>
              <a:ln w="19050">
                <a:solidFill>
                  <a:schemeClr val="tx2"/>
                </a:solidFill>
                <a:prstDash val="solid"/>
                <a:round/>
                <a:headEnd/>
                <a:tailEnd/>
              </a:ln>
            </p:spPr>
            <p:txBody>
              <a:bodyPr vert="horz" wrap="square" lIns="68580" tIns="34291" rIns="68580" bIns="34291" numCol="1" anchor="t" anchorCtr="0" compatLnSpc="1">
                <a:prstTxWarp prst="textNoShape">
                  <a:avLst/>
                </a:prstTxWarp>
              </a:bodyPr>
              <a:lstStyle/>
              <a:p>
                <a:endParaRPr lang="en-US">
                  <a:solidFill>
                    <a:srgbClr val="000000"/>
                  </a:solidFill>
                  <a:latin typeface="+mj-lt"/>
                </a:endParaRPr>
              </a:p>
            </p:txBody>
          </p:sp>
          <p:sp>
            <p:nvSpPr>
              <p:cNvPr id="74" name="Freeform 488">
                <a:extLst>
                  <a:ext uri="{FF2B5EF4-FFF2-40B4-BE49-F238E27FC236}">
                    <a16:creationId xmlns:a16="http://schemas.microsoft.com/office/drawing/2014/main" id="{3A2AC223-D92D-4CF0-83DB-0462DF722810}"/>
                  </a:ext>
                </a:extLst>
              </p:cNvPr>
              <p:cNvSpPr>
                <a:spLocks/>
              </p:cNvSpPr>
              <p:nvPr/>
            </p:nvSpPr>
            <p:spPr bwMode="auto">
              <a:xfrm>
                <a:off x="1276326" y="7851576"/>
                <a:ext cx="76200" cy="88900"/>
              </a:xfrm>
              <a:custGeom>
                <a:avLst/>
                <a:gdLst/>
                <a:ahLst/>
                <a:cxnLst>
                  <a:cxn ang="0">
                    <a:pos x="48" y="28"/>
                  </a:cxn>
                  <a:cxn ang="0">
                    <a:pos x="48" y="28"/>
                  </a:cxn>
                  <a:cxn ang="0">
                    <a:pos x="48" y="34"/>
                  </a:cxn>
                  <a:cxn ang="0">
                    <a:pos x="47" y="39"/>
                  </a:cxn>
                  <a:cxn ang="0">
                    <a:pos x="44" y="44"/>
                  </a:cxn>
                  <a:cxn ang="0">
                    <a:pos x="42" y="48"/>
                  </a:cxn>
                  <a:cxn ang="0">
                    <a:pos x="38" y="52"/>
                  </a:cxn>
                  <a:cxn ang="0">
                    <a:pos x="33" y="54"/>
                  </a:cxn>
                  <a:cxn ang="0">
                    <a:pos x="29" y="56"/>
                  </a:cxn>
                  <a:cxn ang="0">
                    <a:pos x="24" y="56"/>
                  </a:cxn>
                  <a:cxn ang="0">
                    <a:pos x="24" y="56"/>
                  </a:cxn>
                  <a:cxn ang="0">
                    <a:pos x="19" y="56"/>
                  </a:cxn>
                  <a:cxn ang="0">
                    <a:pos x="15" y="54"/>
                  </a:cxn>
                  <a:cxn ang="0">
                    <a:pos x="10" y="52"/>
                  </a:cxn>
                  <a:cxn ang="0">
                    <a:pos x="6" y="48"/>
                  </a:cxn>
                  <a:cxn ang="0">
                    <a:pos x="4" y="44"/>
                  </a:cxn>
                  <a:cxn ang="0">
                    <a:pos x="1" y="39"/>
                  </a:cxn>
                  <a:cxn ang="0">
                    <a:pos x="0" y="34"/>
                  </a:cxn>
                  <a:cxn ang="0">
                    <a:pos x="0" y="28"/>
                  </a:cxn>
                  <a:cxn ang="0">
                    <a:pos x="0" y="28"/>
                  </a:cxn>
                  <a:cxn ang="0">
                    <a:pos x="0" y="23"/>
                  </a:cxn>
                  <a:cxn ang="0">
                    <a:pos x="1" y="18"/>
                  </a:cxn>
                  <a:cxn ang="0">
                    <a:pos x="4" y="13"/>
                  </a:cxn>
                  <a:cxn ang="0">
                    <a:pos x="6" y="9"/>
                  </a:cxn>
                  <a:cxn ang="0">
                    <a:pos x="10" y="5"/>
                  </a:cxn>
                  <a:cxn ang="0">
                    <a:pos x="15" y="2"/>
                  </a:cxn>
                  <a:cxn ang="0">
                    <a:pos x="19" y="1"/>
                  </a:cxn>
                  <a:cxn ang="0">
                    <a:pos x="24" y="0"/>
                  </a:cxn>
                  <a:cxn ang="0">
                    <a:pos x="24" y="0"/>
                  </a:cxn>
                  <a:cxn ang="0">
                    <a:pos x="29" y="1"/>
                  </a:cxn>
                  <a:cxn ang="0">
                    <a:pos x="33" y="2"/>
                  </a:cxn>
                  <a:cxn ang="0">
                    <a:pos x="38" y="5"/>
                  </a:cxn>
                  <a:cxn ang="0">
                    <a:pos x="42" y="9"/>
                  </a:cxn>
                  <a:cxn ang="0">
                    <a:pos x="44" y="13"/>
                  </a:cxn>
                  <a:cxn ang="0">
                    <a:pos x="47" y="18"/>
                  </a:cxn>
                  <a:cxn ang="0">
                    <a:pos x="48" y="23"/>
                  </a:cxn>
                  <a:cxn ang="0">
                    <a:pos x="48" y="28"/>
                  </a:cxn>
                  <a:cxn ang="0">
                    <a:pos x="48" y="28"/>
                  </a:cxn>
                </a:cxnLst>
                <a:rect l="0" t="0" r="r" b="b"/>
                <a:pathLst>
                  <a:path w="48" h="56">
                    <a:moveTo>
                      <a:pt x="48" y="28"/>
                    </a:moveTo>
                    <a:lnTo>
                      <a:pt x="48" y="28"/>
                    </a:lnTo>
                    <a:lnTo>
                      <a:pt x="48" y="34"/>
                    </a:lnTo>
                    <a:lnTo>
                      <a:pt x="47" y="39"/>
                    </a:lnTo>
                    <a:lnTo>
                      <a:pt x="44" y="44"/>
                    </a:lnTo>
                    <a:lnTo>
                      <a:pt x="42" y="48"/>
                    </a:lnTo>
                    <a:lnTo>
                      <a:pt x="38" y="52"/>
                    </a:lnTo>
                    <a:lnTo>
                      <a:pt x="33" y="54"/>
                    </a:lnTo>
                    <a:lnTo>
                      <a:pt x="29" y="56"/>
                    </a:lnTo>
                    <a:lnTo>
                      <a:pt x="24" y="56"/>
                    </a:lnTo>
                    <a:lnTo>
                      <a:pt x="24" y="56"/>
                    </a:lnTo>
                    <a:lnTo>
                      <a:pt x="19" y="56"/>
                    </a:lnTo>
                    <a:lnTo>
                      <a:pt x="15" y="54"/>
                    </a:lnTo>
                    <a:lnTo>
                      <a:pt x="10" y="52"/>
                    </a:lnTo>
                    <a:lnTo>
                      <a:pt x="6" y="48"/>
                    </a:lnTo>
                    <a:lnTo>
                      <a:pt x="4" y="44"/>
                    </a:lnTo>
                    <a:lnTo>
                      <a:pt x="1" y="39"/>
                    </a:lnTo>
                    <a:lnTo>
                      <a:pt x="0" y="34"/>
                    </a:lnTo>
                    <a:lnTo>
                      <a:pt x="0" y="28"/>
                    </a:lnTo>
                    <a:lnTo>
                      <a:pt x="0" y="28"/>
                    </a:lnTo>
                    <a:lnTo>
                      <a:pt x="0" y="23"/>
                    </a:lnTo>
                    <a:lnTo>
                      <a:pt x="1" y="18"/>
                    </a:lnTo>
                    <a:lnTo>
                      <a:pt x="4" y="13"/>
                    </a:lnTo>
                    <a:lnTo>
                      <a:pt x="6" y="9"/>
                    </a:lnTo>
                    <a:lnTo>
                      <a:pt x="10" y="5"/>
                    </a:lnTo>
                    <a:lnTo>
                      <a:pt x="15" y="2"/>
                    </a:lnTo>
                    <a:lnTo>
                      <a:pt x="19" y="1"/>
                    </a:lnTo>
                    <a:lnTo>
                      <a:pt x="24" y="0"/>
                    </a:lnTo>
                    <a:lnTo>
                      <a:pt x="24" y="0"/>
                    </a:lnTo>
                    <a:lnTo>
                      <a:pt x="29" y="1"/>
                    </a:lnTo>
                    <a:lnTo>
                      <a:pt x="33" y="2"/>
                    </a:lnTo>
                    <a:lnTo>
                      <a:pt x="38" y="5"/>
                    </a:lnTo>
                    <a:lnTo>
                      <a:pt x="42" y="9"/>
                    </a:lnTo>
                    <a:lnTo>
                      <a:pt x="44" y="13"/>
                    </a:lnTo>
                    <a:lnTo>
                      <a:pt x="47" y="18"/>
                    </a:lnTo>
                    <a:lnTo>
                      <a:pt x="48" y="23"/>
                    </a:lnTo>
                    <a:lnTo>
                      <a:pt x="48" y="28"/>
                    </a:lnTo>
                    <a:lnTo>
                      <a:pt x="48" y="28"/>
                    </a:lnTo>
                    <a:close/>
                  </a:path>
                </a:pathLst>
              </a:custGeom>
              <a:grpFill/>
              <a:ln w="19050">
                <a:solidFill>
                  <a:schemeClr val="tx2"/>
                </a:solidFill>
                <a:prstDash val="solid"/>
                <a:round/>
                <a:headEnd/>
                <a:tailEnd/>
              </a:ln>
            </p:spPr>
            <p:txBody>
              <a:bodyPr vert="horz" wrap="square" lIns="68580" tIns="34291" rIns="68580" bIns="34291" numCol="1" anchor="t" anchorCtr="0" compatLnSpc="1">
                <a:prstTxWarp prst="textNoShape">
                  <a:avLst/>
                </a:prstTxWarp>
              </a:bodyPr>
              <a:lstStyle/>
              <a:p>
                <a:endParaRPr lang="en-US">
                  <a:solidFill>
                    <a:srgbClr val="000000"/>
                  </a:solidFill>
                  <a:latin typeface="+mj-lt"/>
                </a:endParaRPr>
              </a:p>
            </p:txBody>
          </p:sp>
          <p:sp>
            <p:nvSpPr>
              <p:cNvPr id="75" name="Freeform 489">
                <a:extLst>
                  <a:ext uri="{FF2B5EF4-FFF2-40B4-BE49-F238E27FC236}">
                    <a16:creationId xmlns:a16="http://schemas.microsoft.com/office/drawing/2014/main" id="{495B7563-F29D-447D-B538-CE78B9BC91C5}"/>
                  </a:ext>
                </a:extLst>
              </p:cNvPr>
              <p:cNvSpPr>
                <a:spLocks/>
              </p:cNvSpPr>
              <p:nvPr/>
            </p:nvSpPr>
            <p:spPr bwMode="auto">
              <a:xfrm>
                <a:off x="1222351" y="7940476"/>
                <a:ext cx="184150" cy="130175"/>
              </a:xfrm>
              <a:custGeom>
                <a:avLst/>
                <a:gdLst/>
                <a:ahLst/>
                <a:cxnLst>
                  <a:cxn ang="0">
                    <a:pos x="0" y="82"/>
                  </a:cxn>
                  <a:cxn ang="0">
                    <a:pos x="0" y="82"/>
                  </a:cxn>
                  <a:cxn ang="0">
                    <a:pos x="0" y="67"/>
                  </a:cxn>
                  <a:cxn ang="0">
                    <a:pos x="2" y="53"/>
                  </a:cxn>
                  <a:cxn ang="0">
                    <a:pos x="5" y="39"/>
                  </a:cxn>
                  <a:cxn ang="0">
                    <a:pos x="11" y="26"/>
                  </a:cxn>
                  <a:cxn ang="0">
                    <a:pos x="15" y="21"/>
                  </a:cxn>
                  <a:cxn ang="0">
                    <a:pos x="19" y="16"/>
                  </a:cxn>
                  <a:cxn ang="0">
                    <a:pos x="24" y="11"/>
                  </a:cxn>
                  <a:cxn ang="0">
                    <a:pos x="29" y="7"/>
                  </a:cxn>
                  <a:cxn ang="0">
                    <a:pos x="35" y="5"/>
                  </a:cxn>
                  <a:cxn ang="0">
                    <a:pos x="42" y="2"/>
                  </a:cxn>
                  <a:cxn ang="0">
                    <a:pos x="49" y="1"/>
                  </a:cxn>
                  <a:cxn ang="0">
                    <a:pos x="58" y="0"/>
                  </a:cxn>
                  <a:cxn ang="0">
                    <a:pos x="58" y="0"/>
                  </a:cxn>
                  <a:cxn ang="0">
                    <a:pos x="67" y="1"/>
                  </a:cxn>
                  <a:cxn ang="0">
                    <a:pos x="75" y="2"/>
                  </a:cxn>
                  <a:cxn ang="0">
                    <a:pos x="81" y="5"/>
                  </a:cxn>
                  <a:cxn ang="0">
                    <a:pos x="87" y="7"/>
                  </a:cxn>
                  <a:cxn ang="0">
                    <a:pos x="92" y="11"/>
                  </a:cxn>
                  <a:cxn ang="0">
                    <a:pos x="97" y="16"/>
                  </a:cxn>
                  <a:cxn ang="0">
                    <a:pos x="101" y="21"/>
                  </a:cxn>
                  <a:cxn ang="0">
                    <a:pos x="105" y="26"/>
                  </a:cxn>
                  <a:cxn ang="0">
                    <a:pos x="111" y="39"/>
                  </a:cxn>
                  <a:cxn ang="0">
                    <a:pos x="114" y="53"/>
                  </a:cxn>
                  <a:cxn ang="0">
                    <a:pos x="116" y="67"/>
                  </a:cxn>
                  <a:cxn ang="0">
                    <a:pos x="116" y="82"/>
                  </a:cxn>
                </a:cxnLst>
                <a:rect l="0" t="0" r="r" b="b"/>
                <a:pathLst>
                  <a:path w="116" h="82">
                    <a:moveTo>
                      <a:pt x="0" y="82"/>
                    </a:moveTo>
                    <a:lnTo>
                      <a:pt x="0" y="82"/>
                    </a:lnTo>
                    <a:lnTo>
                      <a:pt x="0" y="67"/>
                    </a:lnTo>
                    <a:lnTo>
                      <a:pt x="2" y="53"/>
                    </a:lnTo>
                    <a:lnTo>
                      <a:pt x="5" y="39"/>
                    </a:lnTo>
                    <a:lnTo>
                      <a:pt x="11" y="26"/>
                    </a:lnTo>
                    <a:lnTo>
                      <a:pt x="15" y="21"/>
                    </a:lnTo>
                    <a:lnTo>
                      <a:pt x="19" y="16"/>
                    </a:lnTo>
                    <a:lnTo>
                      <a:pt x="24" y="11"/>
                    </a:lnTo>
                    <a:lnTo>
                      <a:pt x="29" y="7"/>
                    </a:lnTo>
                    <a:lnTo>
                      <a:pt x="35" y="5"/>
                    </a:lnTo>
                    <a:lnTo>
                      <a:pt x="42" y="2"/>
                    </a:lnTo>
                    <a:lnTo>
                      <a:pt x="49" y="1"/>
                    </a:lnTo>
                    <a:lnTo>
                      <a:pt x="58" y="0"/>
                    </a:lnTo>
                    <a:lnTo>
                      <a:pt x="58" y="0"/>
                    </a:lnTo>
                    <a:lnTo>
                      <a:pt x="67" y="1"/>
                    </a:lnTo>
                    <a:lnTo>
                      <a:pt x="75" y="2"/>
                    </a:lnTo>
                    <a:lnTo>
                      <a:pt x="81" y="5"/>
                    </a:lnTo>
                    <a:lnTo>
                      <a:pt x="87" y="7"/>
                    </a:lnTo>
                    <a:lnTo>
                      <a:pt x="92" y="11"/>
                    </a:lnTo>
                    <a:lnTo>
                      <a:pt x="97" y="16"/>
                    </a:lnTo>
                    <a:lnTo>
                      <a:pt x="101" y="21"/>
                    </a:lnTo>
                    <a:lnTo>
                      <a:pt x="105" y="26"/>
                    </a:lnTo>
                    <a:lnTo>
                      <a:pt x="111" y="39"/>
                    </a:lnTo>
                    <a:lnTo>
                      <a:pt x="114" y="53"/>
                    </a:lnTo>
                    <a:lnTo>
                      <a:pt x="116" y="67"/>
                    </a:lnTo>
                    <a:lnTo>
                      <a:pt x="116" y="82"/>
                    </a:lnTo>
                  </a:path>
                </a:pathLst>
              </a:custGeom>
              <a:grpFill/>
              <a:ln w="19050">
                <a:solidFill>
                  <a:schemeClr val="tx2"/>
                </a:solidFill>
                <a:prstDash val="solid"/>
                <a:round/>
                <a:headEnd/>
                <a:tailEnd/>
              </a:ln>
            </p:spPr>
            <p:txBody>
              <a:bodyPr vert="horz" wrap="square" lIns="68580" tIns="34291" rIns="68580" bIns="34291" numCol="1" anchor="t" anchorCtr="0" compatLnSpc="1">
                <a:prstTxWarp prst="textNoShape">
                  <a:avLst/>
                </a:prstTxWarp>
              </a:bodyPr>
              <a:lstStyle/>
              <a:p>
                <a:endParaRPr lang="en-US">
                  <a:solidFill>
                    <a:srgbClr val="000000"/>
                  </a:solidFill>
                  <a:latin typeface="+mj-lt"/>
                </a:endParaRPr>
              </a:p>
            </p:txBody>
          </p:sp>
          <p:sp>
            <p:nvSpPr>
              <p:cNvPr id="76" name="Freeform 490">
                <a:extLst>
                  <a:ext uri="{FF2B5EF4-FFF2-40B4-BE49-F238E27FC236}">
                    <a16:creationId xmlns:a16="http://schemas.microsoft.com/office/drawing/2014/main" id="{1F587B2D-F12D-4354-B36A-FB4E6697EFCF}"/>
                  </a:ext>
                </a:extLst>
              </p:cNvPr>
              <p:cNvSpPr>
                <a:spLocks/>
              </p:cNvSpPr>
              <p:nvPr/>
            </p:nvSpPr>
            <p:spPr bwMode="auto">
              <a:xfrm>
                <a:off x="1352526" y="8000801"/>
                <a:ext cx="12700" cy="69850"/>
              </a:xfrm>
              <a:custGeom>
                <a:avLst/>
                <a:gdLst/>
                <a:ahLst/>
                <a:cxnLst>
                  <a:cxn ang="0">
                    <a:pos x="8" y="44"/>
                  </a:cxn>
                  <a:cxn ang="0">
                    <a:pos x="8" y="44"/>
                  </a:cxn>
                  <a:cxn ang="0">
                    <a:pos x="8" y="29"/>
                  </a:cxn>
                  <a:cxn ang="0">
                    <a:pos x="8" y="17"/>
                  </a:cxn>
                  <a:cxn ang="0">
                    <a:pos x="5" y="9"/>
                  </a:cxn>
                  <a:cxn ang="0">
                    <a:pos x="0" y="0"/>
                  </a:cxn>
                </a:cxnLst>
                <a:rect l="0" t="0" r="r" b="b"/>
                <a:pathLst>
                  <a:path w="8" h="44">
                    <a:moveTo>
                      <a:pt x="8" y="44"/>
                    </a:moveTo>
                    <a:lnTo>
                      <a:pt x="8" y="44"/>
                    </a:lnTo>
                    <a:lnTo>
                      <a:pt x="8" y="29"/>
                    </a:lnTo>
                    <a:lnTo>
                      <a:pt x="8" y="17"/>
                    </a:lnTo>
                    <a:lnTo>
                      <a:pt x="5" y="9"/>
                    </a:lnTo>
                    <a:lnTo>
                      <a:pt x="0" y="0"/>
                    </a:lnTo>
                  </a:path>
                </a:pathLst>
              </a:custGeom>
              <a:grpFill/>
              <a:ln w="19050">
                <a:solidFill>
                  <a:schemeClr val="tx2"/>
                </a:solidFill>
                <a:prstDash val="solid"/>
                <a:round/>
                <a:headEnd/>
                <a:tailEnd/>
              </a:ln>
            </p:spPr>
            <p:txBody>
              <a:bodyPr vert="horz" wrap="square" lIns="68580" tIns="34291" rIns="68580" bIns="34291" numCol="1" anchor="t" anchorCtr="0" compatLnSpc="1">
                <a:prstTxWarp prst="textNoShape">
                  <a:avLst/>
                </a:prstTxWarp>
              </a:bodyPr>
              <a:lstStyle/>
              <a:p>
                <a:endParaRPr lang="en-US">
                  <a:solidFill>
                    <a:srgbClr val="000000"/>
                  </a:solidFill>
                  <a:latin typeface="+mj-lt"/>
                </a:endParaRPr>
              </a:p>
            </p:txBody>
          </p:sp>
          <p:sp>
            <p:nvSpPr>
              <p:cNvPr id="77" name="Freeform 491">
                <a:extLst>
                  <a:ext uri="{FF2B5EF4-FFF2-40B4-BE49-F238E27FC236}">
                    <a16:creationId xmlns:a16="http://schemas.microsoft.com/office/drawing/2014/main" id="{1D5124DA-E7C3-4B8C-A1A6-ECAD69E78A8D}"/>
                  </a:ext>
                </a:extLst>
              </p:cNvPr>
              <p:cNvSpPr>
                <a:spLocks/>
              </p:cNvSpPr>
              <p:nvPr/>
            </p:nvSpPr>
            <p:spPr bwMode="auto">
              <a:xfrm>
                <a:off x="1263626" y="8000801"/>
                <a:ext cx="12700" cy="69850"/>
              </a:xfrm>
              <a:custGeom>
                <a:avLst/>
                <a:gdLst/>
                <a:ahLst/>
                <a:cxnLst>
                  <a:cxn ang="0">
                    <a:pos x="8" y="0"/>
                  </a:cxn>
                  <a:cxn ang="0">
                    <a:pos x="8" y="0"/>
                  </a:cxn>
                  <a:cxn ang="0">
                    <a:pos x="3" y="9"/>
                  </a:cxn>
                  <a:cxn ang="0">
                    <a:pos x="0" y="17"/>
                  </a:cxn>
                  <a:cxn ang="0">
                    <a:pos x="0" y="29"/>
                  </a:cxn>
                  <a:cxn ang="0">
                    <a:pos x="0" y="44"/>
                  </a:cxn>
                </a:cxnLst>
                <a:rect l="0" t="0" r="r" b="b"/>
                <a:pathLst>
                  <a:path w="8" h="44">
                    <a:moveTo>
                      <a:pt x="8" y="0"/>
                    </a:moveTo>
                    <a:lnTo>
                      <a:pt x="8" y="0"/>
                    </a:lnTo>
                    <a:lnTo>
                      <a:pt x="3" y="9"/>
                    </a:lnTo>
                    <a:lnTo>
                      <a:pt x="0" y="17"/>
                    </a:lnTo>
                    <a:lnTo>
                      <a:pt x="0" y="29"/>
                    </a:lnTo>
                    <a:lnTo>
                      <a:pt x="0" y="44"/>
                    </a:lnTo>
                  </a:path>
                </a:pathLst>
              </a:custGeom>
              <a:grpFill/>
              <a:ln w="19050">
                <a:solidFill>
                  <a:schemeClr val="tx2"/>
                </a:solidFill>
                <a:prstDash val="solid"/>
                <a:round/>
                <a:headEnd/>
                <a:tailEnd/>
              </a:ln>
            </p:spPr>
            <p:txBody>
              <a:bodyPr vert="horz" wrap="square" lIns="68580" tIns="34291" rIns="68580" bIns="34291" numCol="1" anchor="t" anchorCtr="0" compatLnSpc="1">
                <a:prstTxWarp prst="textNoShape">
                  <a:avLst/>
                </a:prstTxWarp>
              </a:bodyPr>
              <a:lstStyle/>
              <a:p>
                <a:endParaRPr lang="en-US">
                  <a:solidFill>
                    <a:srgbClr val="000000"/>
                  </a:solidFill>
                  <a:latin typeface="+mj-lt"/>
                </a:endParaRPr>
              </a:p>
            </p:txBody>
          </p:sp>
        </p:grpSp>
      </p:grpSp>
      <p:grpSp>
        <p:nvGrpSpPr>
          <p:cNvPr id="78" name="Groupe 558">
            <a:extLst>
              <a:ext uri="{FF2B5EF4-FFF2-40B4-BE49-F238E27FC236}">
                <a16:creationId xmlns:a16="http://schemas.microsoft.com/office/drawing/2014/main" id="{41C96196-387F-4EB4-B2ED-F944BAA995EA}"/>
              </a:ext>
            </a:extLst>
          </p:cNvPr>
          <p:cNvGrpSpPr/>
          <p:nvPr/>
        </p:nvGrpSpPr>
        <p:grpSpPr>
          <a:xfrm>
            <a:off x="6397979" y="2681845"/>
            <a:ext cx="211948" cy="206495"/>
            <a:chOff x="2049463" y="4297364"/>
            <a:chExt cx="336551" cy="423862"/>
          </a:xfrm>
        </p:grpSpPr>
        <p:sp>
          <p:nvSpPr>
            <p:cNvPr id="79" name="Oval 156">
              <a:extLst>
                <a:ext uri="{FF2B5EF4-FFF2-40B4-BE49-F238E27FC236}">
                  <a16:creationId xmlns:a16="http://schemas.microsoft.com/office/drawing/2014/main" id="{3E5EABF1-23B6-4F49-897B-8386D7CE813C}"/>
                </a:ext>
              </a:extLst>
            </p:cNvPr>
            <p:cNvSpPr>
              <a:spLocks noChangeArrowheads="1"/>
            </p:cNvSpPr>
            <p:nvPr/>
          </p:nvSpPr>
          <p:spPr bwMode="auto">
            <a:xfrm>
              <a:off x="2133601" y="4297364"/>
              <a:ext cx="166688" cy="168275"/>
            </a:xfrm>
            <a:prstGeom prst="ellips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1" rIns="68580" bIns="34291" numCol="1" anchor="t" anchorCtr="0" compatLnSpc="1">
              <a:prstTxWarp prst="textNoShape">
                <a:avLst/>
              </a:prstTxWarp>
            </a:bodyPr>
            <a:lstStyle/>
            <a:p>
              <a:endParaRPr lang="fr-FR">
                <a:solidFill>
                  <a:srgbClr val="000000"/>
                </a:solidFill>
                <a:latin typeface="+mj-lt"/>
              </a:endParaRPr>
            </a:p>
          </p:txBody>
        </p:sp>
        <p:sp>
          <p:nvSpPr>
            <p:cNvPr id="80" name="Freeform 157">
              <a:extLst>
                <a:ext uri="{FF2B5EF4-FFF2-40B4-BE49-F238E27FC236}">
                  <a16:creationId xmlns:a16="http://schemas.microsoft.com/office/drawing/2014/main" id="{97246F76-78CD-4B11-9534-FEEA98398124}"/>
                </a:ext>
              </a:extLst>
            </p:cNvPr>
            <p:cNvSpPr>
              <a:spLocks/>
            </p:cNvSpPr>
            <p:nvPr/>
          </p:nvSpPr>
          <p:spPr bwMode="auto">
            <a:xfrm>
              <a:off x="2049463" y="4451351"/>
              <a:ext cx="120650" cy="269875"/>
            </a:xfrm>
            <a:custGeom>
              <a:avLst/>
              <a:gdLst>
                <a:gd name="T0" fmla="*/ 37 w 53"/>
                <a:gd name="T1" fmla="*/ 119 h 119"/>
                <a:gd name="T2" fmla="*/ 0 w 53"/>
                <a:gd name="T3" fmla="*/ 119 h 119"/>
                <a:gd name="T4" fmla="*/ 0 w 53"/>
                <a:gd name="T5" fmla="*/ 114 h 119"/>
                <a:gd name="T6" fmla="*/ 53 w 53"/>
                <a:gd name="T7" fmla="*/ 0 h 119"/>
              </a:gdLst>
              <a:ahLst/>
              <a:cxnLst>
                <a:cxn ang="0">
                  <a:pos x="T0" y="T1"/>
                </a:cxn>
                <a:cxn ang="0">
                  <a:pos x="T2" y="T3"/>
                </a:cxn>
                <a:cxn ang="0">
                  <a:pos x="T4" y="T5"/>
                </a:cxn>
                <a:cxn ang="0">
                  <a:pos x="T6" y="T7"/>
                </a:cxn>
              </a:cxnLst>
              <a:rect l="0" t="0" r="r" b="b"/>
              <a:pathLst>
                <a:path w="53" h="119">
                  <a:moveTo>
                    <a:pt x="37" y="119"/>
                  </a:moveTo>
                  <a:cubicBezTo>
                    <a:pt x="0" y="119"/>
                    <a:pt x="0" y="119"/>
                    <a:pt x="0" y="119"/>
                  </a:cubicBezTo>
                  <a:cubicBezTo>
                    <a:pt x="0" y="114"/>
                    <a:pt x="0" y="114"/>
                    <a:pt x="0" y="114"/>
                  </a:cubicBezTo>
                  <a:cubicBezTo>
                    <a:pt x="0" y="25"/>
                    <a:pt x="53" y="0"/>
                    <a:pt x="53" y="0"/>
                  </a:cubicBezTo>
                </a:path>
              </a:pathLst>
            </a:cu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1" rIns="68580" bIns="34291" numCol="1" anchor="t" anchorCtr="0" compatLnSpc="1">
              <a:prstTxWarp prst="textNoShape">
                <a:avLst/>
              </a:prstTxWarp>
            </a:bodyPr>
            <a:lstStyle/>
            <a:p>
              <a:endParaRPr lang="fr-FR">
                <a:solidFill>
                  <a:srgbClr val="000000"/>
                </a:solidFill>
                <a:latin typeface="+mj-lt"/>
              </a:endParaRPr>
            </a:p>
          </p:txBody>
        </p:sp>
        <p:sp>
          <p:nvSpPr>
            <p:cNvPr id="81" name="Line 158">
              <a:extLst>
                <a:ext uri="{FF2B5EF4-FFF2-40B4-BE49-F238E27FC236}">
                  <a16:creationId xmlns:a16="http://schemas.microsoft.com/office/drawing/2014/main" id="{8DD2DB1E-C3A0-4F78-A59A-D7443D6897F7}"/>
                </a:ext>
              </a:extLst>
            </p:cNvPr>
            <p:cNvSpPr>
              <a:spLocks noChangeShapeType="1"/>
            </p:cNvSpPr>
            <p:nvPr/>
          </p:nvSpPr>
          <p:spPr bwMode="auto">
            <a:xfrm>
              <a:off x="2198688" y="4598989"/>
              <a:ext cx="0" cy="0"/>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endParaRPr lang="fr-FR">
                <a:solidFill>
                  <a:srgbClr val="000000"/>
                </a:solidFill>
                <a:latin typeface="+mj-lt"/>
              </a:endParaRPr>
            </a:p>
          </p:txBody>
        </p:sp>
        <p:sp>
          <p:nvSpPr>
            <p:cNvPr id="82" name="Freeform 159">
              <a:extLst>
                <a:ext uri="{FF2B5EF4-FFF2-40B4-BE49-F238E27FC236}">
                  <a16:creationId xmlns:a16="http://schemas.microsoft.com/office/drawing/2014/main" id="{CD61C740-BDAD-4D91-A9A0-D68433277CCC}"/>
                </a:ext>
              </a:extLst>
            </p:cNvPr>
            <p:cNvSpPr>
              <a:spLocks/>
            </p:cNvSpPr>
            <p:nvPr/>
          </p:nvSpPr>
          <p:spPr bwMode="auto">
            <a:xfrm>
              <a:off x="2182813" y="4483101"/>
              <a:ext cx="69850" cy="200025"/>
            </a:xfrm>
            <a:custGeom>
              <a:avLst/>
              <a:gdLst>
                <a:gd name="T0" fmla="*/ 21 w 44"/>
                <a:gd name="T1" fmla="*/ 29 h 126"/>
                <a:gd name="T2" fmla="*/ 16 w 44"/>
                <a:gd name="T3" fmla="*/ 29 h 126"/>
                <a:gd name="T4" fmla="*/ 10 w 44"/>
                <a:gd name="T5" fmla="*/ 0 h 126"/>
                <a:gd name="T6" fmla="*/ 34 w 44"/>
                <a:gd name="T7" fmla="*/ 0 h 126"/>
                <a:gd name="T8" fmla="*/ 29 w 44"/>
                <a:gd name="T9" fmla="*/ 26 h 126"/>
                <a:gd name="T10" fmla="*/ 44 w 44"/>
                <a:gd name="T11" fmla="*/ 104 h 126"/>
                <a:gd name="T12" fmla="*/ 23 w 44"/>
                <a:gd name="T13" fmla="*/ 126 h 126"/>
                <a:gd name="T14" fmla="*/ 0 w 44"/>
                <a:gd name="T15" fmla="*/ 104 h 126"/>
                <a:gd name="T16" fmla="*/ 10 w 44"/>
                <a:gd name="T1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126">
                  <a:moveTo>
                    <a:pt x="21" y="29"/>
                  </a:moveTo>
                  <a:lnTo>
                    <a:pt x="16" y="29"/>
                  </a:lnTo>
                  <a:lnTo>
                    <a:pt x="10" y="0"/>
                  </a:lnTo>
                  <a:lnTo>
                    <a:pt x="34" y="0"/>
                  </a:lnTo>
                  <a:lnTo>
                    <a:pt x="29" y="26"/>
                  </a:lnTo>
                  <a:lnTo>
                    <a:pt x="44" y="104"/>
                  </a:lnTo>
                  <a:lnTo>
                    <a:pt x="23" y="126"/>
                  </a:lnTo>
                  <a:lnTo>
                    <a:pt x="0" y="104"/>
                  </a:lnTo>
                  <a:lnTo>
                    <a:pt x="10" y="56"/>
                  </a:lnTo>
                </a:path>
              </a:pathLst>
            </a:cu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1" rIns="68580" bIns="34291" numCol="1" anchor="t" anchorCtr="0" compatLnSpc="1">
              <a:prstTxWarp prst="textNoShape">
                <a:avLst/>
              </a:prstTxWarp>
            </a:bodyPr>
            <a:lstStyle/>
            <a:p>
              <a:endParaRPr lang="fr-FR">
                <a:solidFill>
                  <a:srgbClr val="000000"/>
                </a:solidFill>
                <a:latin typeface="+mj-lt"/>
              </a:endParaRPr>
            </a:p>
          </p:txBody>
        </p:sp>
        <p:sp>
          <p:nvSpPr>
            <p:cNvPr id="83" name="Freeform 160">
              <a:extLst>
                <a:ext uri="{FF2B5EF4-FFF2-40B4-BE49-F238E27FC236}">
                  <a16:creationId xmlns:a16="http://schemas.microsoft.com/office/drawing/2014/main" id="{DE5F1264-C6FF-4002-91C3-939F64632BB2}"/>
                </a:ext>
              </a:extLst>
            </p:cNvPr>
            <p:cNvSpPr>
              <a:spLocks/>
            </p:cNvSpPr>
            <p:nvPr/>
          </p:nvSpPr>
          <p:spPr bwMode="auto">
            <a:xfrm>
              <a:off x="2266951" y="4451351"/>
              <a:ext cx="119063" cy="258763"/>
            </a:xfrm>
            <a:custGeom>
              <a:avLst/>
              <a:gdLst>
                <a:gd name="T0" fmla="*/ 0 w 53"/>
                <a:gd name="T1" fmla="*/ 0 h 114"/>
                <a:gd name="T2" fmla="*/ 53 w 53"/>
                <a:gd name="T3" fmla="*/ 114 h 114"/>
                <a:gd name="T4" fmla="*/ 21 w 53"/>
                <a:gd name="T5" fmla="*/ 114 h 114"/>
              </a:gdLst>
              <a:ahLst/>
              <a:cxnLst>
                <a:cxn ang="0">
                  <a:pos x="T0" y="T1"/>
                </a:cxn>
                <a:cxn ang="0">
                  <a:pos x="T2" y="T3"/>
                </a:cxn>
                <a:cxn ang="0">
                  <a:pos x="T4" y="T5"/>
                </a:cxn>
              </a:cxnLst>
              <a:rect l="0" t="0" r="r" b="b"/>
              <a:pathLst>
                <a:path w="53" h="114">
                  <a:moveTo>
                    <a:pt x="0" y="0"/>
                  </a:moveTo>
                  <a:cubicBezTo>
                    <a:pt x="0" y="0"/>
                    <a:pt x="53" y="25"/>
                    <a:pt x="53" y="114"/>
                  </a:cubicBezTo>
                  <a:cubicBezTo>
                    <a:pt x="21" y="114"/>
                    <a:pt x="21" y="114"/>
                    <a:pt x="21" y="114"/>
                  </a:cubicBezTo>
                </a:path>
              </a:pathLst>
            </a:cu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1" rIns="68580" bIns="34291" numCol="1" anchor="t" anchorCtr="0" compatLnSpc="1">
              <a:prstTxWarp prst="textNoShape">
                <a:avLst/>
              </a:prstTxWarp>
            </a:bodyPr>
            <a:lstStyle/>
            <a:p>
              <a:endParaRPr lang="fr-FR">
                <a:solidFill>
                  <a:srgbClr val="000000"/>
                </a:solidFill>
                <a:latin typeface="+mj-lt"/>
              </a:endParaRPr>
            </a:p>
          </p:txBody>
        </p:sp>
      </p:grpSp>
      <p:grpSp>
        <p:nvGrpSpPr>
          <p:cNvPr id="84" name="Groupe 558">
            <a:extLst>
              <a:ext uri="{FF2B5EF4-FFF2-40B4-BE49-F238E27FC236}">
                <a16:creationId xmlns:a16="http://schemas.microsoft.com/office/drawing/2014/main" id="{3D8F35E3-535B-420F-8E5F-7CEB4D3844BE}"/>
              </a:ext>
            </a:extLst>
          </p:cNvPr>
          <p:cNvGrpSpPr/>
          <p:nvPr/>
        </p:nvGrpSpPr>
        <p:grpSpPr>
          <a:xfrm>
            <a:off x="8889674" y="2681845"/>
            <a:ext cx="211948" cy="206495"/>
            <a:chOff x="2049463" y="4297364"/>
            <a:chExt cx="336551" cy="423862"/>
          </a:xfrm>
        </p:grpSpPr>
        <p:sp>
          <p:nvSpPr>
            <p:cNvPr id="85" name="Oval 156">
              <a:extLst>
                <a:ext uri="{FF2B5EF4-FFF2-40B4-BE49-F238E27FC236}">
                  <a16:creationId xmlns:a16="http://schemas.microsoft.com/office/drawing/2014/main" id="{A6933388-4C0A-44EB-9C74-A9CF12947F50}"/>
                </a:ext>
              </a:extLst>
            </p:cNvPr>
            <p:cNvSpPr>
              <a:spLocks noChangeArrowheads="1"/>
            </p:cNvSpPr>
            <p:nvPr/>
          </p:nvSpPr>
          <p:spPr bwMode="auto">
            <a:xfrm>
              <a:off x="2133601" y="4297364"/>
              <a:ext cx="166688" cy="168275"/>
            </a:xfrm>
            <a:prstGeom prst="ellips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1" rIns="68580" bIns="34291" numCol="1" anchor="t" anchorCtr="0" compatLnSpc="1">
              <a:prstTxWarp prst="textNoShape">
                <a:avLst/>
              </a:prstTxWarp>
            </a:bodyPr>
            <a:lstStyle/>
            <a:p>
              <a:endParaRPr lang="fr-FR">
                <a:solidFill>
                  <a:srgbClr val="000000"/>
                </a:solidFill>
                <a:latin typeface="+mj-lt"/>
              </a:endParaRPr>
            </a:p>
          </p:txBody>
        </p:sp>
        <p:sp>
          <p:nvSpPr>
            <p:cNvPr id="86" name="Freeform 157">
              <a:extLst>
                <a:ext uri="{FF2B5EF4-FFF2-40B4-BE49-F238E27FC236}">
                  <a16:creationId xmlns:a16="http://schemas.microsoft.com/office/drawing/2014/main" id="{DC0E70C1-2554-444D-AA6F-90130F65BE37}"/>
                </a:ext>
              </a:extLst>
            </p:cNvPr>
            <p:cNvSpPr>
              <a:spLocks/>
            </p:cNvSpPr>
            <p:nvPr/>
          </p:nvSpPr>
          <p:spPr bwMode="auto">
            <a:xfrm>
              <a:off x="2049463" y="4451351"/>
              <a:ext cx="120650" cy="269875"/>
            </a:xfrm>
            <a:custGeom>
              <a:avLst/>
              <a:gdLst>
                <a:gd name="T0" fmla="*/ 37 w 53"/>
                <a:gd name="T1" fmla="*/ 119 h 119"/>
                <a:gd name="T2" fmla="*/ 0 w 53"/>
                <a:gd name="T3" fmla="*/ 119 h 119"/>
                <a:gd name="T4" fmla="*/ 0 w 53"/>
                <a:gd name="T5" fmla="*/ 114 h 119"/>
                <a:gd name="T6" fmla="*/ 53 w 53"/>
                <a:gd name="T7" fmla="*/ 0 h 119"/>
              </a:gdLst>
              <a:ahLst/>
              <a:cxnLst>
                <a:cxn ang="0">
                  <a:pos x="T0" y="T1"/>
                </a:cxn>
                <a:cxn ang="0">
                  <a:pos x="T2" y="T3"/>
                </a:cxn>
                <a:cxn ang="0">
                  <a:pos x="T4" y="T5"/>
                </a:cxn>
                <a:cxn ang="0">
                  <a:pos x="T6" y="T7"/>
                </a:cxn>
              </a:cxnLst>
              <a:rect l="0" t="0" r="r" b="b"/>
              <a:pathLst>
                <a:path w="53" h="119">
                  <a:moveTo>
                    <a:pt x="37" y="119"/>
                  </a:moveTo>
                  <a:cubicBezTo>
                    <a:pt x="0" y="119"/>
                    <a:pt x="0" y="119"/>
                    <a:pt x="0" y="119"/>
                  </a:cubicBezTo>
                  <a:cubicBezTo>
                    <a:pt x="0" y="114"/>
                    <a:pt x="0" y="114"/>
                    <a:pt x="0" y="114"/>
                  </a:cubicBezTo>
                  <a:cubicBezTo>
                    <a:pt x="0" y="25"/>
                    <a:pt x="53" y="0"/>
                    <a:pt x="53" y="0"/>
                  </a:cubicBezTo>
                </a:path>
              </a:pathLst>
            </a:cu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1" rIns="68580" bIns="34291" numCol="1" anchor="t" anchorCtr="0" compatLnSpc="1">
              <a:prstTxWarp prst="textNoShape">
                <a:avLst/>
              </a:prstTxWarp>
            </a:bodyPr>
            <a:lstStyle/>
            <a:p>
              <a:endParaRPr lang="fr-FR">
                <a:solidFill>
                  <a:srgbClr val="000000"/>
                </a:solidFill>
                <a:latin typeface="+mj-lt"/>
              </a:endParaRPr>
            </a:p>
          </p:txBody>
        </p:sp>
        <p:sp>
          <p:nvSpPr>
            <p:cNvPr id="87" name="Line 158">
              <a:extLst>
                <a:ext uri="{FF2B5EF4-FFF2-40B4-BE49-F238E27FC236}">
                  <a16:creationId xmlns:a16="http://schemas.microsoft.com/office/drawing/2014/main" id="{9E6F5000-072A-426D-94F7-AE6C1D717D61}"/>
                </a:ext>
              </a:extLst>
            </p:cNvPr>
            <p:cNvSpPr>
              <a:spLocks noChangeShapeType="1"/>
            </p:cNvSpPr>
            <p:nvPr/>
          </p:nvSpPr>
          <p:spPr bwMode="auto">
            <a:xfrm>
              <a:off x="2198688" y="4598989"/>
              <a:ext cx="0" cy="0"/>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1" rIns="68580" bIns="34291" numCol="1" anchor="t" anchorCtr="0" compatLnSpc="1">
              <a:prstTxWarp prst="textNoShape">
                <a:avLst/>
              </a:prstTxWarp>
            </a:bodyPr>
            <a:lstStyle/>
            <a:p>
              <a:endParaRPr lang="fr-FR">
                <a:solidFill>
                  <a:srgbClr val="000000"/>
                </a:solidFill>
                <a:latin typeface="+mj-lt"/>
              </a:endParaRPr>
            </a:p>
          </p:txBody>
        </p:sp>
        <p:sp>
          <p:nvSpPr>
            <p:cNvPr id="88" name="Freeform 159">
              <a:extLst>
                <a:ext uri="{FF2B5EF4-FFF2-40B4-BE49-F238E27FC236}">
                  <a16:creationId xmlns:a16="http://schemas.microsoft.com/office/drawing/2014/main" id="{DE361FF1-C318-471C-BD8F-7E4DF7D174E8}"/>
                </a:ext>
              </a:extLst>
            </p:cNvPr>
            <p:cNvSpPr>
              <a:spLocks/>
            </p:cNvSpPr>
            <p:nvPr/>
          </p:nvSpPr>
          <p:spPr bwMode="auto">
            <a:xfrm>
              <a:off x="2182813" y="4483101"/>
              <a:ext cx="69850" cy="200025"/>
            </a:xfrm>
            <a:custGeom>
              <a:avLst/>
              <a:gdLst>
                <a:gd name="T0" fmla="*/ 21 w 44"/>
                <a:gd name="T1" fmla="*/ 29 h 126"/>
                <a:gd name="T2" fmla="*/ 16 w 44"/>
                <a:gd name="T3" fmla="*/ 29 h 126"/>
                <a:gd name="T4" fmla="*/ 10 w 44"/>
                <a:gd name="T5" fmla="*/ 0 h 126"/>
                <a:gd name="T6" fmla="*/ 34 w 44"/>
                <a:gd name="T7" fmla="*/ 0 h 126"/>
                <a:gd name="T8" fmla="*/ 29 w 44"/>
                <a:gd name="T9" fmla="*/ 26 h 126"/>
                <a:gd name="T10" fmla="*/ 44 w 44"/>
                <a:gd name="T11" fmla="*/ 104 h 126"/>
                <a:gd name="T12" fmla="*/ 23 w 44"/>
                <a:gd name="T13" fmla="*/ 126 h 126"/>
                <a:gd name="T14" fmla="*/ 0 w 44"/>
                <a:gd name="T15" fmla="*/ 104 h 126"/>
                <a:gd name="T16" fmla="*/ 10 w 44"/>
                <a:gd name="T17" fmla="*/ 5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126">
                  <a:moveTo>
                    <a:pt x="21" y="29"/>
                  </a:moveTo>
                  <a:lnTo>
                    <a:pt x="16" y="29"/>
                  </a:lnTo>
                  <a:lnTo>
                    <a:pt x="10" y="0"/>
                  </a:lnTo>
                  <a:lnTo>
                    <a:pt x="34" y="0"/>
                  </a:lnTo>
                  <a:lnTo>
                    <a:pt x="29" y="26"/>
                  </a:lnTo>
                  <a:lnTo>
                    <a:pt x="44" y="104"/>
                  </a:lnTo>
                  <a:lnTo>
                    <a:pt x="23" y="126"/>
                  </a:lnTo>
                  <a:lnTo>
                    <a:pt x="0" y="104"/>
                  </a:lnTo>
                  <a:lnTo>
                    <a:pt x="10" y="56"/>
                  </a:lnTo>
                </a:path>
              </a:pathLst>
            </a:cu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1" rIns="68580" bIns="34291" numCol="1" anchor="t" anchorCtr="0" compatLnSpc="1">
              <a:prstTxWarp prst="textNoShape">
                <a:avLst/>
              </a:prstTxWarp>
            </a:bodyPr>
            <a:lstStyle/>
            <a:p>
              <a:endParaRPr lang="fr-FR">
                <a:solidFill>
                  <a:srgbClr val="000000"/>
                </a:solidFill>
                <a:latin typeface="+mj-lt"/>
              </a:endParaRPr>
            </a:p>
          </p:txBody>
        </p:sp>
        <p:sp>
          <p:nvSpPr>
            <p:cNvPr id="89" name="Freeform 160">
              <a:extLst>
                <a:ext uri="{FF2B5EF4-FFF2-40B4-BE49-F238E27FC236}">
                  <a16:creationId xmlns:a16="http://schemas.microsoft.com/office/drawing/2014/main" id="{6D4DCAE6-2628-4AF4-A527-1C1C7F728DFC}"/>
                </a:ext>
              </a:extLst>
            </p:cNvPr>
            <p:cNvSpPr>
              <a:spLocks/>
            </p:cNvSpPr>
            <p:nvPr/>
          </p:nvSpPr>
          <p:spPr bwMode="auto">
            <a:xfrm>
              <a:off x="2266951" y="4451351"/>
              <a:ext cx="119063" cy="258763"/>
            </a:xfrm>
            <a:custGeom>
              <a:avLst/>
              <a:gdLst>
                <a:gd name="T0" fmla="*/ 0 w 53"/>
                <a:gd name="T1" fmla="*/ 0 h 114"/>
                <a:gd name="T2" fmla="*/ 53 w 53"/>
                <a:gd name="T3" fmla="*/ 114 h 114"/>
                <a:gd name="T4" fmla="*/ 21 w 53"/>
                <a:gd name="T5" fmla="*/ 114 h 114"/>
              </a:gdLst>
              <a:ahLst/>
              <a:cxnLst>
                <a:cxn ang="0">
                  <a:pos x="T0" y="T1"/>
                </a:cxn>
                <a:cxn ang="0">
                  <a:pos x="T2" y="T3"/>
                </a:cxn>
                <a:cxn ang="0">
                  <a:pos x="T4" y="T5"/>
                </a:cxn>
              </a:cxnLst>
              <a:rect l="0" t="0" r="r" b="b"/>
              <a:pathLst>
                <a:path w="53" h="114">
                  <a:moveTo>
                    <a:pt x="0" y="0"/>
                  </a:moveTo>
                  <a:cubicBezTo>
                    <a:pt x="0" y="0"/>
                    <a:pt x="53" y="25"/>
                    <a:pt x="53" y="114"/>
                  </a:cubicBezTo>
                  <a:cubicBezTo>
                    <a:pt x="21" y="114"/>
                    <a:pt x="21" y="114"/>
                    <a:pt x="21" y="114"/>
                  </a:cubicBezTo>
                </a:path>
              </a:pathLst>
            </a:cu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1" rIns="68580" bIns="34291" numCol="1" anchor="t" anchorCtr="0" compatLnSpc="1">
              <a:prstTxWarp prst="textNoShape">
                <a:avLst/>
              </a:prstTxWarp>
            </a:bodyPr>
            <a:lstStyle/>
            <a:p>
              <a:endParaRPr lang="fr-FR">
                <a:solidFill>
                  <a:srgbClr val="000000"/>
                </a:solidFill>
                <a:latin typeface="+mj-lt"/>
              </a:endParaRPr>
            </a:p>
          </p:txBody>
        </p:sp>
      </p:grpSp>
      <p:grpSp>
        <p:nvGrpSpPr>
          <p:cNvPr id="90" name="Group 89">
            <a:extLst>
              <a:ext uri="{FF2B5EF4-FFF2-40B4-BE49-F238E27FC236}">
                <a16:creationId xmlns:a16="http://schemas.microsoft.com/office/drawing/2014/main" id="{CD2BEA8E-DFEF-43AE-A766-B5E3B2E5D0C6}"/>
              </a:ext>
            </a:extLst>
          </p:cNvPr>
          <p:cNvGrpSpPr/>
          <p:nvPr/>
        </p:nvGrpSpPr>
        <p:grpSpPr>
          <a:xfrm>
            <a:off x="2312235" y="2728868"/>
            <a:ext cx="388047" cy="302600"/>
            <a:chOff x="10330049" y="5580826"/>
            <a:chExt cx="336262" cy="338962"/>
          </a:xfrm>
        </p:grpSpPr>
        <p:sp>
          <p:nvSpPr>
            <p:cNvPr id="91" name="Freeform 103">
              <a:extLst>
                <a:ext uri="{FF2B5EF4-FFF2-40B4-BE49-F238E27FC236}">
                  <a16:creationId xmlns:a16="http://schemas.microsoft.com/office/drawing/2014/main" id="{8620BA34-DFA1-408E-B9F7-850926DD7857}"/>
                </a:ext>
              </a:extLst>
            </p:cNvPr>
            <p:cNvSpPr>
              <a:spLocks/>
            </p:cNvSpPr>
            <p:nvPr/>
          </p:nvSpPr>
          <p:spPr bwMode="auto">
            <a:xfrm>
              <a:off x="10476694" y="5580826"/>
              <a:ext cx="124726" cy="136064"/>
            </a:xfrm>
            <a:custGeom>
              <a:avLst/>
              <a:gdLst/>
              <a:ahLst/>
              <a:cxnLst>
                <a:cxn ang="0">
                  <a:pos x="7" y="46"/>
                </a:cxn>
                <a:cxn ang="0">
                  <a:pos x="33" y="71"/>
                </a:cxn>
                <a:cxn ang="0">
                  <a:pos x="59" y="45"/>
                </a:cxn>
                <a:cxn ang="0">
                  <a:pos x="64" y="34"/>
                </a:cxn>
                <a:cxn ang="0">
                  <a:pos x="61" y="29"/>
                </a:cxn>
                <a:cxn ang="0">
                  <a:pos x="33" y="0"/>
                </a:cxn>
                <a:cxn ang="0">
                  <a:pos x="6" y="29"/>
                </a:cxn>
                <a:cxn ang="0">
                  <a:pos x="1" y="34"/>
                </a:cxn>
                <a:cxn ang="0">
                  <a:pos x="7" y="46"/>
                </a:cxn>
              </a:cxnLst>
              <a:rect l="0" t="0" r="r" b="b"/>
              <a:pathLst>
                <a:path w="65" h="71">
                  <a:moveTo>
                    <a:pt x="7" y="46"/>
                  </a:moveTo>
                  <a:cubicBezTo>
                    <a:pt x="11" y="59"/>
                    <a:pt x="19" y="71"/>
                    <a:pt x="33" y="71"/>
                  </a:cubicBezTo>
                  <a:cubicBezTo>
                    <a:pt x="47" y="71"/>
                    <a:pt x="55" y="59"/>
                    <a:pt x="59" y="45"/>
                  </a:cubicBezTo>
                  <a:cubicBezTo>
                    <a:pt x="63" y="44"/>
                    <a:pt x="65" y="38"/>
                    <a:pt x="64" y="34"/>
                  </a:cubicBezTo>
                  <a:cubicBezTo>
                    <a:pt x="64" y="31"/>
                    <a:pt x="63" y="30"/>
                    <a:pt x="61" y="29"/>
                  </a:cubicBezTo>
                  <a:cubicBezTo>
                    <a:pt x="60" y="13"/>
                    <a:pt x="49" y="0"/>
                    <a:pt x="33" y="0"/>
                  </a:cubicBezTo>
                  <a:cubicBezTo>
                    <a:pt x="17" y="0"/>
                    <a:pt x="6" y="13"/>
                    <a:pt x="6" y="29"/>
                  </a:cubicBezTo>
                  <a:cubicBezTo>
                    <a:pt x="3" y="30"/>
                    <a:pt x="1" y="31"/>
                    <a:pt x="1" y="34"/>
                  </a:cubicBezTo>
                  <a:cubicBezTo>
                    <a:pt x="0" y="39"/>
                    <a:pt x="3" y="45"/>
                    <a:pt x="7" y="46"/>
                  </a:cubicBezTo>
                  <a:close/>
                </a:path>
              </a:pathLst>
            </a:custGeom>
            <a:noFill/>
            <a:ln w="19050" cap="rnd">
              <a:solidFill>
                <a:schemeClr val="tx1">
                  <a:lumMod val="50000"/>
                  <a:lumOff val="50000"/>
                </a:schemeClr>
              </a:solidFill>
              <a:prstDash val="solid"/>
              <a:miter lim="800000"/>
              <a:headEnd/>
              <a:tailEnd/>
            </a:ln>
          </p:spPr>
          <p:txBody>
            <a:bodyPr vert="horz" wrap="square" lIns="68580" tIns="34291" rIns="68580" bIns="34291" numCol="1" anchor="t" anchorCtr="0" compatLnSpc="1">
              <a:prstTxWarp prst="textNoShape">
                <a:avLst/>
              </a:prstTxWarp>
            </a:bodyPr>
            <a:lstStyle/>
            <a:p>
              <a:pPr>
                <a:defRPr/>
              </a:pPr>
              <a:endParaRPr lang="en-US" kern="0">
                <a:solidFill>
                  <a:sysClr val="windowText" lastClr="000000"/>
                </a:solidFill>
                <a:latin typeface="+mj-lt"/>
              </a:endParaRPr>
            </a:p>
          </p:txBody>
        </p:sp>
        <p:sp>
          <p:nvSpPr>
            <p:cNvPr id="92" name="Freeform 106">
              <a:extLst>
                <a:ext uri="{FF2B5EF4-FFF2-40B4-BE49-F238E27FC236}">
                  <a16:creationId xmlns:a16="http://schemas.microsoft.com/office/drawing/2014/main" id="{185366FF-7CEC-49A6-95C1-13C4E6D9347C}"/>
                </a:ext>
              </a:extLst>
            </p:cNvPr>
            <p:cNvSpPr>
              <a:spLocks/>
            </p:cNvSpPr>
            <p:nvPr/>
          </p:nvSpPr>
          <p:spPr bwMode="auto">
            <a:xfrm>
              <a:off x="10330049" y="5722560"/>
              <a:ext cx="336262" cy="197228"/>
            </a:xfrm>
            <a:custGeom>
              <a:avLst/>
              <a:gdLst>
                <a:gd name="connsiteX0" fmla="*/ 175347 w 336262"/>
                <a:gd name="connsiteY0" fmla="*/ 0 h 197228"/>
                <a:gd name="connsiteX1" fmla="*/ 196368 w 336262"/>
                <a:gd name="connsiteY1" fmla="*/ 72789 h 197228"/>
                <a:gd name="connsiteX2" fmla="*/ 202101 w 336262"/>
                <a:gd name="connsiteY2" fmla="*/ 28733 h 197228"/>
                <a:gd name="connsiteX3" fmla="*/ 196368 w 336262"/>
                <a:gd name="connsiteY3" fmla="*/ 15324 h 197228"/>
                <a:gd name="connsiteX4" fmla="*/ 205923 w 336262"/>
                <a:gd name="connsiteY4" fmla="*/ 5747 h 197228"/>
                <a:gd name="connsiteX5" fmla="*/ 213567 w 336262"/>
                <a:gd name="connsiteY5" fmla="*/ 5747 h 197228"/>
                <a:gd name="connsiteX6" fmla="*/ 223122 w 336262"/>
                <a:gd name="connsiteY6" fmla="*/ 15324 h 197228"/>
                <a:gd name="connsiteX7" fmla="*/ 217389 w 336262"/>
                <a:gd name="connsiteY7" fmla="*/ 28733 h 197228"/>
                <a:gd name="connsiteX8" fmla="*/ 223122 w 336262"/>
                <a:gd name="connsiteY8" fmla="*/ 72789 h 197228"/>
                <a:gd name="connsiteX9" fmla="*/ 244143 w 336262"/>
                <a:gd name="connsiteY9" fmla="*/ 0 h 197228"/>
                <a:gd name="connsiteX10" fmla="*/ 257521 w 336262"/>
                <a:gd name="connsiteY10" fmla="*/ 5747 h 197228"/>
                <a:gd name="connsiteX11" fmla="*/ 303385 w 336262"/>
                <a:gd name="connsiteY11" fmla="*/ 22986 h 197228"/>
                <a:gd name="connsiteX12" fmla="*/ 335872 w 336262"/>
                <a:gd name="connsiteY12" fmla="*/ 145578 h 197228"/>
                <a:gd name="connsiteX13" fmla="*/ 334678 w 336262"/>
                <a:gd name="connsiteY13" fmla="*/ 195859 h 197228"/>
                <a:gd name="connsiteX14" fmla="*/ 334565 w 336262"/>
                <a:gd name="connsiteY14" fmla="*/ 197228 h 197228"/>
                <a:gd name="connsiteX15" fmla="*/ 291701 w 336262"/>
                <a:gd name="connsiteY15" fmla="*/ 197228 h 197228"/>
                <a:gd name="connsiteX16" fmla="*/ 291919 w 336262"/>
                <a:gd name="connsiteY16" fmla="*/ 147493 h 197228"/>
                <a:gd name="connsiteX17" fmla="*/ 118017 w 336262"/>
                <a:gd name="connsiteY17" fmla="*/ 128338 h 197228"/>
                <a:gd name="connsiteX18" fmla="*/ 91263 w 336262"/>
                <a:gd name="connsiteY18" fmla="*/ 170479 h 197228"/>
                <a:gd name="connsiteX19" fmla="*/ 85530 w 336262"/>
                <a:gd name="connsiteY19" fmla="*/ 172395 h 197228"/>
                <a:gd name="connsiteX20" fmla="*/ 81707 w 336262"/>
                <a:gd name="connsiteY20" fmla="*/ 172395 h 197228"/>
                <a:gd name="connsiteX21" fmla="*/ 72152 w 336262"/>
                <a:gd name="connsiteY21" fmla="*/ 172395 h 197228"/>
                <a:gd name="connsiteX22" fmla="*/ 32021 w 336262"/>
                <a:gd name="connsiteY22" fmla="*/ 166648 h 197228"/>
                <a:gd name="connsiteX23" fmla="*/ 9089 w 336262"/>
                <a:gd name="connsiteY23" fmla="*/ 160902 h 197228"/>
                <a:gd name="connsiteX24" fmla="*/ 1445 w 336262"/>
                <a:gd name="connsiteY24" fmla="*/ 136000 h 197228"/>
                <a:gd name="connsiteX25" fmla="*/ 18644 w 336262"/>
                <a:gd name="connsiteY25" fmla="*/ 116845 h 197228"/>
                <a:gd name="connsiteX26" fmla="*/ 20555 w 336262"/>
                <a:gd name="connsiteY26" fmla="*/ 116845 h 197228"/>
                <a:gd name="connsiteX27" fmla="*/ 51131 w 336262"/>
                <a:gd name="connsiteY27" fmla="*/ 122592 h 197228"/>
                <a:gd name="connsiteX28" fmla="*/ 68330 w 336262"/>
                <a:gd name="connsiteY28" fmla="*/ 124507 h 197228"/>
                <a:gd name="connsiteX29" fmla="*/ 74063 w 336262"/>
                <a:gd name="connsiteY29" fmla="*/ 126423 h 197228"/>
                <a:gd name="connsiteX30" fmla="*/ 75974 w 336262"/>
                <a:gd name="connsiteY30" fmla="*/ 120676 h 197228"/>
                <a:gd name="connsiteX31" fmla="*/ 104640 w 336262"/>
                <a:gd name="connsiteY31" fmla="*/ 61296 h 197228"/>
                <a:gd name="connsiteX32" fmla="*/ 116106 w 336262"/>
                <a:gd name="connsiteY32" fmla="*/ 36395 h 197228"/>
                <a:gd name="connsiteX33" fmla="*/ 119928 w 336262"/>
                <a:gd name="connsiteY33" fmla="*/ 28733 h 197228"/>
                <a:gd name="connsiteX34" fmla="*/ 121839 w 336262"/>
                <a:gd name="connsiteY34" fmla="*/ 26817 h 197228"/>
                <a:gd name="connsiteX35" fmla="*/ 127572 w 336262"/>
                <a:gd name="connsiteY35" fmla="*/ 19155 h 197228"/>
                <a:gd name="connsiteX36" fmla="*/ 160059 w 336262"/>
                <a:gd name="connsiteY36" fmla="*/ 5747 h 197228"/>
                <a:gd name="connsiteX37" fmla="*/ 175347 w 336262"/>
                <a:gd name="connsiteY37" fmla="*/ 0 h 197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36262" h="197228">
                  <a:moveTo>
                    <a:pt x="175347" y="0"/>
                  </a:moveTo>
                  <a:cubicBezTo>
                    <a:pt x="175347" y="11493"/>
                    <a:pt x="179169" y="38310"/>
                    <a:pt x="196368" y="72789"/>
                  </a:cubicBezTo>
                  <a:cubicBezTo>
                    <a:pt x="198279" y="49803"/>
                    <a:pt x="202101" y="30648"/>
                    <a:pt x="202101" y="28733"/>
                  </a:cubicBezTo>
                  <a:cubicBezTo>
                    <a:pt x="202101" y="28733"/>
                    <a:pt x="202101" y="28733"/>
                    <a:pt x="196368" y="15324"/>
                  </a:cubicBezTo>
                  <a:cubicBezTo>
                    <a:pt x="196368" y="15324"/>
                    <a:pt x="196368" y="15324"/>
                    <a:pt x="205923" y="5747"/>
                  </a:cubicBezTo>
                  <a:cubicBezTo>
                    <a:pt x="205923" y="5747"/>
                    <a:pt x="205923" y="5747"/>
                    <a:pt x="213567" y="5747"/>
                  </a:cubicBezTo>
                  <a:cubicBezTo>
                    <a:pt x="213567" y="5747"/>
                    <a:pt x="213567" y="5747"/>
                    <a:pt x="223122" y="15324"/>
                  </a:cubicBezTo>
                  <a:cubicBezTo>
                    <a:pt x="223122" y="15324"/>
                    <a:pt x="223122" y="15324"/>
                    <a:pt x="217389" y="28733"/>
                  </a:cubicBezTo>
                  <a:cubicBezTo>
                    <a:pt x="217389" y="30648"/>
                    <a:pt x="221211" y="49803"/>
                    <a:pt x="223122" y="72789"/>
                  </a:cubicBezTo>
                  <a:cubicBezTo>
                    <a:pt x="240321" y="38310"/>
                    <a:pt x="244143" y="11493"/>
                    <a:pt x="244143" y="0"/>
                  </a:cubicBezTo>
                  <a:cubicBezTo>
                    <a:pt x="249876" y="1916"/>
                    <a:pt x="253699" y="3831"/>
                    <a:pt x="257521" y="5747"/>
                  </a:cubicBezTo>
                  <a:cubicBezTo>
                    <a:pt x="270898" y="9578"/>
                    <a:pt x="291919" y="17240"/>
                    <a:pt x="303385" y="22986"/>
                  </a:cubicBezTo>
                  <a:cubicBezTo>
                    <a:pt x="309118" y="28733"/>
                    <a:pt x="328228" y="57465"/>
                    <a:pt x="335872" y="145578"/>
                  </a:cubicBezTo>
                  <a:cubicBezTo>
                    <a:pt x="336828" y="158986"/>
                    <a:pt x="335872" y="179099"/>
                    <a:pt x="334678" y="195859"/>
                  </a:cubicBezTo>
                  <a:lnTo>
                    <a:pt x="334565" y="197228"/>
                  </a:lnTo>
                  <a:lnTo>
                    <a:pt x="291701" y="197228"/>
                  </a:lnTo>
                  <a:lnTo>
                    <a:pt x="291919" y="147493"/>
                  </a:lnTo>
                  <a:lnTo>
                    <a:pt x="118017" y="128338"/>
                  </a:lnTo>
                  <a:cubicBezTo>
                    <a:pt x="106551" y="164733"/>
                    <a:pt x="91263" y="170479"/>
                    <a:pt x="91263" y="170479"/>
                  </a:cubicBezTo>
                  <a:cubicBezTo>
                    <a:pt x="89352" y="172395"/>
                    <a:pt x="87441" y="172395"/>
                    <a:pt x="85530" y="172395"/>
                  </a:cubicBezTo>
                  <a:cubicBezTo>
                    <a:pt x="83619" y="172395"/>
                    <a:pt x="81707" y="172395"/>
                    <a:pt x="81707" y="172395"/>
                  </a:cubicBezTo>
                  <a:cubicBezTo>
                    <a:pt x="77885" y="172395"/>
                    <a:pt x="74063" y="172395"/>
                    <a:pt x="72152" y="172395"/>
                  </a:cubicBezTo>
                  <a:cubicBezTo>
                    <a:pt x="58775" y="170479"/>
                    <a:pt x="45398" y="168564"/>
                    <a:pt x="32021" y="166648"/>
                  </a:cubicBezTo>
                  <a:cubicBezTo>
                    <a:pt x="18644" y="162817"/>
                    <a:pt x="9089" y="160902"/>
                    <a:pt x="9089" y="160902"/>
                  </a:cubicBezTo>
                  <a:cubicBezTo>
                    <a:pt x="-2377" y="158986"/>
                    <a:pt x="-466" y="149409"/>
                    <a:pt x="1445" y="136000"/>
                  </a:cubicBezTo>
                  <a:cubicBezTo>
                    <a:pt x="3356" y="124507"/>
                    <a:pt x="5267" y="114930"/>
                    <a:pt x="18644" y="116845"/>
                  </a:cubicBezTo>
                  <a:cubicBezTo>
                    <a:pt x="18644" y="116845"/>
                    <a:pt x="18644" y="116845"/>
                    <a:pt x="20555" y="116845"/>
                  </a:cubicBezTo>
                  <a:cubicBezTo>
                    <a:pt x="26288" y="118761"/>
                    <a:pt x="37754" y="120676"/>
                    <a:pt x="51131" y="122592"/>
                  </a:cubicBezTo>
                  <a:cubicBezTo>
                    <a:pt x="56864" y="122592"/>
                    <a:pt x="64508" y="124507"/>
                    <a:pt x="68330" y="124507"/>
                  </a:cubicBezTo>
                  <a:cubicBezTo>
                    <a:pt x="70241" y="126423"/>
                    <a:pt x="72152" y="126423"/>
                    <a:pt x="74063" y="126423"/>
                  </a:cubicBezTo>
                  <a:cubicBezTo>
                    <a:pt x="74063" y="124507"/>
                    <a:pt x="75974" y="122592"/>
                    <a:pt x="75974" y="120676"/>
                  </a:cubicBezTo>
                  <a:cubicBezTo>
                    <a:pt x="85530" y="105352"/>
                    <a:pt x="96996" y="82366"/>
                    <a:pt x="104640" y="61296"/>
                  </a:cubicBezTo>
                  <a:cubicBezTo>
                    <a:pt x="110373" y="51719"/>
                    <a:pt x="114195" y="44057"/>
                    <a:pt x="116106" y="36395"/>
                  </a:cubicBezTo>
                  <a:cubicBezTo>
                    <a:pt x="118017" y="34479"/>
                    <a:pt x="119928" y="30648"/>
                    <a:pt x="119928" y="28733"/>
                  </a:cubicBezTo>
                  <a:cubicBezTo>
                    <a:pt x="121839" y="28733"/>
                    <a:pt x="121839" y="26817"/>
                    <a:pt x="121839" y="26817"/>
                  </a:cubicBezTo>
                  <a:cubicBezTo>
                    <a:pt x="123750" y="22986"/>
                    <a:pt x="125661" y="21071"/>
                    <a:pt x="127572" y="19155"/>
                  </a:cubicBezTo>
                  <a:cubicBezTo>
                    <a:pt x="129483" y="15324"/>
                    <a:pt x="137127" y="11493"/>
                    <a:pt x="160059" y="5747"/>
                  </a:cubicBezTo>
                  <a:cubicBezTo>
                    <a:pt x="165792" y="3831"/>
                    <a:pt x="169614" y="1916"/>
                    <a:pt x="175347" y="0"/>
                  </a:cubicBezTo>
                  <a:close/>
                </a:path>
              </a:pathLst>
            </a:custGeom>
            <a:noFill/>
            <a:ln w="19050" cap="rnd">
              <a:solidFill>
                <a:schemeClr val="tx1">
                  <a:lumMod val="50000"/>
                  <a:lumOff val="50000"/>
                </a:schemeClr>
              </a:solidFill>
              <a:prstDash val="solid"/>
              <a:miter lim="800000"/>
              <a:headEnd/>
              <a:tailEnd/>
            </a:ln>
          </p:spPr>
          <p:txBody>
            <a:bodyPr vert="horz" wrap="square" lIns="68580" tIns="34291" rIns="68580" bIns="34291" numCol="1" anchor="t" anchorCtr="0" compatLnSpc="1">
              <a:prstTxWarp prst="textNoShape">
                <a:avLst/>
              </a:prstTxWarp>
              <a:noAutofit/>
            </a:bodyPr>
            <a:lstStyle/>
            <a:p>
              <a:pPr>
                <a:defRPr/>
              </a:pPr>
              <a:endParaRPr lang="en-US" kern="0">
                <a:solidFill>
                  <a:sysClr val="windowText" lastClr="000000"/>
                </a:solidFill>
                <a:latin typeface="+mj-lt"/>
              </a:endParaRPr>
            </a:p>
          </p:txBody>
        </p:sp>
      </p:grpSp>
      <p:grpSp>
        <p:nvGrpSpPr>
          <p:cNvPr id="93" name="Group 92">
            <a:extLst>
              <a:ext uri="{FF2B5EF4-FFF2-40B4-BE49-F238E27FC236}">
                <a16:creationId xmlns:a16="http://schemas.microsoft.com/office/drawing/2014/main" id="{7169AC11-7CA5-495E-9E5E-1029B0ED2A0A}"/>
              </a:ext>
            </a:extLst>
          </p:cNvPr>
          <p:cNvGrpSpPr/>
          <p:nvPr/>
        </p:nvGrpSpPr>
        <p:grpSpPr>
          <a:xfrm flipH="1">
            <a:off x="5320726" y="2701726"/>
            <a:ext cx="351736" cy="274284"/>
            <a:chOff x="10330049" y="5580826"/>
            <a:chExt cx="336262" cy="338962"/>
          </a:xfrm>
        </p:grpSpPr>
        <p:sp>
          <p:nvSpPr>
            <p:cNvPr id="94" name="Freeform 103">
              <a:extLst>
                <a:ext uri="{FF2B5EF4-FFF2-40B4-BE49-F238E27FC236}">
                  <a16:creationId xmlns:a16="http://schemas.microsoft.com/office/drawing/2014/main" id="{3F9EDAB7-B3C5-439B-A1FB-08F39E9F770D}"/>
                </a:ext>
              </a:extLst>
            </p:cNvPr>
            <p:cNvSpPr>
              <a:spLocks/>
            </p:cNvSpPr>
            <p:nvPr/>
          </p:nvSpPr>
          <p:spPr bwMode="auto">
            <a:xfrm>
              <a:off x="10476694" y="5580826"/>
              <a:ext cx="124726" cy="136064"/>
            </a:xfrm>
            <a:custGeom>
              <a:avLst/>
              <a:gdLst/>
              <a:ahLst/>
              <a:cxnLst>
                <a:cxn ang="0">
                  <a:pos x="7" y="46"/>
                </a:cxn>
                <a:cxn ang="0">
                  <a:pos x="33" y="71"/>
                </a:cxn>
                <a:cxn ang="0">
                  <a:pos x="59" y="45"/>
                </a:cxn>
                <a:cxn ang="0">
                  <a:pos x="64" y="34"/>
                </a:cxn>
                <a:cxn ang="0">
                  <a:pos x="61" y="29"/>
                </a:cxn>
                <a:cxn ang="0">
                  <a:pos x="33" y="0"/>
                </a:cxn>
                <a:cxn ang="0">
                  <a:pos x="6" y="29"/>
                </a:cxn>
                <a:cxn ang="0">
                  <a:pos x="1" y="34"/>
                </a:cxn>
                <a:cxn ang="0">
                  <a:pos x="7" y="46"/>
                </a:cxn>
              </a:cxnLst>
              <a:rect l="0" t="0" r="r" b="b"/>
              <a:pathLst>
                <a:path w="65" h="71">
                  <a:moveTo>
                    <a:pt x="7" y="46"/>
                  </a:moveTo>
                  <a:cubicBezTo>
                    <a:pt x="11" y="59"/>
                    <a:pt x="19" y="71"/>
                    <a:pt x="33" y="71"/>
                  </a:cubicBezTo>
                  <a:cubicBezTo>
                    <a:pt x="47" y="71"/>
                    <a:pt x="55" y="59"/>
                    <a:pt x="59" y="45"/>
                  </a:cubicBezTo>
                  <a:cubicBezTo>
                    <a:pt x="63" y="44"/>
                    <a:pt x="65" y="38"/>
                    <a:pt x="64" y="34"/>
                  </a:cubicBezTo>
                  <a:cubicBezTo>
                    <a:pt x="64" y="31"/>
                    <a:pt x="63" y="30"/>
                    <a:pt x="61" y="29"/>
                  </a:cubicBezTo>
                  <a:cubicBezTo>
                    <a:pt x="60" y="13"/>
                    <a:pt x="49" y="0"/>
                    <a:pt x="33" y="0"/>
                  </a:cubicBezTo>
                  <a:cubicBezTo>
                    <a:pt x="17" y="0"/>
                    <a:pt x="6" y="13"/>
                    <a:pt x="6" y="29"/>
                  </a:cubicBezTo>
                  <a:cubicBezTo>
                    <a:pt x="3" y="30"/>
                    <a:pt x="1" y="31"/>
                    <a:pt x="1" y="34"/>
                  </a:cubicBezTo>
                  <a:cubicBezTo>
                    <a:pt x="0" y="39"/>
                    <a:pt x="3" y="45"/>
                    <a:pt x="7" y="46"/>
                  </a:cubicBezTo>
                  <a:close/>
                </a:path>
              </a:pathLst>
            </a:custGeom>
            <a:noFill/>
            <a:ln w="19050" cap="rnd">
              <a:solidFill>
                <a:schemeClr val="tx1">
                  <a:lumMod val="50000"/>
                  <a:lumOff val="50000"/>
                </a:schemeClr>
              </a:solidFill>
              <a:prstDash val="solid"/>
              <a:miter lim="800000"/>
              <a:headEnd/>
              <a:tailEnd/>
            </a:ln>
          </p:spPr>
          <p:txBody>
            <a:bodyPr vert="horz" wrap="square" lIns="68580" tIns="34291" rIns="68580" bIns="34291" numCol="1" anchor="t" anchorCtr="0" compatLnSpc="1">
              <a:prstTxWarp prst="textNoShape">
                <a:avLst/>
              </a:prstTxWarp>
            </a:bodyPr>
            <a:lstStyle/>
            <a:p>
              <a:pPr>
                <a:defRPr/>
              </a:pPr>
              <a:endParaRPr lang="en-US" kern="0">
                <a:solidFill>
                  <a:sysClr val="windowText" lastClr="000000"/>
                </a:solidFill>
                <a:latin typeface="+mj-lt"/>
              </a:endParaRPr>
            </a:p>
          </p:txBody>
        </p:sp>
        <p:sp>
          <p:nvSpPr>
            <p:cNvPr id="95" name="Freeform 104">
              <a:extLst>
                <a:ext uri="{FF2B5EF4-FFF2-40B4-BE49-F238E27FC236}">
                  <a16:creationId xmlns:a16="http://schemas.microsoft.com/office/drawing/2014/main" id="{2B93BAA3-DEC5-476D-80AD-CA8EF49559E3}"/>
                </a:ext>
              </a:extLst>
            </p:cNvPr>
            <p:cNvSpPr>
              <a:spLocks/>
            </p:cNvSpPr>
            <p:nvPr/>
          </p:nvSpPr>
          <p:spPr bwMode="auto">
            <a:xfrm>
              <a:off x="10330049" y="5722560"/>
              <a:ext cx="336262" cy="197228"/>
            </a:xfrm>
            <a:custGeom>
              <a:avLst/>
              <a:gdLst>
                <a:gd name="connsiteX0" fmla="*/ 175347 w 336262"/>
                <a:gd name="connsiteY0" fmla="*/ 0 h 197228"/>
                <a:gd name="connsiteX1" fmla="*/ 196368 w 336262"/>
                <a:gd name="connsiteY1" fmla="*/ 72789 h 197228"/>
                <a:gd name="connsiteX2" fmla="*/ 202101 w 336262"/>
                <a:gd name="connsiteY2" fmla="*/ 28733 h 197228"/>
                <a:gd name="connsiteX3" fmla="*/ 196368 w 336262"/>
                <a:gd name="connsiteY3" fmla="*/ 15324 h 197228"/>
                <a:gd name="connsiteX4" fmla="*/ 205923 w 336262"/>
                <a:gd name="connsiteY4" fmla="*/ 5747 h 197228"/>
                <a:gd name="connsiteX5" fmla="*/ 213567 w 336262"/>
                <a:gd name="connsiteY5" fmla="*/ 5747 h 197228"/>
                <a:gd name="connsiteX6" fmla="*/ 223122 w 336262"/>
                <a:gd name="connsiteY6" fmla="*/ 15324 h 197228"/>
                <a:gd name="connsiteX7" fmla="*/ 217389 w 336262"/>
                <a:gd name="connsiteY7" fmla="*/ 28733 h 197228"/>
                <a:gd name="connsiteX8" fmla="*/ 223122 w 336262"/>
                <a:gd name="connsiteY8" fmla="*/ 72789 h 197228"/>
                <a:gd name="connsiteX9" fmla="*/ 244143 w 336262"/>
                <a:gd name="connsiteY9" fmla="*/ 0 h 197228"/>
                <a:gd name="connsiteX10" fmla="*/ 257521 w 336262"/>
                <a:gd name="connsiteY10" fmla="*/ 5747 h 197228"/>
                <a:gd name="connsiteX11" fmla="*/ 303385 w 336262"/>
                <a:gd name="connsiteY11" fmla="*/ 22986 h 197228"/>
                <a:gd name="connsiteX12" fmla="*/ 335872 w 336262"/>
                <a:gd name="connsiteY12" fmla="*/ 145578 h 197228"/>
                <a:gd name="connsiteX13" fmla="*/ 334678 w 336262"/>
                <a:gd name="connsiteY13" fmla="*/ 195859 h 197228"/>
                <a:gd name="connsiteX14" fmla="*/ 334565 w 336262"/>
                <a:gd name="connsiteY14" fmla="*/ 197228 h 197228"/>
                <a:gd name="connsiteX15" fmla="*/ 291701 w 336262"/>
                <a:gd name="connsiteY15" fmla="*/ 197228 h 197228"/>
                <a:gd name="connsiteX16" fmla="*/ 291919 w 336262"/>
                <a:gd name="connsiteY16" fmla="*/ 147493 h 197228"/>
                <a:gd name="connsiteX17" fmla="*/ 118017 w 336262"/>
                <a:gd name="connsiteY17" fmla="*/ 128338 h 197228"/>
                <a:gd name="connsiteX18" fmla="*/ 91263 w 336262"/>
                <a:gd name="connsiteY18" fmla="*/ 170479 h 197228"/>
                <a:gd name="connsiteX19" fmla="*/ 85530 w 336262"/>
                <a:gd name="connsiteY19" fmla="*/ 172395 h 197228"/>
                <a:gd name="connsiteX20" fmla="*/ 81707 w 336262"/>
                <a:gd name="connsiteY20" fmla="*/ 172395 h 197228"/>
                <a:gd name="connsiteX21" fmla="*/ 72152 w 336262"/>
                <a:gd name="connsiteY21" fmla="*/ 172395 h 197228"/>
                <a:gd name="connsiteX22" fmla="*/ 32021 w 336262"/>
                <a:gd name="connsiteY22" fmla="*/ 166648 h 197228"/>
                <a:gd name="connsiteX23" fmla="*/ 9089 w 336262"/>
                <a:gd name="connsiteY23" fmla="*/ 160902 h 197228"/>
                <a:gd name="connsiteX24" fmla="*/ 1445 w 336262"/>
                <a:gd name="connsiteY24" fmla="*/ 136000 h 197228"/>
                <a:gd name="connsiteX25" fmla="*/ 18644 w 336262"/>
                <a:gd name="connsiteY25" fmla="*/ 116845 h 197228"/>
                <a:gd name="connsiteX26" fmla="*/ 20555 w 336262"/>
                <a:gd name="connsiteY26" fmla="*/ 116845 h 197228"/>
                <a:gd name="connsiteX27" fmla="*/ 51131 w 336262"/>
                <a:gd name="connsiteY27" fmla="*/ 122592 h 197228"/>
                <a:gd name="connsiteX28" fmla="*/ 68330 w 336262"/>
                <a:gd name="connsiteY28" fmla="*/ 124507 h 197228"/>
                <a:gd name="connsiteX29" fmla="*/ 74063 w 336262"/>
                <a:gd name="connsiteY29" fmla="*/ 126423 h 197228"/>
                <a:gd name="connsiteX30" fmla="*/ 75974 w 336262"/>
                <a:gd name="connsiteY30" fmla="*/ 120676 h 197228"/>
                <a:gd name="connsiteX31" fmla="*/ 104640 w 336262"/>
                <a:gd name="connsiteY31" fmla="*/ 61296 h 197228"/>
                <a:gd name="connsiteX32" fmla="*/ 116106 w 336262"/>
                <a:gd name="connsiteY32" fmla="*/ 36395 h 197228"/>
                <a:gd name="connsiteX33" fmla="*/ 119928 w 336262"/>
                <a:gd name="connsiteY33" fmla="*/ 28733 h 197228"/>
                <a:gd name="connsiteX34" fmla="*/ 121839 w 336262"/>
                <a:gd name="connsiteY34" fmla="*/ 26817 h 197228"/>
                <a:gd name="connsiteX35" fmla="*/ 127572 w 336262"/>
                <a:gd name="connsiteY35" fmla="*/ 19155 h 197228"/>
                <a:gd name="connsiteX36" fmla="*/ 160059 w 336262"/>
                <a:gd name="connsiteY36" fmla="*/ 5747 h 197228"/>
                <a:gd name="connsiteX37" fmla="*/ 175347 w 336262"/>
                <a:gd name="connsiteY37" fmla="*/ 0 h 197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36262" h="197228">
                  <a:moveTo>
                    <a:pt x="175347" y="0"/>
                  </a:moveTo>
                  <a:cubicBezTo>
                    <a:pt x="175347" y="11493"/>
                    <a:pt x="179169" y="38310"/>
                    <a:pt x="196368" y="72789"/>
                  </a:cubicBezTo>
                  <a:cubicBezTo>
                    <a:pt x="198279" y="49803"/>
                    <a:pt x="202101" y="30648"/>
                    <a:pt x="202101" y="28733"/>
                  </a:cubicBezTo>
                  <a:cubicBezTo>
                    <a:pt x="202101" y="28733"/>
                    <a:pt x="202101" y="28733"/>
                    <a:pt x="196368" y="15324"/>
                  </a:cubicBezTo>
                  <a:cubicBezTo>
                    <a:pt x="196368" y="15324"/>
                    <a:pt x="196368" y="15324"/>
                    <a:pt x="205923" y="5747"/>
                  </a:cubicBezTo>
                  <a:cubicBezTo>
                    <a:pt x="205923" y="5747"/>
                    <a:pt x="205923" y="5747"/>
                    <a:pt x="213567" y="5747"/>
                  </a:cubicBezTo>
                  <a:cubicBezTo>
                    <a:pt x="213567" y="5747"/>
                    <a:pt x="213567" y="5747"/>
                    <a:pt x="223122" y="15324"/>
                  </a:cubicBezTo>
                  <a:cubicBezTo>
                    <a:pt x="223122" y="15324"/>
                    <a:pt x="223122" y="15324"/>
                    <a:pt x="217389" y="28733"/>
                  </a:cubicBezTo>
                  <a:cubicBezTo>
                    <a:pt x="217389" y="30648"/>
                    <a:pt x="221211" y="49803"/>
                    <a:pt x="223122" y="72789"/>
                  </a:cubicBezTo>
                  <a:cubicBezTo>
                    <a:pt x="240321" y="38310"/>
                    <a:pt x="244143" y="11493"/>
                    <a:pt x="244143" y="0"/>
                  </a:cubicBezTo>
                  <a:cubicBezTo>
                    <a:pt x="249876" y="1916"/>
                    <a:pt x="253699" y="3831"/>
                    <a:pt x="257521" y="5747"/>
                  </a:cubicBezTo>
                  <a:cubicBezTo>
                    <a:pt x="270898" y="9578"/>
                    <a:pt x="291919" y="17240"/>
                    <a:pt x="303385" y="22986"/>
                  </a:cubicBezTo>
                  <a:cubicBezTo>
                    <a:pt x="309118" y="28733"/>
                    <a:pt x="328228" y="57465"/>
                    <a:pt x="335872" y="145578"/>
                  </a:cubicBezTo>
                  <a:cubicBezTo>
                    <a:pt x="336828" y="158986"/>
                    <a:pt x="335872" y="179099"/>
                    <a:pt x="334678" y="195859"/>
                  </a:cubicBezTo>
                  <a:lnTo>
                    <a:pt x="334565" y="197228"/>
                  </a:lnTo>
                  <a:lnTo>
                    <a:pt x="291701" y="197228"/>
                  </a:lnTo>
                  <a:lnTo>
                    <a:pt x="291919" y="147493"/>
                  </a:lnTo>
                  <a:lnTo>
                    <a:pt x="118017" y="128338"/>
                  </a:lnTo>
                  <a:cubicBezTo>
                    <a:pt x="106551" y="164733"/>
                    <a:pt x="91263" y="170479"/>
                    <a:pt x="91263" y="170479"/>
                  </a:cubicBezTo>
                  <a:cubicBezTo>
                    <a:pt x="89352" y="172395"/>
                    <a:pt x="87441" y="172395"/>
                    <a:pt x="85530" y="172395"/>
                  </a:cubicBezTo>
                  <a:cubicBezTo>
                    <a:pt x="83619" y="172395"/>
                    <a:pt x="81707" y="172395"/>
                    <a:pt x="81707" y="172395"/>
                  </a:cubicBezTo>
                  <a:cubicBezTo>
                    <a:pt x="77885" y="172395"/>
                    <a:pt x="74063" y="172395"/>
                    <a:pt x="72152" y="172395"/>
                  </a:cubicBezTo>
                  <a:cubicBezTo>
                    <a:pt x="58775" y="170479"/>
                    <a:pt x="45398" y="168564"/>
                    <a:pt x="32021" y="166648"/>
                  </a:cubicBezTo>
                  <a:cubicBezTo>
                    <a:pt x="18644" y="162817"/>
                    <a:pt x="9089" y="160902"/>
                    <a:pt x="9089" y="160902"/>
                  </a:cubicBezTo>
                  <a:cubicBezTo>
                    <a:pt x="-2377" y="158986"/>
                    <a:pt x="-466" y="149409"/>
                    <a:pt x="1445" y="136000"/>
                  </a:cubicBezTo>
                  <a:cubicBezTo>
                    <a:pt x="3356" y="124507"/>
                    <a:pt x="5267" y="114930"/>
                    <a:pt x="18644" y="116845"/>
                  </a:cubicBezTo>
                  <a:cubicBezTo>
                    <a:pt x="18644" y="116845"/>
                    <a:pt x="18644" y="116845"/>
                    <a:pt x="20555" y="116845"/>
                  </a:cubicBezTo>
                  <a:cubicBezTo>
                    <a:pt x="26288" y="118761"/>
                    <a:pt x="37754" y="120676"/>
                    <a:pt x="51131" y="122592"/>
                  </a:cubicBezTo>
                  <a:cubicBezTo>
                    <a:pt x="56864" y="122592"/>
                    <a:pt x="64508" y="124507"/>
                    <a:pt x="68330" y="124507"/>
                  </a:cubicBezTo>
                  <a:cubicBezTo>
                    <a:pt x="70241" y="126423"/>
                    <a:pt x="72152" y="126423"/>
                    <a:pt x="74063" y="126423"/>
                  </a:cubicBezTo>
                  <a:cubicBezTo>
                    <a:pt x="74063" y="124507"/>
                    <a:pt x="75974" y="122592"/>
                    <a:pt x="75974" y="120676"/>
                  </a:cubicBezTo>
                  <a:cubicBezTo>
                    <a:pt x="85530" y="105352"/>
                    <a:pt x="96996" y="82366"/>
                    <a:pt x="104640" y="61296"/>
                  </a:cubicBezTo>
                  <a:cubicBezTo>
                    <a:pt x="110373" y="51719"/>
                    <a:pt x="114195" y="44057"/>
                    <a:pt x="116106" y="36395"/>
                  </a:cubicBezTo>
                  <a:cubicBezTo>
                    <a:pt x="118017" y="34479"/>
                    <a:pt x="119928" y="30648"/>
                    <a:pt x="119928" y="28733"/>
                  </a:cubicBezTo>
                  <a:cubicBezTo>
                    <a:pt x="121839" y="28733"/>
                    <a:pt x="121839" y="26817"/>
                    <a:pt x="121839" y="26817"/>
                  </a:cubicBezTo>
                  <a:cubicBezTo>
                    <a:pt x="123750" y="22986"/>
                    <a:pt x="125661" y="21071"/>
                    <a:pt x="127572" y="19155"/>
                  </a:cubicBezTo>
                  <a:cubicBezTo>
                    <a:pt x="129483" y="15324"/>
                    <a:pt x="137127" y="11493"/>
                    <a:pt x="160059" y="5747"/>
                  </a:cubicBezTo>
                  <a:cubicBezTo>
                    <a:pt x="165792" y="3831"/>
                    <a:pt x="169614" y="1916"/>
                    <a:pt x="175347" y="0"/>
                  </a:cubicBezTo>
                  <a:close/>
                </a:path>
              </a:pathLst>
            </a:custGeom>
            <a:noFill/>
            <a:ln w="19050" cap="rnd">
              <a:solidFill>
                <a:schemeClr val="tx1">
                  <a:lumMod val="50000"/>
                  <a:lumOff val="50000"/>
                </a:schemeClr>
              </a:solidFill>
              <a:prstDash val="solid"/>
              <a:miter lim="800000"/>
              <a:headEnd/>
              <a:tailEnd/>
            </a:ln>
          </p:spPr>
          <p:txBody>
            <a:bodyPr vert="horz" wrap="square" lIns="68580" tIns="34291" rIns="68580" bIns="34291" numCol="1" anchor="t" anchorCtr="0" compatLnSpc="1">
              <a:prstTxWarp prst="textNoShape">
                <a:avLst/>
              </a:prstTxWarp>
              <a:noAutofit/>
            </a:bodyPr>
            <a:lstStyle/>
            <a:p>
              <a:pPr>
                <a:defRPr/>
              </a:pPr>
              <a:endParaRPr lang="en-US" kern="0">
                <a:solidFill>
                  <a:sysClr val="windowText" lastClr="000000"/>
                </a:solidFill>
                <a:latin typeface="+mj-lt"/>
              </a:endParaRPr>
            </a:p>
          </p:txBody>
        </p:sp>
      </p:grpSp>
      <p:grpSp>
        <p:nvGrpSpPr>
          <p:cNvPr id="96" name="Group 626">
            <a:extLst>
              <a:ext uri="{FF2B5EF4-FFF2-40B4-BE49-F238E27FC236}">
                <a16:creationId xmlns:a16="http://schemas.microsoft.com/office/drawing/2014/main" id="{5CCF241B-27DF-4568-8D3D-16CF2CEDFB9C}"/>
              </a:ext>
            </a:extLst>
          </p:cNvPr>
          <p:cNvGrpSpPr/>
          <p:nvPr/>
        </p:nvGrpSpPr>
        <p:grpSpPr>
          <a:xfrm>
            <a:off x="9254157" y="2843921"/>
            <a:ext cx="306924" cy="207396"/>
            <a:chOff x="4095673" y="3381206"/>
            <a:chExt cx="300645" cy="262612"/>
          </a:xfrm>
        </p:grpSpPr>
        <p:sp>
          <p:nvSpPr>
            <p:cNvPr id="97" name="Freeform 804">
              <a:extLst>
                <a:ext uri="{FF2B5EF4-FFF2-40B4-BE49-F238E27FC236}">
                  <a16:creationId xmlns:a16="http://schemas.microsoft.com/office/drawing/2014/main" id="{7CB7E221-2BDD-44BE-951F-08525520245D}"/>
                </a:ext>
              </a:extLst>
            </p:cNvPr>
            <p:cNvSpPr>
              <a:spLocks/>
            </p:cNvSpPr>
            <p:nvPr/>
          </p:nvSpPr>
          <p:spPr bwMode="auto">
            <a:xfrm>
              <a:off x="4095673" y="3491780"/>
              <a:ext cx="183152" cy="152038"/>
            </a:xfrm>
            <a:custGeom>
              <a:avLst/>
              <a:gdLst>
                <a:gd name="T0" fmla="*/ 0 w 107"/>
                <a:gd name="T1" fmla="*/ 69850 h 89"/>
                <a:gd name="T2" fmla="*/ 0 w 107"/>
                <a:gd name="T3" fmla="*/ 69850 h 89"/>
                <a:gd name="T4" fmla="*/ 0 w 107"/>
                <a:gd name="T5" fmla="*/ 69850 h 89"/>
                <a:gd name="T6" fmla="*/ 786 w 107"/>
                <a:gd name="T7" fmla="*/ 52584 h 89"/>
                <a:gd name="T8" fmla="*/ 1573 w 107"/>
                <a:gd name="T9" fmla="*/ 43951 h 89"/>
                <a:gd name="T10" fmla="*/ 3932 w 107"/>
                <a:gd name="T11" fmla="*/ 35317 h 89"/>
                <a:gd name="T12" fmla="*/ 7077 w 107"/>
                <a:gd name="T13" fmla="*/ 28254 h 89"/>
                <a:gd name="T14" fmla="*/ 11009 w 107"/>
                <a:gd name="T15" fmla="*/ 21190 h 89"/>
                <a:gd name="T16" fmla="*/ 15727 w 107"/>
                <a:gd name="T17" fmla="*/ 14912 h 89"/>
                <a:gd name="T18" fmla="*/ 22804 w 107"/>
                <a:gd name="T19" fmla="*/ 7848 h 89"/>
                <a:gd name="T20" fmla="*/ 22804 w 107"/>
                <a:gd name="T21" fmla="*/ 7848 h 89"/>
                <a:gd name="T22" fmla="*/ 29094 w 107"/>
                <a:gd name="T23" fmla="*/ 3924 h 89"/>
                <a:gd name="T24" fmla="*/ 36958 w 107"/>
                <a:gd name="T25" fmla="*/ 1570 h 89"/>
                <a:gd name="T26" fmla="*/ 45608 w 107"/>
                <a:gd name="T27" fmla="*/ 0 h 89"/>
                <a:gd name="T28" fmla="*/ 54257 w 107"/>
                <a:gd name="T29" fmla="*/ 1570 h 89"/>
                <a:gd name="T30" fmla="*/ 62121 w 107"/>
                <a:gd name="T31" fmla="*/ 2354 h 89"/>
                <a:gd name="T32" fmla="*/ 70770 w 107"/>
                <a:gd name="T33" fmla="*/ 4709 h 89"/>
                <a:gd name="T34" fmla="*/ 77061 w 107"/>
                <a:gd name="T35" fmla="*/ 8633 h 89"/>
                <a:gd name="T36" fmla="*/ 84138 w 107"/>
                <a:gd name="T37" fmla="*/ 14912 h 8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7"/>
                <a:gd name="T58" fmla="*/ 0 h 89"/>
                <a:gd name="T59" fmla="*/ 107 w 107"/>
                <a:gd name="T60" fmla="*/ 89 h 8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7" h="89">
                  <a:moveTo>
                    <a:pt x="0" y="89"/>
                  </a:moveTo>
                  <a:lnTo>
                    <a:pt x="0" y="89"/>
                  </a:lnTo>
                  <a:lnTo>
                    <a:pt x="1" y="67"/>
                  </a:lnTo>
                  <a:lnTo>
                    <a:pt x="2" y="56"/>
                  </a:lnTo>
                  <a:lnTo>
                    <a:pt x="5" y="45"/>
                  </a:lnTo>
                  <a:lnTo>
                    <a:pt x="9" y="36"/>
                  </a:lnTo>
                  <a:lnTo>
                    <a:pt x="14" y="27"/>
                  </a:lnTo>
                  <a:lnTo>
                    <a:pt x="20" y="19"/>
                  </a:lnTo>
                  <a:lnTo>
                    <a:pt x="29" y="10"/>
                  </a:lnTo>
                  <a:lnTo>
                    <a:pt x="37" y="5"/>
                  </a:lnTo>
                  <a:lnTo>
                    <a:pt x="47" y="2"/>
                  </a:lnTo>
                  <a:lnTo>
                    <a:pt x="58" y="0"/>
                  </a:lnTo>
                  <a:lnTo>
                    <a:pt x="69" y="2"/>
                  </a:lnTo>
                  <a:lnTo>
                    <a:pt x="79" y="3"/>
                  </a:lnTo>
                  <a:lnTo>
                    <a:pt x="90" y="6"/>
                  </a:lnTo>
                  <a:lnTo>
                    <a:pt x="98" y="11"/>
                  </a:lnTo>
                  <a:lnTo>
                    <a:pt x="107" y="19"/>
                  </a:lnTo>
                </a:path>
              </a:pathLst>
            </a:custGeom>
            <a:noFill/>
            <a:ln w="12700">
              <a:solidFill>
                <a:schemeClr val="tx2"/>
              </a:solidFill>
              <a:prstDash val="solid"/>
              <a:round/>
              <a:headEnd/>
              <a:tailEnd/>
            </a:ln>
          </p:spPr>
          <p:txBody>
            <a:bodyPr/>
            <a:lstStyle/>
            <a:p>
              <a:endParaRPr lang="en-US">
                <a:solidFill>
                  <a:srgbClr val="000000"/>
                </a:solidFill>
                <a:latin typeface="+mj-lt"/>
              </a:endParaRPr>
            </a:p>
          </p:txBody>
        </p:sp>
        <p:sp>
          <p:nvSpPr>
            <p:cNvPr id="98" name="Freeform 1499">
              <a:extLst>
                <a:ext uri="{FF2B5EF4-FFF2-40B4-BE49-F238E27FC236}">
                  <a16:creationId xmlns:a16="http://schemas.microsoft.com/office/drawing/2014/main" id="{94A2C9D8-BA72-4EBA-82F4-E7B9D2728886}"/>
                </a:ext>
              </a:extLst>
            </p:cNvPr>
            <p:cNvSpPr>
              <a:spLocks/>
            </p:cNvSpPr>
            <p:nvPr/>
          </p:nvSpPr>
          <p:spPr bwMode="auto">
            <a:xfrm>
              <a:off x="4192432" y="3481412"/>
              <a:ext cx="203886" cy="162406"/>
            </a:xfrm>
            <a:custGeom>
              <a:avLst/>
              <a:gdLst>
                <a:gd name="T0" fmla="*/ 7938 w 118"/>
                <a:gd name="T1" fmla="*/ 72206 h 93"/>
                <a:gd name="T2" fmla="*/ 7938 w 118"/>
                <a:gd name="T3" fmla="*/ 72206 h 93"/>
                <a:gd name="T4" fmla="*/ 7938 w 118"/>
                <a:gd name="T5" fmla="*/ 72206 h 93"/>
                <a:gd name="T6" fmla="*/ 11113 w 118"/>
                <a:gd name="T7" fmla="*/ 73811 h 93"/>
                <a:gd name="T8" fmla="*/ 14288 w 118"/>
                <a:gd name="T9" fmla="*/ 74613 h 93"/>
                <a:gd name="T10" fmla="*/ 17463 w 118"/>
                <a:gd name="T11" fmla="*/ 74613 h 93"/>
                <a:gd name="T12" fmla="*/ 17463 w 118"/>
                <a:gd name="T13" fmla="*/ 74613 h 93"/>
                <a:gd name="T14" fmla="*/ 23813 w 118"/>
                <a:gd name="T15" fmla="*/ 74613 h 93"/>
                <a:gd name="T16" fmla="*/ 28575 w 118"/>
                <a:gd name="T17" fmla="*/ 73008 h 93"/>
                <a:gd name="T18" fmla="*/ 28575 w 118"/>
                <a:gd name="T19" fmla="*/ 73008 h 93"/>
                <a:gd name="T20" fmla="*/ 30956 w 118"/>
                <a:gd name="T21" fmla="*/ 72206 h 93"/>
                <a:gd name="T22" fmla="*/ 32544 w 118"/>
                <a:gd name="T23" fmla="*/ 69799 h 93"/>
                <a:gd name="T24" fmla="*/ 35719 w 118"/>
                <a:gd name="T25" fmla="*/ 64986 h 93"/>
                <a:gd name="T26" fmla="*/ 37306 w 118"/>
                <a:gd name="T27" fmla="*/ 60172 h 93"/>
                <a:gd name="T28" fmla="*/ 38894 w 118"/>
                <a:gd name="T29" fmla="*/ 55358 h 93"/>
                <a:gd name="T30" fmla="*/ 62707 w 118"/>
                <a:gd name="T31" fmla="*/ 36905 h 93"/>
                <a:gd name="T32" fmla="*/ 62707 w 118"/>
                <a:gd name="T33" fmla="*/ 36905 h 93"/>
                <a:gd name="T34" fmla="*/ 66675 w 118"/>
                <a:gd name="T35" fmla="*/ 37708 h 93"/>
                <a:gd name="T36" fmla="*/ 71438 w 118"/>
                <a:gd name="T37" fmla="*/ 38510 h 93"/>
                <a:gd name="T38" fmla="*/ 78582 w 118"/>
                <a:gd name="T39" fmla="*/ 39312 h 93"/>
                <a:gd name="T40" fmla="*/ 78582 w 118"/>
                <a:gd name="T41" fmla="*/ 39312 h 93"/>
                <a:gd name="T42" fmla="*/ 84138 w 118"/>
                <a:gd name="T43" fmla="*/ 36905 h 93"/>
                <a:gd name="T44" fmla="*/ 87313 w 118"/>
                <a:gd name="T45" fmla="*/ 33696 h 93"/>
                <a:gd name="T46" fmla="*/ 88900 w 118"/>
                <a:gd name="T47" fmla="*/ 32092 h 93"/>
                <a:gd name="T48" fmla="*/ 88900 w 118"/>
                <a:gd name="T49" fmla="*/ 32092 h 93"/>
                <a:gd name="T50" fmla="*/ 90488 w 118"/>
                <a:gd name="T51" fmla="*/ 28882 h 93"/>
                <a:gd name="T52" fmla="*/ 92075 w 118"/>
                <a:gd name="T53" fmla="*/ 24871 h 93"/>
                <a:gd name="T54" fmla="*/ 93663 w 118"/>
                <a:gd name="T55" fmla="*/ 17650 h 93"/>
                <a:gd name="T56" fmla="*/ 78582 w 118"/>
                <a:gd name="T57" fmla="*/ 26476 h 93"/>
                <a:gd name="T58" fmla="*/ 68263 w 118"/>
                <a:gd name="T59" fmla="*/ 12837 h 93"/>
                <a:gd name="T60" fmla="*/ 84932 w 118"/>
                <a:gd name="T61" fmla="*/ 3209 h 93"/>
                <a:gd name="T62" fmla="*/ 84932 w 118"/>
                <a:gd name="T63" fmla="*/ 3209 h 93"/>
                <a:gd name="T64" fmla="*/ 83344 w 118"/>
                <a:gd name="T65" fmla="*/ 2407 h 93"/>
                <a:gd name="T66" fmla="*/ 80169 w 118"/>
                <a:gd name="T67" fmla="*/ 1605 h 93"/>
                <a:gd name="T68" fmla="*/ 80169 w 118"/>
                <a:gd name="T69" fmla="*/ 1605 h 93"/>
                <a:gd name="T70" fmla="*/ 76994 w 118"/>
                <a:gd name="T71" fmla="*/ 0 h 93"/>
                <a:gd name="T72" fmla="*/ 72232 w 118"/>
                <a:gd name="T73" fmla="*/ 1605 h 93"/>
                <a:gd name="T74" fmla="*/ 67469 w 118"/>
                <a:gd name="T75" fmla="*/ 1605 h 93"/>
                <a:gd name="T76" fmla="*/ 62707 w 118"/>
                <a:gd name="T77" fmla="*/ 4011 h 93"/>
                <a:gd name="T78" fmla="*/ 62707 w 118"/>
                <a:gd name="T79" fmla="*/ 4011 h 93"/>
                <a:gd name="T80" fmla="*/ 58738 w 118"/>
                <a:gd name="T81" fmla="*/ 7221 h 93"/>
                <a:gd name="T82" fmla="*/ 56357 w 118"/>
                <a:gd name="T83" fmla="*/ 11232 h 93"/>
                <a:gd name="T84" fmla="*/ 54769 w 118"/>
                <a:gd name="T85" fmla="*/ 15244 h 93"/>
                <a:gd name="T86" fmla="*/ 53975 w 118"/>
                <a:gd name="T87" fmla="*/ 20860 h 93"/>
                <a:gd name="T88" fmla="*/ 30163 w 118"/>
                <a:gd name="T89" fmla="*/ 39312 h 93"/>
                <a:gd name="T90" fmla="*/ 30163 w 118"/>
                <a:gd name="T91" fmla="*/ 39312 h 93"/>
                <a:gd name="T92" fmla="*/ 24606 w 118"/>
                <a:gd name="T93" fmla="*/ 36905 h 93"/>
                <a:gd name="T94" fmla="*/ 19050 w 118"/>
                <a:gd name="T95" fmla="*/ 35301 h 93"/>
                <a:gd name="T96" fmla="*/ 14288 w 118"/>
                <a:gd name="T97" fmla="*/ 36905 h 93"/>
                <a:gd name="T98" fmla="*/ 9525 w 118"/>
                <a:gd name="T99" fmla="*/ 38510 h 93"/>
                <a:gd name="T100" fmla="*/ 9525 w 118"/>
                <a:gd name="T101" fmla="*/ 38510 h 93"/>
                <a:gd name="T102" fmla="*/ 4763 w 118"/>
                <a:gd name="T103" fmla="*/ 41719 h 93"/>
                <a:gd name="T104" fmla="*/ 1588 w 118"/>
                <a:gd name="T105" fmla="*/ 46533 h 93"/>
                <a:gd name="T106" fmla="*/ 0 w 118"/>
                <a:gd name="T107" fmla="*/ 51347 h 93"/>
                <a:gd name="T108" fmla="*/ 0 w 118"/>
                <a:gd name="T109" fmla="*/ 56963 h 93"/>
                <a:gd name="T110" fmla="*/ 15875 w 118"/>
                <a:gd name="T111" fmla="*/ 48137 h 93"/>
                <a:gd name="T112" fmla="*/ 24606 w 118"/>
                <a:gd name="T113" fmla="*/ 60974 h 9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18"/>
                <a:gd name="T172" fmla="*/ 0 h 93"/>
                <a:gd name="T173" fmla="*/ 118 w 118"/>
                <a:gd name="T174" fmla="*/ 93 h 9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18" h="93">
                  <a:moveTo>
                    <a:pt x="10" y="90"/>
                  </a:moveTo>
                  <a:lnTo>
                    <a:pt x="10" y="90"/>
                  </a:lnTo>
                  <a:lnTo>
                    <a:pt x="14" y="92"/>
                  </a:lnTo>
                  <a:lnTo>
                    <a:pt x="18" y="93"/>
                  </a:lnTo>
                  <a:lnTo>
                    <a:pt x="22" y="93"/>
                  </a:lnTo>
                  <a:lnTo>
                    <a:pt x="30" y="93"/>
                  </a:lnTo>
                  <a:lnTo>
                    <a:pt x="36" y="91"/>
                  </a:lnTo>
                  <a:lnTo>
                    <a:pt x="39" y="90"/>
                  </a:lnTo>
                  <a:lnTo>
                    <a:pt x="41" y="87"/>
                  </a:lnTo>
                  <a:lnTo>
                    <a:pt x="45" y="81"/>
                  </a:lnTo>
                  <a:lnTo>
                    <a:pt x="47" y="75"/>
                  </a:lnTo>
                  <a:lnTo>
                    <a:pt x="49" y="69"/>
                  </a:lnTo>
                  <a:lnTo>
                    <a:pt x="79" y="46"/>
                  </a:lnTo>
                  <a:lnTo>
                    <a:pt x="84" y="47"/>
                  </a:lnTo>
                  <a:lnTo>
                    <a:pt x="90" y="48"/>
                  </a:lnTo>
                  <a:lnTo>
                    <a:pt x="99" y="49"/>
                  </a:lnTo>
                  <a:lnTo>
                    <a:pt x="106" y="46"/>
                  </a:lnTo>
                  <a:lnTo>
                    <a:pt x="110" y="42"/>
                  </a:lnTo>
                  <a:lnTo>
                    <a:pt x="112" y="40"/>
                  </a:lnTo>
                  <a:lnTo>
                    <a:pt x="114" y="36"/>
                  </a:lnTo>
                  <a:lnTo>
                    <a:pt x="116" y="31"/>
                  </a:lnTo>
                  <a:lnTo>
                    <a:pt x="118" y="22"/>
                  </a:lnTo>
                  <a:lnTo>
                    <a:pt x="99" y="33"/>
                  </a:lnTo>
                  <a:lnTo>
                    <a:pt x="86" y="16"/>
                  </a:lnTo>
                  <a:lnTo>
                    <a:pt x="107" y="4"/>
                  </a:lnTo>
                  <a:lnTo>
                    <a:pt x="105" y="3"/>
                  </a:lnTo>
                  <a:lnTo>
                    <a:pt x="101" y="2"/>
                  </a:lnTo>
                  <a:lnTo>
                    <a:pt x="97" y="0"/>
                  </a:lnTo>
                  <a:lnTo>
                    <a:pt x="91" y="2"/>
                  </a:lnTo>
                  <a:lnTo>
                    <a:pt x="85" y="2"/>
                  </a:lnTo>
                  <a:lnTo>
                    <a:pt x="79" y="5"/>
                  </a:lnTo>
                  <a:lnTo>
                    <a:pt x="74" y="9"/>
                  </a:lnTo>
                  <a:lnTo>
                    <a:pt x="71" y="14"/>
                  </a:lnTo>
                  <a:lnTo>
                    <a:pt x="69" y="19"/>
                  </a:lnTo>
                  <a:lnTo>
                    <a:pt x="68" y="26"/>
                  </a:lnTo>
                  <a:lnTo>
                    <a:pt x="38" y="49"/>
                  </a:lnTo>
                  <a:lnTo>
                    <a:pt x="31" y="46"/>
                  </a:lnTo>
                  <a:lnTo>
                    <a:pt x="24" y="44"/>
                  </a:lnTo>
                  <a:lnTo>
                    <a:pt x="18" y="46"/>
                  </a:lnTo>
                  <a:lnTo>
                    <a:pt x="12" y="48"/>
                  </a:lnTo>
                  <a:lnTo>
                    <a:pt x="6" y="52"/>
                  </a:lnTo>
                  <a:lnTo>
                    <a:pt x="2" y="58"/>
                  </a:lnTo>
                  <a:lnTo>
                    <a:pt x="0" y="64"/>
                  </a:lnTo>
                  <a:lnTo>
                    <a:pt x="0" y="71"/>
                  </a:lnTo>
                  <a:lnTo>
                    <a:pt x="20" y="60"/>
                  </a:lnTo>
                  <a:lnTo>
                    <a:pt x="31" y="76"/>
                  </a:lnTo>
                </a:path>
              </a:pathLst>
            </a:custGeom>
            <a:noFill/>
            <a:ln w="12700">
              <a:solidFill>
                <a:schemeClr val="tx2"/>
              </a:solidFill>
              <a:prstDash val="solid"/>
              <a:round/>
              <a:headEnd/>
              <a:tailEnd/>
            </a:ln>
          </p:spPr>
          <p:txBody>
            <a:bodyPr/>
            <a:lstStyle/>
            <a:p>
              <a:endParaRPr lang="en-US">
                <a:solidFill>
                  <a:srgbClr val="000000"/>
                </a:solidFill>
                <a:latin typeface="+mj-lt"/>
              </a:endParaRPr>
            </a:p>
          </p:txBody>
        </p:sp>
        <p:sp>
          <p:nvSpPr>
            <p:cNvPr id="99" name="Freeform 1504">
              <a:extLst>
                <a:ext uri="{FF2B5EF4-FFF2-40B4-BE49-F238E27FC236}">
                  <a16:creationId xmlns:a16="http://schemas.microsoft.com/office/drawing/2014/main" id="{A5372BF2-034D-4605-8E64-7A7C5069AFC2}"/>
                </a:ext>
              </a:extLst>
            </p:cNvPr>
            <p:cNvSpPr>
              <a:spLocks/>
            </p:cNvSpPr>
            <p:nvPr/>
          </p:nvSpPr>
          <p:spPr bwMode="auto">
            <a:xfrm>
              <a:off x="4157875" y="3381206"/>
              <a:ext cx="93304" cy="103663"/>
            </a:xfrm>
            <a:custGeom>
              <a:avLst/>
              <a:gdLst>
                <a:gd name="T0" fmla="*/ 42863 w 54"/>
                <a:gd name="T1" fmla="*/ 23422 h 61"/>
                <a:gd name="T2" fmla="*/ 42863 w 54"/>
                <a:gd name="T3" fmla="*/ 23422 h 61"/>
                <a:gd name="T4" fmla="*/ 42863 w 54"/>
                <a:gd name="T5" fmla="*/ 28887 h 61"/>
                <a:gd name="T6" fmla="*/ 40482 w 54"/>
                <a:gd name="T7" fmla="*/ 32010 h 61"/>
                <a:gd name="T8" fmla="*/ 38894 w 54"/>
                <a:gd name="T9" fmla="*/ 37475 h 61"/>
                <a:gd name="T10" fmla="*/ 37307 w 54"/>
                <a:gd name="T11" fmla="*/ 39818 h 61"/>
                <a:gd name="T12" fmla="*/ 33338 w 54"/>
                <a:gd name="T13" fmla="*/ 42941 h 61"/>
                <a:gd name="T14" fmla="*/ 30163 w 54"/>
                <a:gd name="T15" fmla="*/ 45283 h 61"/>
                <a:gd name="T16" fmla="*/ 26194 w 54"/>
                <a:gd name="T17" fmla="*/ 46844 h 61"/>
                <a:gd name="T18" fmla="*/ 21432 w 54"/>
                <a:gd name="T19" fmla="*/ 47625 h 61"/>
                <a:gd name="T20" fmla="*/ 21432 w 54"/>
                <a:gd name="T21" fmla="*/ 47625 h 61"/>
                <a:gd name="T22" fmla="*/ 17463 w 54"/>
                <a:gd name="T23" fmla="*/ 46844 h 61"/>
                <a:gd name="T24" fmla="*/ 13494 w 54"/>
                <a:gd name="T25" fmla="*/ 45283 h 61"/>
                <a:gd name="T26" fmla="*/ 9525 w 54"/>
                <a:gd name="T27" fmla="*/ 42941 h 61"/>
                <a:gd name="T28" fmla="*/ 7144 w 54"/>
                <a:gd name="T29" fmla="*/ 39818 h 61"/>
                <a:gd name="T30" fmla="*/ 3969 w 54"/>
                <a:gd name="T31" fmla="*/ 37475 h 61"/>
                <a:gd name="T32" fmla="*/ 2381 w 54"/>
                <a:gd name="T33" fmla="*/ 32010 h 61"/>
                <a:gd name="T34" fmla="*/ 794 w 54"/>
                <a:gd name="T35" fmla="*/ 28887 h 61"/>
                <a:gd name="T36" fmla="*/ 0 w 54"/>
                <a:gd name="T37" fmla="*/ 23422 h 61"/>
                <a:gd name="T38" fmla="*/ 0 w 54"/>
                <a:gd name="T39" fmla="*/ 23422 h 61"/>
                <a:gd name="T40" fmla="*/ 794 w 54"/>
                <a:gd name="T41" fmla="*/ 18738 h 61"/>
                <a:gd name="T42" fmla="*/ 2381 w 54"/>
                <a:gd name="T43" fmla="*/ 14053 h 61"/>
                <a:gd name="T44" fmla="*/ 3969 w 54"/>
                <a:gd name="T45" fmla="*/ 10150 h 61"/>
                <a:gd name="T46" fmla="*/ 7144 w 54"/>
                <a:gd name="T47" fmla="*/ 6246 h 61"/>
                <a:gd name="T48" fmla="*/ 9525 w 54"/>
                <a:gd name="T49" fmla="*/ 3904 h 61"/>
                <a:gd name="T50" fmla="*/ 13494 w 54"/>
                <a:gd name="T51" fmla="*/ 1561 h 61"/>
                <a:gd name="T52" fmla="*/ 17463 w 54"/>
                <a:gd name="T53" fmla="*/ 0 h 61"/>
                <a:gd name="T54" fmla="*/ 21432 w 54"/>
                <a:gd name="T55" fmla="*/ 0 h 61"/>
                <a:gd name="T56" fmla="*/ 21432 w 54"/>
                <a:gd name="T57" fmla="*/ 0 h 61"/>
                <a:gd name="T58" fmla="*/ 26194 w 54"/>
                <a:gd name="T59" fmla="*/ 0 h 61"/>
                <a:gd name="T60" fmla="*/ 30163 w 54"/>
                <a:gd name="T61" fmla="*/ 1561 h 61"/>
                <a:gd name="T62" fmla="*/ 33338 w 54"/>
                <a:gd name="T63" fmla="*/ 3904 h 61"/>
                <a:gd name="T64" fmla="*/ 37307 w 54"/>
                <a:gd name="T65" fmla="*/ 6246 h 61"/>
                <a:gd name="T66" fmla="*/ 38894 w 54"/>
                <a:gd name="T67" fmla="*/ 10150 h 61"/>
                <a:gd name="T68" fmla="*/ 40482 w 54"/>
                <a:gd name="T69" fmla="*/ 14053 h 61"/>
                <a:gd name="T70" fmla="*/ 42863 w 54"/>
                <a:gd name="T71" fmla="*/ 18738 h 61"/>
                <a:gd name="T72" fmla="*/ 42863 w 54"/>
                <a:gd name="T73" fmla="*/ 23422 h 61"/>
                <a:gd name="T74" fmla="*/ 42863 w 54"/>
                <a:gd name="T75" fmla="*/ 23422 h 6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4"/>
                <a:gd name="T115" fmla="*/ 0 h 61"/>
                <a:gd name="T116" fmla="*/ 54 w 54"/>
                <a:gd name="T117" fmla="*/ 61 h 6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4" h="61">
                  <a:moveTo>
                    <a:pt x="54" y="30"/>
                  </a:moveTo>
                  <a:lnTo>
                    <a:pt x="54" y="30"/>
                  </a:lnTo>
                  <a:lnTo>
                    <a:pt x="54" y="37"/>
                  </a:lnTo>
                  <a:lnTo>
                    <a:pt x="51" y="41"/>
                  </a:lnTo>
                  <a:lnTo>
                    <a:pt x="49" y="48"/>
                  </a:lnTo>
                  <a:lnTo>
                    <a:pt x="47" y="51"/>
                  </a:lnTo>
                  <a:lnTo>
                    <a:pt x="42" y="55"/>
                  </a:lnTo>
                  <a:lnTo>
                    <a:pt x="38" y="58"/>
                  </a:lnTo>
                  <a:lnTo>
                    <a:pt x="33" y="60"/>
                  </a:lnTo>
                  <a:lnTo>
                    <a:pt x="27" y="61"/>
                  </a:lnTo>
                  <a:lnTo>
                    <a:pt x="22" y="60"/>
                  </a:lnTo>
                  <a:lnTo>
                    <a:pt x="17" y="58"/>
                  </a:lnTo>
                  <a:lnTo>
                    <a:pt x="12" y="55"/>
                  </a:lnTo>
                  <a:lnTo>
                    <a:pt x="9" y="51"/>
                  </a:lnTo>
                  <a:lnTo>
                    <a:pt x="5" y="48"/>
                  </a:lnTo>
                  <a:lnTo>
                    <a:pt x="3" y="41"/>
                  </a:lnTo>
                  <a:lnTo>
                    <a:pt x="1" y="37"/>
                  </a:lnTo>
                  <a:lnTo>
                    <a:pt x="0" y="30"/>
                  </a:lnTo>
                  <a:lnTo>
                    <a:pt x="1" y="24"/>
                  </a:lnTo>
                  <a:lnTo>
                    <a:pt x="3" y="18"/>
                  </a:lnTo>
                  <a:lnTo>
                    <a:pt x="5" y="13"/>
                  </a:lnTo>
                  <a:lnTo>
                    <a:pt x="9" y="8"/>
                  </a:lnTo>
                  <a:lnTo>
                    <a:pt x="12" y="5"/>
                  </a:lnTo>
                  <a:lnTo>
                    <a:pt x="17" y="2"/>
                  </a:lnTo>
                  <a:lnTo>
                    <a:pt x="22" y="0"/>
                  </a:lnTo>
                  <a:lnTo>
                    <a:pt x="27" y="0"/>
                  </a:lnTo>
                  <a:lnTo>
                    <a:pt x="33" y="0"/>
                  </a:lnTo>
                  <a:lnTo>
                    <a:pt x="38" y="2"/>
                  </a:lnTo>
                  <a:lnTo>
                    <a:pt x="42" y="5"/>
                  </a:lnTo>
                  <a:lnTo>
                    <a:pt x="47" y="8"/>
                  </a:lnTo>
                  <a:lnTo>
                    <a:pt x="49" y="13"/>
                  </a:lnTo>
                  <a:lnTo>
                    <a:pt x="51" y="18"/>
                  </a:lnTo>
                  <a:lnTo>
                    <a:pt x="54" y="24"/>
                  </a:lnTo>
                  <a:lnTo>
                    <a:pt x="54" y="30"/>
                  </a:lnTo>
                  <a:close/>
                </a:path>
              </a:pathLst>
            </a:custGeom>
            <a:noFill/>
            <a:ln w="12700">
              <a:solidFill>
                <a:schemeClr val="tx2"/>
              </a:solidFill>
              <a:prstDash val="solid"/>
              <a:round/>
              <a:headEnd/>
              <a:tailEnd/>
            </a:ln>
          </p:spPr>
          <p:txBody>
            <a:bodyPr/>
            <a:lstStyle/>
            <a:p>
              <a:endParaRPr lang="en-US">
                <a:solidFill>
                  <a:srgbClr val="000000"/>
                </a:solidFill>
                <a:latin typeface="+mj-lt"/>
              </a:endParaRPr>
            </a:p>
          </p:txBody>
        </p:sp>
      </p:grpSp>
      <p:grpSp>
        <p:nvGrpSpPr>
          <p:cNvPr id="100" name="Group 626">
            <a:extLst>
              <a:ext uri="{FF2B5EF4-FFF2-40B4-BE49-F238E27FC236}">
                <a16:creationId xmlns:a16="http://schemas.microsoft.com/office/drawing/2014/main" id="{E5F67625-B3C9-41CF-B0B1-8570E0D33C34}"/>
              </a:ext>
            </a:extLst>
          </p:cNvPr>
          <p:cNvGrpSpPr/>
          <p:nvPr/>
        </p:nvGrpSpPr>
        <p:grpSpPr>
          <a:xfrm>
            <a:off x="9655369" y="2843921"/>
            <a:ext cx="306924" cy="207396"/>
            <a:chOff x="4095673" y="3381206"/>
            <a:chExt cx="300645" cy="262612"/>
          </a:xfrm>
        </p:grpSpPr>
        <p:sp>
          <p:nvSpPr>
            <p:cNvPr id="101" name="Freeform 804">
              <a:extLst>
                <a:ext uri="{FF2B5EF4-FFF2-40B4-BE49-F238E27FC236}">
                  <a16:creationId xmlns:a16="http://schemas.microsoft.com/office/drawing/2014/main" id="{466A2843-5CCE-4492-94D0-DA8E62CE79BE}"/>
                </a:ext>
              </a:extLst>
            </p:cNvPr>
            <p:cNvSpPr>
              <a:spLocks/>
            </p:cNvSpPr>
            <p:nvPr/>
          </p:nvSpPr>
          <p:spPr bwMode="auto">
            <a:xfrm>
              <a:off x="4095673" y="3491780"/>
              <a:ext cx="183152" cy="152038"/>
            </a:xfrm>
            <a:custGeom>
              <a:avLst/>
              <a:gdLst>
                <a:gd name="T0" fmla="*/ 0 w 107"/>
                <a:gd name="T1" fmla="*/ 69850 h 89"/>
                <a:gd name="T2" fmla="*/ 0 w 107"/>
                <a:gd name="T3" fmla="*/ 69850 h 89"/>
                <a:gd name="T4" fmla="*/ 0 w 107"/>
                <a:gd name="T5" fmla="*/ 69850 h 89"/>
                <a:gd name="T6" fmla="*/ 786 w 107"/>
                <a:gd name="T7" fmla="*/ 52584 h 89"/>
                <a:gd name="T8" fmla="*/ 1573 w 107"/>
                <a:gd name="T9" fmla="*/ 43951 h 89"/>
                <a:gd name="T10" fmla="*/ 3932 w 107"/>
                <a:gd name="T11" fmla="*/ 35317 h 89"/>
                <a:gd name="T12" fmla="*/ 7077 w 107"/>
                <a:gd name="T13" fmla="*/ 28254 h 89"/>
                <a:gd name="T14" fmla="*/ 11009 w 107"/>
                <a:gd name="T15" fmla="*/ 21190 h 89"/>
                <a:gd name="T16" fmla="*/ 15727 w 107"/>
                <a:gd name="T17" fmla="*/ 14912 h 89"/>
                <a:gd name="T18" fmla="*/ 22804 w 107"/>
                <a:gd name="T19" fmla="*/ 7848 h 89"/>
                <a:gd name="T20" fmla="*/ 22804 w 107"/>
                <a:gd name="T21" fmla="*/ 7848 h 89"/>
                <a:gd name="T22" fmla="*/ 29094 w 107"/>
                <a:gd name="T23" fmla="*/ 3924 h 89"/>
                <a:gd name="T24" fmla="*/ 36958 w 107"/>
                <a:gd name="T25" fmla="*/ 1570 h 89"/>
                <a:gd name="T26" fmla="*/ 45608 w 107"/>
                <a:gd name="T27" fmla="*/ 0 h 89"/>
                <a:gd name="T28" fmla="*/ 54257 w 107"/>
                <a:gd name="T29" fmla="*/ 1570 h 89"/>
                <a:gd name="T30" fmla="*/ 62121 w 107"/>
                <a:gd name="T31" fmla="*/ 2354 h 89"/>
                <a:gd name="T32" fmla="*/ 70770 w 107"/>
                <a:gd name="T33" fmla="*/ 4709 h 89"/>
                <a:gd name="T34" fmla="*/ 77061 w 107"/>
                <a:gd name="T35" fmla="*/ 8633 h 89"/>
                <a:gd name="T36" fmla="*/ 84138 w 107"/>
                <a:gd name="T37" fmla="*/ 14912 h 8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7"/>
                <a:gd name="T58" fmla="*/ 0 h 89"/>
                <a:gd name="T59" fmla="*/ 107 w 107"/>
                <a:gd name="T60" fmla="*/ 89 h 8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7" h="89">
                  <a:moveTo>
                    <a:pt x="0" y="89"/>
                  </a:moveTo>
                  <a:lnTo>
                    <a:pt x="0" y="89"/>
                  </a:lnTo>
                  <a:lnTo>
                    <a:pt x="1" y="67"/>
                  </a:lnTo>
                  <a:lnTo>
                    <a:pt x="2" y="56"/>
                  </a:lnTo>
                  <a:lnTo>
                    <a:pt x="5" y="45"/>
                  </a:lnTo>
                  <a:lnTo>
                    <a:pt x="9" y="36"/>
                  </a:lnTo>
                  <a:lnTo>
                    <a:pt x="14" y="27"/>
                  </a:lnTo>
                  <a:lnTo>
                    <a:pt x="20" y="19"/>
                  </a:lnTo>
                  <a:lnTo>
                    <a:pt x="29" y="10"/>
                  </a:lnTo>
                  <a:lnTo>
                    <a:pt x="37" y="5"/>
                  </a:lnTo>
                  <a:lnTo>
                    <a:pt x="47" y="2"/>
                  </a:lnTo>
                  <a:lnTo>
                    <a:pt x="58" y="0"/>
                  </a:lnTo>
                  <a:lnTo>
                    <a:pt x="69" y="2"/>
                  </a:lnTo>
                  <a:lnTo>
                    <a:pt x="79" y="3"/>
                  </a:lnTo>
                  <a:lnTo>
                    <a:pt x="90" y="6"/>
                  </a:lnTo>
                  <a:lnTo>
                    <a:pt x="98" y="11"/>
                  </a:lnTo>
                  <a:lnTo>
                    <a:pt x="107" y="19"/>
                  </a:lnTo>
                </a:path>
              </a:pathLst>
            </a:custGeom>
            <a:noFill/>
            <a:ln w="12700">
              <a:solidFill>
                <a:schemeClr val="tx2"/>
              </a:solidFill>
              <a:prstDash val="solid"/>
              <a:round/>
              <a:headEnd/>
              <a:tailEnd/>
            </a:ln>
          </p:spPr>
          <p:txBody>
            <a:bodyPr/>
            <a:lstStyle/>
            <a:p>
              <a:endParaRPr lang="en-US">
                <a:solidFill>
                  <a:srgbClr val="000000"/>
                </a:solidFill>
                <a:latin typeface="+mj-lt"/>
              </a:endParaRPr>
            </a:p>
          </p:txBody>
        </p:sp>
        <p:sp>
          <p:nvSpPr>
            <p:cNvPr id="102" name="Freeform 1499">
              <a:extLst>
                <a:ext uri="{FF2B5EF4-FFF2-40B4-BE49-F238E27FC236}">
                  <a16:creationId xmlns:a16="http://schemas.microsoft.com/office/drawing/2014/main" id="{1BD20A4C-F474-4146-8DD9-4BE53A210B8C}"/>
                </a:ext>
              </a:extLst>
            </p:cNvPr>
            <p:cNvSpPr>
              <a:spLocks/>
            </p:cNvSpPr>
            <p:nvPr/>
          </p:nvSpPr>
          <p:spPr bwMode="auto">
            <a:xfrm>
              <a:off x="4192432" y="3481412"/>
              <a:ext cx="203886" cy="162406"/>
            </a:xfrm>
            <a:custGeom>
              <a:avLst/>
              <a:gdLst>
                <a:gd name="T0" fmla="*/ 7938 w 118"/>
                <a:gd name="T1" fmla="*/ 72206 h 93"/>
                <a:gd name="T2" fmla="*/ 7938 w 118"/>
                <a:gd name="T3" fmla="*/ 72206 h 93"/>
                <a:gd name="T4" fmla="*/ 7938 w 118"/>
                <a:gd name="T5" fmla="*/ 72206 h 93"/>
                <a:gd name="T6" fmla="*/ 11113 w 118"/>
                <a:gd name="T7" fmla="*/ 73811 h 93"/>
                <a:gd name="T8" fmla="*/ 14288 w 118"/>
                <a:gd name="T9" fmla="*/ 74613 h 93"/>
                <a:gd name="T10" fmla="*/ 17463 w 118"/>
                <a:gd name="T11" fmla="*/ 74613 h 93"/>
                <a:gd name="T12" fmla="*/ 17463 w 118"/>
                <a:gd name="T13" fmla="*/ 74613 h 93"/>
                <a:gd name="T14" fmla="*/ 23813 w 118"/>
                <a:gd name="T15" fmla="*/ 74613 h 93"/>
                <a:gd name="T16" fmla="*/ 28575 w 118"/>
                <a:gd name="T17" fmla="*/ 73008 h 93"/>
                <a:gd name="T18" fmla="*/ 28575 w 118"/>
                <a:gd name="T19" fmla="*/ 73008 h 93"/>
                <a:gd name="T20" fmla="*/ 30956 w 118"/>
                <a:gd name="T21" fmla="*/ 72206 h 93"/>
                <a:gd name="T22" fmla="*/ 32544 w 118"/>
                <a:gd name="T23" fmla="*/ 69799 h 93"/>
                <a:gd name="T24" fmla="*/ 35719 w 118"/>
                <a:gd name="T25" fmla="*/ 64986 h 93"/>
                <a:gd name="T26" fmla="*/ 37306 w 118"/>
                <a:gd name="T27" fmla="*/ 60172 h 93"/>
                <a:gd name="T28" fmla="*/ 38894 w 118"/>
                <a:gd name="T29" fmla="*/ 55358 h 93"/>
                <a:gd name="T30" fmla="*/ 62707 w 118"/>
                <a:gd name="T31" fmla="*/ 36905 h 93"/>
                <a:gd name="T32" fmla="*/ 62707 w 118"/>
                <a:gd name="T33" fmla="*/ 36905 h 93"/>
                <a:gd name="T34" fmla="*/ 66675 w 118"/>
                <a:gd name="T35" fmla="*/ 37708 h 93"/>
                <a:gd name="T36" fmla="*/ 71438 w 118"/>
                <a:gd name="T37" fmla="*/ 38510 h 93"/>
                <a:gd name="T38" fmla="*/ 78582 w 118"/>
                <a:gd name="T39" fmla="*/ 39312 h 93"/>
                <a:gd name="T40" fmla="*/ 78582 w 118"/>
                <a:gd name="T41" fmla="*/ 39312 h 93"/>
                <a:gd name="T42" fmla="*/ 84138 w 118"/>
                <a:gd name="T43" fmla="*/ 36905 h 93"/>
                <a:gd name="T44" fmla="*/ 87313 w 118"/>
                <a:gd name="T45" fmla="*/ 33696 h 93"/>
                <a:gd name="T46" fmla="*/ 88900 w 118"/>
                <a:gd name="T47" fmla="*/ 32092 h 93"/>
                <a:gd name="T48" fmla="*/ 88900 w 118"/>
                <a:gd name="T49" fmla="*/ 32092 h 93"/>
                <a:gd name="T50" fmla="*/ 90488 w 118"/>
                <a:gd name="T51" fmla="*/ 28882 h 93"/>
                <a:gd name="T52" fmla="*/ 92075 w 118"/>
                <a:gd name="T53" fmla="*/ 24871 h 93"/>
                <a:gd name="T54" fmla="*/ 93663 w 118"/>
                <a:gd name="T55" fmla="*/ 17650 h 93"/>
                <a:gd name="T56" fmla="*/ 78582 w 118"/>
                <a:gd name="T57" fmla="*/ 26476 h 93"/>
                <a:gd name="T58" fmla="*/ 68263 w 118"/>
                <a:gd name="T59" fmla="*/ 12837 h 93"/>
                <a:gd name="T60" fmla="*/ 84932 w 118"/>
                <a:gd name="T61" fmla="*/ 3209 h 93"/>
                <a:gd name="T62" fmla="*/ 84932 w 118"/>
                <a:gd name="T63" fmla="*/ 3209 h 93"/>
                <a:gd name="T64" fmla="*/ 83344 w 118"/>
                <a:gd name="T65" fmla="*/ 2407 h 93"/>
                <a:gd name="T66" fmla="*/ 80169 w 118"/>
                <a:gd name="T67" fmla="*/ 1605 h 93"/>
                <a:gd name="T68" fmla="*/ 80169 w 118"/>
                <a:gd name="T69" fmla="*/ 1605 h 93"/>
                <a:gd name="T70" fmla="*/ 76994 w 118"/>
                <a:gd name="T71" fmla="*/ 0 h 93"/>
                <a:gd name="T72" fmla="*/ 72232 w 118"/>
                <a:gd name="T73" fmla="*/ 1605 h 93"/>
                <a:gd name="T74" fmla="*/ 67469 w 118"/>
                <a:gd name="T75" fmla="*/ 1605 h 93"/>
                <a:gd name="T76" fmla="*/ 62707 w 118"/>
                <a:gd name="T77" fmla="*/ 4011 h 93"/>
                <a:gd name="T78" fmla="*/ 62707 w 118"/>
                <a:gd name="T79" fmla="*/ 4011 h 93"/>
                <a:gd name="T80" fmla="*/ 58738 w 118"/>
                <a:gd name="T81" fmla="*/ 7221 h 93"/>
                <a:gd name="T82" fmla="*/ 56357 w 118"/>
                <a:gd name="T83" fmla="*/ 11232 h 93"/>
                <a:gd name="T84" fmla="*/ 54769 w 118"/>
                <a:gd name="T85" fmla="*/ 15244 h 93"/>
                <a:gd name="T86" fmla="*/ 53975 w 118"/>
                <a:gd name="T87" fmla="*/ 20860 h 93"/>
                <a:gd name="T88" fmla="*/ 30163 w 118"/>
                <a:gd name="T89" fmla="*/ 39312 h 93"/>
                <a:gd name="T90" fmla="*/ 30163 w 118"/>
                <a:gd name="T91" fmla="*/ 39312 h 93"/>
                <a:gd name="T92" fmla="*/ 24606 w 118"/>
                <a:gd name="T93" fmla="*/ 36905 h 93"/>
                <a:gd name="T94" fmla="*/ 19050 w 118"/>
                <a:gd name="T95" fmla="*/ 35301 h 93"/>
                <a:gd name="T96" fmla="*/ 14288 w 118"/>
                <a:gd name="T97" fmla="*/ 36905 h 93"/>
                <a:gd name="T98" fmla="*/ 9525 w 118"/>
                <a:gd name="T99" fmla="*/ 38510 h 93"/>
                <a:gd name="T100" fmla="*/ 9525 w 118"/>
                <a:gd name="T101" fmla="*/ 38510 h 93"/>
                <a:gd name="T102" fmla="*/ 4763 w 118"/>
                <a:gd name="T103" fmla="*/ 41719 h 93"/>
                <a:gd name="T104" fmla="*/ 1588 w 118"/>
                <a:gd name="T105" fmla="*/ 46533 h 93"/>
                <a:gd name="T106" fmla="*/ 0 w 118"/>
                <a:gd name="T107" fmla="*/ 51347 h 93"/>
                <a:gd name="T108" fmla="*/ 0 w 118"/>
                <a:gd name="T109" fmla="*/ 56963 h 93"/>
                <a:gd name="T110" fmla="*/ 15875 w 118"/>
                <a:gd name="T111" fmla="*/ 48137 h 93"/>
                <a:gd name="T112" fmla="*/ 24606 w 118"/>
                <a:gd name="T113" fmla="*/ 60974 h 9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18"/>
                <a:gd name="T172" fmla="*/ 0 h 93"/>
                <a:gd name="T173" fmla="*/ 118 w 118"/>
                <a:gd name="T174" fmla="*/ 93 h 9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18" h="93">
                  <a:moveTo>
                    <a:pt x="10" y="90"/>
                  </a:moveTo>
                  <a:lnTo>
                    <a:pt x="10" y="90"/>
                  </a:lnTo>
                  <a:lnTo>
                    <a:pt x="14" y="92"/>
                  </a:lnTo>
                  <a:lnTo>
                    <a:pt x="18" y="93"/>
                  </a:lnTo>
                  <a:lnTo>
                    <a:pt x="22" y="93"/>
                  </a:lnTo>
                  <a:lnTo>
                    <a:pt x="30" y="93"/>
                  </a:lnTo>
                  <a:lnTo>
                    <a:pt x="36" y="91"/>
                  </a:lnTo>
                  <a:lnTo>
                    <a:pt x="39" y="90"/>
                  </a:lnTo>
                  <a:lnTo>
                    <a:pt x="41" y="87"/>
                  </a:lnTo>
                  <a:lnTo>
                    <a:pt x="45" y="81"/>
                  </a:lnTo>
                  <a:lnTo>
                    <a:pt x="47" y="75"/>
                  </a:lnTo>
                  <a:lnTo>
                    <a:pt x="49" y="69"/>
                  </a:lnTo>
                  <a:lnTo>
                    <a:pt x="79" y="46"/>
                  </a:lnTo>
                  <a:lnTo>
                    <a:pt x="84" y="47"/>
                  </a:lnTo>
                  <a:lnTo>
                    <a:pt x="90" y="48"/>
                  </a:lnTo>
                  <a:lnTo>
                    <a:pt x="99" y="49"/>
                  </a:lnTo>
                  <a:lnTo>
                    <a:pt x="106" y="46"/>
                  </a:lnTo>
                  <a:lnTo>
                    <a:pt x="110" y="42"/>
                  </a:lnTo>
                  <a:lnTo>
                    <a:pt x="112" y="40"/>
                  </a:lnTo>
                  <a:lnTo>
                    <a:pt x="114" y="36"/>
                  </a:lnTo>
                  <a:lnTo>
                    <a:pt x="116" y="31"/>
                  </a:lnTo>
                  <a:lnTo>
                    <a:pt x="118" y="22"/>
                  </a:lnTo>
                  <a:lnTo>
                    <a:pt x="99" y="33"/>
                  </a:lnTo>
                  <a:lnTo>
                    <a:pt x="86" y="16"/>
                  </a:lnTo>
                  <a:lnTo>
                    <a:pt x="107" y="4"/>
                  </a:lnTo>
                  <a:lnTo>
                    <a:pt x="105" y="3"/>
                  </a:lnTo>
                  <a:lnTo>
                    <a:pt x="101" y="2"/>
                  </a:lnTo>
                  <a:lnTo>
                    <a:pt x="97" y="0"/>
                  </a:lnTo>
                  <a:lnTo>
                    <a:pt x="91" y="2"/>
                  </a:lnTo>
                  <a:lnTo>
                    <a:pt x="85" y="2"/>
                  </a:lnTo>
                  <a:lnTo>
                    <a:pt x="79" y="5"/>
                  </a:lnTo>
                  <a:lnTo>
                    <a:pt x="74" y="9"/>
                  </a:lnTo>
                  <a:lnTo>
                    <a:pt x="71" y="14"/>
                  </a:lnTo>
                  <a:lnTo>
                    <a:pt x="69" y="19"/>
                  </a:lnTo>
                  <a:lnTo>
                    <a:pt x="68" y="26"/>
                  </a:lnTo>
                  <a:lnTo>
                    <a:pt x="38" y="49"/>
                  </a:lnTo>
                  <a:lnTo>
                    <a:pt x="31" y="46"/>
                  </a:lnTo>
                  <a:lnTo>
                    <a:pt x="24" y="44"/>
                  </a:lnTo>
                  <a:lnTo>
                    <a:pt x="18" y="46"/>
                  </a:lnTo>
                  <a:lnTo>
                    <a:pt x="12" y="48"/>
                  </a:lnTo>
                  <a:lnTo>
                    <a:pt x="6" y="52"/>
                  </a:lnTo>
                  <a:lnTo>
                    <a:pt x="2" y="58"/>
                  </a:lnTo>
                  <a:lnTo>
                    <a:pt x="0" y="64"/>
                  </a:lnTo>
                  <a:lnTo>
                    <a:pt x="0" y="71"/>
                  </a:lnTo>
                  <a:lnTo>
                    <a:pt x="20" y="60"/>
                  </a:lnTo>
                  <a:lnTo>
                    <a:pt x="31" y="76"/>
                  </a:lnTo>
                </a:path>
              </a:pathLst>
            </a:custGeom>
            <a:noFill/>
            <a:ln w="12700">
              <a:solidFill>
                <a:schemeClr val="tx2"/>
              </a:solidFill>
              <a:prstDash val="solid"/>
              <a:round/>
              <a:headEnd/>
              <a:tailEnd/>
            </a:ln>
          </p:spPr>
          <p:txBody>
            <a:bodyPr/>
            <a:lstStyle/>
            <a:p>
              <a:endParaRPr lang="en-US">
                <a:solidFill>
                  <a:srgbClr val="000000"/>
                </a:solidFill>
                <a:latin typeface="+mj-lt"/>
              </a:endParaRPr>
            </a:p>
          </p:txBody>
        </p:sp>
        <p:sp>
          <p:nvSpPr>
            <p:cNvPr id="103" name="Freeform 1504">
              <a:extLst>
                <a:ext uri="{FF2B5EF4-FFF2-40B4-BE49-F238E27FC236}">
                  <a16:creationId xmlns:a16="http://schemas.microsoft.com/office/drawing/2014/main" id="{B99A3C44-9C67-49EA-8721-054045507BA4}"/>
                </a:ext>
              </a:extLst>
            </p:cNvPr>
            <p:cNvSpPr>
              <a:spLocks/>
            </p:cNvSpPr>
            <p:nvPr/>
          </p:nvSpPr>
          <p:spPr bwMode="auto">
            <a:xfrm>
              <a:off x="4157875" y="3381206"/>
              <a:ext cx="93304" cy="103663"/>
            </a:xfrm>
            <a:custGeom>
              <a:avLst/>
              <a:gdLst>
                <a:gd name="T0" fmla="*/ 42863 w 54"/>
                <a:gd name="T1" fmla="*/ 23422 h 61"/>
                <a:gd name="T2" fmla="*/ 42863 w 54"/>
                <a:gd name="T3" fmla="*/ 23422 h 61"/>
                <a:gd name="T4" fmla="*/ 42863 w 54"/>
                <a:gd name="T5" fmla="*/ 28887 h 61"/>
                <a:gd name="T6" fmla="*/ 40482 w 54"/>
                <a:gd name="T7" fmla="*/ 32010 h 61"/>
                <a:gd name="T8" fmla="*/ 38894 w 54"/>
                <a:gd name="T9" fmla="*/ 37475 h 61"/>
                <a:gd name="T10" fmla="*/ 37307 w 54"/>
                <a:gd name="T11" fmla="*/ 39818 h 61"/>
                <a:gd name="T12" fmla="*/ 33338 w 54"/>
                <a:gd name="T13" fmla="*/ 42941 h 61"/>
                <a:gd name="T14" fmla="*/ 30163 w 54"/>
                <a:gd name="T15" fmla="*/ 45283 h 61"/>
                <a:gd name="T16" fmla="*/ 26194 w 54"/>
                <a:gd name="T17" fmla="*/ 46844 h 61"/>
                <a:gd name="T18" fmla="*/ 21432 w 54"/>
                <a:gd name="T19" fmla="*/ 47625 h 61"/>
                <a:gd name="T20" fmla="*/ 21432 w 54"/>
                <a:gd name="T21" fmla="*/ 47625 h 61"/>
                <a:gd name="T22" fmla="*/ 17463 w 54"/>
                <a:gd name="T23" fmla="*/ 46844 h 61"/>
                <a:gd name="T24" fmla="*/ 13494 w 54"/>
                <a:gd name="T25" fmla="*/ 45283 h 61"/>
                <a:gd name="T26" fmla="*/ 9525 w 54"/>
                <a:gd name="T27" fmla="*/ 42941 h 61"/>
                <a:gd name="T28" fmla="*/ 7144 w 54"/>
                <a:gd name="T29" fmla="*/ 39818 h 61"/>
                <a:gd name="T30" fmla="*/ 3969 w 54"/>
                <a:gd name="T31" fmla="*/ 37475 h 61"/>
                <a:gd name="T32" fmla="*/ 2381 w 54"/>
                <a:gd name="T33" fmla="*/ 32010 h 61"/>
                <a:gd name="T34" fmla="*/ 794 w 54"/>
                <a:gd name="T35" fmla="*/ 28887 h 61"/>
                <a:gd name="T36" fmla="*/ 0 w 54"/>
                <a:gd name="T37" fmla="*/ 23422 h 61"/>
                <a:gd name="T38" fmla="*/ 0 w 54"/>
                <a:gd name="T39" fmla="*/ 23422 h 61"/>
                <a:gd name="T40" fmla="*/ 794 w 54"/>
                <a:gd name="T41" fmla="*/ 18738 h 61"/>
                <a:gd name="T42" fmla="*/ 2381 w 54"/>
                <a:gd name="T43" fmla="*/ 14053 h 61"/>
                <a:gd name="T44" fmla="*/ 3969 w 54"/>
                <a:gd name="T45" fmla="*/ 10150 h 61"/>
                <a:gd name="T46" fmla="*/ 7144 w 54"/>
                <a:gd name="T47" fmla="*/ 6246 h 61"/>
                <a:gd name="T48" fmla="*/ 9525 w 54"/>
                <a:gd name="T49" fmla="*/ 3904 h 61"/>
                <a:gd name="T50" fmla="*/ 13494 w 54"/>
                <a:gd name="T51" fmla="*/ 1561 h 61"/>
                <a:gd name="T52" fmla="*/ 17463 w 54"/>
                <a:gd name="T53" fmla="*/ 0 h 61"/>
                <a:gd name="T54" fmla="*/ 21432 w 54"/>
                <a:gd name="T55" fmla="*/ 0 h 61"/>
                <a:gd name="T56" fmla="*/ 21432 w 54"/>
                <a:gd name="T57" fmla="*/ 0 h 61"/>
                <a:gd name="T58" fmla="*/ 26194 w 54"/>
                <a:gd name="T59" fmla="*/ 0 h 61"/>
                <a:gd name="T60" fmla="*/ 30163 w 54"/>
                <a:gd name="T61" fmla="*/ 1561 h 61"/>
                <a:gd name="T62" fmla="*/ 33338 w 54"/>
                <a:gd name="T63" fmla="*/ 3904 h 61"/>
                <a:gd name="T64" fmla="*/ 37307 w 54"/>
                <a:gd name="T65" fmla="*/ 6246 h 61"/>
                <a:gd name="T66" fmla="*/ 38894 w 54"/>
                <a:gd name="T67" fmla="*/ 10150 h 61"/>
                <a:gd name="T68" fmla="*/ 40482 w 54"/>
                <a:gd name="T69" fmla="*/ 14053 h 61"/>
                <a:gd name="T70" fmla="*/ 42863 w 54"/>
                <a:gd name="T71" fmla="*/ 18738 h 61"/>
                <a:gd name="T72" fmla="*/ 42863 w 54"/>
                <a:gd name="T73" fmla="*/ 23422 h 61"/>
                <a:gd name="T74" fmla="*/ 42863 w 54"/>
                <a:gd name="T75" fmla="*/ 23422 h 6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4"/>
                <a:gd name="T115" fmla="*/ 0 h 61"/>
                <a:gd name="T116" fmla="*/ 54 w 54"/>
                <a:gd name="T117" fmla="*/ 61 h 6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4" h="61">
                  <a:moveTo>
                    <a:pt x="54" y="30"/>
                  </a:moveTo>
                  <a:lnTo>
                    <a:pt x="54" y="30"/>
                  </a:lnTo>
                  <a:lnTo>
                    <a:pt x="54" y="37"/>
                  </a:lnTo>
                  <a:lnTo>
                    <a:pt x="51" y="41"/>
                  </a:lnTo>
                  <a:lnTo>
                    <a:pt x="49" y="48"/>
                  </a:lnTo>
                  <a:lnTo>
                    <a:pt x="47" y="51"/>
                  </a:lnTo>
                  <a:lnTo>
                    <a:pt x="42" y="55"/>
                  </a:lnTo>
                  <a:lnTo>
                    <a:pt x="38" y="58"/>
                  </a:lnTo>
                  <a:lnTo>
                    <a:pt x="33" y="60"/>
                  </a:lnTo>
                  <a:lnTo>
                    <a:pt x="27" y="61"/>
                  </a:lnTo>
                  <a:lnTo>
                    <a:pt x="22" y="60"/>
                  </a:lnTo>
                  <a:lnTo>
                    <a:pt x="17" y="58"/>
                  </a:lnTo>
                  <a:lnTo>
                    <a:pt x="12" y="55"/>
                  </a:lnTo>
                  <a:lnTo>
                    <a:pt x="9" y="51"/>
                  </a:lnTo>
                  <a:lnTo>
                    <a:pt x="5" y="48"/>
                  </a:lnTo>
                  <a:lnTo>
                    <a:pt x="3" y="41"/>
                  </a:lnTo>
                  <a:lnTo>
                    <a:pt x="1" y="37"/>
                  </a:lnTo>
                  <a:lnTo>
                    <a:pt x="0" y="30"/>
                  </a:lnTo>
                  <a:lnTo>
                    <a:pt x="1" y="24"/>
                  </a:lnTo>
                  <a:lnTo>
                    <a:pt x="3" y="18"/>
                  </a:lnTo>
                  <a:lnTo>
                    <a:pt x="5" y="13"/>
                  </a:lnTo>
                  <a:lnTo>
                    <a:pt x="9" y="8"/>
                  </a:lnTo>
                  <a:lnTo>
                    <a:pt x="12" y="5"/>
                  </a:lnTo>
                  <a:lnTo>
                    <a:pt x="17" y="2"/>
                  </a:lnTo>
                  <a:lnTo>
                    <a:pt x="22" y="0"/>
                  </a:lnTo>
                  <a:lnTo>
                    <a:pt x="27" y="0"/>
                  </a:lnTo>
                  <a:lnTo>
                    <a:pt x="33" y="0"/>
                  </a:lnTo>
                  <a:lnTo>
                    <a:pt x="38" y="2"/>
                  </a:lnTo>
                  <a:lnTo>
                    <a:pt x="42" y="5"/>
                  </a:lnTo>
                  <a:lnTo>
                    <a:pt x="47" y="8"/>
                  </a:lnTo>
                  <a:lnTo>
                    <a:pt x="49" y="13"/>
                  </a:lnTo>
                  <a:lnTo>
                    <a:pt x="51" y="18"/>
                  </a:lnTo>
                  <a:lnTo>
                    <a:pt x="54" y="24"/>
                  </a:lnTo>
                  <a:lnTo>
                    <a:pt x="54" y="30"/>
                  </a:lnTo>
                  <a:close/>
                </a:path>
              </a:pathLst>
            </a:custGeom>
            <a:noFill/>
            <a:ln w="12700">
              <a:solidFill>
                <a:schemeClr val="tx2"/>
              </a:solidFill>
              <a:prstDash val="solid"/>
              <a:round/>
              <a:headEnd/>
              <a:tailEnd/>
            </a:ln>
          </p:spPr>
          <p:txBody>
            <a:bodyPr/>
            <a:lstStyle/>
            <a:p>
              <a:endParaRPr lang="en-US">
                <a:solidFill>
                  <a:srgbClr val="000000"/>
                </a:solidFill>
                <a:latin typeface="+mj-lt"/>
              </a:endParaRPr>
            </a:p>
          </p:txBody>
        </p:sp>
      </p:grpSp>
      <p:sp>
        <p:nvSpPr>
          <p:cNvPr id="104" name="Right Brace 103">
            <a:extLst>
              <a:ext uri="{FF2B5EF4-FFF2-40B4-BE49-F238E27FC236}">
                <a16:creationId xmlns:a16="http://schemas.microsoft.com/office/drawing/2014/main" id="{80E838BA-6F15-4747-B79E-3CBC965D307F}"/>
              </a:ext>
            </a:extLst>
          </p:cNvPr>
          <p:cNvSpPr/>
          <p:nvPr/>
        </p:nvSpPr>
        <p:spPr>
          <a:xfrm>
            <a:off x="1105496" y="2394284"/>
            <a:ext cx="186035" cy="910696"/>
          </a:xfrm>
          <a:prstGeom prst="rightBrace">
            <a:avLst>
              <a:gd name="adj1" fmla="val 52755"/>
              <a:gd name="adj2"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500">
              <a:solidFill>
                <a:srgbClr val="000000"/>
              </a:solidFill>
              <a:latin typeface="+mj-lt"/>
            </a:endParaRPr>
          </a:p>
        </p:txBody>
      </p:sp>
      <p:sp>
        <p:nvSpPr>
          <p:cNvPr id="105" name="Text Box 387">
            <a:extLst>
              <a:ext uri="{FF2B5EF4-FFF2-40B4-BE49-F238E27FC236}">
                <a16:creationId xmlns:a16="http://schemas.microsoft.com/office/drawing/2014/main" id="{8CF30EF9-3832-4285-BE3D-F99A2763AD45}"/>
              </a:ext>
            </a:extLst>
          </p:cNvPr>
          <p:cNvSpPr txBox="1">
            <a:spLocks noChangeArrowheads="1"/>
          </p:cNvSpPr>
          <p:nvPr/>
        </p:nvSpPr>
        <p:spPr bwMode="auto">
          <a:xfrm>
            <a:off x="10094288" y="2313897"/>
            <a:ext cx="1170316" cy="338554"/>
          </a:xfrm>
          <a:prstGeom prst="rect">
            <a:avLst/>
          </a:prstGeom>
          <a:noFill/>
          <a:ln w="9525">
            <a:noFill/>
            <a:miter lim="800000"/>
            <a:headEnd/>
            <a:tailEnd/>
          </a:ln>
        </p:spPr>
        <p:txBody>
          <a:bodyPr wrap="square">
            <a:spAutoFit/>
          </a:bodyPr>
          <a:lstStyle>
            <a:defPPr>
              <a:defRPr lang="en-US"/>
            </a:defPPr>
            <a:lvl1pPr algn="ctr" eaLnBrk="0" hangingPunct="0">
              <a:defRPr sz="900" b="1">
                <a:solidFill>
                  <a:srgbClr val="5F5F5F"/>
                </a:solidFill>
              </a:defRPr>
            </a:lvl1pPr>
          </a:lstStyle>
          <a:p>
            <a:r>
              <a:rPr lang="en-US" altLang="ja-JP" sz="800">
                <a:solidFill>
                  <a:schemeClr val="tx1"/>
                </a:solidFill>
                <a:latin typeface="+mj-lt"/>
              </a:rPr>
              <a:t>Performance Test Scripts</a:t>
            </a:r>
          </a:p>
        </p:txBody>
      </p:sp>
      <p:sp>
        <p:nvSpPr>
          <p:cNvPr id="106" name="Rounded Rectangle 39">
            <a:extLst>
              <a:ext uri="{FF2B5EF4-FFF2-40B4-BE49-F238E27FC236}">
                <a16:creationId xmlns:a16="http://schemas.microsoft.com/office/drawing/2014/main" id="{E39A8591-9697-4CC0-A652-C34DA3EB5BA9}"/>
              </a:ext>
            </a:extLst>
          </p:cNvPr>
          <p:cNvSpPr/>
          <p:nvPr/>
        </p:nvSpPr>
        <p:spPr>
          <a:xfrm>
            <a:off x="4759048" y="4356415"/>
            <a:ext cx="2755836" cy="636444"/>
          </a:xfrm>
          <a:prstGeom prst="round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latin typeface="+mj-lt"/>
              </a:rPr>
              <a:t>Execute Baseline test with minimal load and Benchmark the Performance</a:t>
            </a:r>
          </a:p>
        </p:txBody>
      </p:sp>
      <p:grpSp>
        <p:nvGrpSpPr>
          <p:cNvPr id="107" name="Group 349">
            <a:extLst>
              <a:ext uri="{FF2B5EF4-FFF2-40B4-BE49-F238E27FC236}">
                <a16:creationId xmlns:a16="http://schemas.microsoft.com/office/drawing/2014/main" id="{77D03707-307F-4D9C-B774-9AFED1CB7361}"/>
              </a:ext>
            </a:extLst>
          </p:cNvPr>
          <p:cNvGrpSpPr>
            <a:grpSpLocks/>
          </p:cNvGrpSpPr>
          <p:nvPr/>
        </p:nvGrpSpPr>
        <p:grpSpPr bwMode="auto">
          <a:xfrm>
            <a:off x="7095369" y="2745059"/>
            <a:ext cx="501179" cy="324267"/>
            <a:chOff x="673" y="1350"/>
            <a:chExt cx="207" cy="260"/>
          </a:xfrm>
        </p:grpSpPr>
        <p:grpSp>
          <p:nvGrpSpPr>
            <p:cNvPr id="108" name="Group 350">
              <a:extLst>
                <a:ext uri="{FF2B5EF4-FFF2-40B4-BE49-F238E27FC236}">
                  <a16:creationId xmlns:a16="http://schemas.microsoft.com/office/drawing/2014/main" id="{2B4DDF77-66FB-4C99-9DEB-5F3FA3BD3352}"/>
                </a:ext>
              </a:extLst>
            </p:cNvPr>
            <p:cNvGrpSpPr>
              <a:grpSpLocks/>
            </p:cNvGrpSpPr>
            <p:nvPr/>
          </p:nvGrpSpPr>
          <p:grpSpPr bwMode="auto">
            <a:xfrm>
              <a:off x="673" y="1350"/>
              <a:ext cx="140" cy="189"/>
              <a:chOff x="4871" y="1410"/>
              <a:chExt cx="155" cy="208"/>
            </a:xfrm>
          </p:grpSpPr>
          <p:sp>
            <p:nvSpPr>
              <p:cNvPr id="116" name="Rectangle 351">
                <a:extLst>
                  <a:ext uri="{FF2B5EF4-FFF2-40B4-BE49-F238E27FC236}">
                    <a16:creationId xmlns:a16="http://schemas.microsoft.com/office/drawing/2014/main" id="{EE043768-6C8A-48A7-9A42-677E3CE91DDB}"/>
                  </a:ext>
                </a:extLst>
              </p:cNvPr>
              <p:cNvSpPr>
                <a:spLocks noChangeArrowheads="1"/>
              </p:cNvSpPr>
              <p:nvPr/>
            </p:nvSpPr>
            <p:spPr bwMode="auto">
              <a:xfrm>
                <a:off x="4871" y="1410"/>
                <a:ext cx="154" cy="192"/>
              </a:xfrm>
              <a:prstGeom prst="rect">
                <a:avLst/>
              </a:prstGeom>
              <a:solidFill>
                <a:schemeClr val="bg1"/>
              </a:solidFill>
              <a:ln w="12700">
                <a:solidFill>
                  <a:srgbClr val="969696"/>
                </a:solidFill>
                <a:miter lim="800000"/>
                <a:headEnd/>
                <a:tailEnd/>
              </a:ln>
            </p:spPr>
            <p:txBody>
              <a:bodyPr wrap="none" anchor="ctr"/>
              <a:lstStyle/>
              <a:p>
                <a:pPr eaLnBrk="0" hangingPunct="0"/>
                <a:endParaRPr lang="ja-JP" altLang="en-US">
                  <a:solidFill>
                    <a:srgbClr val="000000"/>
                  </a:solidFill>
                  <a:latin typeface="+mj-lt"/>
                </a:endParaRPr>
              </a:p>
            </p:txBody>
          </p:sp>
          <p:sp>
            <p:nvSpPr>
              <p:cNvPr id="117" name="Line 352">
                <a:extLst>
                  <a:ext uri="{FF2B5EF4-FFF2-40B4-BE49-F238E27FC236}">
                    <a16:creationId xmlns:a16="http://schemas.microsoft.com/office/drawing/2014/main" id="{0C020853-01D1-4BF4-8D02-82C404545C9E}"/>
                  </a:ext>
                </a:extLst>
              </p:cNvPr>
              <p:cNvSpPr>
                <a:spLocks noChangeShapeType="1"/>
              </p:cNvSpPr>
              <p:nvPr/>
            </p:nvSpPr>
            <p:spPr bwMode="auto">
              <a:xfrm>
                <a:off x="4908" y="1459"/>
                <a:ext cx="115" cy="0"/>
              </a:xfrm>
              <a:prstGeom prst="line">
                <a:avLst/>
              </a:prstGeom>
              <a:noFill/>
              <a:ln w="9525">
                <a:solidFill>
                  <a:schemeClr val="tx1"/>
                </a:solidFill>
                <a:round/>
                <a:headEnd/>
                <a:tailEnd/>
              </a:ln>
            </p:spPr>
            <p:txBody>
              <a:bodyPr/>
              <a:lstStyle/>
              <a:p>
                <a:pPr eaLnBrk="0" hangingPunct="0"/>
                <a:endParaRPr lang="en-US">
                  <a:solidFill>
                    <a:srgbClr val="000000"/>
                  </a:solidFill>
                  <a:latin typeface="+mj-lt"/>
                </a:endParaRPr>
              </a:p>
            </p:txBody>
          </p:sp>
          <p:sp>
            <p:nvSpPr>
              <p:cNvPr id="118" name="Line 353">
                <a:extLst>
                  <a:ext uri="{FF2B5EF4-FFF2-40B4-BE49-F238E27FC236}">
                    <a16:creationId xmlns:a16="http://schemas.microsoft.com/office/drawing/2014/main" id="{7315A3E2-C52B-4E7B-8022-BF06800F5E82}"/>
                  </a:ext>
                </a:extLst>
              </p:cNvPr>
              <p:cNvSpPr>
                <a:spLocks noChangeShapeType="1"/>
              </p:cNvSpPr>
              <p:nvPr/>
            </p:nvSpPr>
            <p:spPr bwMode="auto">
              <a:xfrm>
                <a:off x="4908" y="1488"/>
                <a:ext cx="115" cy="0"/>
              </a:xfrm>
              <a:prstGeom prst="line">
                <a:avLst/>
              </a:prstGeom>
              <a:noFill/>
              <a:ln w="9525">
                <a:solidFill>
                  <a:srgbClr val="FF0000"/>
                </a:solidFill>
                <a:round/>
                <a:headEnd/>
                <a:tailEnd/>
              </a:ln>
            </p:spPr>
            <p:txBody>
              <a:bodyPr/>
              <a:lstStyle/>
              <a:p>
                <a:pPr eaLnBrk="0" hangingPunct="0"/>
                <a:endParaRPr lang="en-US">
                  <a:solidFill>
                    <a:srgbClr val="000000"/>
                  </a:solidFill>
                  <a:latin typeface="+mj-lt"/>
                </a:endParaRPr>
              </a:p>
            </p:txBody>
          </p:sp>
          <p:sp>
            <p:nvSpPr>
              <p:cNvPr id="119" name="Line 354">
                <a:extLst>
                  <a:ext uri="{FF2B5EF4-FFF2-40B4-BE49-F238E27FC236}">
                    <a16:creationId xmlns:a16="http://schemas.microsoft.com/office/drawing/2014/main" id="{437CBA63-9CEC-4F50-98EB-BF6B2DBD3C55}"/>
                  </a:ext>
                </a:extLst>
              </p:cNvPr>
              <p:cNvSpPr>
                <a:spLocks noChangeShapeType="1"/>
              </p:cNvSpPr>
              <p:nvPr/>
            </p:nvSpPr>
            <p:spPr bwMode="auto">
              <a:xfrm>
                <a:off x="4910" y="1529"/>
                <a:ext cx="116" cy="0"/>
              </a:xfrm>
              <a:prstGeom prst="line">
                <a:avLst/>
              </a:prstGeom>
              <a:noFill/>
              <a:ln w="9525">
                <a:solidFill>
                  <a:schemeClr val="tx1"/>
                </a:solidFill>
                <a:round/>
                <a:headEnd/>
                <a:tailEnd/>
              </a:ln>
            </p:spPr>
            <p:txBody>
              <a:bodyPr/>
              <a:lstStyle/>
              <a:p>
                <a:pPr eaLnBrk="0" hangingPunct="0"/>
                <a:endParaRPr lang="en-US">
                  <a:solidFill>
                    <a:srgbClr val="000000"/>
                  </a:solidFill>
                  <a:latin typeface="+mj-lt"/>
                </a:endParaRPr>
              </a:p>
            </p:txBody>
          </p:sp>
          <p:sp>
            <p:nvSpPr>
              <p:cNvPr id="120" name="Line 355">
                <a:extLst>
                  <a:ext uri="{FF2B5EF4-FFF2-40B4-BE49-F238E27FC236}">
                    <a16:creationId xmlns:a16="http://schemas.microsoft.com/office/drawing/2014/main" id="{64834956-705D-4B2F-90DD-B1FDD2789E35}"/>
                  </a:ext>
                </a:extLst>
              </p:cNvPr>
              <p:cNvSpPr>
                <a:spLocks noChangeShapeType="1"/>
              </p:cNvSpPr>
              <p:nvPr/>
            </p:nvSpPr>
            <p:spPr bwMode="auto">
              <a:xfrm>
                <a:off x="4910" y="1558"/>
                <a:ext cx="116" cy="0"/>
              </a:xfrm>
              <a:prstGeom prst="line">
                <a:avLst/>
              </a:prstGeom>
              <a:noFill/>
              <a:ln w="9525">
                <a:solidFill>
                  <a:srgbClr val="FF0000"/>
                </a:solidFill>
                <a:round/>
                <a:headEnd/>
                <a:tailEnd/>
              </a:ln>
            </p:spPr>
            <p:txBody>
              <a:bodyPr/>
              <a:lstStyle/>
              <a:p>
                <a:pPr eaLnBrk="0" hangingPunct="0"/>
                <a:endParaRPr lang="en-US">
                  <a:solidFill>
                    <a:srgbClr val="000000"/>
                  </a:solidFill>
                  <a:latin typeface="+mj-lt"/>
                </a:endParaRPr>
              </a:p>
            </p:txBody>
          </p:sp>
          <p:sp>
            <p:nvSpPr>
              <p:cNvPr id="121" name="Line 356">
                <a:extLst>
                  <a:ext uri="{FF2B5EF4-FFF2-40B4-BE49-F238E27FC236}">
                    <a16:creationId xmlns:a16="http://schemas.microsoft.com/office/drawing/2014/main" id="{B26D99BC-8389-461F-8C99-EF20EBAFB112}"/>
                  </a:ext>
                </a:extLst>
              </p:cNvPr>
              <p:cNvSpPr>
                <a:spLocks noChangeShapeType="1"/>
              </p:cNvSpPr>
              <p:nvPr/>
            </p:nvSpPr>
            <p:spPr bwMode="auto">
              <a:xfrm>
                <a:off x="4908" y="1589"/>
                <a:ext cx="115" cy="0"/>
              </a:xfrm>
              <a:prstGeom prst="line">
                <a:avLst/>
              </a:prstGeom>
              <a:noFill/>
              <a:ln w="9525">
                <a:solidFill>
                  <a:schemeClr val="tx1"/>
                </a:solidFill>
                <a:round/>
                <a:headEnd/>
                <a:tailEnd/>
              </a:ln>
            </p:spPr>
            <p:txBody>
              <a:bodyPr/>
              <a:lstStyle/>
              <a:p>
                <a:pPr eaLnBrk="0" hangingPunct="0"/>
                <a:endParaRPr lang="en-US">
                  <a:solidFill>
                    <a:srgbClr val="000000"/>
                  </a:solidFill>
                  <a:latin typeface="+mj-lt"/>
                </a:endParaRPr>
              </a:p>
            </p:txBody>
          </p:sp>
          <p:sp>
            <p:nvSpPr>
              <p:cNvPr id="122" name="Line 357">
                <a:extLst>
                  <a:ext uri="{FF2B5EF4-FFF2-40B4-BE49-F238E27FC236}">
                    <a16:creationId xmlns:a16="http://schemas.microsoft.com/office/drawing/2014/main" id="{70B05105-3471-4CC4-ACB9-B93D0F22EFF3}"/>
                  </a:ext>
                </a:extLst>
              </p:cNvPr>
              <p:cNvSpPr>
                <a:spLocks noChangeShapeType="1"/>
              </p:cNvSpPr>
              <p:nvPr/>
            </p:nvSpPr>
            <p:spPr bwMode="auto">
              <a:xfrm>
                <a:off x="4908" y="1618"/>
                <a:ext cx="115" cy="0"/>
              </a:xfrm>
              <a:prstGeom prst="line">
                <a:avLst/>
              </a:prstGeom>
              <a:noFill/>
              <a:ln w="9525">
                <a:solidFill>
                  <a:srgbClr val="FF0000"/>
                </a:solidFill>
                <a:round/>
                <a:headEnd/>
                <a:tailEnd/>
              </a:ln>
            </p:spPr>
            <p:txBody>
              <a:bodyPr/>
              <a:lstStyle/>
              <a:p>
                <a:pPr eaLnBrk="0" hangingPunct="0"/>
                <a:endParaRPr lang="en-US">
                  <a:solidFill>
                    <a:srgbClr val="000000"/>
                  </a:solidFill>
                  <a:latin typeface="+mj-lt"/>
                </a:endParaRPr>
              </a:p>
            </p:txBody>
          </p:sp>
        </p:grpSp>
        <p:grpSp>
          <p:nvGrpSpPr>
            <p:cNvPr id="109" name="Group 358">
              <a:extLst>
                <a:ext uri="{FF2B5EF4-FFF2-40B4-BE49-F238E27FC236}">
                  <a16:creationId xmlns:a16="http://schemas.microsoft.com/office/drawing/2014/main" id="{EDC58006-9411-4ED5-B1EA-ECDFC44BF35A}"/>
                </a:ext>
              </a:extLst>
            </p:cNvPr>
            <p:cNvGrpSpPr>
              <a:grpSpLocks/>
            </p:cNvGrpSpPr>
            <p:nvPr/>
          </p:nvGrpSpPr>
          <p:grpSpPr bwMode="auto">
            <a:xfrm>
              <a:off x="741" y="1435"/>
              <a:ext cx="139" cy="175"/>
              <a:chOff x="4886" y="1440"/>
              <a:chExt cx="154" cy="192"/>
            </a:xfrm>
          </p:grpSpPr>
          <p:sp>
            <p:nvSpPr>
              <p:cNvPr id="110" name="Rectangle 359">
                <a:extLst>
                  <a:ext uri="{FF2B5EF4-FFF2-40B4-BE49-F238E27FC236}">
                    <a16:creationId xmlns:a16="http://schemas.microsoft.com/office/drawing/2014/main" id="{3603A8F7-9B45-43C2-92B1-E1C56B5B6451}"/>
                  </a:ext>
                </a:extLst>
              </p:cNvPr>
              <p:cNvSpPr>
                <a:spLocks noChangeArrowheads="1"/>
              </p:cNvSpPr>
              <p:nvPr/>
            </p:nvSpPr>
            <p:spPr bwMode="auto">
              <a:xfrm>
                <a:off x="4886" y="1440"/>
                <a:ext cx="154" cy="192"/>
              </a:xfrm>
              <a:prstGeom prst="rect">
                <a:avLst/>
              </a:prstGeom>
              <a:solidFill>
                <a:schemeClr val="bg1"/>
              </a:solidFill>
              <a:ln w="12700">
                <a:solidFill>
                  <a:srgbClr val="969696"/>
                </a:solidFill>
                <a:miter lim="800000"/>
                <a:headEnd/>
                <a:tailEnd/>
              </a:ln>
            </p:spPr>
            <p:txBody>
              <a:bodyPr wrap="none" anchor="ctr"/>
              <a:lstStyle/>
              <a:p>
                <a:pPr eaLnBrk="0" hangingPunct="0"/>
                <a:endParaRPr lang="ja-JP" altLang="en-US">
                  <a:solidFill>
                    <a:srgbClr val="000000"/>
                  </a:solidFill>
                  <a:latin typeface="+mj-lt"/>
                </a:endParaRPr>
              </a:p>
            </p:txBody>
          </p:sp>
          <p:sp>
            <p:nvSpPr>
              <p:cNvPr id="111" name="Line 360">
                <a:extLst>
                  <a:ext uri="{FF2B5EF4-FFF2-40B4-BE49-F238E27FC236}">
                    <a16:creationId xmlns:a16="http://schemas.microsoft.com/office/drawing/2014/main" id="{434DDD74-E18E-4C49-AFA2-D217D23F3AD5}"/>
                  </a:ext>
                </a:extLst>
              </p:cNvPr>
              <p:cNvSpPr>
                <a:spLocks noChangeShapeType="1"/>
              </p:cNvSpPr>
              <p:nvPr/>
            </p:nvSpPr>
            <p:spPr bwMode="auto">
              <a:xfrm>
                <a:off x="4908" y="1459"/>
                <a:ext cx="115" cy="0"/>
              </a:xfrm>
              <a:prstGeom prst="line">
                <a:avLst/>
              </a:prstGeom>
              <a:noFill/>
              <a:ln w="9525">
                <a:solidFill>
                  <a:schemeClr val="tx1"/>
                </a:solidFill>
                <a:round/>
                <a:headEnd/>
                <a:tailEnd/>
              </a:ln>
            </p:spPr>
            <p:txBody>
              <a:bodyPr/>
              <a:lstStyle/>
              <a:p>
                <a:pPr eaLnBrk="0" hangingPunct="0"/>
                <a:endParaRPr lang="en-US">
                  <a:solidFill>
                    <a:srgbClr val="000000"/>
                  </a:solidFill>
                  <a:latin typeface="+mj-lt"/>
                </a:endParaRPr>
              </a:p>
            </p:txBody>
          </p:sp>
          <p:sp>
            <p:nvSpPr>
              <p:cNvPr id="112" name="Line 361">
                <a:extLst>
                  <a:ext uri="{FF2B5EF4-FFF2-40B4-BE49-F238E27FC236}">
                    <a16:creationId xmlns:a16="http://schemas.microsoft.com/office/drawing/2014/main" id="{4B07FBFA-EB14-4BBB-BE61-D9E71EBEA943}"/>
                  </a:ext>
                </a:extLst>
              </p:cNvPr>
              <p:cNvSpPr>
                <a:spLocks noChangeShapeType="1"/>
              </p:cNvSpPr>
              <p:nvPr/>
            </p:nvSpPr>
            <p:spPr bwMode="auto">
              <a:xfrm>
                <a:off x="4908" y="1488"/>
                <a:ext cx="115" cy="0"/>
              </a:xfrm>
              <a:prstGeom prst="line">
                <a:avLst/>
              </a:prstGeom>
              <a:noFill/>
              <a:ln w="9525">
                <a:solidFill>
                  <a:srgbClr val="FF0000"/>
                </a:solidFill>
                <a:round/>
                <a:headEnd/>
                <a:tailEnd/>
              </a:ln>
            </p:spPr>
            <p:txBody>
              <a:bodyPr/>
              <a:lstStyle/>
              <a:p>
                <a:pPr eaLnBrk="0" hangingPunct="0"/>
                <a:endParaRPr lang="en-US">
                  <a:solidFill>
                    <a:srgbClr val="000000"/>
                  </a:solidFill>
                  <a:latin typeface="+mj-lt"/>
                </a:endParaRPr>
              </a:p>
            </p:txBody>
          </p:sp>
          <p:sp>
            <p:nvSpPr>
              <p:cNvPr id="113" name="Line 363">
                <a:extLst>
                  <a:ext uri="{FF2B5EF4-FFF2-40B4-BE49-F238E27FC236}">
                    <a16:creationId xmlns:a16="http://schemas.microsoft.com/office/drawing/2014/main" id="{2280AC2F-B1D0-438F-98D4-537BAD0CFC95}"/>
                  </a:ext>
                </a:extLst>
              </p:cNvPr>
              <p:cNvSpPr>
                <a:spLocks noChangeShapeType="1"/>
              </p:cNvSpPr>
              <p:nvPr/>
            </p:nvSpPr>
            <p:spPr bwMode="auto">
              <a:xfrm>
                <a:off x="4910" y="1558"/>
                <a:ext cx="116" cy="0"/>
              </a:xfrm>
              <a:prstGeom prst="line">
                <a:avLst/>
              </a:prstGeom>
              <a:noFill/>
              <a:ln w="9525">
                <a:solidFill>
                  <a:srgbClr val="FF0000"/>
                </a:solidFill>
                <a:round/>
                <a:headEnd/>
                <a:tailEnd/>
              </a:ln>
            </p:spPr>
            <p:txBody>
              <a:bodyPr/>
              <a:lstStyle/>
              <a:p>
                <a:pPr eaLnBrk="0" hangingPunct="0"/>
                <a:endParaRPr lang="en-US">
                  <a:solidFill>
                    <a:srgbClr val="000000"/>
                  </a:solidFill>
                  <a:latin typeface="+mj-lt"/>
                </a:endParaRPr>
              </a:p>
            </p:txBody>
          </p:sp>
          <p:sp>
            <p:nvSpPr>
              <p:cNvPr id="114" name="Line 364">
                <a:extLst>
                  <a:ext uri="{FF2B5EF4-FFF2-40B4-BE49-F238E27FC236}">
                    <a16:creationId xmlns:a16="http://schemas.microsoft.com/office/drawing/2014/main" id="{81138E38-D7C0-4E81-B4BF-5B5DA66BACB6}"/>
                  </a:ext>
                </a:extLst>
              </p:cNvPr>
              <p:cNvSpPr>
                <a:spLocks noChangeShapeType="1"/>
              </p:cNvSpPr>
              <p:nvPr/>
            </p:nvSpPr>
            <p:spPr bwMode="auto">
              <a:xfrm>
                <a:off x="4908" y="1589"/>
                <a:ext cx="115" cy="0"/>
              </a:xfrm>
              <a:prstGeom prst="line">
                <a:avLst/>
              </a:prstGeom>
              <a:noFill/>
              <a:ln w="9525">
                <a:solidFill>
                  <a:schemeClr val="tx1"/>
                </a:solidFill>
                <a:round/>
                <a:headEnd/>
                <a:tailEnd/>
              </a:ln>
            </p:spPr>
            <p:txBody>
              <a:bodyPr/>
              <a:lstStyle/>
              <a:p>
                <a:pPr eaLnBrk="0" hangingPunct="0"/>
                <a:endParaRPr lang="en-US">
                  <a:solidFill>
                    <a:srgbClr val="000000"/>
                  </a:solidFill>
                  <a:latin typeface="+mj-lt"/>
                </a:endParaRPr>
              </a:p>
            </p:txBody>
          </p:sp>
          <p:sp>
            <p:nvSpPr>
              <p:cNvPr id="115" name="Line 365">
                <a:extLst>
                  <a:ext uri="{FF2B5EF4-FFF2-40B4-BE49-F238E27FC236}">
                    <a16:creationId xmlns:a16="http://schemas.microsoft.com/office/drawing/2014/main" id="{9DEE7073-66AA-4AE0-9086-BA4B6EB8B914}"/>
                  </a:ext>
                </a:extLst>
              </p:cNvPr>
              <p:cNvSpPr>
                <a:spLocks noChangeShapeType="1"/>
              </p:cNvSpPr>
              <p:nvPr/>
            </p:nvSpPr>
            <p:spPr bwMode="auto">
              <a:xfrm>
                <a:off x="4908" y="1618"/>
                <a:ext cx="115" cy="0"/>
              </a:xfrm>
              <a:prstGeom prst="line">
                <a:avLst/>
              </a:prstGeom>
              <a:noFill/>
              <a:ln w="9525">
                <a:solidFill>
                  <a:srgbClr val="FF0000"/>
                </a:solidFill>
                <a:round/>
                <a:headEnd/>
                <a:tailEnd/>
              </a:ln>
            </p:spPr>
            <p:txBody>
              <a:bodyPr/>
              <a:lstStyle/>
              <a:p>
                <a:pPr eaLnBrk="0" hangingPunct="0"/>
                <a:endParaRPr lang="en-US">
                  <a:solidFill>
                    <a:srgbClr val="000000"/>
                  </a:solidFill>
                  <a:latin typeface="+mj-lt"/>
                </a:endParaRPr>
              </a:p>
            </p:txBody>
          </p:sp>
        </p:grpSp>
      </p:grpSp>
      <p:sp>
        <p:nvSpPr>
          <p:cNvPr id="123" name="Text Box 387">
            <a:extLst>
              <a:ext uri="{FF2B5EF4-FFF2-40B4-BE49-F238E27FC236}">
                <a16:creationId xmlns:a16="http://schemas.microsoft.com/office/drawing/2014/main" id="{E3495E30-DCEC-4067-93D8-D2E17D020481}"/>
              </a:ext>
            </a:extLst>
          </p:cNvPr>
          <p:cNvSpPr txBox="1">
            <a:spLocks noChangeArrowheads="1"/>
          </p:cNvSpPr>
          <p:nvPr/>
        </p:nvSpPr>
        <p:spPr bwMode="auto">
          <a:xfrm>
            <a:off x="7075848" y="2355963"/>
            <a:ext cx="1582723" cy="338554"/>
          </a:xfrm>
          <a:prstGeom prst="rect">
            <a:avLst/>
          </a:prstGeom>
          <a:noFill/>
          <a:ln w="9525">
            <a:noFill/>
            <a:miter lim="800000"/>
            <a:headEnd/>
            <a:tailEnd/>
          </a:ln>
        </p:spPr>
        <p:txBody>
          <a:bodyPr wrap="square">
            <a:spAutoFit/>
          </a:bodyPr>
          <a:lstStyle/>
          <a:p>
            <a:pPr algn="ctr" eaLnBrk="0" hangingPunct="0"/>
            <a:r>
              <a:rPr lang="en-US" altLang="ja-JP" sz="800" b="1">
                <a:latin typeface="+mj-lt"/>
              </a:rPr>
              <a:t>Test Environment and Test Data Setup</a:t>
            </a:r>
          </a:p>
        </p:txBody>
      </p:sp>
      <p:grpSp>
        <p:nvGrpSpPr>
          <p:cNvPr id="124" name="Group 349">
            <a:extLst>
              <a:ext uri="{FF2B5EF4-FFF2-40B4-BE49-F238E27FC236}">
                <a16:creationId xmlns:a16="http://schemas.microsoft.com/office/drawing/2014/main" id="{06F6113F-9BE8-4DA9-BF05-8D61BAA52F42}"/>
              </a:ext>
            </a:extLst>
          </p:cNvPr>
          <p:cNvGrpSpPr>
            <a:grpSpLocks/>
          </p:cNvGrpSpPr>
          <p:nvPr/>
        </p:nvGrpSpPr>
        <p:grpSpPr bwMode="auto">
          <a:xfrm>
            <a:off x="10826941" y="2717202"/>
            <a:ext cx="501179" cy="324267"/>
            <a:chOff x="673" y="1350"/>
            <a:chExt cx="207" cy="260"/>
          </a:xfrm>
        </p:grpSpPr>
        <p:grpSp>
          <p:nvGrpSpPr>
            <p:cNvPr id="125" name="Group 350">
              <a:extLst>
                <a:ext uri="{FF2B5EF4-FFF2-40B4-BE49-F238E27FC236}">
                  <a16:creationId xmlns:a16="http://schemas.microsoft.com/office/drawing/2014/main" id="{92F83A5B-3568-445F-8977-B91D7812426D}"/>
                </a:ext>
              </a:extLst>
            </p:cNvPr>
            <p:cNvGrpSpPr>
              <a:grpSpLocks/>
            </p:cNvGrpSpPr>
            <p:nvPr/>
          </p:nvGrpSpPr>
          <p:grpSpPr bwMode="auto">
            <a:xfrm>
              <a:off x="673" y="1350"/>
              <a:ext cx="140" cy="189"/>
              <a:chOff x="4871" y="1410"/>
              <a:chExt cx="155" cy="208"/>
            </a:xfrm>
          </p:grpSpPr>
          <p:sp>
            <p:nvSpPr>
              <p:cNvPr id="133" name="Rectangle 351">
                <a:extLst>
                  <a:ext uri="{FF2B5EF4-FFF2-40B4-BE49-F238E27FC236}">
                    <a16:creationId xmlns:a16="http://schemas.microsoft.com/office/drawing/2014/main" id="{F778C008-46C0-47C6-B407-A624E9D89A2E}"/>
                  </a:ext>
                </a:extLst>
              </p:cNvPr>
              <p:cNvSpPr>
                <a:spLocks noChangeArrowheads="1"/>
              </p:cNvSpPr>
              <p:nvPr/>
            </p:nvSpPr>
            <p:spPr bwMode="auto">
              <a:xfrm>
                <a:off x="4871" y="1410"/>
                <a:ext cx="154" cy="192"/>
              </a:xfrm>
              <a:prstGeom prst="rect">
                <a:avLst/>
              </a:prstGeom>
              <a:solidFill>
                <a:schemeClr val="bg1"/>
              </a:solidFill>
              <a:ln w="12700">
                <a:solidFill>
                  <a:srgbClr val="969696"/>
                </a:solidFill>
                <a:miter lim="800000"/>
                <a:headEnd/>
                <a:tailEnd/>
              </a:ln>
            </p:spPr>
            <p:txBody>
              <a:bodyPr wrap="none" anchor="ctr"/>
              <a:lstStyle/>
              <a:p>
                <a:pPr eaLnBrk="0" hangingPunct="0"/>
                <a:endParaRPr lang="ja-JP" altLang="en-US">
                  <a:solidFill>
                    <a:srgbClr val="000000"/>
                  </a:solidFill>
                  <a:latin typeface="+mj-lt"/>
                </a:endParaRPr>
              </a:p>
            </p:txBody>
          </p:sp>
          <p:sp>
            <p:nvSpPr>
              <p:cNvPr id="134" name="Line 352">
                <a:extLst>
                  <a:ext uri="{FF2B5EF4-FFF2-40B4-BE49-F238E27FC236}">
                    <a16:creationId xmlns:a16="http://schemas.microsoft.com/office/drawing/2014/main" id="{D75099BA-DE93-4409-94F0-E9C39AF6BB90}"/>
                  </a:ext>
                </a:extLst>
              </p:cNvPr>
              <p:cNvSpPr>
                <a:spLocks noChangeShapeType="1"/>
              </p:cNvSpPr>
              <p:nvPr/>
            </p:nvSpPr>
            <p:spPr bwMode="auto">
              <a:xfrm>
                <a:off x="4908" y="1459"/>
                <a:ext cx="115" cy="0"/>
              </a:xfrm>
              <a:prstGeom prst="line">
                <a:avLst/>
              </a:prstGeom>
              <a:noFill/>
              <a:ln w="9525">
                <a:solidFill>
                  <a:schemeClr val="tx1"/>
                </a:solidFill>
                <a:round/>
                <a:headEnd/>
                <a:tailEnd/>
              </a:ln>
            </p:spPr>
            <p:txBody>
              <a:bodyPr/>
              <a:lstStyle/>
              <a:p>
                <a:pPr eaLnBrk="0" hangingPunct="0"/>
                <a:endParaRPr lang="en-US">
                  <a:solidFill>
                    <a:srgbClr val="000000"/>
                  </a:solidFill>
                  <a:latin typeface="+mj-lt"/>
                </a:endParaRPr>
              </a:p>
            </p:txBody>
          </p:sp>
          <p:sp>
            <p:nvSpPr>
              <p:cNvPr id="135" name="Line 353">
                <a:extLst>
                  <a:ext uri="{FF2B5EF4-FFF2-40B4-BE49-F238E27FC236}">
                    <a16:creationId xmlns:a16="http://schemas.microsoft.com/office/drawing/2014/main" id="{B9284E94-1253-47D5-B09F-81B276202823}"/>
                  </a:ext>
                </a:extLst>
              </p:cNvPr>
              <p:cNvSpPr>
                <a:spLocks noChangeShapeType="1"/>
              </p:cNvSpPr>
              <p:nvPr/>
            </p:nvSpPr>
            <p:spPr bwMode="auto">
              <a:xfrm>
                <a:off x="4908" y="1488"/>
                <a:ext cx="115" cy="0"/>
              </a:xfrm>
              <a:prstGeom prst="line">
                <a:avLst/>
              </a:prstGeom>
              <a:noFill/>
              <a:ln w="9525">
                <a:solidFill>
                  <a:srgbClr val="FF0000"/>
                </a:solidFill>
                <a:round/>
                <a:headEnd/>
                <a:tailEnd/>
              </a:ln>
            </p:spPr>
            <p:txBody>
              <a:bodyPr/>
              <a:lstStyle/>
              <a:p>
                <a:pPr eaLnBrk="0" hangingPunct="0"/>
                <a:endParaRPr lang="en-US">
                  <a:solidFill>
                    <a:srgbClr val="000000"/>
                  </a:solidFill>
                  <a:latin typeface="+mj-lt"/>
                </a:endParaRPr>
              </a:p>
            </p:txBody>
          </p:sp>
          <p:sp>
            <p:nvSpPr>
              <p:cNvPr id="136" name="Line 354">
                <a:extLst>
                  <a:ext uri="{FF2B5EF4-FFF2-40B4-BE49-F238E27FC236}">
                    <a16:creationId xmlns:a16="http://schemas.microsoft.com/office/drawing/2014/main" id="{E7D15CE4-5B91-4FE3-BF29-1B26DEDB2DEB}"/>
                  </a:ext>
                </a:extLst>
              </p:cNvPr>
              <p:cNvSpPr>
                <a:spLocks noChangeShapeType="1"/>
              </p:cNvSpPr>
              <p:nvPr/>
            </p:nvSpPr>
            <p:spPr bwMode="auto">
              <a:xfrm>
                <a:off x="4910" y="1529"/>
                <a:ext cx="116" cy="0"/>
              </a:xfrm>
              <a:prstGeom prst="line">
                <a:avLst/>
              </a:prstGeom>
              <a:noFill/>
              <a:ln w="9525">
                <a:solidFill>
                  <a:schemeClr val="tx1"/>
                </a:solidFill>
                <a:round/>
                <a:headEnd/>
                <a:tailEnd/>
              </a:ln>
            </p:spPr>
            <p:txBody>
              <a:bodyPr/>
              <a:lstStyle/>
              <a:p>
                <a:pPr eaLnBrk="0" hangingPunct="0"/>
                <a:endParaRPr lang="en-US">
                  <a:solidFill>
                    <a:srgbClr val="000000"/>
                  </a:solidFill>
                  <a:latin typeface="+mj-lt"/>
                </a:endParaRPr>
              </a:p>
            </p:txBody>
          </p:sp>
          <p:sp>
            <p:nvSpPr>
              <p:cNvPr id="137" name="Line 355">
                <a:extLst>
                  <a:ext uri="{FF2B5EF4-FFF2-40B4-BE49-F238E27FC236}">
                    <a16:creationId xmlns:a16="http://schemas.microsoft.com/office/drawing/2014/main" id="{4224D366-E390-40FF-943D-E6B13CC1058F}"/>
                  </a:ext>
                </a:extLst>
              </p:cNvPr>
              <p:cNvSpPr>
                <a:spLocks noChangeShapeType="1"/>
              </p:cNvSpPr>
              <p:nvPr/>
            </p:nvSpPr>
            <p:spPr bwMode="auto">
              <a:xfrm>
                <a:off x="4910" y="1558"/>
                <a:ext cx="116" cy="0"/>
              </a:xfrm>
              <a:prstGeom prst="line">
                <a:avLst/>
              </a:prstGeom>
              <a:noFill/>
              <a:ln w="9525">
                <a:solidFill>
                  <a:srgbClr val="FF0000"/>
                </a:solidFill>
                <a:round/>
                <a:headEnd/>
                <a:tailEnd/>
              </a:ln>
            </p:spPr>
            <p:txBody>
              <a:bodyPr/>
              <a:lstStyle/>
              <a:p>
                <a:pPr eaLnBrk="0" hangingPunct="0"/>
                <a:endParaRPr lang="en-US">
                  <a:solidFill>
                    <a:srgbClr val="000000"/>
                  </a:solidFill>
                  <a:latin typeface="+mj-lt"/>
                </a:endParaRPr>
              </a:p>
            </p:txBody>
          </p:sp>
          <p:sp>
            <p:nvSpPr>
              <p:cNvPr id="138" name="Line 356">
                <a:extLst>
                  <a:ext uri="{FF2B5EF4-FFF2-40B4-BE49-F238E27FC236}">
                    <a16:creationId xmlns:a16="http://schemas.microsoft.com/office/drawing/2014/main" id="{0803278A-F22A-4CF3-8858-1B2BB172EAFF}"/>
                  </a:ext>
                </a:extLst>
              </p:cNvPr>
              <p:cNvSpPr>
                <a:spLocks noChangeShapeType="1"/>
              </p:cNvSpPr>
              <p:nvPr/>
            </p:nvSpPr>
            <p:spPr bwMode="auto">
              <a:xfrm>
                <a:off x="4908" y="1589"/>
                <a:ext cx="115" cy="0"/>
              </a:xfrm>
              <a:prstGeom prst="line">
                <a:avLst/>
              </a:prstGeom>
              <a:noFill/>
              <a:ln w="9525">
                <a:solidFill>
                  <a:schemeClr val="tx1"/>
                </a:solidFill>
                <a:round/>
                <a:headEnd/>
                <a:tailEnd/>
              </a:ln>
            </p:spPr>
            <p:txBody>
              <a:bodyPr/>
              <a:lstStyle/>
              <a:p>
                <a:pPr eaLnBrk="0" hangingPunct="0"/>
                <a:endParaRPr lang="en-US">
                  <a:solidFill>
                    <a:srgbClr val="000000"/>
                  </a:solidFill>
                  <a:latin typeface="+mj-lt"/>
                </a:endParaRPr>
              </a:p>
            </p:txBody>
          </p:sp>
          <p:sp>
            <p:nvSpPr>
              <p:cNvPr id="139" name="Line 357">
                <a:extLst>
                  <a:ext uri="{FF2B5EF4-FFF2-40B4-BE49-F238E27FC236}">
                    <a16:creationId xmlns:a16="http://schemas.microsoft.com/office/drawing/2014/main" id="{3F858EF2-4C43-43E3-AD6E-5C0CE9D8B3EE}"/>
                  </a:ext>
                </a:extLst>
              </p:cNvPr>
              <p:cNvSpPr>
                <a:spLocks noChangeShapeType="1"/>
              </p:cNvSpPr>
              <p:nvPr/>
            </p:nvSpPr>
            <p:spPr bwMode="auto">
              <a:xfrm>
                <a:off x="4908" y="1618"/>
                <a:ext cx="115" cy="0"/>
              </a:xfrm>
              <a:prstGeom prst="line">
                <a:avLst/>
              </a:prstGeom>
              <a:noFill/>
              <a:ln w="9525">
                <a:solidFill>
                  <a:srgbClr val="FF0000"/>
                </a:solidFill>
                <a:round/>
                <a:headEnd/>
                <a:tailEnd/>
              </a:ln>
            </p:spPr>
            <p:txBody>
              <a:bodyPr/>
              <a:lstStyle/>
              <a:p>
                <a:pPr eaLnBrk="0" hangingPunct="0"/>
                <a:endParaRPr lang="en-US">
                  <a:solidFill>
                    <a:srgbClr val="000000"/>
                  </a:solidFill>
                  <a:latin typeface="+mj-lt"/>
                </a:endParaRPr>
              </a:p>
            </p:txBody>
          </p:sp>
        </p:grpSp>
        <p:grpSp>
          <p:nvGrpSpPr>
            <p:cNvPr id="126" name="Group 358">
              <a:extLst>
                <a:ext uri="{FF2B5EF4-FFF2-40B4-BE49-F238E27FC236}">
                  <a16:creationId xmlns:a16="http://schemas.microsoft.com/office/drawing/2014/main" id="{B8AC1495-1F24-44C4-B1D2-9324147B5C02}"/>
                </a:ext>
              </a:extLst>
            </p:cNvPr>
            <p:cNvGrpSpPr>
              <a:grpSpLocks/>
            </p:cNvGrpSpPr>
            <p:nvPr/>
          </p:nvGrpSpPr>
          <p:grpSpPr bwMode="auto">
            <a:xfrm>
              <a:off x="741" y="1435"/>
              <a:ext cx="139" cy="175"/>
              <a:chOff x="4886" y="1440"/>
              <a:chExt cx="154" cy="192"/>
            </a:xfrm>
          </p:grpSpPr>
          <p:sp>
            <p:nvSpPr>
              <p:cNvPr id="127" name="Rectangle 359">
                <a:extLst>
                  <a:ext uri="{FF2B5EF4-FFF2-40B4-BE49-F238E27FC236}">
                    <a16:creationId xmlns:a16="http://schemas.microsoft.com/office/drawing/2014/main" id="{491E58D2-DA30-44A9-B1DB-C9F51966F4D7}"/>
                  </a:ext>
                </a:extLst>
              </p:cNvPr>
              <p:cNvSpPr>
                <a:spLocks noChangeArrowheads="1"/>
              </p:cNvSpPr>
              <p:nvPr/>
            </p:nvSpPr>
            <p:spPr bwMode="auto">
              <a:xfrm>
                <a:off x="4886" y="1440"/>
                <a:ext cx="154" cy="192"/>
              </a:xfrm>
              <a:prstGeom prst="rect">
                <a:avLst/>
              </a:prstGeom>
              <a:solidFill>
                <a:schemeClr val="bg1"/>
              </a:solidFill>
              <a:ln w="12700">
                <a:solidFill>
                  <a:srgbClr val="969696"/>
                </a:solidFill>
                <a:miter lim="800000"/>
                <a:headEnd/>
                <a:tailEnd/>
              </a:ln>
            </p:spPr>
            <p:txBody>
              <a:bodyPr wrap="none" anchor="ctr"/>
              <a:lstStyle/>
              <a:p>
                <a:pPr eaLnBrk="0" hangingPunct="0"/>
                <a:endParaRPr lang="ja-JP" altLang="en-US">
                  <a:solidFill>
                    <a:srgbClr val="000000"/>
                  </a:solidFill>
                  <a:latin typeface="+mj-lt"/>
                </a:endParaRPr>
              </a:p>
            </p:txBody>
          </p:sp>
          <p:sp>
            <p:nvSpPr>
              <p:cNvPr id="128" name="Line 360">
                <a:extLst>
                  <a:ext uri="{FF2B5EF4-FFF2-40B4-BE49-F238E27FC236}">
                    <a16:creationId xmlns:a16="http://schemas.microsoft.com/office/drawing/2014/main" id="{5788F59E-AA95-4F52-B917-A5369C4B42E7}"/>
                  </a:ext>
                </a:extLst>
              </p:cNvPr>
              <p:cNvSpPr>
                <a:spLocks noChangeShapeType="1"/>
              </p:cNvSpPr>
              <p:nvPr/>
            </p:nvSpPr>
            <p:spPr bwMode="auto">
              <a:xfrm>
                <a:off x="4908" y="1459"/>
                <a:ext cx="115" cy="0"/>
              </a:xfrm>
              <a:prstGeom prst="line">
                <a:avLst/>
              </a:prstGeom>
              <a:noFill/>
              <a:ln w="9525">
                <a:solidFill>
                  <a:schemeClr val="tx1"/>
                </a:solidFill>
                <a:round/>
                <a:headEnd/>
                <a:tailEnd/>
              </a:ln>
            </p:spPr>
            <p:txBody>
              <a:bodyPr/>
              <a:lstStyle/>
              <a:p>
                <a:pPr eaLnBrk="0" hangingPunct="0"/>
                <a:endParaRPr lang="en-US">
                  <a:solidFill>
                    <a:srgbClr val="000000"/>
                  </a:solidFill>
                  <a:latin typeface="+mj-lt"/>
                </a:endParaRPr>
              </a:p>
            </p:txBody>
          </p:sp>
          <p:sp>
            <p:nvSpPr>
              <p:cNvPr id="129" name="Line 361">
                <a:extLst>
                  <a:ext uri="{FF2B5EF4-FFF2-40B4-BE49-F238E27FC236}">
                    <a16:creationId xmlns:a16="http://schemas.microsoft.com/office/drawing/2014/main" id="{57927340-D88B-49A2-8122-29E18142CBD4}"/>
                  </a:ext>
                </a:extLst>
              </p:cNvPr>
              <p:cNvSpPr>
                <a:spLocks noChangeShapeType="1"/>
              </p:cNvSpPr>
              <p:nvPr/>
            </p:nvSpPr>
            <p:spPr bwMode="auto">
              <a:xfrm>
                <a:off x="4908" y="1488"/>
                <a:ext cx="115" cy="0"/>
              </a:xfrm>
              <a:prstGeom prst="line">
                <a:avLst/>
              </a:prstGeom>
              <a:noFill/>
              <a:ln w="9525">
                <a:solidFill>
                  <a:srgbClr val="FF0000"/>
                </a:solidFill>
                <a:round/>
                <a:headEnd/>
                <a:tailEnd/>
              </a:ln>
            </p:spPr>
            <p:txBody>
              <a:bodyPr/>
              <a:lstStyle/>
              <a:p>
                <a:pPr eaLnBrk="0" hangingPunct="0"/>
                <a:endParaRPr lang="en-US">
                  <a:solidFill>
                    <a:srgbClr val="000000"/>
                  </a:solidFill>
                  <a:latin typeface="+mj-lt"/>
                </a:endParaRPr>
              </a:p>
            </p:txBody>
          </p:sp>
          <p:sp>
            <p:nvSpPr>
              <p:cNvPr id="130" name="Line 363">
                <a:extLst>
                  <a:ext uri="{FF2B5EF4-FFF2-40B4-BE49-F238E27FC236}">
                    <a16:creationId xmlns:a16="http://schemas.microsoft.com/office/drawing/2014/main" id="{44AFACC4-5551-4F22-BB01-DCF960F58146}"/>
                  </a:ext>
                </a:extLst>
              </p:cNvPr>
              <p:cNvSpPr>
                <a:spLocks noChangeShapeType="1"/>
              </p:cNvSpPr>
              <p:nvPr/>
            </p:nvSpPr>
            <p:spPr bwMode="auto">
              <a:xfrm>
                <a:off x="4910" y="1558"/>
                <a:ext cx="116" cy="0"/>
              </a:xfrm>
              <a:prstGeom prst="line">
                <a:avLst/>
              </a:prstGeom>
              <a:noFill/>
              <a:ln w="9525">
                <a:solidFill>
                  <a:srgbClr val="FF0000"/>
                </a:solidFill>
                <a:round/>
                <a:headEnd/>
                <a:tailEnd/>
              </a:ln>
            </p:spPr>
            <p:txBody>
              <a:bodyPr/>
              <a:lstStyle/>
              <a:p>
                <a:pPr eaLnBrk="0" hangingPunct="0"/>
                <a:endParaRPr lang="en-US">
                  <a:solidFill>
                    <a:srgbClr val="000000"/>
                  </a:solidFill>
                  <a:latin typeface="+mj-lt"/>
                </a:endParaRPr>
              </a:p>
            </p:txBody>
          </p:sp>
          <p:sp>
            <p:nvSpPr>
              <p:cNvPr id="131" name="Line 364">
                <a:extLst>
                  <a:ext uri="{FF2B5EF4-FFF2-40B4-BE49-F238E27FC236}">
                    <a16:creationId xmlns:a16="http://schemas.microsoft.com/office/drawing/2014/main" id="{DF8BF3D5-9FC5-49B6-81C5-95E80E24A4FD}"/>
                  </a:ext>
                </a:extLst>
              </p:cNvPr>
              <p:cNvSpPr>
                <a:spLocks noChangeShapeType="1"/>
              </p:cNvSpPr>
              <p:nvPr/>
            </p:nvSpPr>
            <p:spPr bwMode="auto">
              <a:xfrm>
                <a:off x="4908" y="1589"/>
                <a:ext cx="115" cy="0"/>
              </a:xfrm>
              <a:prstGeom prst="line">
                <a:avLst/>
              </a:prstGeom>
              <a:noFill/>
              <a:ln w="9525">
                <a:solidFill>
                  <a:schemeClr val="tx1"/>
                </a:solidFill>
                <a:round/>
                <a:headEnd/>
                <a:tailEnd/>
              </a:ln>
            </p:spPr>
            <p:txBody>
              <a:bodyPr/>
              <a:lstStyle/>
              <a:p>
                <a:pPr eaLnBrk="0" hangingPunct="0"/>
                <a:endParaRPr lang="en-US">
                  <a:solidFill>
                    <a:srgbClr val="000000"/>
                  </a:solidFill>
                  <a:latin typeface="+mj-lt"/>
                </a:endParaRPr>
              </a:p>
            </p:txBody>
          </p:sp>
          <p:sp>
            <p:nvSpPr>
              <p:cNvPr id="132" name="Line 365">
                <a:extLst>
                  <a:ext uri="{FF2B5EF4-FFF2-40B4-BE49-F238E27FC236}">
                    <a16:creationId xmlns:a16="http://schemas.microsoft.com/office/drawing/2014/main" id="{FC3A3F60-9662-4D72-A9C1-B3BEADD28DEB}"/>
                  </a:ext>
                </a:extLst>
              </p:cNvPr>
              <p:cNvSpPr>
                <a:spLocks noChangeShapeType="1"/>
              </p:cNvSpPr>
              <p:nvPr/>
            </p:nvSpPr>
            <p:spPr bwMode="auto">
              <a:xfrm>
                <a:off x="4908" y="1618"/>
                <a:ext cx="115" cy="0"/>
              </a:xfrm>
              <a:prstGeom prst="line">
                <a:avLst/>
              </a:prstGeom>
              <a:noFill/>
              <a:ln w="9525">
                <a:solidFill>
                  <a:srgbClr val="FF0000"/>
                </a:solidFill>
                <a:round/>
                <a:headEnd/>
                <a:tailEnd/>
              </a:ln>
            </p:spPr>
            <p:txBody>
              <a:bodyPr/>
              <a:lstStyle/>
              <a:p>
                <a:pPr eaLnBrk="0" hangingPunct="0"/>
                <a:endParaRPr lang="en-US">
                  <a:solidFill>
                    <a:srgbClr val="000000"/>
                  </a:solidFill>
                  <a:latin typeface="+mj-lt"/>
                </a:endParaRPr>
              </a:p>
            </p:txBody>
          </p:sp>
        </p:grpSp>
      </p:grpSp>
      <p:sp>
        <p:nvSpPr>
          <p:cNvPr id="140" name="Oval 139">
            <a:extLst>
              <a:ext uri="{FF2B5EF4-FFF2-40B4-BE49-F238E27FC236}">
                <a16:creationId xmlns:a16="http://schemas.microsoft.com/office/drawing/2014/main" id="{F04E4AEE-78AF-4446-97D5-BB584AEDCB59}"/>
              </a:ext>
            </a:extLst>
          </p:cNvPr>
          <p:cNvSpPr/>
          <p:nvPr/>
        </p:nvSpPr>
        <p:spPr bwMode="auto">
          <a:xfrm>
            <a:off x="11361399" y="4822571"/>
            <a:ext cx="666163" cy="535087"/>
          </a:xfrm>
          <a:prstGeom prst="ellipse">
            <a:avLst/>
          </a:prstGeom>
          <a:gradFill flip="none" rotWithShape="1">
            <a:gsLst>
              <a:gs pos="0">
                <a:srgbClr val="CFC498">
                  <a:tint val="66000"/>
                  <a:satMod val="160000"/>
                </a:srgbClr>
              </a:gs>
              <a:gs pos="50000">
                <a:srgbClr val="CFC498">
                  <a:tint val="44500"/>
                  <a:satMod val="160000"/>
                </a:srgbClr>
              </a:gs>
              <a:gs pos="100000">
                <a:srgbClr val="CFC498">
                  <a:tint val="23500"/>
                  <a:satMod val="160000"/>
                </a:srgbClr>
              </a:gs>
            </a:gsLst>
            <a:path path="circle">
              <a:fillToRect l="50000" t="50000" r="50000" b="50000"/>
            </a:path>
            <a:tileRect/>
          </a:gradFill>
          <a:ln w="3175" cap="flat" cmpd="sng" algn="ctr">
            <a:solidFill>
              <a:srgbClr val="CFC498"/>
            </a:solidFill>
            <a:prstDash val="solid"/>
            <a:round/>
            <a:headEnd type="none" w="med" len="med"/>
            <a:tailEnd type="none" w="med" len="med"/>
          </a:ln>
          <a:effectLst/>
        </p:spPr>
        <p:txBody>
          <a:bodyPr anchor="ctr"/>
          <a:lstStyle/>
          <a:p>
            <a:pPr algn="ctr">
              <a:defRPr/>
            </a:pPr>
            <a:endParaRPr lang="en-US" sz="825">
              <a:solidFill>
                <a:prstClr val="black"/>
              </a:solidFill>
              <a:latin typeface="+mj-lt"/>
            </a:endParaRPr>
          </a:p>
        </p:txBody>
      </p:sp>
      <p:sp>
        <p:nvSpPr>
          <p:cNvPr id="141" name="TextBox 140">
            <a:extLst>
              <a:ext uri="{FF2B5EF4-FFF2-40B4-BE49-F238E27FC236}">
                <a16:creationId xmlns:a16="http://schemas.microsoft.com/office/drawing/2014/main" id="{9161A380-34CE-4D54-AE60-78D7E36C422A}"/>
              </a:ext>
            </a:extLst>
          </p:cNvPr>
          <p:cNvSpPr txBox="1"/>
          <p:nvPr/>
        </p:nvSpPr>
        <p:spPr>
          <a:xfrm>
            <a:off x="11393653" y="4916991"/>
            <a:ext cx="683192" cy="346249"/>
          </a:xfrm>
          <a:prstGeom prst="rect">
            <a:avLst/>
          </a:prstGeom>
          <a:noFill/>
        </p:spPr>
        <p:txBody>
          <a:bodyPr wrap="square" rtlCol="0" anchor="ctr">
            <a:spAutoFit/>
          </a:bodyPr>
          <a:lstStyle/>
          <a:p>
            <a:pPr algn="ctr"/>
            <a:r>
              <a:rPr lang="en-US" sz="825" b="1" i="1">
                <a:solidFill>
                  <a:srgbClr val="000000"/>
                </a:solidFill>
                <a:latin typeface="+mj-lt"/>
              </a:rPr>
              <a:t>Defect Fix</a:t>
            </a:r>
          </a:p>
        </p:txBody>
      </p:sp>
      <p:grpSp>
        <p:nvGrpSpPr>
          <p:cNvPr id="142" name="Group 141">
            <a:extLst>
              <a:ext uri="{FF2B5EF4-FFF2-40B4-BE49-F238E27FC236}">
                <a16:creationId xmlns:a16="http://schemas.microsoft.com/office/drawing/2014/main" id="{279094BC-1FEB-404D-8E06-0DA7B9DAEB80}"/>
              </a:ext>
            </a:extLst>
          </p:cNvPr>
          <p:cNvGrpSpPr/>
          <p:nvPr/>
        </p:nvGrpSpPr>
        <p:grpSpPr>
          <a:xfrm rot="5400000">
            <a:off x="9469729" y="3695906"/>
            <a:ext cx="213819" cy="268719"/>
            <a:chOff x="2697955" y="2308773"/>
            <a:chExt cx="282159" cy="186777"/>
          </a:xfrm>
        </p:grpSpPr>
        <p:sp>
          <p:nvSpPr>
            <p:cNvPr id="143" name="Chevron 65">
              <a:extLst>
                <a:ext uri="{FF2B5EF4-FFF2-40B4-BE49-F238E27FC236}">
                  <a16:creationId xmlns:a16="http://schemas.microsoft.com/office/drawing/2014/main" id="{13C8B831-FD5A-497B-95DF-A7FE921AE0D3}"/>
                </a:ext>
              </a:extLst>
            </p:cNvPr>
            <p:cNvSpPr/>
            <p:nvPr/>
          </p:nvSpPr>
          <p:spPr>
            <a:xfrm>
              <a:off x="2807493" y="2308773"/>
              <a:ext cx="172621" cy="186777"/>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mj-lt"/>
              </a:endParaRPr>
            </a:p>
          </p:txBody>
        </p:sp>
        <p:sp>
          <p:nvSpPr>
            <p:cNvPr id="144" name="Chevron 66">
              <a:extLst>
                <a:ext uri="{FF2B5EF4-FFF2-40B4-BE49-F238E27FC236}">
                  <a16:creationId xmlns:a16="http://schemas.microsoft.com/office/drawing/2014/main" id="{6B29BDB1-D2E8-456D-9CAA-96AAEBC68D87}"/>
                </a:ext>
              </a:extLst>
            </p:cNvPr>
            <p:cNvSpPr/>
            <p:nvPr/>
          </p:nvSpPr>
          <p:spPr>
            <a:xfrm>
              <a:off x="2697955" y="2308773"/>
              <a:ext cx="172621" cy="186777"/>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mj-lt"/>
              </a:endParaRPr>
            </a:p>
          </p:txBody>
        </p:sp>
      </p:grpSp>
      <p:cxnSp>
        <p:nvCxnSpPr>
          <p:cNvPr id="145" name="Straight Arrow Connector 144">
            <a:extLst>
              <a:ext uri="{FF2B5EF4-FFF2-40B4-BE49-F238E27FC236}">
                <a16:creationId xmlns:a16="http://schemas.microsoft.com/office/drawing/2014/main" id="{87728344-F9CB-4535-9D09-14C1376A3B14}"/>
              </a:ext>
            </a:extLst>
          </p:cNvPr>
          <p:cNvCxnSpPr/>
          <p:nvPr/>
        </p:nvCxnSpPr>
        <p:spPr bwMode="auto">
          <a:xfrm flipH="1">
            <a:off x="10158778" y="3974516"/>
            <a:ext cx="537439" cy="0"/>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46" name="Group 145">
            <a:extLst>
              <a:ext uri="{FF2B5EF4-FFF2-40B4-BE49-F238E27FC236}">
                <a16:creationId xmlns:a16="http://schemas.microsoft.com/office/drawing/2014/main" id="{FA6BC28E-CE8C-4902-B87D-E489D9B585F6}"/>
              </a:ext>
            </a:extLst>
          </p:cNvPr>
          <p:cNvGrpSpPr/>
          <p:nvPr/>
        </p:nvGrpSpPr>
        <p:grpSpPr>
          <a:xfrm>
            <a:off x="11037957" y="4231968"/>
            <a:ext cx="314885" cy="148905"/>
            <a:chOff x="2697955" y="2308773"/>
            <a:chExt cx="282159" cy="186777"/>
          </a:xfrm>
        </p:grpSpPr>
        <p:sp>
          <p:nvSpPr>
            <p:cNvPr id="147" name="Chevron 63">
              <a:extLst>
                <a:ext uri="{FF2B5EF4-FFF2-40B4-BE49-F238E27FC236}">
                  <a16:creationId xmlns:a16="http://schemas.microsoft.com/office/drawing/2014/main" id="{FA60A358-0C79-46F2-A63C-85EF074CC5B0}"/>
                </a:ext>
              </a:extLst>
            </p:cNvPr>
            <p:cNvSpPr/>
            <p:nvPr/>
          </p:nvSpPr>
          <p:spPr>
            <a:xfrm>
              <a:off x="2807493" y="2308773"/>
              <a:ext cx="172621" cy="186777"/>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mj-lt"/>
              </a:endParaRPr>
            </a:p>
          </p:txBody>
        </p:sp>
        <p:sp>
          <p:nvSpPr>
            <p:cNvPr id="148" name="Chevron 64">
              <a:extLst>
                <a:ext uri="{FF2B5EF4-FFF2-40B4-BE49-F238E27FC236}">
                  <a16:creationId xmlns:a16="http://schemas.microsoft.com/office/drawing/2014/main" id="{5FC514F0-27AB-4CD0-92D2-2488FA17180D}"/>
                </a:ext>
              </a:extLst>
            </p:cNvPr>
            <p:cNvSpPr/>
            <p:nvPr/>
          </p:nvSpPr>
          <p:spPr>
            <a:xfrm>
              <a:off x="2697955" y="2308773"/>
              <a:ext cx="172621" cy="186777"/>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mj-lt"/>
              </a:endParaRPr>
            </a:p>
          </p:txBody>
        </p:sp>
      </p:grpSp>
      <p:sp>
        <p:nvSpPr>
          <p:cNvPr id="153" name="Rectangle 152">
            <a:extLst>
              <a:ext uri="{FF2B5EF4-FFF2-40B4-BE49-F238E27FC236}">
                <a16:creationId xmlns:a16="http://schemas.microsoft.com/office/drawing/2014/main" id="{400FE105-D1A9-4A1F-8C50-7FABA8B6CF88}"/>
              </a:ext>
            </a:extLst>
          </p:cNvPr>
          <p:cNvSpPr/>
          <p:nvPr/>
        </p:nvSpPr>
        <p:spPr>
          <a:xfrm>
            <a:off x="247909" y="2566447"/>
            <a:ext cx="1019931" cy="557388"/>
          </a:xfrm>
          <a:prstGeom prst="rect">
            <a:avLst/>
          </a:prstGeom>
          <a:noFill/>
          <a:ln w="952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a:solidFill>
                  <a:srgbClr val="000000"/>
                </a:solidFill>
                <a:latin typeface="+mj-lt"/>
              </a:rPr>
              <a:t>Non functional requirements</a:t>
            </a:r>
          </a:p>
        </p:txBody>
      </p:sp>
      <p:sp>
        <p:nvSpPr>
          <p:cNvPr id="154" name="Oval 153">
            <a:extLst>
              <a:ext uri="{FF2B5EF4-FFF2-40B4-BE49-F238E27FC236}">
                <a16:creationId xmlns:a16="http://schemas.microsoft.com/office/drawing/2014/main" id="{06EC609C-3E71-47A9-8226-24BCB42C8828}"/>
              </a:ext>
            </a:extLst>
          </p:cNvPr>
          <p:cNvSpPr/>
          <p:nvPr/>
        </p:nvSpPr>
        <p:spPr>
          <a:xfrm>
            <a:off x="1269890" y="3160992"/>
            <a:ext cx="378605" cy="292885"/>
          </a:xfrm>
          <a:prstGeom prst="ellipse">
            <a:avLst/>
          </a:prstGeom>
          <a:solidFill>
            <a:schemeClr val="bg1"/>
          </a:solidFill>
          <a:ln>
            <a:solidFill>
              <a:schemeClr val="accent2"/>
            </a:solidFill>
          </a:ln>
          <a:effectLst>
            <a:glow rad="101600">
              <a:schemeClr val="bg1">
                <a:alpha val="6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rgbClr val="FF0000"/>
                </a:solidFill>
                <a:latin typeface="+mj-lt"/>
              </a:rPr>
              <a:t>1</a:t>
            </a:r>
          </a:p>
        </p:txBody>
      </p:sp>
      <p:sp>
        <p:nvSpPr>
          <p:cNvPr id="155" name="Rounded Rectangle 52">
            <a:extLst>
              <a:ext uri="{FF2B5EF4-FFF2-40B4-BE49-F238E27FC236}">
                <a16:creationId xmlns:a16="http://schemas.microsoft.com/office/drawing/2014/main" id="{47F0E5EE-C894-4626-BD66-6140E216F6F2}"/>
              </a:ext>
            </a:extLst>
          </p:cNvPr>
          <p:cNvSpPr/>
          <p:nvPr/>
        </p:nvSpPr>
        <p:spPr>
          <a:xfrm>
            <a:off x="653637" y="4183425"/>
            <a:ext cx="2850127" cy="1744119"/>
          </a:xfrm>
          <a:prstGeom prst="roundRect">
            <a:avLst>
              <a:gd name="adj" fmla="val 10640"/>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mj-lt"/>
            </a:endParaRPr>
          </a:p>
        </p:txBody>
      </p:sp>
      <p:sp>
        <p:nvSpPr>
          <p:cNvPr id="156" name="Rounded Rectangle 53">
            <a:extLst>
              <a:ext uri="{FF2B5EF4-FFF2-40B4-BE49-F238E27FC236}">
                <a16:creationId xmlns:a16="http://schemas.microsoft.com/office/drawing/2014/main" id="{17702483-99D8-4750-B03F-4E3A01F1F86A}"/>
              </a:ext>
            </a:extLst>
          </p:cNvPr>
          <p:cNvSpPr/>
          <p:nvPr/>
        </p:nvSpPr>
        <p:spPr>
          <a:xfrm>
            <a:off x="783371" y="3969305"/>
            <a:ext cx="2599888" cy="431979"/>
          </a:xfrm>
          <a:prstGeom prst="roundRect">
            <a:avLst/>
          </a:prstGeom>
          <a:solidFill>
            <a:srgbClr val="0066A1"/>
          </a:soli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rgbClr val="FFFFFF"/>
                </a:solidFill>
                <a:latin typeface="+mj-lt"/>
              </a:rPr>
              <a:t>Deliverables</a:t>
            </a:r>
          </a:p>
        </p:txBody>
      </p:sp>
      <p:sp>
        <p:nvSpPr>
          <p:cNvPr id="157" name="TextBox 156">
            <a:extLst>
              <a:ext uri="{FF2B5EF4-FFF2-40B4-BE49-F238E27FC236}">
                <a16:creationId xmlns:a16="http://schemas.microsoft.com/office/drawing/2014/main" id="{9211E057-2A5C-4EB1-B75B-C8F16D69605F}"/>
              </a:ext>
            </a:extLst>
          </p:cNvPr>
          <p:cNvSpPr txBox="1"/>
          <p:nvPr/>
        </p:nvSpPr>
        <p:spPr>
          <a:xfrm>
            <a:off x="920234" y="1295947"/>
            <a:ext cx="3515727" cy="1115242"/>
          </a:xfrm>
          <a:prstGeom prst="rect">
            <a:avLst/>
          </a:prstGeom>
          <a:noFill/>
        </p:spPr>
        <p:txBody>
          <a:bodyPr wrap="square" lIns="13716" tIns="13716" rIns="13716" bIns="13716" rtlCol="0">
            <a:spAutoFit/>
          </a:bodyPr>
          <a:lstStyle/>
          <a:p>
            <a:pPr>
              <a:buClr>
                <a:srgbClr val="00573B"/>
              </a:buClr>
            </a:pPr>
            <a:r>
              <a:rPr lang="en-US" sz="1067" b="1">
                <a:solidFill>
                  <a:srgbClr val="FA6119"/>
                </a:solidFill>
                <a:latin typeface="+mj-lt"/>
              </a:rPr>
              <a:t>Requirement Analysis &amp; Planning</a:t>
            </a:r>
            <a:endParaRPr lang="en-US" sz="1067">
              <a:solidFill>
                <a:srgbClr val="FA6119"/>
              </a:solidFill>
              <a:latin typeface="+mj-lt"/>
            </a:endParaRPr>
          </a:p>
          <a:p>
            <a:pPr marL="128585" indent="-128585">
              <a:buClr>
                <a:srgbClr val="000000"/>
              </a:buClr>
              <a:buFont typeface="Wingdings" panose="05000000000000000000" pitchFamily="2" charset="2"/>
              <a:buChar char="§"/>
            </a:pPr>
            <a:r>
              <a:rPr lang="en-US" sz="1000">
                <a:solidFill>
                  <a:srgbClr val="000000"/>
                </a:solidFill>
                <a:latin typeface="+mj-lt"/>
              </a:rPr>
              <a:t>Analyze non-functional Requirements</a:t>
            </a:r>
          </a:p>
          <a:p>
            <a:pPr marL="300030" indent="-171446">
              <a:buClr>
                <a:schemeClr val="accent2"/>
              </a:buClr>
              <a:buFont typeface="Wingdings" panose="05000000000000000000" pitchFamily="2" charset="2"/>
              <a:buChar char="§"/>
            </a:pPr>
            <a:r>
              <a:rPr lang="en-US" sz="1000">
                <a:solidFill>
                  <a:srgbClr val="000000"/>
                </a:solidFill>
                <a:latin typeface="+mj-lt"/>
              </a:rPr>
              <a:t>Identify MPS critical transactions/scenarios</a:t>
            </a:r>
            <a:endParaRPr lang="en-US" altLang="en-US" sz="1000">
              <a:solidFill>
                <a:srgbClr val="000000"/>
              </a:solidFill>
              <a:latin typeface="+mj-lt"/>
            </a:endParaRPr>
          </a:p>
          <a:p>
            <a:pPr marL="300030" indent="-171446">
              <a:buClr>
                <a:schemeClr val="accent2"/>
              </a:buClr>
              <a:buFont typeface="Wingdings" panose="05000000000000000000" pitchFamily="2" charset="2"/>
              <a:buChar char="§"/>
            </a:pPr>
            <a:r>
              <a:rPr lang="en-US" altLang="en-US" sz="1000">
                <a:solidFill>
                  <a:srgbClr val="000000"/>
                </a:solidFill>
                <a:latin typeface="+mj-lt"/>
              </a:rPr>
              <a:t>Understand the MPS technology stack </a:t>
            </a:r>
            <a:endParaRPr lang="en-US" sz="1000">
              <a:solidFill>
                <a:srgbClr val="000000"/>
              </a:solidFill>
              <a:latin typeface="+mj-lt"/>
            </a:endParaRPr>
          </a:p>
          <a:p>
            <a:pPr marL="300030" indent="-171446">
              <a:buClr>
                <a:schemeClr val="accent2"/>
              </a:buClr>
              <a:buFont typeface="Wingdings" panose="05000000000000000000" pitchFamily="2" charset="2"/>
              <a:buChar char="§"/>
            </a:pPr>
            <a:r>
              <a:rPr lang="en-US" sz="1000">
                <a:solidFill>
                  <a:srgbClr val="000000"/>
                </a:solidFill>
                <a:latin typeface="+mj-lt"/>
              </a:rPr>
              <a:t>Determine Testing Types : Baseline test. Load, Stress &amp; Performance</a:t>
            </a:r>
          </a:p>
          <a:p>
            <a:pPr marL="300030" indent="-171446">
              <a:buClr>
                <a:schemeClr val="accent2"/>
              </a:buClr>
              <a:buFont typeface="Wingdings" panose="05000000000000000000" pitchFamily="2" charset="2"/>
              <a:buChar char="§"/>
            </a:pPr>
            <a:r>
              <a:rPr lang="en-US" altLang="en-US" sz="1000">
                <a:solidFill>
                  <a:srgbClr val="000000"/>
                </a:solidFill>
                <a:latin typeface="+mj-lt"/>
              </a:rPr>
              <a:t>Define SLA along with Manulife</a:t>
            </a:r>
          </a:p>
        </p:txBody>
      </p:sp>
      <p:sp>
        <p:nvSpPr>
          <p:cNvPr id="158" name="TextBox 157">
            <a:extLst>
              <a:ext uri="{FF2B5EF4-FFF2-40B4-BE49-F238E27FC236}">
                <a16:creationId xmlns:a16="http://schemas.microsoft.com/office/drawing/2014/main" id="{8DC06210-43DF-4278-9073-D5796AE36D08}"/>
              </a:ext>
            </a:extLst>
          </p:cNvPr>
          <p:cNvSpPr txBox="1"/>
          <p:nvPr/>
        </p:nvSpPr>
        <p:spPr>
          <a:xfrm>
            <a:off x="9994875" y="3628076"/>
            <a:ext cx="901076" cy="338554"/>
          </a:xfrm>
          <a:prstGeom prst="rect">
            <a:avLst/>
          </a:prstGeom>
          <a:noFill/>
          <a:ln w="9525">
            <a:noFill/>
            <a:miter lim="800000"/>
            <a:headEnd/>
            <a:tailEnd/>
          </a:ln>
        </p:spPr>
        <p:txBody>
          <a:bodyPr wrap="square">
            <a:spAutoFit/>
          </a:bodyPr>
          <a:lstStyle>
            <a:defPPr>
              <a:defRPr lang="en-US"/>
            </a:defPPr>
            <a:lvl1pPr algn="ctr" eaLnBrk="0" hangingPunct="0">
              <a:defRPr sz="900" b="1">
                <a:solidFill>
                  <a:srgbClr val="5F5F5F"/>
                </a:solidFill>
                <a:cs typeface="Arial" charset="0"/>
              </a:defRPr>
            </a:lvl1pPr>
          </a:lstStyle>
          <a:p>
            <a:r>
              <a:rPr lang="en-US" sz="800">
                <a:latin typeface="+mj-lt"/>
              </a:rPr>
              <a:t>Defect Reporting</a:t>
            </a:r>
          </a:p>
        </p:txBody>
      </p:sp>
      <p:sp>
        <p:nvSpPr>
          <p:cNvPr id="159" name="Rounded Rectangle 56">
            <a:extLst>
              <a:ext uri="{FF2B5EF4-FFF2-40B4-BE49-F238E27FC236}">
                <a16:creationId xmlns:a16="http://schemas.microsoft.com/office/drawing/2014/main" id="{C67D9A3E-8C92-4E6B-87F7-0791788BF1C3}"/>
              </a:ext>
            </a:extLst>
          </p:cNvPr>
          <p:cNvSpPr/>
          <p:nvPr/>
        </p:nvSpPr>
        <p:spPr>
          <a:xfrm>
            <a:off x="4771913" y="5098993"/>
            <a:ext cx="2799141" cy="638165"/>
          </a:xfrm>
          <a:prstGeom prst="round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latin typeface="+mj-lt"/>
              </a:rPr>
              <a:t>Execute Load test with varying load conditions and determine the application behavior under low, normal and anticipated peak load conditions </a:t>
            </a:r>
          </a:p>
        </p:txBody>
      </p:sp>
      <p:sp>
        <p:nvSpPr>
          <p:cNvPr id="162" name="TextBox 161">
            <a:extLst>
              <a:ext uri="{FF2B5EF4-FFF2-40B4-BE49-F238E27FC236}">
                <a16:creationId xmlns:a16="http://schemas.microsoft.com/office/drawing/2014/main" id="{4F0E3E69-C994-4AE1-BF68-C9112AC83DB9}"/>
              </a:ext>
            </a:extLst>
          </p:cNvPr>
          <p:cNvSpPr txBox="1"/>
          <p:nvPr/>
        </p:nvSpPr>
        <p:spPr>
          <a:xfrm>
            <a:off x="692328" y="4367001"/>
            <a:ext cx="2746244" cy="1446230"/>
          </a:xfrm>
          <a:prstGeom prst="rect">
            <a:avLst/>
          </a:prstGeom>
          <a:noFill/>
          <a:effectLst/>
        </p:spPr>
        <p:txBody>
          <a:bodyPr wrap="square" rtlCol="0">
            <a:spAutoFit/>
          </a:bodyPr>
          <a:lstStyle/>
          <a:p>
            <a:pPr marL="171446" indent="-171446" algn="just">
              <a:lnSpc>
                <a:spcPct val="150000"/>
              </a:lnSpc>
              <a:buFont typeface="Wingdings" panose="05000000000000000000" pitchFamily="2" charset="2"/>
              <a:buChar char="§"/>
              <a:defRPr/>
            </a:pPr>
            <a:r>
              <a:rPr lang="en-US" altLang="en-US" sz="1000">
                <a:solidFill>
                  <a:srgbClr val="000000"/>
                </a:solidFill>
                <a:latin typeface="+mj-lt"/>
                <a:cs typeface="Arial" pitchFamily="34" charset="0"/>
              </a:rPr>
              <a:t>Performance Test Plan </a:t>
            </a:r>
          </a:p>
          <a:p>
            <a:pPr marL="171446" indent="-171446" algn="just">
              <a:lnSpc>
                <a:spcPct val="150000"/>
              </a:lnSpc>
              <a:buFont typeface="Wingdings" panose="05000000000000000000" pitchFamily="2" charset="2"/>
              <a:buChar char="§"/>
              <a:defRPr/>
            </a:pPr>
            <a:r>
              <a:rPr lang="en-US" altLang="en-US" sz="1000">
                <a:solidFill>
                  <a:srgbClr val="000000"/>
                </a:solidFill>
                <a:latin typeface="+mj-lt"/>
                <a:cs typeface="Arial" pitchFamily="34" charset="0"/>
              </a:rPr>
              <a:t>Business process flow documentation</a:t>
            </a:r>
          </a:p>
          <a:p>
            <a:pPr marL="171446" indent="-171446" algn="just">
              <a:lnSpc>
                <a:spcPct val="150000"/>
              </a:lnSpc>
              <a:buFont typeface="Wingdings" panose="05000000000000000000" pitchFamily="2" charset="2"/>
              <a:buChar char="§"/>
              <a:defRPr/>
            </a:pPr>
            <a:r>
              <a:rPr lang="en-US" altLang="en-US" sz="1000">
                <a:solidFill>
                  <a:srgbClr val="000000"/>
                </a:solidFill>
                <a:latin typeface="+mj-lt"/>
                <a:cs typeface="Arial" pitchFamily="34" charset="0"/>
              </a:rPr>
              <a:t>Base-lined Performance Test Script</a:t>
            </a:r>
          </a:p>
          <a:p>
            <a:pPr marL="171446" indent="-171446" algn="just">
              <a:lnSpc>
                <a:spcPct val="150000"/>
              </a:lnSpc>
              <a:buFont typeface="Wingdings" panose="05000000000000000000" pitchFamily="2" charset="2"/>
              <a:buChar char="§"/>
              <a:defRPr/>
            </a:pPr>
            <a:r>
              <a:rPr lang="en-US" altLang="en-US" sz="1000">
                <a:solidFill>
                  <a:srgbClr val="000000"/>
                </a:solidFill>
                <a:latin typeface="+mj-lt"/>
                <a:cs typeface="Arial" pitchFamily="34" charset="0"/>
              </a:rPr>
              <a:t>Preliminary Test Reports (for each test run)</a:t>
            </a:r>
          </a:p>
          <a:p>
            <a:pPr marL="171446" indent="-171446" algn="just">
              <a:lnSpc>
                <a:spcPct val="150000"/>
              </a:lnSpc>
              <a:buFont typeface="Wingdings" panose="05000000000000000000" pitchFamily="2" charset="2"/>
              <a:buChar char="§"/>
              <a:defRPr/>
            </a:pPr>
            <a:r>
              <a:rPr lang="en-US" altLang="en-US" sz="1000">
                <a:solidFill>
                  <a:srgbClr val="000000"/>
                </a:solidFill>
                <a:latin typeface="+mj-lt"/>
                <a:cs typeface="Arial" pitchFamily="34" charset="0"/>
              </a:rPr>
              <a:t>Executive Test Summary Report</a:t>
            </a:r>
          </a:p>
        </p:txBody>
      </p:sp>
      <p:sp>
        <p:nvSpPr>
          <p:cNvPr id="2" name="TextBox 1">
            <a:extLst>
              <a:ext uri="{FF2B5EF4-FFF2-40B4-BE49-F238E27FC236}">
                <a16:creationId xmlns:a16="http://schemas.microsoft.com/office/drawing/2014/main" id="{47D0A5ED-B515-49AB-8247-4A6278580D1D}"/>
              </a:ext>
            </a:extLst>
          </p:cNvPr>
          <p:cNvSpPr txBox="1"/>
          <p:nvPr/>
        </p:nvSpPr>
        <p:spPr>
          <a:xfrm rot="5400000">
            <a:off x="2156257" y="2783303"/>
            <a:ext cx="405728" cy="1878905"/>
          </a:xfrm>
          <a:prstGeom prst="rect">
            <a:avLst/>
          </a:prstGeom>
          <a:noFill/>
        </p:spPr>
        <p:txBody>
          <a:bodyPr vert="vert270" wrap="square" lIns="0" tIns="0" rIns="0" bIns="0" rtlCol="0">
            <a:noAutofit/>
          </a:bodyPr>
          <a:lstStyle/>
          <a:p>
            <a:pPr algn="ctr"/>
            <a:r>
              <a:rPr lang="en-IN" sz="1000"/>
              <a:t> * Members viewing transactional history</a:t>
            </a:r>
          </a:p>
        </p:txBody>
      </p:sp>
      <p:sp>
        <p:nvSpPr>
          <p:cNvPr id="164" name="TextBox 163">
            <a:extLst>
              <a:ext uri="{FF2B5EF4-FFF2-40B4-BE49-F238E27FC236}">
                <a16:creationId xmlns:a16="http://schemas.microsoft.com/office/drawing/2014/main" id="{63F7D04D-90C7-4716-93A5-19F25F7F8374}"/>
              </a:ext>
            </a:extLst>
          </p:cNvPr>
          <p:cNvSpPr txBox="1"/>
          <p:nvPr/>
        </p:nvSpPr>
        <p:spPr>
          <a:xfrm rot="5400000">
            <a:off x="1842406" y="4516623"/>
            <a:ext cx="405728" cy="3594722"/>
          </a:xfrm>
          <a:prstGeom prst="rect">
            <a:avLst/>
          </a:prstGeom>
          <a:noFill/>
        </p:spPr>
        <p:txBody>
          <a:bodyPr vert="vert270" wrap="square" lIns="0" tIns="0" rIns="0" bIns="0" rtlCol="0">
            <a:noAutofit/>
          </a:bodyPr>
          <a:lstStyle/>
          <a:p>
            <a:pPr algn="ctr"/>
            <a:r>
              <a:rPr lang="en-IN" sz="1000"/>
              <a:t> * Example scenario based on RFI scope</a:t>
            </a:r>
          </a:p>
        </p:txBody>
      </p:sp>
      <p:sp>
        <p:nvSpPr>
          <p:cNvPr id="165" name="Rounded Rectangle 53">
            <a:extLst>
              <a:ext uri="{FF2B5EF4-FFF2-40B4-BE49-F238E27FC236}">
                <a16:creationId xmlns:a16="http://schemas.microsoft.com/office/drawing/2014/main" id="{AB6D0336-DB21-4B4F-9916-10128F533C95}"/>
              </a:ext>
            </a:extLst>
          </p:cNvPr>
          <p:cNvSpPr/>
          <p:nvPr/>
        </p:nvSpPr>
        <p:spPr>
          <a:xfrm>
            <a:off x="5279018" y="3921858"/>
            <a:ext cx="1712628" cy="379037"/>
          </a:xfrm>
          <a:prstGeom prst="roundRect">
            <a:avLst/>
          </a:prstGeom>
          <a:solidFill>
            <a:srgbClr val="0066A1"/>
          </a:soli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rgbClr val="FFFFFF"/>
                </a:solidFill>
                <a:latin typeface="+mj-lt"/>
              </a:rPr>
              <a:t>Test Scenarios</a:t>
            </a:r>
          </a:p>
        </p:txBody>
      </p:sp>
    </p:spTree>
    <p:extLst>
      <p:ext uri="{BB962C8B-B14F-4D97-AF65-F5344CB8AC3E}">
        <p14:creationId xmlns:p14="http://schemas.microsoft.com/office/powerpoint/2010/main" val="72227291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2B0C265-C0D6-4AA7-AB19-C35989296CF2}"/>
              </a:ext>
            </a:extLst>
          </p:cNvPr>
          <p:cNvSpPr>
            <a:spLocks noGrp="1"/>
          </p:cNvSpPr>
          <p:nvPr>
            <p:ph type="body" sz="quarter" idx="10"/>
          </p:nvPr>
        </p:nvSpPr>
        <p:spPr/>
        <p:txBody>
          <a:bodyPr/>
          <a:lstStyle/>
          <a:p>
            <a:r>
              <a:rPr lang="en-US"/>
              <a:t>Governance and Engagement Model</a:t>
            </a:r>
            <a:endParaRPr lang="en-GB"/>
          </a:p>
        </p:txBody>
      </p:sp>
      <p:sp>
        <p:nvSpPr>
          <p:cNvPr id="4" name="Text Placeholder 3">
            <a:extLst>
              <a:ext uri="{FF2B5EF4-FFF2-40B4-BE49-F238E27FC236}">
                <a16:creationId xmlns:a16="http://schemas.microsoft.com/office/drawing/2014/main" id="{BA2B729A-9A89-440B-90FF-289B99ECF5AE}"/>
              </a:ext>
            </a:extLst>
          </p:cNvPr>
          <p:cNvSpPr>
            <a:spLocks noGrp="1"/>
          </p:cNvSpPr>
          <p:nvPr>
            <p:ph type="body" sz="quarter" idx="16"/>
          </p:nvPr>
        </p:nvSpPr>
        <p:spPr>
          <a:xfrm>
            <a:off x="435577" y="2537691"/>
            <a:ext cx="678071" cy="569387"/>
          </a:xfrm>
        </p:spPr>
        <p:txBody>
          <a:bodyPr vert="horz" wrap="none" lIns="0" tIns="0" rIns="0" bIns="0" rtlCol="0" anchor="t">
            <a:spAutoFit/>
          </a:bodyPr>
          <a:lstStyle/>
          <a:p>
            <a:r>
              <a:rPr lang="en-GB" sz="3700">
                <a:ea typeface="Verdana"/>
              </a:rPr>
              <a:t>05.</a:t>
            </a:r>
            <a:endParaRPr lang="en-GB"/>
          </a:p>
        </p:txBody>
      </p:sp>
    </p:spTree>
    <p:extLst>
      <p:ext uri="{BB962C8B-B14F-4D97-AF65-F5344CB8AC3E}">
        <p14:creationId xmlns:p14="http://schemas.microsoft.com/office/powerpoint/2010/main" val="37740027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7C7CF6A-FCD4-46CF-9506-D9BD779FF838}"/>
              </a:ext>
            </a:extLst>
          </p:cNvPr>
          <p:cNvSpPr>
            <a:spLocks noGrp="1"/>
          </p:cNvSpPr>
          <p:nvPr>
            <p:ph type="title"/>
          </p:nvPr>
        </p:nvSpPr>
        <p:spPr/>
        <p:txBody>
          <a:bodyPr/>
          <a:lstStyle/>
          <a:p>
            <a:r>
              <a:rPr lang="en-GB"/>
              <a:t>Atos Solution Summary</a:t>
            </a:r>
            <a:br>
              <a:rPr lang="en-GB"/>
            </a:br>
            <a:endParaRPr lang="en-GB"/>
          </a:p>
        </p:txBody>
      </p:sp>
      <p:sp>
        <p:nvSpPr>
          <p:cNvPr id="4" name="TextBox 3">
            <a:extLst>
              <a:ext uri="{FF2B5EF4-FFF2-40B4-BE49-F238E27FC236}">
                <a16:creationId xmlns:a16="http://schemas.microsoft.com/office/drawing/2014/main" id="{2D6BD0D0-B926-491E-ADB0-7D5175061A08}"/>
              </a:ext>
            </a:extLst>
          </p:cNvPr>
          <p:cNvSpPr txBox="1"/>
          <p:nvPr/>
        </p:nvSpPr>
        <p:spPr>
          <a:xfrm>
            <a:off x="674689" y="1673067"/>
            <a:ext cx="1873643" cy="338554"/>
          </a:xfrm>
          <a:prstGeom prst="rect">
            <a:avLst/>
          </a:prstGeom>
          <a:noFill/>
        </p:spPr>
        <p:txBody>
          <a:bodyPr wrap="square" rtlCol="0">
            <a:spAutoFit/>
          </a:bodyPr>
          <a:lstStyle/>
          <a:p>
            <a:pPr algn="ctr" defTabSz="1219170"/>
            <a:r>
              <a:rPr lang="en-US" sz="1600" b="1">
                <a:solidFill>
                  <a:schemeClr val="accent1"/>
                </a:solidFill>
                <a:latin typeface="Verdana"/>
              </a:rPr>
              <a:t>Objectives</a:t>
            </a:r>
            <a:endParaRPr lang="en-GB" sz="1600" b="1">
              <a:solidFill>
                <a:schemeClr val="accent1"/>
              </a:solidFill>
              <a:latin typeface="Verdana"/>
            </a:endParaRPr>
          </a:p>
        </p:txBody>
      </p:sp>
      <p:grpSp>
        <p:nvGrpSpPr>
          <p:cNvPr id="5" name="Group 4">
            <a:extLst>
              <a:ext uri="{FF2B5EF4-FFF2-40B4-BE49-F238E27FC236}">
                <a16:creationId xmlns:a16="http://schemas.microsoft.com/office/drawing/2014/main" id="{22788DC0-C7D6-4678-A1D6-862146766825}"/>
              </a:ext>
            </a:extLst>
          </p:cNvPr>
          <p:cNvGrpSpPr/>
          <p:nvPr/>
        </p:nvGrpSpPr>
        <p:grpSpPr>
          <a:xfrm>
            <a:off x="2551469" y="1500718"/>
            <a:ext cx="7069523" cy="4677224"/>
            <a:chOff x="2665926" y="1010199"/>
            <a:chExt cx="7089061" cy="4027328"/>
          </a:xfrm>
        </p:grpSpPr>
        <p:sp>
          <p:nvSpPr>
            <p:cNvPr id="6" name="Rectangle 5">
              <a:extLst>
                <a:ext uri="{FF2B5EF4-FFF2-40B4-BE49-F238E27FC236}">
                  <a16:creationId xmlns:a16="http://schemas.microsoft.com/office/drawing/2014/main" id="{ABC76077-253E-4DD2-850A-D4E6E9749286}"/>
                </a:ext>
              </a:extLst>
            </p:cNvPr>
            <p:cNvSpPr/>
            <p:nvPr/>
          </p:nvSpPr>
          <p:spPr>
            <a:xfrm>
              <a:off x="2665927" y="1288990"/>
              <a:ext cx="7086215" cy="3748537"/>
            </a:xfrm>
            <a:prstGeom prst="rect">
              <a:avLst/>
            </a:prstGeom>
            <a:solidFill>
              <a:srgbClr val="E7F6FF"/>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0000" tIns="360000" rIns="54000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indent="-171450" defTabSz="1219140">
                <a:spcBef>
                  <a:spcPts val="600"/>
                </a:spcBef>
                <a:spcAft>
                  <a:spcPts val="600"/>
                </a:spcAft>
                <a:buClr>
                  <a:schemeClr val="accent1"/>
                </a:buClr>
                <a:buFont typeface="Lucida Sans Unicode" panose="020B0602030504020204" pitchFamily="34" charset="0"/>
                <a:buChar char="▶"/>
                <a:defRPr/>
              </a:pPr>
              <a:r>
                <a:rPr lang="en-US" sz="1400" b="1" dirty="0">
                  <a:solidFill>
                    <a:srgbClr val="000000"/>
                  </a:solidFill>
                </a:rPr>
                <a:t>Due diligence </a:t>
              </a:r>
              <a:r>
                <a:rPr lang="en-US" sz="1400" dirty="0">
                  <a:solidFill>
                    <a:srgbClr val="000000"/>
                  </a:solidFill>
                </a:rPr>
                <a:t>of data, process workflows, data field mapping and feature available on SLX and MPS applications, to create detailed requirement document for the migration and firm up our pricing</a:t>
              </a:r>
            </a:p>
            <a:p>
              <a:pPr marL="171450" indent="-171450" defTabSz="1219140">
                <a:spcBef>
                  <a:spcPts val="600"/>
                </a:spcBef>
                <a:spcAft>
                  <a:spcPts val="600"/>
                </a:spcAft>
                <a:buClr>
                  <a:schemeClr val="accent1"/>
                </a:buClr>
                <a:buFont typeface="Lucida Sans Unicode" panose="020B0602030504020204" pitchFamily="34" charset="0"/>
                <a:buChar char="▶"/>
                <a:defRPr/>
              </a:pPr>
              <a:r>
                <a:rPr lang="en-US" sz="1400" b="1" dirty="0">
                  <a:solidFill>
                    <a:srgbClr val="000000"/>
                  </a:solidFill>
                </a:rPr>
                <a:t>Proven data migration </a:t>
              </a:r>
              <a:r>
                <a:rPr lang="en-US" sz="1400" dirty="0">
                  <a:solidFill>
                    <a:srgbClr val="000000"/>
                  </a:solidFill>
                </a:rPr>
                <a:t>approach</a:t>
              </a:r>
              <a:r>
                <a:rPr lang="en-US" sz="1400" b="1" dirty="0">
                  <a:solidFill>
                    <a:srgbClr val="000000"/>
                  </a:solidFill>
                </a:rPr>
                <a:t> </a:t>
              </a:r>
              <a:r>
                <a:rPr lang="en-US" sz="1400" dirty="0">
                  <a:solidFill>
                    <a:srgbClr val="000000"/>
                  </a:solidFill>
                </a:rPr>
                <a:t>and</a:t>
              </a:r>
              <a:r>
                <a:rPr lang="en-US" sz="1400" b="1" dirty="0">
                  <a:solidFill>
                    <a:srgbClr val="000000"/>
                  </a:solidFill>
                </a:rPr>
                <a:t> tool-based data validation </a:t>
              </a:r>
              <a:r>
                <a:rPr lang="en-US" sz="1400" dirty="0">
                  <a:solidFill>
                    <a:srgbClr val="000000"/>
                  </a:solidFill>
                </a:rPr>
                <a:t>at target MPS environment</a:t>
              </a:r>
            </a:p>
            <a:p>
              <a:pPr marL="171450" indent="-171450" defTabSz="1219140">
                <a:spcBef>
                  <a:spcPts val="600"/>
                </a:spcBef>
                <a:spcAft>
                  <a:spcPts val="600"/>
                </a:spcAft>
                <a:buClr>
                  <a:schemeClr val="accent1"/>
                </a:buClr>
                <a:buFont typeface="Lucida Sans Unicode" panose="020B0602030504020204" pitchFamily="34" charset="0"/>
                <a:buChar char="▶"/>
                <a:defRPr/>
              </a:pPr>
              <a:r>
                <a:rPr lang="en-US" sz="1400" dirty="0">
                  <a:solidFill>
                    <a:srgbClr val="000000"/>
                  </a:solidFill>
                </a:rPr>
                <a:t>Phase-wise approach to enable </a:t>
              </a:r>
              <a:r>
                <a:rPr lang="en-US" sz="1400" b="1" dirty="0">
                  <a:solidFill>
                    <a:srgbClr val="000000"/>
                  </a:solidFill>
                </a:rPr>
                <a:t>parallel execution</a:t>
              </a:r>
              <a:r>
                <a:rPr lang="en-US" sz="1400" dirty="0">
                  <a:solidFill>
                    <a:srgbClr val="000000"/>
                  </a:solidFill>
                </a:rPr>
                <a:t> of Data migration and Application enhancement. </a:t>
              </a:r>
            </a:p>
            <a:p>
              <a:pPr marL="171450" lvl="0" indent="-171450" defTabSz="1219140">
                <a:spcBef>
                  <a:spcPts val="600"/>
                </a:spcBef>
                <a:spcAft>
                  <a:spcPts val="600"/>
                </a:spcAft>
                <a:buClr>
                  <a:schemeClr val="accent1"/>
                </a:buClr>
                <a:buFont typeface="Lucida Sans Unicode" panose="020B0602030504020204" pitchFamily="34" charset="0"/>
                <a:buChar char="▶"/>
                <a:defRPr/>
              </a:pPr>
              <a:r>
                <a:rPr lang="en-US" sz="1400" b="1" dirty="0">
                  <a:solidFill>
                    <a:srgbClr val="000000"/>
                  </a:solidFill>
                </a:rPr>
                <a:t>Agile based approach </a:t>
              </a:r>
              <a:r>
                <a:rPr lang="en-US" sz="1400" dirty="0">
                  <a:solidFill>
                    <a:srgbClr val="000000"/>
                  </a:solidFill>
                </a:rPr>
                <a:t>for implementing SLX features on MPS</a:t>
              </a:r>
            </a:p>
            <a:p>
              <a:pPr marL="171450" indent="-171450" defTabSz="1219140">
                <a:spcBef>
                  <a:spcPts val="600"/>
                </a:spcBef>
                <a:spcAft>
                  <a:spcPts val="600"/>
                </a:spcAft>
                <a:buClr>
                  <a:schemeClr val="accent1"/>
                </a:buClr>
                <a:buFont typeface="Lucida Sans Unicode" panose="020B0602030504020204" pitchFamily="34" charset="0"/>
                <a:buChar char="▶"/>
                <a:defRPr/>
              </a:pPr>
              <a:r>
                <a:rPr lang="en-US" sz="1400" dirty="0">
                  <a:solidFill>
                    <a:srgbClr val="000000"/>
                  </a:solidFill>
                </a:rPr>
                <a:t>Leverage </a:t>
              </a:r>
              <a:r>
                <a:rPr lang="en-US" sz="1400" b="1" dirty="0">
                  <a:solidFill>
                    <a:srgbClr val="000000"/>
                  </a:solidFill>
                </a:rPr>
                <a:t>Atos Process Recorder </a:t>
              </a:r>
              <a:r>
                <a:rPr lang="en-US" sz="1400" dirty="0">
                  <a:solidFill>
                    <a:srgbClr val="000000"/>
                  </a:solidFill>
                </a:rPr>
                <a:t>to analyze processes to determine  potential automation like straight through processing (STP) opportunities</a:t>
              </a:r>
            </a:p>
            <a:p>
              <a:pPr marL="171450" indent="-171450" defTabSz="1219140">
                <a:spcBef>
                  <a:spcPts val="600"/>
                </a:spcBef>
                <a:spcAft>
                  <a:spcPts val="600"/>
                </a:spcAft>
                <a:buClr>
                  <a:schemeClr val="accent1"/>
                </a:buClr>
                <a:buFont typeface="Lucida Sans Unicode" panose="020B0602030504020204" pitchFamily="34" charset="0"/>
                <a:buChar char="▶"/>
                <a:defRPr/>
              </a:pPr>
              <a:r>
                <a:rPr lang="en-US" sz="1400" b="1" dirty="0">
                  <a:solidFill>
                    <a:srgbClr val="000000"/>
                  </a:solidFill>
                </a:rPr>
                <a:t>Ready to</a:t>
              </a:r>
              <a:r>
                <a:rPr lang="en-US" sz="1400" b="1" dirty="0">
                  <a:solidFill>
                    <a:schemeClr val="tx1"/>
                  </a:solidFill>
                </a:rPr>
                <a:t> deploy ‘A’ team </a:t>
              </a:r>
              <a:r>
                <a:rPr lang="en-US" sz="1400" dirty="0">
                  <a:solidFill>
                    <a:schemeClr val="tx1"/>
                  </a:solidFill>
                </a:rPr>
                <a:t>including Data Architects, Life and Pension domain experts</a:t>
              </a:r>
              <a:r>
                <a:rPr lang="en-US" sz="1400" kern="0" dirty="0">
                  <a:solidFill>
                    <a:schemeClr val="tx1"/>
                  </a:solidFill>
                  <a:cs typeface="Microsoft Sans Serif"/>
                </a:rPr>
                <a:t>, Program Managers and Scrum Masters</a:t>
              </a:r>
              <a:endParaRPr lang="en-US" dirty="0">
                <a:solidFill>
                  <a:schemeClr val="tx1"/>
                </a:solidFill>
                <a:cs typeface="Microsoft Sans Serif"/>
              </a:endParaRPr>
            </a:p>
            <a:p>
              <a:pPr marL="171450" lvl="0" indent="-171450" defTabSz="1219140">
                <a:spcBef>
                  <a:spcPts val="600"/>
                </a:spcBef>
                <a:spcAft>
                  <a:spcPts val="600"/>
                </a:spcAft>
                <a:buClr>
                  <a:schemeClr val="accent1"/>
                </a:buClr>
                <a:buFont typeface="Lucida Sans Unicode" panose="020B0602030504020204" pitchFamily="34" charset="0"/>
                <a:buChar char="▶"/>
                <a:defRPr/>
              </a:pPr>
              <a:r>
                <a:rPr lang="en-US" sz="1400" dirty="0">
                  <a:solidFill>
                    <a:srgbClr val="000000"/>
                  </a:solidFill>
                </a:rPr>
                <a:t>Proven expertise in consolidating large policy admin platforms for Life and pension customers  </a:t>
              </a:r>
            </a:p>
            <a:p>
              <a:pPr marL="171450" lvl="0" indent="-171450" defTabSz="1219140">
                <a:spcBef>
                  <a:spcPts val="600"/>
                </a:spcBef>
                <a:spcAft>
                  <a:spcPts val="600"/>
                </a:spcAft>
                <a:buClr>
                  <a:schemeClr val="accent1"/>
                </a:buClr>
                <a:buFont typeface="Lucida Sans Unicode" panose="020B0602030504020204" pitchFamily="34" charset="0"/>
                <a:buChar char="▶"/>
                <a:defRPr/>
              </a:pPr>
              <a:endParaRPr lang="en-US" sz="1400" b="1" kern="0" dirty="0">
                <a:cs typeface="Microsoft Sans Serif"/>
              </a:endParaRPr>
            </a:p>
          </p:txBody>
        </p:sp>
        <p:sp>
          <p:nvSpPr>
            <p:cNvPr id="7" name="Right Triangle 6">
              <a:extLst>
                <a:ext uri="{FF2B5EF4-FFF2-40B4-BE49-F238E27FC236}">
                  <a16:creationId xmlns:a16="http://schemas.microsoft.com/office/drawing/2014/main" id="{35B43E1C-0441-4E71-B6E4-B88017988E34}"/>
                </a:ext>
              </a:extLst>
            </p:cNvPr>
            <p:cNvSpPr/>
            <p:nvPr/>
          </p:nvSpPr>
          <p:spPr>
            <a:xfrm flipH="1">
              <a:off x="9391855" y="1288281"/>
              <a:ext cx="363132" cy="230660"/>
            </a:xfrm>
            <a:prstGeom prst="rtTriangl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rgbClr val="FFFFFF"/>
                </a:solidFill>
              </a:endParaRPr>
            </a:p>
          </p:txBody>
        </p:sp>
        <p:sp>
          <p:nvSpPr>
            <p:cNvPr id="8" name="Right Triangle 7">
              <a:extLst>
                <a:ext uri="{FF2B5EF4-FFF2-40B4-BE49-F238E27FC236}">
                  <a16:creationId xmlns:a16="http://schemas.microsoft.com/office/drawing/2014/main" id="{DCD31D50-5760-4CAD-BED7-1C2321EBF023}"/>
                </a:ext>
              </a:extLst>
            </p:cNvPr>
            <p:cNvSpPr/>
            <p:nvPr/>
          </p:nvSpPr>
          <p:spPr>
            <a:xfrm flipH="1" flipV="1">
              <a:off x="9420712" y="4540741"/>
              <a:ext cx="334275" cy="282178"/>
            </a:xfrm>
            <a:prstGeom prst="rtTriangl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rgbClr val="FFFFFF"/>
                </a:solidFill>
              </a:endParaRPr>
            </a:p>
          </p:txBody>
        </p:sp>
        <p:sp>
          <p:nvSpPr>
            <p:cNvPr id="9" name="Right Triangle 8">
              <a:extLst>
                <a:ext uri="{FF2B5EF4-FFF2-40B4-BE49-F238E27FC236}">
                  <a16:creationId xmlns:a16="http://schemas.microsoft.com/office/drawing/2014/main" id="{406CFACB-8321-4D1A-8930-A7179BFCF009}"/>
                </a:ext>
              </a:extLst>
            </p:cNvPr>
            <p:cNvSpPr/>
            <p:nvPr/>
          </p:nvSpPr>
          <p:spPr>
            <a:xfrm>
              <a:off x="2665926" y="1288281"/>
              <a:ext cx="376184" cy="230659"/>
            </a:xfrm>
            <a:prstGeom prst="rtTriangl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rgbClr val="FFFFFF"/>
                </a:solidFill>
              </a:endParaRPr>
            </a:p>
          </p:txBody>
        </p:sp>
        <p:sp>
          <p:nvSpPr>
            <p:cNvPr id="10" name="Right Triangle 9">
              <a:extLst>
                <a:ext uri="{FF2B5EF4-FFF2-40B4-BE49-F238E27FC236}">
                  <a16:creationId xmlns:a16="http://schemas.microsoft.com/office/drawing/2014/main" id="{1A34D84A-EDAD-48E0-AC3B-AE5224E1CAA7}"/>
                </a:ext>
              </a:extLst>
            </p:cNvPr>
            <p:cNvSpPr/>
            <p:nvPr/>
          </p:nvSpPr>
          <p:spPr>
            <a:xfrm flipV="1">
              <a:off x="2665926" y="4540741"/>
              <a:ext cx="334275" cy="282178"/>
            </a:xfrm>
            <a:prstGeom prst="rtTriangl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rgbClr val="FFFFFF"/>
                </a:solidFill>
              </a:endParaRPr>
            </a:p>
          </p:txBody>
        </p:sp>
        <p:sp>
          <p:nvSpPr>
            <p:cNvPr id="11" name="TextBox 10">
              <a:extLst>
                <a:ext uri="{FF2B5EF4-FFF2-40B4-BE49-F238E27FC236}">
                  <a16:creationId xmlns:a16="http://schemas.microsoft.com/office/drawing/2014/main" id="{68773823-3210-476B-BCFF-4DF70241B8CC}"/>
                </a:ext>
              </a:extLst>
            </p:cNvPr>
            <p:cNvSpPr txBox="1"/>
            <p:nvPr/>
          </p:nvSpPr>
          <p:spPr>
            <a:xfrm>
              <a:off x="4440492" y="1010199"/>
              <a:ext cx="3552980" cy="293040"/>
            </a:xfrm>
            <a:prstGeom prst="rect">
              <a:avLst/>
            </a:prstGeom>
            <a:noFill/>
          </p:spPr>
          <p:txBody>
            <a:bodyPr wrap="square" rtlCol="0">
              <a:spAutoFit/>
            </a:bodyPr>
            <a:lstStyle/>
            <a:p>
              <a:pPr algn="ctr" defTabSz="1219170"/>
              <a:r>
                <a:rPr lang="en-US" sz="1600" b="1">
                  <a:solidFill>
                    <a:schemeClr val="accent1"/>
                  </a:solidFill>
                  <a:latin typeface="Verdana"/>
                </a:rPr>
                <a:t>Atos Solution Highlights</a:t>
              </a:r>
              <a:endParaRPr lang="en-GB" sz="1600" b="1">
                <a:solidFill>
                  <a:schemeClr val="accent1"/>
                </a:solidFill>
                <a:latin typeface="Verdana"/>
              </a:endParaRPr>
            </a:p>
          </p:txBody>
        </p:sp>
      </p:grpSp>
      <p:sp>
        <p:nvSpPr>
          <p:cNvPr id="12" name="TextBox 11">
            <a:extLst>
              <a:ext uri="{FF2B5EF4-FFF2-40B4-BE49-F238E27FC236}">
                <a16:creationId xmlns:a16="http://schemas.microsoft.com/office/drawing/2014/main" id="{BFFD79D7-2F40-43A4-8055-A795338E4B28}"/>
              </a:ext>
            </a:extLst>
          </p:cNvPr>
          <p:cNvSpPr txBox="1"/>
          <p:nvPr/>
        </p:nvSpPr>
        <p:spPr>
          <a:xfrm>
            <a:off x="9627861" y="1673067"/>
            <a:ext cx="1815414" cy="338554"/>
          </a:xfrm>
          <a:prstGeom prst="rect">
            <a:avLst/>
          </a:prstGeom>
          <a:noFill/>
        </p:spPr>
        <p:txBody>
          <a:bodyPr wrap="square" rtlCol="0">
            <a:spAutoFit/>
          </a:bodyPr>
          <a:lstStyle/>
          <a:p>
            <a:pPr algn="ctr" defTabSz="1219170"/>
            <a:r>
              <a:rPr lang="en-US" sz="1600" b="1">
                <a:solidFill>
                  <a:schemeClr val="accent1"/>
                </a:solidFill>
                <a:latin typeface="Verdana"/>
              </a:rPr>
              <a:t>Benefits</a:t>
            </a:r>
            <a:endParaRPr lang="en-GB" sz="1600" b="1">
              <a:solidFill>
                <a:schemeClr val="accent1"/>
              </a:solidFill>
              <a:latin typeface="Verdana"/>
            </a:endParaRPr>
          </a:p>
        </p:txBody>
      </p:sp>
      <p:sp>
        <p:nvSpPr>
          <p:cNvPr id="13" name="Rectangle 12">
            <a:extLst>
              <a:ext uri="{FF2B5EF4-FFF2-40B4-BE49-F238E27FC236}">
                <a16:creationId xmlns:a16="http://schemas.microsoft.com/office/drawing/2014/main" id="{91D237E3-853B-4385-B67A-D1E6B5418825}"/>
              </a:ext>
            </a:extLst>
          </p:cNvPr>
          <p:cNvSpPr/>
          <p:nvPr/>
        </p:nvSpPr>
        <p:spPr>
          <a:xfrm>
            <a:off x="9306254" y="2059571"/>
            <a:ext cx="2628000" cy="3817037"/>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1" indent="-171450" defTabSz="1219140" eaLnBrk="0" hangingPunct="0">
              <a:spcBef>
                <a:spcPts val="800"/>
              </a:spcBef>
              <a:buClr>
                <a:schemeClr val="bg1"/>
              </a:buClr>
              <a:buSzPct val="100000"/>
              <a:buFont typeface="Lucida Sans Unicode" panose="020B0602030504020204" pitchFamily="34" charset="0"/>
              <a:buChar char="▶"/>
            </a:pPr>
            <a:r>
              <a:rPr lang="en-US" sz="1400" kern="0">
                <a:solidFill>
                  <a:schemeClr val="bg1"/>
                </a:solidFill>
                <a:latin typeface="+mj-lt"/>
              </a:rPr>
              <a:t>Risk free and tool-based data migration</a:t>
            </a:r>
          </a:p>
          <a:p>
            <a:pPr marL="171450" lvl="1" indent="-171450" defTabSz="1219140" eaLnBrk="0" hangingPunct="0">
              <a:spcBef>
                <a:spcPts val="800"/>
              </a:spcBef>
              <a:buClr>
                <a:schemeClr val="bg1"/>
              </a:buClr>
              <a:buSzPct val="100000"/>
              <a:buFont typeface="Lucida Sans Unicode" panose="020B0602030504020204" pitchFamily="34" charset="0"/>
              <a:buChar char="▶"/>
            </a:pPr>
            <a:r>
              <a:rPr lang="en-US" sz="1400" kern="0">
                <a:solidFill>
                  <a:schemeClr val="bg1"/>
                </a:solidFill>
                <a:latin typeface="+mj-lt"/>
              </a:rPr>
              <a:t>Lower cost, faster execution</a:t>
            </a:r>
          </a:p>
          <a:p>
            <a:pPr marL="171450" lvl="1" indent="-171450" defTabSz="1219140" eaLnBrk="0" hangingPunct="0">
              <a:spcBef>
                <a:spcPts val="800"/>
              </a:spcBef>
              <a:buClr>
                <a:schemeClr val="bg1"/>
              </a:buClr>
              <a:buSzPct val="100000"/>
              <a:buFont typeface="Lucida Sans Unicode" panose="020B0602030504020204" pitchFamily="34" charset="0"/>
              <a:buChar char="▶"/>
            </a:pPr>
            <a:r>
              <a:rPr lang="en-US" sz="1400" kern="0">
                <a:solidFill>
                  <a:schemeClr val="bg1"/>
                </a:solidFill>
                <a:latin typeface="+mj-lt"/>
              </a:rPr>
              <a:t>Seamless collaboration between SLX and MPS SMEs</a:t>
            </a:r>
          </a:p>
          <a:p>
            <a:pPr marL="171450" lvl="1" indent="-171450" defTabSz="1219140" eaLnBrk="0" hangingPunct="0">
              <a:spcBef>
                <a:spcPts val="800"/>
              </a:spcBef>
              <a:buClr>
                <a:schemeClr val="bg1"/>
              </a:buClr>
              <a:buSzPct val="100000"/>
              <a:buFont typeface="Lucida Sans Unicode" panose="020B0602030504020204" pitchFamily="34" charset="0"/>
              <a:buChar char="▶"/>
            </a:pPr>
            <a:r>
              <a:rPr lang="en-US" sz="1400" kern="0">
                <a:solidFill>
                  <a:schemeClr val="bg1"/>
                </a:solidFill>
                <a:latin typeface="+mj-lt"/>
              </a:rPr>
              <a:t>Robust Governance and committed outcomes</a:t>
            </a:r>
          </a:p>
          <a:p>
            <a:pPr marL="171450" lvl="1" indent="-171450" defTabSz="1219140" eaLnBrk="0" hangingPunct="0">
              <a:spcBef>
                <a:spcPts val="800"/>
              </a:spcBef>
              <a:buClr>
                <a:schemeClr val="bg1"/>
              </a:buClr>
              <a:buSzPct val="100000"/>
              <a:buFont typeface="Lucida Sans Unicode" panose="020B0602030504020204" pitchFamily="34" charset="0"/>
              <a:buChar char="▶"/>
            </a:pPr>
            <a:r>
              <a:rPr lang="en-US" sz="1400" kern="0">
                <a:solidFill>
                  <a:schemeClr val="bg1"/>
                </a:solidFill>
                <a:latin typeface="+mj-lt"/>
              </a:rPr>
              <a:t>Enhanced customer experience</a:t>
            </a:r>
          </a:p>
          <a:p>
            <a:pPr marL="171450" lvl="1" indent="-171450" defTabSz="1219140" eaLnBrk="0" hangingPunct="0">
              <a:spcBef>
                <a:spcPts val="800"/>
              </a:spcBef>
              <a:buClr>
                <a:schemeClr val="bg1"/>
              </a:buClr>
              <a:buSzPct val="100000"/>
              <a:buFont typeface="Lucida Sans Unicode" panose="020B0602030504020204" pitchFamily="34" charset="0"/>
              <a:buChar char="▶"/>
            </a:pPr>
            <a:r>
              <a:rPr lang="en-US" sz="1400" kern="0">
                <a:solidFill>
                  <a:schemeClr val="bg1"/>
                </a:solidFill>
                <a:latin typeface="+mj-lt"/>
              </a:rPr>
              <a:t>End to end ownership of migration enable smooth decommissioning of SLX application</a:t>
            </a:r>
          </a:p>
        </p:txBody>
      </p:sp>
      <p:sp>
        <p:nvSpPr>
          <p:cNvPr id="14" name="Rectangle 13">
            <a:extLst>
              <a:ext uri="{FF2B5EF4-FFF2-40B4-BE49-F238E27FC236}">
                <a16:creationId xmlns:a16="http://schemas.microsoft.com/office/drawing/2014/main" id="{B38E6CBE-9C03-4048-8F6C-E202015AB55E}"/>
              </a:ext>
            </a:extLst>
          </p:cNvPr>
          <p:cNvSpPr/>
          <p:nvPr/>
        </p:nvSpPr>
        <p:spPr>
          <a:xfrm>
            <a:off x="233883" y="2059571"/>
            <a:ext cx="2651861" cy="381855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lvl="1" indent="-171450" defTabSz="1219140" eaLnBrk="0" hangingPunct="0">
              <a:spcBef>
                <a:spcPts val="800"/>
              </a:spcBef>
              <a:buClr>
                <a:schemeClr val="bg1"/>
              </a:buClr>
              <a:buSzPct val="100000"/>
              <a:buFont typeface="Lucida Sans Unicode" panose="020B0602030504020204" pitchFamily="34" charset="0"/>
              <a:buChar char="▶"/>
              <a:defRPr/>
            </a:pPr>
            <a:r>
              <a:rPr lang="en-US" sz="1400" kern="0" dirty="0">
                <a:solidFill>
                  <a:schemeClr val="bg1"/>
                </a:solidFill>
                <a:latin typeface="+mj-lt"/>
              </a:rPr>
              <a:t>Migration of SLX application data to MPS</a:t>
            </a:r>
          </a:p>
          <a:p>
            <a:pPr marL="171450" lvl="1" indent="-171450" defTabSz="1219140" eaLnBrk="0" hangingPunct="0">
              <a:spcBef>
                <a:spcPts val="800"/>
              </a:spcBef>
              <a:buClr>
                <a:schemeClr val="bg1"/>
              </a:buClr>
              <a:buSzPct val="100000"/>
              <a:buFont typeface="Lucida Sans Unicode" panose="020B0602030504020204" pitchFamily="34" charset="0"/>
              <a:buChar char="▶"/>
              <a:defRPr/>
            </a:pPr>
            <a:r>
              <a:rPr lang="en-US" sz="1400" kern="0" dirty="0">
                <a:solidFill>
                  <a:schemeClr val="bg1"/>
                </a:solidFill>
                <a:latin typeface="+mj-lt"/>
              </a:rPr>
              <a:t>Implement SLX application features on MPS</a:t>
            </a:r>
          </a:p>
          <a:p>
            <a:pPr marL="171450" lvl="1" indent="-171450" defTabSz="1219140" eaLnBrk="0" hangingPunct="0">
              <a:spcBef>
                <a:spcPts val="800"/>
              </a:spcBef>
              <a:buClr>
                <a:schemeClr val="bg1"/>
              </a:buClr>
              <a:buSzPct val="100000"/>
              <a:buFont typeface="Lucida Sans Unicode" panose="020B0602030504020204" pitchFamily="34" charset="0"/>
              <a:buChar char="▶"/>
              <a:defRPr/>
            </a:pPr>
            <a:r>
              <a:rPr lang="en-US" sz="1400" kern="0" dirty="0">
                <a:solidFill>
                  <a:schemeClr val="bg1"/>
                </a:solidFill>
                <a:latin typeface="+mj-lt"/>
              </a:rPr>
              <a:t>Identify process automation opportunities on MPS</a:t>
            </a:r>
          </a:p>
          <a:p>
            <a:pPr marL="171450" lvl="1" indent="-171450" defTabSz="1219140" eaLnBrk="0" hangingPunct="0">
              <a:spcBef>
                <a:spcPts val="800"/>
              </a:spcBef>
              <a:buClr>
                <a:schemeClr val="bg1"/>
              </a:buClr>
              <a:buSzPct val="100000"/>
              <a:buFont typeface="Lucida Sans Unicode" panose="020B0602030504020204" pitchFamily="34" charset="0"/>
              <a:buChar char="▶"/>
              <a:defRPr/>
            </a:pPr>
            <a:r>
              <a:rPr lang="en-US" sz="1400" kern="0" dirty="0">
                <a:solidFill>
                  <a:schemeClr val="bg1"/>
                </a:solidFill>
                <a:latin typeface="+mj-lt"/>
              </a:rPr>
              <a:t>Lower TCO by consolidating all plans in MPS platform</a:t>
            </a:r>
          </a:p>
        </p:txBody>
      </p:sp>
      <p:sp>
        <p:nvSpPr>
          <p:cNvPr id="22" name="Rectangle 21">
            <a:extLst>
              <a:ext uri="{FF2B5EF4-FFF2-40B4-BE49-F238E27FC236}">
                <a16:creationId xmlns:a16="http://schemas.microsoft.com/office/drawing/2014/main" id="{079695CE-0E82-46A5-BC19-4F093DF6257F}"/>
              </a:ext>
            </a:extLst>
          </p:cNvPr>
          <p:cNvSpPr/>
          <p:nvPr/>
        </p:nvSpPr>
        <p:spPr>
          <a:xfrm>
            <a:off x="385664" y="1020019"/>
            <a:ext cx="2628000" cy="396233"/>
          </a:xfrm>
          <a:prstGeom prst="rect">
            <a:avLst/>
          </a:prstGeom>
          <a:solidFill>
            <a:schemeClr val="accent1">
              <a:lumMod val="20000"/>
              <a:lumOff val="80000"/>
            </a:schemeClr>
          </a:solidFill>
          <a:ln w="3175" cap="flat" cmpd="sng" algn="ctr">
            <a:solidFill>
              <a:schemeClr val="accent1">
                <a:lumMod val="40000"/>
                <a:lumOff val="6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b="1">
                <a:solidFill>
                  <a:schemeClr val="tx1"/>
                </a:solidFill>
              </a:rPr>
              <a:t>Execution Timelines</a:t>
            </a:r>
            <a:endParaRPr lang="en-IN" sz="1200" b="1">
              <a:solidFill>
                <a:schemeClr val="tx1"/>
              </a:solidFill>
            </a:endParaRPr>
          </a:p>
        </p:txBody>
      </p:sp>
      <p:sp>
        <p:nvSpPr>
          <p:cNvPr id="23" name="Rectangle 22">
            <a:extLst>
              <a:ext uri="{FF2B5EF4-FFF2-40B4-BE49-F238E27FC236}">
                <a16:creationId xmlns:a16="http://schemas.microsoft.com/office/drawing/2014/main" id="{C30510E3-CAD7-44F8-BD4D-009F40EAFDD2}"/>
              </a:ext>
            </a:extLst>
          </p:cNvPr>
          <p:cNvSpPr/>
          <p:nvPr/>
        </p:nvSpPr>
        <p:spPr>
          <a:xfrm>
            <a:off x="3337645" y="1020019"/>
            <a:ext cx="2628000" cy="396233"/>
          </a:xfrm>
          <a:prstGeom prst="rect">
            <a:avLst/>
          </a:prstGeom>
          <a:solidFill>
            <a:schemeClr val="accent1">
              <a:lumMod val="20000"/>
              <a:lumOff val="80000"/>
            </a:schemeClr>
          </a:solidFill>
          <a:ln w="3175" cap="flat" cmpd="sng" algn="ctr">
            <a:solidFill>
              <a:schemeClr val="accent1">
                <a:lumMod val="40000"/>
                <a:lumOff val="6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b="1">
                <a:solidFill>
                  <a:schemeClr val="tx1"/>
                </a:solidFill>
              </a:rPr>
              <a:t>Migration and Implementation Costs</a:t>
            </a:r>
            <a:endParaRPr lang="en-IN" sz="1200" b="1">
              <a:solidFill>
                <a:schemeClr val="tx1"/>
              </a:solidFill>
            </a:endParaRPr>
          </a:p>
        </p:txBody>
      </p:sp>
      <p:sp>
        <p:nvSpPr>
          <p:cNvPr id="24" name="Rectangle 23">
            <a:extLst>
              <a:ext uri="{FF2B5EF4-FFF2-40B4-BE49-F238E27FC236}">
                <a16:creationId xmlns:a16="http://schemas.microsoft.com/office/drawing/2014/main" id="{4FCF78FA-EBA4-4F37-8F04-6F1B0BFC0E2D}"/>
              </a:ext>
            </a:extLst>
          </p:cNvPr>
          <p:cNvSpPr/>
          <p:nvPr/>
        </p:nvSpPr>
        <p:spPr>
          <a:xfrm>
            <a:off x="6289626" y="1020019"/>
            <a:ext cx="2628000" cy="396233"/>
          </a:xfrm>
          <a:prstGeom prst="rect">
            <a:avLst/>
          </a:prstGeom>
          <a:solidFill>
            <a:schemeClr val="accent1">
              <a:lumMod val="20000"/>
              <a:lumOff val="80000"/>
            </a:schemeClr>
          </a:solidFill>
          <a:ln w="3175" cap="flat" cmpd="sng" algn="ctr">
            <a:solidFill>
              <a:schemeClr val="accent1">
                <a:lumMod val="40000"/>
                <a:lumOff val="6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b="1">
                <a:solidFill>
                  <a:schemeClr val="tx1"/>
                </a:solidFill>
              </a:rPr>
              <a:t>Quality and User Satisfaction</a:t>
            </a:r>
            <a:endParaRPr lang="en-IN" sz="1200" b="1">
              <a:solidFill>
                <a:schemeClr val="tx1"/>
              </a:solidFill>
            </a:endParaRPr>
          </a:p>
        </p:txBody>
      </p:sp>
      <p:sp>
        <p:nvSpPr>
          <p:cNvPr id="25" name="Rectangle 24">
            <a:extLst>
              <a:ext uri="{FF2B5EF4-FFF2-40B4-BE49-F238E27FC236}">
                <a16:creationId xmlns:a16="http://schemas.microsoft.com/office/drawing/2014/main" id="{3E00B065-38E3-4C78-B3C6-6B32EED45CFE}"/>
              </a:ext>
            </a:extLst>
          </p:cNvPr>
          <p:cNvSpPr/>
          <p:nvPr/>
        </p:nvSpPr>
        <p:spPr>
          <a:xfrm>
            <a:off x="9241606" y="1020019"/>
            <a:ext cx="2628000" cy="396233"/>
          </a:xfrm>
          <a:prstGeom prst="rect">
            <a:avLst/>
          </a:prstGeom>
          <a:solidFill>
            <a:schemeClr val="accent1">
              <a:lumMod val="20000"/>
              <a:lumOff val="80000"/>
            </a:schemeClr>
          </a:solidFill>
          <a:ln w="3175" cap="flat" cmpd="sng" algn="ctr">
            <a:solidFill>
              <a:schemeClr val="accent1">
                <a:lumMod val="40000"/>
                <a:lumOff val="6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pPr algn="ctr"/>
            <a:r>
              <a:rPr lang="en-US" sz="1200" b="1">
                <a:solidFill>
                  <a:schemeClr val="tx1"/>
                </a:solidFill>
              </a:rPr>
              <a:t>Performance and Scalability</a:t>
            </a:r>
            <a:endParaRPr lang="en-IN" sz="1200" b="1">
              <a:solidFill>
                <a:schemeClr val="tx1"/>
              </a:solidFill>
            </a:endParaRPr>
          </a:p>
        </p:txBody>
      </p:sp>
      <p:sp>
        <p:nvSpPr>
          <p:cNvPr id="26" name="Arrow: Down 25">
            <a:extLst>
              <a:ext uri="{FF2B5EF4-FFF2-40B4-BE49-F238E27FC236}">
                <a16:creationId xmlns:a16="http://schemas.microsoft.com/office/drawing/2014/main" id="{72901D9B-A05C-4517-926E-ED9F0C29D95A}"/>
              </a:ext>
            </a:extLst>
          </p:cNvPr>
          <p:cNvSpPr/>
          <p:nvPr/>
        </p:nvSpPr>
        <p:spPr>
          <a:xfrm>
            <a:off x="385664" y="1056135"/>
            <a:ext cx="289025" cy="324000"/>
          </a:xfrm>
          <a:prstGeom prst="downArrow">
            <a:avLst/>
          </a:pr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200"/>
          </a:p>
        </p:txBody>
      </p:sp>
      <p:sp>
        <p:nvSpPr>
          <p:cNvPr id="35" name="Arrow: Down 34">
            <a:extLst>
              <a:ext uri="{FF2B5EF4-FFF2-40B4-BE49-F238E27FC236}">
                <a16:creationId xmlns:a16="http://schemas.microsoft.com/office/drawing/2014/main" id="{87FEF675-C72A-4BDF-A602-6567DB70E38C}"/>
              </a:ext>
            </a:extLst>
          </p:cNvPr>
          <p:cNvSpPr/>
          <p:nvPr/>
        </p:nvSpPr>
        <p:spPr>
          <a:xfrm>
            <a:off x="3337644" y="1056135"/>
            <a:ext cx="289025" cy="324000"/>
          </a:xfrm>
          <a:prstGeom prst="downArrow">
            <a:avLst/>
          </a:pr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200"/>
          </a:p>
        </p:txBody>
      </p:sp>
      <p:sp>
        <p:nvSpPr>
          <p:cNvPr id="36" name="Arrow: Down 35">
            <a:extLst>
              <a:ext uri="{FF2B5EF4-FFF2-40B4-BE49-F238E27FC236}">
                <a16:creationId xmlns:a16="http://schemas.microsoft.com/office/drawing/2014/main" id="{993A3BF3-1F8A-4333-89F0-CED588CFB23C}"/>
              </a:ext>
            </a:extLst>
          </p:cNvPr>
          <p:cNvSpPr/>
          <p:nvPr/>
        </p:nvSpPr>
        <p:spPr>
          <a:xfrm flipV="1">
            <a:off x="6289625" y="1056135"/>
            <a:ext cx="289025" cy="324000"/>
          </a:xfrm>
          <a:prstGeom prst="downArrow">
            <a:avLst/>
          </a:pr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200"/>
          </a:p>
        </p:txBody>
      </p:sp>
      <p:sp>
        <p:nvSpPr>
          <p:cNvPr id="37" name="Arrow: Down 36">
            <a:extLst>
              <a:ext uri="{FF2B5EF4-FFF2-40B4-BE49-F238E27FC236}">
                <a16:creationId xmlns:a16="http://schemas.microsoft.com/office/drawing/2014/main" id="{CF183F5F-E615-436B-9AE1-2C56305D3EA0}"/>
              </a:ext>
            </a:extLst>
          </p:cNvPr>
          <p:cNvSpPr/>
          <p:nvPr/>
        </p:nvSpPr>
        <p:spPr>
          <a:xfrm flipV="1">
            <a:off x="9277398" y="1056135"/>
            <a:ext cx="289025" cy="324000"/>
          </a:xfrm>
          <a:prstGeom prst="downArrow">
            <a:avLst/>
          </a:pr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200"/>
          </a:p>
        </p:txBody>
      </p:sp>
    </p:spTree>
    <p:extLst>
      <p:ext uri="{BB962C8B-B14F-4D97-AF65-F5344CB8AC3E}">
        <p14:creationId xmlns:p14="http://schemas.microsoft.com/office/powerpoint/2010/main" val="22306906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Freeform 68">
            <a:extLst>
              <a:ext uri="{FF2B5EF4-FFF2-40B4-BE49-F238E27FC236}">
                <a16:creationId xmlns:a16="http://schemas.microsoft.com/office/drawing/2014/main" id="{23641316-97D8-4498-A7A0-4FC429D45A5B}"/>
              </a:ext>
            </a:extLst>
          </p:cNvPr>
          <p:cNvSpPr/>
          <p:nvPr/>
        </p:nvSpPr>
        <p:spPr>
          <a:xfrm>
            <a:off x="294545" y="4359956"/>
            <a:ext cx="1867885" cy="1664861"/>
          </a:xfrm>
          <a:prstGeom prst="rect">
            <a:avLst/>
          </a:prstGeom>
          <a:solidFill>
            <a:srgbClr val="00AFD8"/>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8627" tIns="18627" rIns="18627" bIns="48000" numCol="1" spcCol="1270" anchor="ctr" anchorCtr="0">
            <a:noAutofit/>
          </a:bodyPr>
          <a:lstStyle/>
          <a:p>
            <a:pPr algn="ctr" defTabSz="651901">
              <a:spcBef>
                <a:spcPct val="0"/>
              </a:spcBef>
            </a:pPr>
            <a:r>
              <a:rPr lang="en-US" sz="1200" b="1">
                <a:solidFill>
                  <a:prstClr val="white"/>
                </a:solidFill>
                <a:latin typeface="+mj-lt"/>
              </a:rPr>
              <a:t>Track Level Governance</a:t>
            </a:r>
          </a:p>
          <a:p>
            <a:pPr algn="ctr" defTabSz="651901">
              <a:spcBef>
                <a:spcPct val="0"/>
              </a:spcBef>
            </a:pPr>
            <a:r>
              <a:rPr lang="en-US" sz="1200" b="1">
                <a:solidFill>
                  <a:prstClr val="white"/>
                </a:solidFill>
                <a:latin typeface="+mj-lt"/>
              </a:rPr>
              <a:t>(Operational)</a:t>
            </a:r>
          </a:p>
        </p:txBody>
      </p:sp>
      <p:sp>
        <p:nvSpPr>
          <p:cNvPr id="4" name="Title 3">
            <a:extLst>
              <a:ext uri="{FF2B5EF4-FFF2-40B4-BE49-F238E27FC236}">
                <a16:creationId xmlns:a16="http://schemas.microsoft.com/office/drawing/2014/main" id="{E117F96C-6B4E-42A3-BB41-105F34C7E0DF}"/>
              </a:ext>
            </a:extLst>
          </p:cNvPr>
          <p:cNvSpPr>
            <a:spLocks noGrp="1"/>
          </p:cNvSpPr>
          <p:nvPr>
            <p:ph type="title"/>
          </p:nvPr>
        </p:nvSpPr>
        <p:spPr>
          <a:xfrm>
            <a:off x="288651" y="151385"/>
            <a:ext cx="11664000" cy="960107"/>
          </a:xfrm>
        </p:spPr>
        <p:txBody>
          <a:bodyPr/>
          <a:lstStyle/>
          <a:p>
            <a:r>
              <a:rPr lang="en-IN" sz="2667"/>
              <a:t>Atos Governance Model aligned with Manulife</a:t>
            </a:r>
            <a:endParaRPr lang="en-IN"/>
          </a:p>
        </p:txBody>
      </p:sp>
      <p:sp>
        <p:nvSpPr>
          <p:cNvPr id="7" name="Textfeld 108">
            <a:extLst>
              <a:ext uri="{FF2B5EF4-FFF2-40B4-BE49-F238E27FC236}">
                <a16:creationId xmlns:a16="http://schemas.microsoft.com/office/drawing/2014/main" id="{6DCFD60D-7776-447B-A970-D35909252867}"/>
              </a:ext>
            </a:extLst>
          </p:cNvPr>
          <p:cNvSpPr txBox="1"/>
          <p:nvPr/>
        </p:nvSpPr>
        <p:spPr>
          <a:xfrm>
            <a:off x="8234725" y="4499344"/>
            <a:ext cx="3387725" cy="1156563"/>
          </a:xfrm>
          <a:prstGeom prst="rect">
            <a:avLst/>
          </a:prstGeom>
          <a:noFill/>
        </p:spPr>
        <p:txBody>
          <a:bodyPr wrap="square" lIns="0" tIns="0" rIns="0" bIns="0" rtlCol="0" anchor="ctr">
            <a:noAutofit/>
          </a:bodyPr>
          <a:lstStyle/>
          <a:p>
            <a:pPr>
              <a:buClr>
                <a:srgbClr val="A626AA"/>
              </a:buClr>
            </a:pPr>
            <a:r>
              <a:rPr lang="en-US" sz="1200" b="1" spc="100">
                <a:latin typeface="+mj-lt"/>
                <a:cs typeface="Arial" panose="020B0604020202020204" pitchFamily="34" charset="0"/>
              </a:rPr>
              <a:t>Manulife</a:t>
            </a:r>
            <a:r>
              <a:rPr lang="en-US" sz="1200" spc="100">
                <a:latin typeface="+mj-lt"/>
                <a:cs typeface="Arial" panose="020B0604020202020204" pitchFamily="34" charset="0"/>
              </a:rPr>
              <a:t>: </a:t>
            </a:r>
            <a:r>
              <a:rPr lang="en-US" sz="1200">
                <a:solidFill>
                  <a:srgbClr val="000000"/>
                </a:solidFill>
                <a:latin typeface="+mj-lt"/>
                <a:ea typeface="Verdana"/>
              </a:rPr>
              <a:t>Project Manager(s),  Application/ Product Owner</a:t>
            </a:r>
            <a:endParaRPr lang="en-US" sz="1200">
              <a:solidFill>
                <a:srgbClr val="000000"/>
              </a:solidFill>
              <a:latin typeface="+mj-lt"/>
              <a:ea typeface="Verdana"/>
              <a:sym typeface="Verdana"/>
            </a:endParaRPr>
          </a:p>
          <a:p>
            <a:pPr defTabSz="1219140" fontAlgn="base">
              <a:defRPr/>
            </a:pPr>
            <a:endParaRPr lang="en-US" sz="1200">
              <a:solidFill>
                <a:srgbClr val="000000"/>
              </a:solidFill>
              <a:latin typeface="+mj-lt"/>
              <a:ea typeface="Verdana"/>
              <a:cs typeface="Verdana"/>
              <a:sym typeface="Verdana"/>
            </a:endParaRPr>
          </a:p>
          <a:p>
            <a:pPr defTabSz="1219140" fontAlgn="base">
              <a:defRPr/>
            </a:pPr>
            <a:r>
              <a:rPr lang="en-US" sz="1200" b="1">
                <a:solidFill>
                  <a:srgbClr val="000000"/>
                </a:solidFill>
                <a:latin typeface="+mj-lt"/>
                <a:ea typeface="Verdana"/>
                <a:cs typeface="Verdana"/>
                <a:sym typeface="Verdana"/>
              </a:rPr>
              <a:t>Atos</a:t>
            </a:r>
            <a:r>
              <a:rPr lang="en-US" sz="1200">
                <a:solidFill>
                  <a:srgbClr val="000000"/>
                </a:solidFill>
                <a:latin typeface="+mj-lt"/>
                <a:ea typeface="Verdana"/>
                <a:cs typeface="Verdana"/>
                <a:sym typeface="Verdana"/>
              </a:rPr>
              <a:t>: Data Migration –Track Lead, Features Development Leads, Process automation Leads, Scrum Masters</a:t>
            </a:r>
          </a:p>
        </p:txBody>
      </p:sp>
      <p:sp>
        <p:nvSpPr>
          <p:cNvPr id="8" name="Textfeld 103">
            <a:extLst>
              <a:ext uri="{FF2B5EF4-FFF2-40B4-BE49-F238E27FC236}">
                <a16:creationId xmlns:a16="http://schemas.microsoft.com/office/drawing/2014/main" id="{05E8E04F-8C3A-45EA-A65F-D4FF7F564CF6}"/>
              </a:ext>
            </a:extLst>
          </p:cNvPr>
          <p:cNvSpPr txBox="1"/>
          <p:nvPr/>
        </p:nvSpPr>
        <p:spPr>
          <a:xfrm>
            <a:off x="8234725" y="1397938"/>
            <a:ext cx="3512235" cy="975360"/>
          </a:xfrm>
          <a:prstGeom prst="rect">
            <a:avLst/>
          </a:prstGeom>
          <a:noFill/>
          <a:ln>
            <a:noFill/>
          </a:ln>
        </p:spPr>
        <p:txBody>
          <a:bodyPr wrap="square" lIns="0" tIns="0" rIns="0" bIns="0" rtlCol="0" anchor="ctr">
            <a:noAutofit/>
          </a:bodyPr>
          <a:lstStyle/>
          <a:p>
            <a:pPr defTabSz="1219140" fontAlgn="base">
              <a:defRPr/>
            </a:pPr>
            <a:r>
              <a:rPr lang="en-US" sz="1200" b="1">
                <a:solidFill>
                  <a:srgbClr val="000000"/>
                </a:solidFill>
                <a:latin typeface="+mj-lt"/>
                <a:ea typeface="Verdana"/>
                <a:cs typeface="Verdana"/>
                <a:sym typeface="Verdana"/>
              </a:rPr>
              <a:t>Manulife: </a:t>
            </a:r>
            <a:r>
              <a:rPr lang="en-US" sz="1200">
                <a:solidFill>
                  <a:srgbClr val="000000"/>
                </a:solidFill>
                <a:latin typeface="+mj-lt"/>
                <a:ea typeface="Verdana"/>
                <a:cs typeface="Verdana"/>
                <a:sym typeface="Verdana"/>
              </a:rPr>
              <a:t>Program Sponsor, Program Director , Business Owner</a:t>
            </a:r>
          </a:p>
          <a:p>
            <a:pPr defTabSz="1219140" fontAlgn="base">
              <a:defRPr/>
            </a:pPr>
            <a:endParaRPr lang="en-US" sz="1200">
              <a:solidFill>
                <a:srgbClr val="000000"/>
              </a:solidFill>
              <a:latin typeface="+mj-lt"/>
              <a:ea typeface="Verdana"/>
              <a:cs typeface="Verdana"/>
              <a:sym typeface="Verdana"/>
            </a:endParaRPr>
          </a:p>
          <a:p>
            <a:pPr defTabSz="1219140" fontAlgn="base">
              <a:defRPr/>
            </a:pPr>
            <a:r>
              <a:rPr lang="en-US" sz="1200" b="1">
                <a:solidFill>
                  <a:srgbClr val="000000"/>
                </a:solidFill>
                <a:latin typeface="+mj-lt"/>
                <a:ea typeface="Verdana"/>
                <a:cs typeface="Verdana"/>
                <a:sym typeface="Verdana"/>
              </a:rPr>
              <a:t>Atos : </a:t>
            </a:r>
            <a:r>
              <a:rPr lang="en-US" sz="1200">
                <a:solidFill>
                  <a:srgbClr val="000000"/>
                </a:solidFill>
                <a:latin typeface="+mj-lt"/>
                <a:ea typeface="Verdana"/>
                <a:cs typeface="Verdana"/>
                <a:sym typeface="Verdana"/>
              </a:rPr>
              <a:t> Global Client Partner &amp; Engagement Director, Program manager</a:t>
            </a:r>
          </a:p>
        </p:txBody>
      </p:sp>
      <p:sp>
        <p:nvSpPr>
          <p:cNvPr id="9" name="Textfeld 104">
            <a:extLst>
              <a:ext uri="{FF2B5EF4-FFF2-40B4-BE49-F238E27FC236}">
                <a16:creationId xmlns:a16="http://schemas.microsoft.com/office/drawing/2014/main" id="{B249EE88-56C9-4FE9-BB10-EB8A0D5A3E7B}"/>
              </a:ext>
            </a:extLst>
          </p:cNvPr>
          <p:cNvSpPr txBox="1"/>
          <p:nvPr/>
        </p:nvSpPr>
        <p:spPr>
          <a:xfrm>
            <a:off x="8234725" y="2555201"/>
            <a:ext cx="3387725" cy="1567795"/>
          </a:xfrm>
          <a:prstGeom prst="rect">
            <a:avLst/>
          </a:prstGeom>
          <a:noFill/>
        </p:spPr>
        <p:txBody>
          <a:bodyPr wrap="square" lIns="0" tIns="0" rIns="0" bIns="0" rtlCol="0" anchor="ctr">
            <a:noAutofit/>
          </a:bodyPr>
          <a:lstStyle/>
          <a:p>
            <a:pPr>
              <a:buClr>
                <a:srgbClr val="A626AA"/>
              </a:buClr>
            </a:pPr>
            <a:r>
              <a:rPr lang="en-US" sz="1200" b="1" spc="100">
                <a:latin typeface="+mj-lt"/>
                <a:cs typeface="Arial" panose="020B0604020202020204" pitchFamily="34" charset="0"/>
              </a:rPr>
              <a:t>Manulife</a:t>
            </a:r>
            <a:r>
              <a:rPr lang="en-US" sz="1200" spc="100">
                <a:latin typeface="+mj-lt"/>
                <a:cs typeface="Arial" panose="020B0604020202020204" pitchFamily="34" charset="0"/>
              </a:rPr>
              <a:t>: </a:t>
            </a:r>
            <a:r>
              <a:rPr lang="en-US" sz="1200">
                <a:solidFill>
                  <a:srgbClr val="000000"/>
                </a:solidFill>
                <a:latin typeface="+mj-lt"/>
                <a:ea typeface="Verdana"/>
              </a:rPr>
              <a:t>Program Director, Project Manager.</a:t>
            </a:r>
          </a:p>
          <a:p>
            <a:pPr>
              <a:buClr>
                <a:srgbClr val="A626AA"/>
              </a:buClr>
            </a:pPr>
            <a:r>
              <a:rPr lang="en-US" sz="1200">
                <a:solidFill>
                  <a:srgbClr val="000000"/>
                </a:solidFill>
                <a:latin typeface="+mj-lt"/>
                <a:ea typeface="Verdana"/>
              </a:rPr>
              <a:t>Manulife Business Rep. Architect</a:t>
            </a:r>
            <a:endParaRPr lang="en-US" sz="1200">
              <a:solidFill>
                <a:srgbClr val="000000"/>
              </a:solidFill>
              <a:latin typeface="+mj-lt"/>
              <a:ea typeface="Verdana"/>
              <a:sym typeface="Verdana"/>
            </a:endParaRPr>
          </a:p>
          <a:p>
            <a:pPr defTabSz="1219140" fontAlgn="base">
              <a:defRPr/>
            </a:pPr>
            <a:endParaRPr lang="en-US" sz="1200">
              <a:solidFill>
                <a:srgbClr val="000000"/>
              </a:solidFill>
              <a:latin typeface="+mj-lt"/>
              <a:ea typeface="Verdana"/>
              <a:cs typeface="Verdana"/>
              <a:sym typeface="Verdana"/>
            </a:endParaRPr>
          </a:p>
          <a:p>
            <a:pPr defTabSz="1219140" fontAlgn="base">
              <a:defRPr/>
            </a:pPr>
            <a:r>
              <a:rPr lang="en-US" sz="1200" b="1">
                <a:solidFill>
                  <a:srgbClr val="000000"/>
                </a:solidFill>
                <a:latin typeface="+mj-lt"/>
                <a:ea typeface="Verdana"/>
                <a:cs typeface="Verdana"/>
                <a:sym typeface="Verdana"/>
              </a:rPr>
              <a:t>Atos</a:t>
            </a:r>
            <a:r>
              <a:rPr lang="en-US" sz="1200">
                <a:solidFill>
                  <a:srgbClr val="000000"/>
                </a:solidFill>
                <a:latin typeface="+mj-lt"/>
                <a:ea typeface="Verdana"/>
                <a:cs typeface="Verdana"/>
                <a:sym typeface="Verdana"/>
              </a:rPr>
              <a:t>: Program Manager, Track Manager/Leads, Engagement Director</a:t>
            </a:r>
          </a:p>
        </p:txBody>
      </p:sp>
      <p:sp>
        <p:nvSpPr>
          <p:cNvPr id="10" name="Textfeld 146">
            <a:extLst>
              <a:ext uri="{FF2B5EF4-FFF2-40B4-BE49-F238E27FC236}">
                <a16:creationId xmlns:a16="http://schemas.microsoft.com/office/drawing/2014/main" id="{BE659DB0-9735-4893-9E9E-DD1453E8BCC8}"/>
              </a:ext>
            </a:extLst>
          </p:cNvPr>
          <p:cNvSpPr txBox="1"/>
          <p:nvPr/>
        </p:nvSpPr>
        <p:spPr>
          <a:xfrm>
            <a:off x="2349383" y="1782307"/>
            <a:ext cx="2773074" cy="369332"/>
          </a:xfrm>
          <a:prstGeom prst="rect">
            <a:avLst/>
          </a:prstGeom>
          <a:noFill/>
        </p:spPr>
        <p:txBody>
          <a:bodyPr wrap="square" lIns="0" tIns="0" rIns="0" bIns="0" rtlCol="0" anchor="ctr">
            <a:spAutoFit/>
          </a:bodyPr>
          <a:lstStyle/>
          <a:p>
            <a:pPr marL="243829" indent="-243829" defTabSz="1219140" fontAlgn="base">
              <a:spcBef>
                <a:spcPct val="0"/>
              </a:spcBef>
              <a:spcAft>
                <a:spcPct val="0"/>
              </a:spcAft>
              <a:buClr>
                <a:srgbClr val="00AFD8"/>
              </a:buClr>
              <a:buFont typeface="Lucida Sans Unicode" panose="020B0602030504020204" pitchFamily="34" charset="0"/>
              <a:buChar char="▶"/>
              <a:defRPr/>
            </a:pPr>
            <a:r>
              <a:rPr lang="en-US" sz="1200">
                <a:solidFill>
                  <a:srgbClr val="000000"/>
                </a:solidFill>
                <a:latin typeface="+mj-lt"/>
                <a:ea typeface="Verdana"/>
                <a:cs typeface="Verdana"/>
                <a:sym typeface="Verdana"/>
              </a:rPr>
              <a:t>Executive Review </a:t>
            </a:r>
          </a:p>
          <a:p>
            <a:pPr marL="243829" indent="-243829" defTabSz="1219140" fontAlgn="base">
              <a:spcBef>
                <a:spcPct val="0"/>
              </a:spcBef>
              <a:spcAft>
                <a:spcPct val="0"/>
              </a:spcAft>
              <a:buClr>
                <a:srgbClr val="00AFD8"/>
              </a:buClr>
              <a:buFont typeface="Lucida Sans Unicode" panose="020B0602030504020204" pitchFamily="34" charset="0"/>
              <a:buChar char="▶"/>
              <a:defRPr/>
            </a:pPr>
            <a:r>
              <a:rPr lang="en-US" sz="1200">
                <a:solidFill>
                  <a:srgbClr val="000000"/>
                </a:solidFill>
                <a:latin typeface="+mj-lt"/>
                <a:ea typeface="Verdana"/>
                <a:cs typeface="Verdana"/>
                <a:sym typeface="Verdana"/>
              </a:rPr>
              <a:t>( Manulife, Atos, 3</a:t>
            </a:r>
            <a:r>
              <a:rPr lang="en-US" sz="1200" baseline="30000">
                <a:solidFill>
                  <a:srgbClr val="000000"/>
                </a:solidFill>
                <a:latin typeface="+mj-lt"/>
                <a:ea typeface="Verdana"/>
                <a:cs typeface="Verdana"/>
                <a:sym typeface="Verdana"/>
              </a:rPr>
              <a:t>rd</a:t>
            </a:r>
            <a:r>
              <a:rPr lang="en-US" sz="1200">
                <a:solidFill>
                  <a:srgbClr val="000000"/>
                </a:solidFill>
                <a:latin typeface="+mj-lt"/>
                <a:ea typeface="Verdana"/>
                <a:cs typeface="Verdana"/>
                <a:sym typeface="Verdana"/>
              </a:rPr>
              <a:t> Parties)</a:t>
            </a:r>
          </a:p>
        </p:txBody>
      </p:sp>
      <p:sp>
        <p:nvSpPr>
          <p:cNvPr id="11" name="Textfeld 147">
            <a:extLst>
              <a:ext uri="{FF2B5EF4-FFF2-40B4-BE49-F238E27FC236}">
                <a16:creationId xmlns:a16="http://schemas.microsoft.com/office/drawing/2014/main" id="{889509A7-E1BE-4067-BE2D-55CF85625A59}"/>
              </a:ext>
            </a:extLst>
          </p:cNvPr>
          <p:cNvSpPr txBox="1"/>
          <p:nvPr/>
        </p:nvSpPr>
        <p:spPr>
          <a:xfrm>
            <a:off x="2349383" y="3049681"/>
            <a:ext cx="2007297" cy="369332"/>
          </a:xfrm>
          <a:prstGeom prst="rect">
            <a:avLst/>
          </a:prstGeom>
          <a:noFill/>
        </p:spPr>
        <p:txBody>
          <a:bodyPr wrap="square" lIns="0" tIns="0" rIns="0" bIns="0" rtlCol="0" anchor="ctr">
            <a:spAutoFit/>
          </a:bodyPr>
          <a:lstStyle/>
          <a:p>
            <a:pPr marL="243829" indent="-243829" defTabSz="1219140" fontAlgn="base">
              <a:spcBef>
                <a:spcPct val="0"/>
              </a:spcBef>
              <a:spcAft>
                <a:spcPct val="0"/>
              </a:spcAft>
              <a:buClr>
                <a:srgbClr val="0089C4"/>
              </a:buClr>
              <a:buFont typeface="Lucida Sans Unicode" panose="020B0602030504020204" pitchFamily="34" charset="0"/>
              <a:buChar char="▶"/>
              <a:defRPr/>
            </a:pPr>
            <a:r>
              <a:rPr lang="en-US" sz="1200">
                <a:solidFill>
                  <a:srgbClr val="000000"/>
                </a:solidFill>
                <a:latin typeface="+mj-lt"/>
                <a:ea typeface="Verdana"/>
                <a:cs typeface="Verdana"/>
                <a:sym typeface="Verdana"/>
              </a:rPr>
              <a:t>Program Review</a:t>
            </a:r>
          </a:p>
          <a:p>
            <a:pPr marL="243829" indent="-243829" defTabSz="1219140" fontAlgn="base">
              <a:spcBef>
                <a:spcPct val="0"/>
              </a:spcBef>
              <a:spcAft>
                <a:spcPct val="0"/>
              </a:spcAft>
              <a:buClr>
                <a:srgbClr val="0089C4"/>
              </a:buClr>
              <a:buFont typeface="Lucida Sans Unicode" panose="020B0602030504020204" pitchFamily="34" charset="0"/>
              <a:buChar char="▶"/>
              <a:defRPr/>
            </a:pPr>
            <a:r>
              <a:rPr lang="en-US" sz="1200">
                <a:solidFill>
                  <a:srgbClr val="000000"/>
                </a:solidFill>
                <a:latin typeface="+mj-lt"/>
                <a:ea typeface="Verdana"/>
                <a:cs typeface="Verdana"/>
                <a:sym typeface="Verdana"/>
              </a:rPr>
              <a:t>Delivery Management</a:t>
            </a:r>
            <a:endParaRPr lang="fi-FI" sz="1200">
              <a:solidFill>
                <a:srgbClr val="000000"/>
              </a:solidFill>
              <a:latin typeface="+mj-lt"/>
              <a:ea typeface="Verdana"/>
              <a:cs typeface="Verdana"/>
            </a:endParaRPr>
          </a:p>
        </p:txBody>
      </p:sp>
      <p:sp>
        <p:nvSpPr>
          <p:cNvPr id="12" name="Textfeld 148">
            <a:extLst>
              <a:ext uri="{FF2B5EF4-FFF2-40B4-BE49-F238E27FC236}">
                <a16:creationId xmlns:a16="http://schemas.microsoft.com/office/drawing/2014/main" id="{8EE83BE4-4988-4413-932B-CCB510F88636}"/>
              </a:ext>
            </a:extLst>
          </p:cNvPr>
          <p:cNvSpPr txBox="1"/>
          <p:nvPr/>
        </p:nvSpPr>
        <p:spPr>
          <a:xfrm>
            <a:off x="2349383" y="4644778"/>
            <a:ext cx="2007293" cy="553998"/>
          </a:xfrm>
          <a:prstGeom prst="rect">
            <a:avLst/>
          </a:prstGeom>
          <a:noFill/>
        </p:spPr>
        <p:txBody>
          <a:bodyPr wrap="square" lIns="0" tIns="0" rIns="0" bIns="0" rtlCol="0" anchor="ctr">
            <a:spAutoFit/>
          </a:bodyPr>
          <a:lstStyle/>
          <a:p>
            <a:pPr marL="243829" indent="-243829" defTabSz="1219140" fontAlgn="base">
              <a:spcBef>
                <a:spcPct val="0"/>
              </a:spcBef>
              <a:spcAft>
                <a:spcPct val="0"/>
              </a:spcAft>
              <a:buClr>
                <a:srgbClr val="0066A1"/>
              </a:buClr>
              <a:buFont typeface="Lucida Sans Unicode" panose="020B0602030504020204" pitchFamily="34" charset="0"/>
              <a:buChar char="▶"/>
              <a:defRPr/>
            </a:pPr>
            <a:r>
              <a:rPr lang="en-US" sz="1200">
                <a:solidFill>
                  <a:srgbClr val="000000"/>
                </a:solidFill>
                <a:latin typeface="+mj-lt"/>
                <a:ea typeface="Verdana"/>
                <a:cs typeface="Verdana"/>
                <a:sym typeface="Verdana"/>
              </a:rPr>
              <a:t>Delivery Governance</a:t>
            </a:r>
          </a:p>
          <a:p>
            <a:pPr marL="243829" indent="-243829" defTabSz="1219140" fontAlgn="base">
              <a:spcBef>
                <a:spcPct val="0"/>
              </a:spcBef>
              <a:spcAft>
                <a:spcPct val="0"/>
              </a:spcAft>
              <a:buClr>
                <a:srgbClr val="0066A1"/>
              </a:buClr>
              <a:buFont typeface="Lucida Sans Unicode" panose="020B0602030504020204" pitchFamily="34" charset="0"/>
              <a:buChar char="▶"/>
              <a:defRPr/>
            </a:pPr>
            <a:r>
              <a:rPr lang="en-US" sz="1200">
                <a:solidFill>
                  <a:srgbClr val="000000"/>
                </a:solidFill>
                <a:latin typeface="+mj-lt"/>
                <a:ea typeface="Verdana"/>
                <a:cs typeface="Verdana"/>
                <a:sym typeface="Verdana"/>
              </a:rPr>
              <a:t>Status Meeting</a:t>
            </a:r>
          </a:p>
          <a:p>
            <a:pPr marL="243829" indent="-243829" defTabSz="1219140" fontAlgn="base">
              <a:spcBef>
                <a:spcPct val="0"/>
              </a:spcBef>
              <a:spcAft>
                <a:spcPct val="0"/>
              </a:spcAft>
              <a:buClr>
                <a:srgbClr val="0066A1"/>
              </a:buClr>
              <a:buFont typeface="Lucida Sans Unicode" panose="020B0602030504020204" pitchFamily="34" charset="0"/>
              <a:buChar char="▶"/>
              <a:defRPr/>
            </a:pPr>
            <a:r>
              <a:rPr lang="en-US" sz="1200">
                <a:solidFill>
                  <a:srgbClr val="000000"/>
                </a:solidFill>
                <a:latin typeface="+mj-lt"/>
                <a:ea typeface="Verdana"/>
                <a:cs typeface="Verdana"/>
                <a:sym typeface="Verdana"/>
              </a:rPr>
              <a:t>Standups</a:t>
            </a:r>
          </a:p>
        </p:txBody>
      </p:sp>
      <p:sp>
        <p:nvSpPr>
          <p:cNvPr id="13" name="Textfeld 150">
            <a:extLst>
              <a:ext uri="{FF2B5EF4-FFF2-40B4-BE49-F238E27FC236}">
                <a16:creationId xmlns:a16="http://schemas.microsoft.com/office/drawing/2014/main" id="{8A30E79E-1D67-4C47-AFAC-65D8F4B930D6}"/>
              </a:ext>
            </a:extLst>
          </p:cNvPr>
          <p:cNvSpPr txBox="1"/>
          <p:nvPr/>
        </p:nvSpPr>
        <p:spPr>
          <a:xfrm>
            <a:off x="9168436" y="830369"/>
            <a:ext cx="1008289" cy="246221"/>
          </a:xfrm>
          <a:prstGeom prst="rect">
            <a:avLst/>
          </a:prstGeom>
          <a:noFill/>
        </p:spPr>
        <p:txBody>
          <a:bodyPr wrap="none" lIns="0" tIns="0" rIns="0" bIns="0" rtlCol="0">
            <a:spAutoFit/>
          </a:bodyPr>
          <a:lstStyle/>
          <a:p>
            <a:pPr defTabSz="1219140" fontAlgn="base">
              <a:spcBef>
                <a:spcPct val="0"/>
              </a:spcBef>
              <a:spcAft>
                <a:spcPct val="0"/>
              </a:spcAft>
              <a:defRPr/>
            </a:pPr>
            <a:r>
              <a:rPr lang="en-US" sz="1600" b="1">
                <a:solidFill>
                  <a:srgbClr val="0066A1"/>
                </a:solidFill>
                <a:latin typeface="+mj-lt"/>
                <a:ea typeface="Verdana"/>
                <a:cs typeface="Verdana"/>
                <a:sym typeface="Verdana"/>
              </a:rPr>
              <a:t>Attendees</a:t>
            </a:r>
          </a:p>
        </p:txBody>
      </p:sp>
      <p:sp>
        <p:nvSpPr>
          <p:cNvPr id="14" name="Textfeld 149">
            <a:extLst>
              <a:ext uri="{FF2B5EF4-FFF2-40B4-BE49-F238E27FC236}">
                <a16:creationId xmlns:a16="http://schemas.microsoft.com/office/drawing/2014/main" id="{464FED84-70F8-485E-9E5B-3751BBB91084}"/>
              </a:ext>
            </a:extLst>
          </p:cNvPr>
          <p:cNvSpPr txBox="1"/>
          <p:nvPr/>
        </p:nvSpPr>
        <p:spPr>
          <a:xfrm>
            <a:off x="1643312" y="871384"/>
            <a:ext cx="1819409" cy="246221"/>
          </a:xfrm>
          <a:prstGeom prst="rect">
            <a:avLst/>
          </a:prstGeom>
          <a:noFill/>
        </p:spPr>
        <p:txBody>
          <a:bodyPr wrap="none" lIns="0" tIns="0" rIns="0" bIns="0" rtlCol="0">
            <a:spAutoFit/>
          </a:bodyPr>
          <a:lstStyle/>
          <a:p>
            <a:pPr defTabSz="1219140" fontAlgn="base">
              <a:spcBef>
                <a:spcPct val="0"/>
              </a:spcBef>
              <a:spcAft>
                <a:spcPct val="0"/>
              </a:spcAft>
              <a:defRPr/>
            </a:pPr>
            <a:r>
              <a:rPr lang="en-US" sz="1600" b="1">
                <a:solidFill>
                  <a:srgbClr val="0066A1"/>
                </a:solidFill>
                <a:latin typeface="+mj-lt"/>
                <a:ea typeface="Verdana"/>
                <a:cs typeface="Verdana"/>
                <a:sym typeface="Verdana"/>
              </a:rPr>
              <a:t>Governance forum</a:t>
            </a:r>
          </a:p>
        </p:txBody>
      </p:sp>
      <p:cxnSp>
        <p:nvCxnSpPr>
          <p:cNvPr id="19" name="Straight Connector 18">
            <a:extLst>
              <a:ext uri="{FF2B5EF4-FFF2-40B4-BE49-F238E27FC236}">
                <a16:creationId xmlns:a16="http://schemas.microsoft.com/office/drawing/2014/main" id="{B6710148-36A1-4418-99DB-83C27938E8F3}"/>
              </a:ext>
            </a:extLst>
          </p:cNvPr>
          <p:cNvCxnSpPr>
            <a:cxnSpLocks/>
          </p:cNvCxnSpPr>
          <p:nvPr/>
        </p:nvCxnSpPr>
        <p:spPr>
          <a:xfrm flipV="1">
            <a:off x="151334" y="2559177"/>
            <a:ext cx="11448000" cy="12489"/>
          </a:xfrm>
          <a:prstGeom prst="line">
            <a:avLst/>
          </a:prstGeom>
          <a:ln w="12700">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sp>
        <p:nvSpPr>
          <p:cNvPr id="22" name="Textfeld 150">
            <a:extLst>
              <a:ext uri="{FF2B5EF4-FFF2-40B4-BE49-F238E27FC236}">
                <a16:creationId xmlns:a16="http://schemas.microsoft.com/office/drawing/2014/main" id="{EC613D15-02DC-4684-9EB8-6213F953F4E2}"/>
              </a:ext>
            </a:extLst>
          </p:cNvPr>
          <p:cNvSpPr txBox="1"/>
          <p:nvPr/>
        </p:nvSpPr>
        <p:spPr>
          <a:xfrm>
            <a:off x="5517366" y="877498"/>
            <a:ext cx="804707" cy="246221"/>
          </a:xfrm>
          <a:prstGeom prst="rect">
            <a:avLst/>
          </a:prstGeom>
          <a:noFill/>
        </p:spPr>
        <p:txBody>
          <a:bodyPr wrap="none" lIns="0" tIns="0" rIns="0" bIns="0" rtlCol="0">
            <a:spAutoFit/>
          </a:bodyPr>
          <a:lstStyle/>
          <a:p>
            <a:pPr defTabSz="1219140" fontAlgn="base">
              <a:spcBef>
                <a:spcPct val="0"/>
              </a:spcBef>
              <a:spcAft>
                <a:spcPct val="0"/>
              </a:spcAft>
              <a:defRPr/>
            </a:pPr>
            <a:r>
              <a:rPr lang="en-US" sz="1600" b="1">
                <a:solidFill>
                  <a:srgbClr val="0066A1"/>
                </a:solidFill>
                <a:latin typeface="+mj-lt"/>
                <a:ea typeface="MS PGothic"/>
                <a:cs typeface="Verdana" panose="020B0604030504040204" pitchFamily="34" charset="0"/>
              </a:rPr>
              <a:t>Purpose</a:t>
            </a:r>
          </a:p>
        </p:txBody>
      </p:sp>
      <p:sp>
        <p:nvSpPr>
          <p:cNvPr id="23" name="Content Placeholder 1">
            <a:extLst>
              <a:ext uri="{FF2B5EF4-FFF2-40B4-BE49-F238E27FC236}">
                <a16:creationId xmlns:a16="http://schemas.microsoft.com/office/drawing/2014/main" id="{8BD28391-6696-434F-8C4A-352E56E8CA13}"/>
              </a:ext>
            </a:extLst>
          </p:cNvPr>
          <p:cNvSpPr txBox="1">
            <a:spLocks/>
          </p:cNvSpPr>
          <p:nvPr/>
        </p:nvSpPr>
        <p:spPr>
          <a:xfrm>
            <a:off x="4779681" y="1397938"/>
            <a:ext cx="3387725" cy="1070678"/>
          </a:xfrm>
          <a:prstGeom prst="rect">
            <a:avLst/>
          </a:prstGeom>
          <a:ln>
            <a:noFill/>
          </a:ln>
        </p:spPr>
        <p:txBody>
          <a:bodyPr vert="horz" wrap="square" lIns="0" tIns="0" rIns="0" bIns="0" rtlCol="0" anchor="ctr">
            <a:spAutoFit/>
          </a:bodyPr>
          <a:lstStyle>
            <a:lvl1pPr marL="270000" indent="-270000" algn="l" defTabSz="914400" rtl="0" eaLnBrk="1" latinLnBrk="0" hangingPunct="1">
              <a:spcBef>
                <a:spcPct val="20000"/>
              </a:spcBef>
              <a:buClr>
                <a:schemeClr val="tx2"/>
              </a:buClr>
              <a:buFont typeface="Lucida Sans Unicode" pitchFamily="34" charset="0"/>
              <a:buChar char="▶"/>
              <a:defRPr sz="1600" kern="1200" baseline="0">
                <a:solidFill>
                  <a:schemeClr val="tx1"/>
                </a:solidFill>
                <a:latin typeface="Verdana" pitchFamily="34" charset="0"/>
                <a:ea typeface="Verdana" pitchFamily="34" charset="0"/>
                <a:cs typeface="Verdana" pitchFamily="34" charset="0"/>
              </a:defRPr>
            </a:lvl1pPr>
            <a:lvl2pPr marL="540000" indent="-270000" algn="l" defTabSz="914400" rtl="0" eaLnBrk="1" latinLnBrk="0" hangingPunct="1">
              <a:spcBef>
                <a:spcPts val="384"/>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2pPr>
            <a:lvl3pPr marL="81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80000" indent="-270000" algn="l" defTabSz="914400" rtl="0" eaLnBrk="1" latinLnBrk="0" hangingPunct="1">
              <a:spcBef>
                <a:spcPct val="20000"/>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4pPr>
            <a:lvl5pPr marL="135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91990" indent="-191990">
              <a:lnSpc>
                <a:spcPct val="150000"/>
              </a:lnSpc>
              <a:spcBef>
                <a:spcPts val="0"/>
              </a:spcBef>
              <a:buClr>
                <a:schemeClr val="accent1"/>
              </a:buClr>
            </a:pPr>
            <a:r>
              <a:rPr lang="en-US" sz="1200">
                <a:latin typeface="+mj-lt"/>
              </a:rPr>
              <a:t>Overall Program Progress</a:t>
            </a:r>
          </a:p>
          <a:p>
            <a:pPr marL="191990" indent="-191990">
              <a:lnSpc>
                <a:spcPct val="150000"/>
              </a:lnSpc>
              <a:spcBef>
                <a:spcPts val="0"/>
              </a:spcBef>
              <a:buClr>
                <a:schemeClr val="accent1"/>
              </a:buClr>
            </a:pPr>
            <a:r>
              <a:rPr lang="en-US" sz="1200">
                <a:latin typeface="+mj-lt"/>
              </a:rPr>
              <a:t>Alignment to Project Charter</a:t>
            </a:r>
          </a:p>
          <a:p>
            <a:pPr marL="191990" indent="-191990">
              <a:lnSpc>
                <a:spcPct val="150000"/>
              </a:lnSpc>
              <a:spcBef>
                <a:spcPts val="0"/>
              </a:spcBef>
              <a:buClr>
                <a:schemeClr val="accent1"/>
              </a:buClr>
            </a:pPr>
            <a:r>
              <a:rPr lang="en-US" sz="1200">
                <a:latin typeface="+mj-lt"/>
              </a:rPr>
              <a:t>Assess Risks, Budgets and revise program direction as necessary</a:t>
            </a:r>
          </a:p>
        </p:txBody>
      </p:sp>
      <p:sp>
        <p:nvSpPr>
          <p:cNvPr id="24" name="Content Placeholder 1">
            <a:extLst>
              <a:ext uri="{FF2B5EF4-FFF2-40B4-BE49-F238E27FC236}">
                <a16:creationId xmlns:a16="http://schemas.microsoft.com/office/drawing/2014/main" id="{5BE6E302-0781-47E6-BC80-3B389A4F3912}"/>
              </a:ext>
            </a:extLst>
          </p:cNvPr>
          <p:cNvSpPr txBox="1">
            <a:spLocks/>
          </p:cNvSpPr>
          <p:nvPr/>
        </p:nvSpPr>
        <p:spPr>
          <a:xfrm>
            <a:off x="4779681" y="2654693"/>
            <a:ext cx="3387725" cy="1347677"/>
          </a:xfrm>
          <a:prstGeom prst="rect">
            <a:avLst/>
          </a:prstGeom>
        </p:spPr>
        <p:txBody>
          <a:bodyPr vert="horz" wrap="square" lIns="0" tIns="0" rIns="0" bIns="0" rtlCol="0" anchor="ctr">
            <a:spAutoFit/>
          </a:bodyPr>
          <a:lstStyle>
            <a:lvl1pPr marL="270000" indent="-270000" algn="l" defTabSz="914400" rtl="0" eaLnBrk="1" latinLnBrk="0" hangingPunct="1">
              <a:spcBef>
                <a:spcPct val="20000"/>
              </a:spcBef>
              <a:buClr>
                <a:schemeClr val="tx2"/>
              </a:buClr>
              <a:buFont typeface="Lucida Sans Unicode" pitchFamily="34" charset="0"/>
              <a:buChar char="▶"/>
              <a:defRPr sz="1600" kern="1200" baseline="0">
                <a:solidFill>
                  <a:schemeClr val="tx1"/>
                </a:solidFill>
                <a:latin typeface="Verdana" pitchFamily="34" charset="0"/>
                <a:ea typeface="Verdana" pitchFamily="34" charset="0"/>
                <a:cs typeface="Verdana" pitchFamily="34" charset="0"/>
              </a:defRPr>
            </a:lvl1pPr>
            <a:lvl2pPr marL="540000" indent="-270000" algn="l" defTabSz="914400" rtl="0" eaLnBrk="1" latinLnBrk="0" hangingPunct="1">
              <a:spcBef>
                <a:spcPts val="384"/>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2pPr>
            <a:lvl3pPr marL="81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80000" indent="-270000" algn="l" defTabSz="914400" rtl="0" eaLnBrk="1" latinLnBrk="0" hangingPunct="1">
              <a:spcBef>
                <a:spcPct val="20000"/>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4pPr>
            <a:lvl5pPr marL="135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91770" indent="-191770" defTabSz="1219140">
              <a:lnSpc>
                <a:spcPct val="150000"/>
              </a:lnSpc>
              <a:spcBef>
                <a:spcPts val="0"/>
              </a:spcBef>
              <a:buClr>
                <a:srgbClr val="0066A1"/>
              </a:buClr>
              <a:defRPr/>
            </a:pPr>
            <a:r>
              <a:rPr lang="en-US" sz="1200" dirty="0">
                <a:solidFill>
                  <a:srgbClr val="000000"/>
                </a:solidFill>
                <a:latin typeface="+mj-lt"/>
                <a:ea typeface="Verdana"/>
              </a:rPr>
              <a:t>Monthly Review over all program </a:t>
            </a:r>
            <a:endParaRPr lang="en-US"/>
          </a:p>
          <a:p>
            <a:pPr marL="191770" indent="-191770" defTabSz="1219140">
              <a:lnSpc>
                <a:spcPct val="150000"/>
              </a:lnSpc>
              <a:spcBef>
                <a:spcPts val="0"/>
              </a:spcBef>
              <a:buClr>
                <a:srgbClr val="0066A1"/>
              </a:buClr>
              <a:defRPr/>
            </a:pPr>
            <a:r>
              <a:rPr lang="en-US" sz="1200" dirty="0">
                <a:solidFill>
                  <a:srgbClr val="000000"/>
                </a:solidFill>
                <a:latin typeface="+mj-lt"/>
                <a:ea typeface="Verdana"/>
              </a:rPr>
              <a:t>Risk Mitigation and Issue resolution by Track</a:t>
            </a:r>
          </a:p>
          <a:p>
            <a:pPr marL="191770" indent="-191770" defTabSz="1219140">
              <a:lnSpc>
                <a:spcPct val="150000"/>
              </a:lnSpc>
              <a:spcBef>
                <a:spcPts val="0"/>
              </a:spcBef>
              <a:buClr>
                <a:srgbClr val="0066A1"/>
              </a:buClr>
              <a:defRPr/>
            </a:pPr>
            <a:r>
              <a:rPr lang="en-US" sz="1200" dirty="0">
                <a:solidFill>
                  <a:srgbClr val="000000"/>
                </a:solidFill>
                <a:latin typeface="+mj-lt"/>
                <a:ea typeface="Verdana"/>
              </a:rPr>
              <a:t>Team Structure and adjustment</a:t>
            </a:r>
          </a:p>
          <a:p>
            <a:pPr marL="191770" indent="-191770" defTabSz="1219140">
              <a:lnSpc>
                <a:spcPct val="150000"/>
              </a:lnSpc>
              <a:spcBef>
                <a:spcPts val="0"/>
              </a:spcBef>
              <a:buClr>
                <a:srgbClr val="0066A1"/>
              </a:buClr>
              <a:defRPr/>
            </a:pPr>
            <a:r>
              <a:rPr lang="en-US" sz="1200" dirty="0">
                <a:solidFill>
                  <a:srgbClr val="000000"/>
                </a:solidFill>
                <a:latin typeface="+mj-lt"/>
                <a:ea typeface="Verdana"/>
              </a:rPr>
              <a:t>Focus items from Atos &amp; Manulife</a:t>
            </a:r>
          </a:p>
        </p:txBody>
      </p:sp>
      <p:sp>
        <p:nvSpPr>
          <p:cNvPr id="25" name="Content Placeholder 1">
            <a:extLst>
              <a:ext uri="{FF2B5EF4-FFF2-40B4-BE49-F238E27FC236}">
                <a16:creationId xmlns:a16="http://schemas.microsoft.com/office/drawing/2014/main" id="{9FA8CB33-F641-43B6-9A13-FDD1080FDF9C}"/>
              </a:ext>
            </a:extLst>
          </p:cNvPr>
          <p:cNvSpPr txBox="1">
            <a:spLocks/>
          </p:cNvSpPr>
          <p:nvPr/>
        </p:nvSpPr>
        <p:spPr>
          <a:xfrm>
            <a:off x="4779681" y="4532692"/>
            <a:ext cx="3002311" cy="1070678"/>
          </a:xfrm>
          <a:prstGeom prst="rect">
            <a:avLst/>
          </a:prstGeom>
        </p:spPr>
        <p:txBody>
          <a:bodyPr vert="horz" wrap="square" lIns="0" tIns="0" rIns="0" bIns="0" rtlCol="0" anchor="ctr">
            <a:spAutoFit/>
          </a:bodyPr>
          <a:lstStyle>
            <a:lvl1pPr marL="270000" indent="-270000" algn="l" defTabSz="914400" rtl="0" eaLnBrk="1" latinLnBrk="0" hangingPunct="1">
              <a:spcBef>
                <a:spcPct val="20000"/>
              </a:spcBef>
              <a:buClr>
                <a:schemeClr val="tx2"/>
              </a:buClr>
              <a:buFont typeface="Lucida Sans Unicode" pitchFamily="34" charset="0"/>
              <a:buChar char="▶"/>
              <a:defRPr sz="1600" kern="1200" baseline="0">
                <a:solidFill>
                  <a:schemeClr val="tx1"/>
                </a:solidFill>
                <a:latin typeface="Verdana" pitchFamily="34" charset="0"/>
                <a:ea typeface="Verdana" pitchFamily="34" charset="0"/>
                <a:cs typeface="Verdana" pitchFamily="34" charset="0"/>
              </a:defRPr>
            </a:lvl1pPr>
            <a:lvl2pPr marL="540000" indent="-270000" algn="l" defTabSz="914400" rtl="0" eaLnBrk="1" latinLnBrk="0" hangingPunct="1">
              <a:spcBef>
                <a:spcPts val="384"/>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2pPr>
            <a:lvl3pPr marL="81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80000" indent="-270000" algn="l" defTabSz="914400" rtl="0" eaLnBrk="1" latinLnBrk="0" hangingPunct="1">
              <a:spcBef>
                <a:spcPct val="20000"/>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4pPr>
            <a:lvl5pPr marL="135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91990" indent="-191990" defTabSz="1219140">
              <a:lnSpc>
                <a:spcPct val="150000"/>
              </a:lnSpc>
              <a:spcBef>
                <a:spcPts val="0"/>
              </a:spcBef>
              <a:buClr>
                <a:srgbClr val="0066A1"/>
              </a:buClr>
              <a:defRPr/>
            </a:pPr>
            <a:r>
              <a:rPr lang="en-US" sz="1200">
                <a:solidFill>
                  <a:prstClr val="black"/>
                </a:solidFill>
                <a:latin typeface="+mj-lt"/>
              </a:rPr>
              <a:t>Data Migration Track Review</a:t>
            </a:r>
          </a:p>
          <a:p>
            <a:pPr marL="191990" indent="-191990" defTabSz="1219140">
              <a:lnSpc>
                <a:spcPct val="150000"/>
              </a:lnSpc>
              <a:spcBef>
                <a:spcPts val="0"/>
              </a:spcBef>
              <a:buClr>
                <a:srgbClr val="0066A1"/>
              </a:buClr>
              <a:defRPr/>
            </a:pPr>
            <a:r>
              <a:rPr lang="en-US" sz="1200">
                <a:solidFill>
                  <a:prstClr val="black"/>
                </a:solidFill>
                <a:latin typeface="+mj-lt"/>
              </a:rPr>
              <a:t>Features Development track review</a:t>
            </a:r>
          </a:p>
          <a:p>
            <a:pPr marL="191990" indent="-191990" defTabSz="1219140">
              <a:lnSpc>
                <a:spcPct val="150000"/>
              </a:lnSpc>
              <a:spcBef>
                <a:spcPts val="0"/>
              </a:spcBef>
              <a:buClr>
                <a:srgbClr val="0066A1"/>
              </a:buClr>
              <a:defRPr/>
            </a:pPr>
            <a:r>
              <a:rPr lang="en-US" sz="1200">
                <a:solidFill>
                  <a:prstClr val="black"/>
                </a:solidFill>
                <a:latin typeface="+mj-lt"/>
              </a:rPr>
              <a:t>Process Automation track review</a:t>
            </a:r>
          </a:p>
          <a:p>
            <a:pPr marL="191990" indent="-191990" defTabSz="1219140">
              <a:lnSpc>
                <a:spcPct val="150000"/>
              </a:lnSpc>
              <a:spcBef>
                <a:spcPts val="0"/>
              </a:spcBef>
              <a:buClr>
                <a:srgbClr val="0066A1"/>
              </a:buClr>
              <a:defRPr/>
            </a:pPr>
            <a:r>
              <a:rPr lang="en-US" sz="1200">
                <a:solidFill>
                  <a:prstClr val="black"/>
                </a:solidFill>
                <a:latin typeface="+mj-lt"/>
              </a:rPr>
              <a:t>Issues/ Risks/ Blockers</a:t>
            </a:r>
          </a:p>
        </p:txBody>
      </p:sp>
      <p:sp>
        <p:nvSpPr>
          <p:cNvPr id="26" name="Freeform 54">
            <a:extLst>
              <a:ext uri="{FF2B5EF4-FFF2-40B4-BE49-F238E27FC236}">
                <a16:creationId xmlns:a16="http://schemas.microsoft.com/office/drawing/2014/main" id="{F64A7CC9-83BC-4D4E-8163-807CD543C81E}"/>
              </a:ext>
            </a:extLst>
          </p:cNvPr>
          <p:cNvSpPr/>
          <p:nvPr/>
        </p:nvSpPr>
        <p:spPr>
          <a:xfrm>
            <a:off x="309591" y="1430146"/>
            <a:ext cx="1819409" cy="1004598"/>
          </a:xfrm>
          <a:prstGeom prst="rect">
            <a:avLst/>
          </a:prstGeom>
          <a:solidFill>
            <a:srgbClr val="00AFD8"/>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8627" tIns="18627" rIns="18627" bIns="48000" numCol="1" spcCol="1270" anchor="b" anchorCtr="0">
            <a:noAutofit/>
          </a:bodyPr>
          <a:lstStyle/>
          <a:p>
            <a:pPr algn="ctr" defTabSz="651901">
              <a:spcBef>
                <a:spcPct val="0"/>
              </a:spcBef>
              <a:defRPr/>
            </a:pPr>
            <a:r>
              <a:rPr lang="en-US" sz="1200" b="1">
                <a:solidFill>
                  <a:prstClr val="white"/>
                </a:solidFill>
                <a:latin typeface="+mj-lt"/>
              </a:rPr>
              <a:t>Business Alignment</a:t>
            </a:r>
          </a:p>
          <a:p>
            <a:pPr algn="ctr" defTabSz="651901">
              <a:spcBef>
                <a:spcPct val="0"/>
              </a:spcBef>
              <a:defRPr/>
            </a:pPr>
            <a:r>
              <a:rPr lang="en-US" sz="1200" b="1">
                <a:solidFill>
                  <a:prstClr val="white"/>
                </a:solidFill>
                <a:latin typeface="+mj-lt"/>
              </a:rPr>
              <a:t>Quarterly</a:t>
            </a:r>
          </a:p>
          <a:p>
            <a:pPr algn="ctr" defTabSz="651901">
              <a:spcBef>
                <a:spcPct val="0"/>
              </a:spcBef>
              <a:defRPr/>
            </a:pPr>
            <a:r>
              <a:rPr lang="en-US" sz="1200" b="1">
                <a:solidFill>
                  <a:prstClr val="white"/>
                </a:solidFill>
                <a:latin typeface="+mj-lt"/>
              </a:rPr>
              <a:t>(Strategic)</a:t>
            </a:r>
          </a:p>
          <a:p>
            <a:pPr algn="ctr" defTabSz="651901">
              <a:spcBef>
                <a:spcPct val="0"/>
              </a:spcBef>
              <a:defRPr/>
            </a:pPr>
            <a:endParaRPr lang="en-US" sz="1200" b="1">
              <a:solidFill>
                <a:prstClr val="white"/>
              </a:solidFill>
              <a:latin typeface="+mj-lt"/>
            </a:endParaRPr>
          </a:p>
        </p:txBody>
      </p:sp>
      <p:sp>
        <p:nvSpPr>
          <p:cNvPr id="27" name="Freeform 67">
            <a:extLst>
              <a:ext uri="{FF2B5EF4-FFF2-40B4-BE49-F238E27FC236}">
                <a16:creationId xmlns:a16="http://schemas.microsoft.com/office/drawing/2014/main" id="{81FF5171-AA3B-402E-A8D7-2AB0786D4238}"/>
              </a:ext>
            </a:extLst>
          </p:cNvPr>
          <p:cNvSpPr/>
          <p:nvPr/>
        </p:nvSpPr>
        <p:spPr>
          <a:xfrm>
            <a:off x="282334" y="2692221"/>
            <a:ext cx="1846665" cy="1377484"/>
          </a:xfrm>
          <a:prstGeom prst="rect">
            <a:avLst/>
          </a:prstGeom>
          <a:solidFill>
            <a:srgbClr val="0089C4"/>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416013" tIns="18627" rIns="416013" bIns="18627" numCol="1" spcCol="1270" anchor="ctr" anchorCtr="0">
            <a:noAutofit/>
          </a:bodyPr>
          <a:lstStyle/>
          <a:p>
            <a:pPr algn="ctr" defTabSz="651901">
              <a:spcBef>
                <a:spcPct val="0"/>
              </a:spcBef>
              <a:defRPr/>
            </a:pPr>
            <a:r>
              <a:rPr lang="en-US" sz="1300" b="1">
                <a:solidFill>
                  <a:prstClr val="white"/>
                </a:solidFill>
                <a:latin typeface="+mj-lt"/>
              </a:rPr>
              <a:t>Program Governance</a:t>
            </a:r>
          </a:p>
          <a:p>
            <a:pPr algn="ctr" defTabSz="651901">
              <a:spcBef>
                <a:spcPct val="0"/>
              </a:spcBef>
              <a:defRPr/>
            </a:pPr>
            <a:r>
              <a:rPr lang="en-US" sz="1300" b="1">
                <a:solidFill>
                  <a:prstClr val="white"/>
                </a:solidFill>
                <a:latin typeface="+mj-lt"/>
              </a:rPr>
              <a:t>(Tactical)</a:t>
            </a:r>
          </a:p>
        </p:txBody>
      </p:sp>
      <p:cxnSp>
        <p:nvCxnSpPr>
          <p:cNvPr id="32" name="Straight Connector 31">
            <a:extLst>
              <a:ext uri="{FF2B5EF4-FFF2-40B4-BE49-F238E27FC236}">
                <a16:creationId xmlns:a16="http://schemas.microsoft.com/office/drawing/2014/main" id="{B233A0BB-9EE0-4183-AF68-97F71BA59BBC}"/>
              </a:ext>
            </a:extLst>
          </p:cNvPr>
          <p:cNvCxnSpPr>
            <a:cxnSpLocks/>
          </p:cNvCxnSpPr>
          <p:nvPr/>
        </p:nvCxnSpPr>
        <p:spPr>
          <a:xfrm flipV="1">
            <a:off x="89867" y="4294954"/>
            <a:ext cx="11448000" cy="12489"/>
          </a:xfrm>
          <a:prstGeom prst="line">
            <a:avLst/>
          </a:prstGeom>
          <a:ln w="12700">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FAB0232-E4E6-4ECF-9589-F6EFCA86EEB3}"/>
              </a:ext>
            </a:extLst>
          </p:cNvPr>
          <p:cNvCxnSpPr/>
          <p:nvPr/>
        </p:nvCxnSpPr>
        <p:spPr>
          <a:xfrm>
            <a:off x="4609319" y="1327598"/>
            <a:ext cx="0" cy="4819982"/>
          </a:xfrm>
          <a:prstGeom prst="line">
            <a:avLst/>
          </a:prstGeom>
          <a:ln>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C4E96687-3070-41DA-AAE5-A383651FE2C1}"/>
              </a:ext>
            </a:extLst>
          </p:cNvPr>
          <p:cNvCxnSpPr/>
          <p:nvPr/>
        </p:nvCxnSpPr>
        <p:spPr>
          <a:xfrm>
            <a:off x="8139271" y="1290449"/>
            <a:ext cx="0" cy="4819982"/>
          </a:xfrm>
          <a:prstGeom prst="line">
            <a:avLst/>
          </a:prstGeom>
          <a:ln>
            <a:solidFill>
              <a:srgbClr val="80808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596289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740AEC5-E055-47CF-ACEA-1AADD5DA3F39}"/>
              </a:ext>
            </a:extLst>
          </p:cNvPr>
          <p:cNvSpPr>
            <a:spLocks noGrp="1"/>
          </p:cNvSpPr>
          <p:nvPr>
            <p:ph type="title"/>
          </p:nvPr>
        </p:nvSpPr>
        <p:spPr/>
        <p:txBody>
          <a:bodyPr/>
          <a:lstStyle/>
          <a:p>
            <a:r>
              <a:rPr lang="en-US"/>
              <a:t>Proposed Engagement Model</a:t>
            </a:r>
            <a:endParaRPr lang="en-IN"/>
          </a:p>
        </p:txBody>
      </p:sp>
      <p:sp>
        <p:nvSpPr>
          <p:cNvPr id="162" name="Rectangle 3">
            <a:extLst>
              <a:ext uri="{FF2B5EF4-FFF2-40B4-BE49-F238E27FC236}">
                <a16:creationId xmlns:a16="http://schemas.microsoft.com/office/drawing/2014/main" id="{B2EC6469-A07D-409A-97F2-9C33CCC016E4}"/>
              </a:ext>
            </a:extLst>
          </p:cNvPr>
          <p:cNvSpPr>
            <a:spLocks noChangeArrowheads="1"/>
          </p:cNvSpPr>
          <p:nvPr/>
        </p:nvSpPr>
        <p:spPr bwMode="auto">
          <a:xfrm>
            <a:off x="712867" y="3518550"/>
            <a:ext cx="11236189" cy="2578677"/>
          </a:xfrm>
          <a:prstGeom prst="rect">
            <a:avLst/>
          </a:prstGeom>
          <a:solidFill>
            <a:srgbClr val="C0C0C0">
              <a:alpha val="34901"/>
            </a:srgbClr>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p>
            <a:pPr algn="ctr" fontAlgn="base">
              <a:spcBef>
                <a:spcPct val="0"/>
              </a:spcBef>
              <a:spcAft>
                <a:spcPct val="0"/>
              </a:spcAft>
            </a:pPr>
            <a:endParaRPr lang="de-DE" sz="1600" b="1">
              <a:solidFill>
                <a:srgbClr val="000000"/>
              </a:solidFill>
              <a:latin typeface="+mj-lt"/>
            </a:endParaRPr>
          </a:p>
        </p:txBody>
      </p:sp>
      <p:sp>
        <p:nvSpPr>
          <p:cNvPr id="163" name="Rectangle 5">
            <a:extLst>
              <a:ext uri="{FF2B5EF4-FFF2-40B4-BE49-F238E27FC236}">
                <a16:creationId xmlns:a16="http://schemas.microsoft.com/office/drawing/2014/main" id="{9D7EEC80-949D-4D81-ACD7-3C586D6AC72B}"/>
              </a:ext>
            </a:extLst>
          </p:cNvPr>
          <p:cNvSpPr>
            <a:spLocks noChangeArrowheads="1"/>
          </p:cNvSpPr>
          <p:nvPr/>
        </p:nvSpPr>
        <p:spPr bwMode="auto">
          <a:xfrm>
            <a:off x="790288" y="5069578"/>
            <a:ext cx="1515816" cy="577084"/>
          </a:xfrm>
          <a:prstGeom prst="rect">
            <a:avLst/>
          </a:prstGeom>
          <a:solidFill>
            <a:schemeClr val="accent1"/>
          </a:solidFill>
          <a:ln w="12700" algn="ctr">
            <a:noFill/>
            <a:miter lim="800000"/>
            <a:headEnd/>
            <a:tailEnd/>
          </a:ln>
          <a:effectLst/>
        </p:spPr>
        <p:txBody>
          <a:bodyPr wrap="none" anchor="ctr"/>
          <a:lstStyle/>
          <a:p>
            <a:pPr algn="ctr" fontAlgn="base">
              <a:spcBef>
                <a:spcPct val="0"/>
              </a:spcBef>
              <a:spcAft>
                <a:spcPct val="0"/>
              </a:spcAft>
              <a:defRPr/>
            </a:pPr>
            <a:r>
              <a:rPr lang="en-US" sz="1067" b="1">
                <a:solidFill>
                  <a:schemeClr val="bg1"/>
                </a:solidFill>
                <a:latin typeface="+mj-lt"/>
              </a:rPr>
              <a:t>Manulife Business </a:t>
            </a:r>
          </a:p>
          <a:p>
            <a:pPr algn="ctr" fontAlgn="base">
              <a:spcBef>
                <a:spcPct val="0"/>
              </a:spcBef>
              <a:spcAft>
                <a:spcPct val="0"/>
              </a:spcAft>
              <a:defRPr/>
            </a:pPr>
            <a:r>
              <a:rPr lang="en-US" sz="1067" b="1">
                <a:solidFill>
                  <a:schemeClr val="bg1"/>
                </a:solidFill>
                <a:latin typeface="+mj-lt"/>
              </a:rPr>
              <a:t>SME</a:t>
            </a:r>
          </a:p>
        </p:txBody>
      </p:sp>
      <p:sp>
        <p:nvSpPr>
          <p:cNvPr id="164" name="Rectangle 7">
            <a:extLst>
              <a:ext uri="{FF2B5EF4-FFF2-40B4-BE49-F238E27FC236}">
                <a16:creationId xmlns:a16="http://schemas.microsoft.com/office/drawing/2014/main" id="{A26C2C1C-B518-4A23-B3D8-AFC63543BF1C}"/>
              </a:ext>
            </a:extLst>
          </p:cNvPr>
          <p:cNvSpPr>
            <a:spLocks noChangeArrowheads="1"/>
          </p:cNvSpPr>
          <p:nvPr/>
        </p:nvSpPr>
        <p:spPr bwMode="auto">
          <a:xfrm>
            <a:off x="2764505" y="5051706"/>
            <a:ext cx="843501" cy="472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fontAlgn="base">
              <a:lnSpc>
                <a:spcPct val="140000"/>
              </a:lnSpc>
              <a:spcBef>
                <a:spcPct val="0"/>
              </a:spcBef>
              <a:spcAft>
                <a:spcPct val="0"/>
              </a:spcAft>
            </a:pPr>
            <a:r>
              <a:rPr lang="en-US" sz="933" b="1">
                <a:solidFill>
                  <a:srgbClr val="000000"/>
                </a:solidFill>
                <a:latin typeface="+mj-lt"/>
              </a:rPr>
              <a:t>Deliverable</a:t>
            </a:r>
          </a:p>
          <a:p>
            <a:pPr algn="ctr" fontAlgn="base">
              <a:lnSpc>
                <a:spcPct val="140000"/>
              </a:lnSpc>
              <a:spcBef>
                <a:spcPct val="0"/>
              </a:spcBef>
              <a:spcAft>
                <a:spcPct val="0"/>
              </a:spcAft>
            </a:pPr>
            <a:r>
              <a:rPr lang="en-US" sz="933" b="1">
                <a:solidFill>
                  <a:srgbClr val="000000"/>
                </a:solidFill>
                <a:latin typeface="+mj-lt"/>
              </a:rPr>
              <a:t> &amp; Sign-offs</a:t>
            </a:r>
          </a:p>
        </p:txBody>
      </p:sp>
      <p:sp>
        <p:nvSpPr>
          <p:cNvPr id="165" name="Rectangle 8">
            <a:extLst>
              <a:ext uri="{FF2B5EF4-FFF2-40B4-BE49-F238E27FC236}">
                <a16:creationId xmlns:a16="http://schemas.microsoft.com/office/drawing/2014/main" id="{255F8FF7-8B7D-40FD-8592-EDBECBAEEDFE}"/>
              </a:ext>
            </a:extLst>
          </p:cNvPr>
          <p:cNvSpPr>
            <a:spLocks noChangeArrowheads="1"/>
          </p:cNvSpPr>
          <p:nvPr/>
        </p:nvSpPr>
        <p:spPr bwMode="auto">
          <a:xfrm>
            <a:off x="844483" y="3500343"/>
            <a:ext cx="1490791" cy="3265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107949" tIns="55033" rIns="107949" bIns="55033">
            <a:spAutoFit/>
          </a:bodyPr>
          <a:lstStyle/>
          <a:p>
            <a:pPr algn="ctr" defTabSz="1073124" fontAlgn="base">
              <a:spcBef>
                <a:spcPct val="0"/>
              </a:spcBef>
              <a:spcAft>
                <a:spcPct val="0"/>
              </a:spcAft>
            </a:pPr>
            <a:r>
              <a:rPr lang="en-US" sz="1400" b="1">
                <a:solidFill>
                  <a:srgbClr val="000000"/>
                </a:solidFill>
                <a:latin typeface="+mj-lt"/>
              </a:rPr>
              <a:t>Manulife Team</a:t>
            </a:r>
          </a:p>
        </p:txBody>
      </p:sp>
      <p:sp>
        <p:nvSpPr>
          <p:cNvPr id="166" name="Rectangle 9">
            <a:extLst>
              <a:ext uri="{FF2B5EF4-FFF2-40B4-BE49-F238E27FC236}">
                <a16:creationId xmlns:a16="http://schemas.microsoft.com/office/drawing/2014/main" id="{41CA031F-3C6A-4889-BE28-6A39EEEBFCE7}"/>
              </a:ext>
            </a:extLst>
          </p:cNvPr>
          <p:cNvSpPr>
            <a:spLocks noChangeArrowheads="1"/>
          </p:cNvSpPr>
          <p:nvPr/>
        </p:nvSpPr>
        <p:spPr bwMode="auto">
          <a:xfrm>
            <a:off x="7004318" y="3822563"/>
            <a:ext cx="1564713" cy="379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fontAlgn="base">
              <a:spcBef>
                <a:spcPct val="0"/>
              </a:spcBef>
              <a:spcAft>
                <a:spcPct val="0"/>
              </a:spcAft>
            </a:pPr>
            <a:r>
              <a:rPr lang="en-US" sz="933" b="1">
                <a:solidFill>
                  <a:srgbClr val="000000"/>
                </a:solidFill>
                <a:latin typeface="+mj-lt"/>
              </a:rPr>
              <a:t>Task Monitoring &amp; Control</a:t>
            </a:r>
          </a:p>
        </p:txBody>
      </p:sp>
      <p:sp>
        <p:nvSpPr>
          <p:cNvPr id="167" name="Rectangle 11">
            <a:extLst>
              <a:ext uri="{FF2B5EF4-FFF2-40B4-BE49-F238E27FC236}">
                <a16:creationId xmlns:a16="http://schemas.microsoft.com/office/drawing/2014/main" id="{644C101A-3F0B-4EC1-9B1B-227AA40BF8B1}"/>
              </a:ext>
            </a:extLst>
          </p:cNvPr>
          <p:cNvSpPr>
            <a:spLocks noChangeArrowheads="1"/>
          </p:cNvSpPr>
          <p:nvPr/>
        </p:nvSpPr>
        <p:spPr bwMode="auto">
          <a:xfrm>
            <a:off x="3840258" y="3500343"/>
            <a:ext cx="3320940" cy="3265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107949" tIns="55033" rIns="107949" bIns="55033">
            <a:spAutoFit/>
          </a:bodyPr>
          <a:lstStyle/>
          <a:p>
            <a:pPr algn="ctr" defTabSz="1073124" fontAlgn="base">
              <a:spcBef>
                <a:spcPct val="0"/>
              </a:spcBef>
              <a:spcAft>
                <a:spcPct val="0"/>
              </a:spcAft>
            </a:pPr>
            <a:r>
              <a:rPr lang="en-US" sz="1400" b="1">
                <a:solidFill>
                  <a:srgbClr val="000000"/>
                </a:solidFill>
                <a:latin typeface="+mj-lt"/>
              </a:rPr>
              <a:t>Atos Onsite Team</a:t>
            </a:r>
          </a:p>
        </p:txBody>
      </p:sp>
      <p:sp>
        <p:nvSpPr>
          <p:cNvPr id="169" name="Rectangle 13">
            <a:extLst>
              <a:ext uri="{FF2B5EF4-FFF2-40B4-BE49-F238E27FC236}">
                <a16:creationId xmlns:a16="http://schemas.microsoft.com/office/drawing/2014/main" id="{2D6DDD88-7B36-40C4-985C-F54514CC99C2}"/>
              </a:ext>
            </a:extLst>
          </p:cNvPr>
          <p:cNvSpPr>
            <a:spLocks noChangeArrowheads="1"/>
          </p:cNvSpPr>
          <p:nvPr/>
        </p:nvSpPr>
        <p:spPr bwMode="auto">
          <a:xfrm>
            <a:off x="790289" y="4004610"/>
            <a:ext cx="1479143" cy="580727"/>
          </a:xfrm>
          <a:prstGeom prst="rect">
            <a:avLst/>
          </a:prstGeom>
          <a:solidFill>
            <a:schemeClr val="accent1"/>
          </a:solidFill>
          <a:ln w="12700">
            <a:noFill/>
            <a:miter lim="800000"/>
            <a:headEnd/>
            <a:tailEnd/>
          </a:ln>
          <a:effectLst/>
        </p:spPr>
        <p:txBody>
          <a:bodyPr wrap="none" anchor="ctr"/>
          <a:lstStyle/>
          <a:p>
            <a:pPr algn="ctr" fontAlgn="base">
              <a:spcBef>
                <a:spcPct val="0"/>
              </a:spcBef>
              <a:spcAft>
                <a:spcPct val="0"/>
              </a:spcAft>
              <a:defRPr/>
            </a:pPr>
            <a:r>
              <a:rPr lang="en-US" sz="1067" b="1">
                <a:solidFill>
                  <a:schemeClr val="bg1"/>
                </a:solidFill>
                <a:latin typeface="+mj-lt"/>
              </a:rPr>
              <a:t>Manulife</a:t>
            </a:r>
          </a:p>
          <a:p>
            <a:pPr algn="ctr" fontAlgn="base">
              <a:spcBef>
                <a:spcPct val="0"/>
              </a:spcBef>
              <a:spcAft>
                <a:spcPct val="0"/>
              </a:spcAft>
              <a:defRPr/>
            </a:pPr>
            <a:r>
              <a:rPr lang="en-US" sz="1067" b="1">
                <a:solidFill>
                  <a:schemeClr val="bg1"/>
                </a:solidFill>
                <a:latin typeface="+mj-lt"/>
              </a:rPr>
              <a:t>Scrum Master</a:t>
            </a:r>
          </a:p>
        </p:txBody>
      </p:sp>
      <p:sp>
        <p:nvSpPr>
          <p:cNvPr id="170" name="Rectangle 14">
            <a:extLst>
              <a:ext uri="{FF2B5EF4-FFF2-40B4-BE49-F238E27FC236}">
                <a16:creationId xmlns:a16="http://schemas.microsoft.com/office/drawing/2014/main" id="{809BFFE4-CFD1-408D-A70C-4B189A374685}"/>
              </a:ext>
            </a:extLst>
          </p:cNvPr>
          <p:cNvSpPr>
            <a:spLocks noChangeArrowheads="1"/>
          </p:cNvSpPr>
          <p:nvPr/>
        </p:nvSpPr>
        <p:spPr bwMode="auto">
          <a:xfrm>
            <a:off x="7330097" y="5002221"/>
            <a:ext cx="1120820" cy="472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fontAlgn="base">
              <a:lnSpc>
                <a:spcPct val="140000"/>
              </a:lnSpc>
              <a:spcBef>
                <a:spcPct val="0"/>
              </a:spcBef>
              <a:spcAft>
                <a:spcPct val="0"/>
              </a:spcAft>
            </a:pPr>
            <a:r>
              <a:rPr lang="en-US" sz="933" b="1">
                <a:solidFill>
                  <a:srgbClr val="000000"/>
                </a:solidFill>
                <a:latin typeface="+mj-lt"/>
              </a:rPr>
              <a:t>Work Packages</a:t>
            </a:r>
          </a:p>
          <a:p>
            <a:pPr algn="ctr" fontAlgn="base">
              <a:lnSpc>
                <a:spcPct val="140000"/>
              </a:lnSpc>
              <a:spcBef>
                <a:spcPct val="0"/>
              </a:spcBef>
              <a:spcAft>
                <a:spcPct val="0"/>
              </a:spcAft>
            </a:pPr>
            <a:r>
              <a:rPr lang="en-US" sz="933" b="1">
                <a:solidFill>
                  <a:srgbClr val="000000"/>
                </a:solidFill>
                <a:latin typeface="+mj-lt"/>
              </a:rPr>
              <a:t>Result Packages</a:t>
            </a:r>
          </a:p>
        </p:txBody>
      </p:sp>
      <p:sp>
        <p:nvSpPr>
          <p:cNvPr id="171" name="Rectangle 16">
            <a:extLst>
              <a:ext uri="{FF2B5EF4-FFF2-40B4-BE49-F238E27FC236}">
                <a16:creationId xmlns:a16="http://schemas.microsoft.com/office/drawing/2014/main" id="{CA3694AB-5DE7-4EEE-B554-90D304266CD3}"/>
              </a:ext>
            </a:extLst>
          </p:cNvPr>
          <p:cNvSpPr>
            <a:spLocks noChangeArrowheads="1"/>
          </p:cNvSpPr>
          <p:nvPr/>
        </p:nvSpPr>
        <p:spPr bwMode="auto">
          <a:xfrm>
            <a:off x="4009359" y="4010071"/>
            <a:ext cx="2994959" cy="1728000"/>
          </a:xfrm>
          <a:prstGeom prst="rect">
            <a:avLst/>
          </a:prstGeom>
          <a:noFill/>
          <a:ln w="12700">
            <a:solidFill>
              <a:schemeClr val="tx1"/>
            </a:solidFill>
            <a:prstDash val="dash"/>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fontAlgn="base">
              <a:spcBef>
                <a:spcPct val="0"/>
              </a:spcBef>
              <a:spcAft>
                <a:spcPct val="0"/>
              </a:spcAft>
            </a:pPr>
            <a:endParaRPr lang="en-US" sz="1600" b="1">
              <a:solidFill>
                <a:srgbClr val="000000"/>
              </a:solidFill>
              <a:latin typeface="+mj-lt"/>
            </a:endParaRPr>
          </a:p>
        </p:txBody>
      </p:sp>
      <p:sp>
        <p:nvSpPr>
          <p:cNvPr id="172" name="Line 17">
            <a:extLst>
              <a:ext uri="{FF2B5EF4-FFF2-40B4-BE49-F238E27FC236}">
                <a16:creationId xmlns:a16="http://schemas.microsoft.com/office/drawing/2014/main" id="{D68AC6B2-1131-4BC4-8BE1-FD74E3E1D9FA}"/>
              </a:ext>
            </a:extLst>
          </p:cNvPr>
          <p:cNvSpPr>
            <a:spLocks noChangeShapeType="1"/>
          </p:cNvSpPr>
          <p:nvPr/>
        </p:nvSpPr>
        <p:spPr bwMode="auto">
          <a:xfrm>
            <a:off x="2454833" y="5306236"/>
            <a:ext cx="1558600" cy="16384"/>
          </a:xfrm>
          <a:prstGeom prst="line">
            <a:avLst/>
          </a:prstGeom>
          <a:noFill/>
          <a:ln w="19050">
            <a:solidFill>
              <a:schemeClr val="tx1"/>
            </a:solidFill>
            <a:prstDash val="sysDot"/>
            <a:round/>
            <a:headEnd type="triangle" w="med" len="me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US" sz="1600" b="1">
              <a:solidFill>
                <a:srgbClr val="000000"/>
              </a:solidFill>
              <a:latin typeface="+mj-lt"/>
            </a:endParaRPr>
          </a:p>
        </p:txBody>
      </p:sp>
      <p:sp>
        <p:nvSpPr>
          <p:cNvPr id="173" name="Rectangle 18">
            <a:extLst>
              <a:ext uri="{FF2B5EF4-FFF2-40B4-BE49-F238E27FC236}">
                <a16:creationId xmlns:a16="http://schemas.microsoft.com/office/drawing/2014/main" id="{5E9BA8DB-8216-4064-8898-E30F5571718C}"/>
              </a:ext>
            </a:extLst>
          </p:cNvPr>
          <p:cNvSpPr>
            <a:spLocks noChangeArrowheads="1"/>
          </p:cNvSpPr>
          <p:nvPr/>
        </p:nvSpPr>
        <p:spPr bwMode="auto">
          <a:xfrm>
            <a:off x="2479283" y="4308626"/>
            <a:ext cx="1729741" cy="2358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fontAlgn="base">
              <a:spcBef>
                <a:spcPct val="0"/>
              </a:spcBef>
              <a:spcAft>
                <a:spcPct val="0"/>
              </a:spcAft>
            </a:pPr>
            <a:r>
              <a:rPr lang="en-US" sz="933" b="1">
                <a:solidFill>
                  <a:srgbClr val="000000"/>
                </a:solidFill>
                <a:latin typeface="+mj-lt"/>
              </a:rPr>
              <a:t>Metrics Reporting</a:t>
            </a:r>
          </a:p>
        </p:txBody>
      </p:sp>
      <p:sp>
        <p:nvSpPr>
          <p:cNvPr id="174" name="Rectangle 19">
            <a:extLst>
              <a:ext uri="{FF2B5EF4-FFF2-40B4-BE49-F238E27FC236}">
                <a16:creationId xmlns:a16="http://schemas.microsoft.com/office/drawing/2014/main" id="{FC88E36C-E1BD-494B-A2E6-87D2C0C5907D}"/>
              </a:ext>
            </a:extLst>
          </p:cNvPr>
          <p:cNvSpPr>
            <a:spLocks noChangeArrowheads="1"/>
          </p:cNvSpPr>
          <p:nvPr/>
        </p:nvSpPr>
        <p:spPr bwMode="auto">
          <a:xfrm>
            <a:off x="8844080" y="4057404"/>
            <a:ext cx="2856183" cy="344065"/>
          </a:xfrm>
          <a:prstGeom prst="rect">
            <a:avLst/>
          </a:prstGeom>
          <a:solidFill>
            <a:srgbClr val="CFC498"/>
          </a:solidFill>
          <a:ln w="12700">
            <a:noFill/>
            <a:miter lim="800000"/>
            <a:headEnd/>
            <a:tailEnd/>
          </a:ln>
          <a:effectLst/>
        </p:spPr>
        <p:txBody>
          <a:bodyPr wrap="none" anchor="ctr"/>
          <a:lstStyle/>
          <a:p>
            <a:pPr algn="ctr" fontAlgn="base">
              <a:spcBef>
                <a:spcPct val="0"/>
              </a:spcBef>
              <a:spcAft>
                <a:spcPct val="0"/>
              </a:spcAft>
              <a:defRPr/>
            </a:pPr>
            <a:r>
              <a:rPr lang="en-US" sz="1067" b="1">
                <a:solidFill>
                  <a:srgbClr val="000000"/>
                </a:solidFill>
                <a:latin typeface="+mj-lt"/>
              </a:rPr>
              <a:t>Project Lead </a:t>
            </a:r>
          </a:p>
        </p:txBody>
      </p:sp>
      <p:sp>
        <p:nvSpPr>
          <p:cNvPr id="175" name="Rectangle 20">
            <a:extLst>
              <a:ext uri="{FF2B5EF4-FFF2-40B4-BE49-F238E27FC236}">
                <a16:creationId xmlns:a16="http://schemas.microsoft.com/office/drawing/2014/main" id="{FF030710-A8B1-46BB-AED6-52AA4B1A9373}"/>
              </a:ext>
            </a:extLst>
          </p:cNvPr>
          <p:cNvSpPr>
            <a:spLocks noChangeArrowheads="1"/>
          </p:cNvSpPr>
          <p:nvPr/>
        </p:nvSpPr>
        <p:spPr bwMode="auto">
          <a:xfrm>
            <a:off x="8748321" y="4010071"/>
            <a:ext cx="3043856" cy="1728000"/>
          </a:xfrm>
          <a:prstGeom prst="rect">
            <a:avLst/>
          </a:prstGeom>
          <a:noFill/>
          <a:ln w="12700">
            <a:solidFill>
              <a:schemeClr val="tx1"/>
            </a:solidFill>
            <a:prstDash val="dash"/>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fontAlgn="base">
              <a:spcBef>
                <a:spcPct val="0"/>
              </a:spcBef>
              <a:spcAft>
                <a:spcPct val="0"/>
              </a:spcAft>
            </a:pPr>
            <a:endParaRPr lang="en-US" sz="1600" b="1">
              <a:solidFill>
                <a:srgbClr val="000000"/>
              </a:solidFill>
              <a:latin typeface="+mj-lt"/>
            </a:endParaRPr>
          </a:p>
        </p:txBody>
      </p:sp>
      <p:sp>
        <p:nvSpPr>
          <p:cNvPr id="176" name="Line 21">
            <a:extLst>
              <a:ext uri="{FF2B5EF4-FFF2-40B4-BE49-F238E27FC236}">
                <a16:creationId xmlns:a16="http://schemas.microsoft.com/office/drawing/2014/main" id="{10D61D00-1146-4C14-9BF9-2D4AB6475519}"/>
              </a:ext>
            </a:extLst>
          </p:cNvPr>
          <p:cNvSpPr>
            <a:spLocks noChangeShapeType="1"/>
          </p:cNvSpPr>
          <p:nvPr/>
        </p:nvSpPr>
        <p:spPr bwMode="auto">
          <a:xfrm>
            <a:off x="7004318" y="4173912"/>
            <a:ext cx="1564713" cy="0"/>
          </a:xfrm>
          <a:prstGeom prst="line">
            <a:avLst/>
          </a:prstGeom>
          <a:noFill/>
          <a:ln w="19050">
            <a:solidFill>
              <a:schemeClr val="tx1"/>
            </a:solidFill>
            <a:prstDash val="sysDot"/>
            <a:round/>
            <a:headEnd type="triangle" w="med" len="me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US" sz="1600" b="1">
              <a:solidFill>
                <a:srgbClr val="000000"/>
              </a:solidFill>
              <a:latin typeface="+mj-lt"/>
            </a:endParaRPr>
          </a:p>
        </p:txBody>
      </p:sp>
      <p:sp>
        <p:nvSpPr>
          <p:cNvPr id="177" name="Rectangle 22">
            <a:extLst>
              <a:ext uri="{FF2B5EF4-FFF2-40B4-BE49-F238E27FC236}">
                <a16:creationId xmlns:a16="http://schemas.microsoft.com/office/drawing/2014/main" id="{CC1D2603-47BD-4995-BD2D-0EBB0912850A}"/>
              </a:ext>
            </a:extLst>
          </p:cNvPr>
          <p:cNvSpPr>
            <a:spLocks noChangeArrowheads="1"/>
          </p:cNvSpPr>
          <p:nvPr/>
        </p:nvSpPr>
        <p:spPr bwMode="auto">
          <a:xfrm>
            <a:off x="2410011" y="3999149"/>
            <a:ext cx="1898844" cy="2358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fontAlgn="base">
              <a:spcBef>
                <a:spcPct val="0"/>
              </a:spcBef>
              <a:spcAft>
                <a:spcPct val="0"/>
              </a:spcAft>
            </a:pPr>
            <a:r>
              <a:rPr lang="en-US" sz="933" b="1">
                <a:solidFill>
                  <a:srgbClr val="000000"/>
                </a:solidFill>
                <a:latin typeface="+mj-lt"/>
              </a:rPr>
              <a:t>Project Governance</a:t>
            </a:r>
          </a:p>
        </p:txBody>
      </p:sp>
      <p:sp>
        <p:nvSpPr>
          <p:cNvPr id="178" name="Rectangle 23">
            <a:extLst>
              <a:ext uri="{FF2B5EF4-FFF2-40B4-BE49-F238E27FC236}">
                <a16:creationId xmlns:a16="http://schemas.microsoft.com/office/drawing/2014/main" id="{66CA47AE-1E3B-4C47-9056-2CB04560AD01}"/>
              </a:ext>
            </a:extLst>
          </p:cNvPr>
          <p:cNvSpPr>
            <a:spLocks noChangeArrowheads="1"/>
          </p:cNvSpPr>
          <p:nvPr/>
        </p:nvSpPr>
        <p:spPr bwMode="auto">
          <a:xfrm>
            <a:off x="7018581" y="4137503"/>
            <a:ext cx="1564713" cy="379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fontAlgn="base">
              <a:spcBef>
                <a:spcPct val="0"/>
              </a:spcBef>
              <a:spcAft>
                <a:spcPct val="0"/>
              </a:spcAft>
            </a:pPr>
            <a:r>
              <a:rPr lang="en-US" sz="933" b="1">
                <a:solidFill>
                  <a:srgbClr val="000000"/>
                </a:solidFill>
                <a:latin typeface="+mj-lt"/>
              </a:rPr>
              <a:t>Project Status</a:t>
            </a:r>
          </a:p>
          <a:p>
            <a:pPr algn="ctr" fontAlgn="base">
              <a:spcBef>
                <a:spcPct val="0"/>
              </a:spcBef>
              <a:spcAft>
                <a:spcPct val="0"/>
              </a:spcAft>
            </a:pPr>
            <a:r>
              <a:rPr lang="en-US" sz="933" b="1">
                <a:solidFill>
                  <a:srgbClr val="000000"/>
                </a:solidFill>
                <a:latin typeface="+mj-lt"/>
              </a:rPr>
              <a:t>Issue Management</a:t>
            </a:r>
          </a:p>
        </p:txBody>
      </p:sp>
      <p:sp>
        <p:nvSpPr>
          <p:cNvPr id="179" name="Line 25">
            <a:extLst>
              <a:ext uri="{FF2B5EF4-FFF2-40B4-BE49-F238E27FC236}">
                <a16:creationId xmlns:a16="http://schemas.microsoft.com/office/drawing/2014/main" id="{71E5D661-C462-4EE4-A405-C0548E839A89}"/>
              </a:ext>
            </a:extLst>
          </p:cNvPr>
          <p:cNvSpPr>
            <a:spLocks noChangeShapeType="1"/>
          </p:cNvSpPr>
          <p:nvPr/>
        </p:nvSpPr>
        <p:spPr bwMode="auto">
          <a:xfrm flipV="1">
            <a:off x="1474849" y="4641770"/>
            <a:ext cx="4075" cy="420527"/>
          </a:xfrm>
          <a:prstGeom prst="line">
            <a:avLst/>
          </a:prstGeom>
          <a:noFill/>
          <a:ln w="19050">
            <a:solidFill>
              <a:schemeClr val="tx1"/>
            </a:solidFill>
            <a:prstDash val="sysDot"/>
            <a:round/>
            <a:headEnd type="triangle" w="med" len="me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US" sz="1600" b="1">
              <a:solidFill>
                <a:srgbClr val="000000"/>
              </a:solidFill>
              <a:latin typeface="+mj-lt"/>
            </a:endParaRPr>
          </a:p>
        </p:txBody>
      </p:sp>
      <p:sp>
        <p:nvSpPr>
          <p:cNvPr id="180" name="Line 26">
            <a:extLst>
              <a:ext uri="{FF2B5EF4-FFF2-40B4-BE49-F238E27FC236}">
                <a16:creationId xmlns:a16="http://schemas.microsoft.com/office/drawing/2014/main" id="{4678A3D1-F047-43E2-828E-BDF95A82C6F4}"/>
              </a:ext>
            </a:extLst>
          </p:cNvPr>
          <p:cNvSpPr>
            <a:spLocks noChangeShapeType="1"/>
          </p:cNvSpPr>
          <p:nvPr/>
        </p:nvSpPr>
        <p:spPr bwMode="auto">
          <a:xfrm>
            <a:off x="7038955" y="5278929"/>
            <a:ext cx="1587124" cy="0"/>
          </a:xfrm>
          <a:prstGeom prst="line">
            <a:avLst/>
          </a:prstGeom>
          <a:noFill/>
          <a:ln w="19050">
            <a:solidFill>
              <a:schemeClr val="tx1"/>
            </a:solidFill>
            <a:prstDash val="sysDot"/>
            <a:round/>
            <a:headEnd type="triangle" w="med" len="me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US" sz="1600" b="1">
              <a:solidFill>
                <a:srgbClr val="000000"/>
              </a:solidFill>
              <a:latin typeface="+mj-lt"/>
            </a:endParaRPr>
          </a:p>
        </p:txBody>
      </p:sp>
      <p:sp>
        <p:nvSpPr>
          <p:cNvPr id="181" name="Rectangle 27">
            <a:extLst>
              <a:ext uri="{FF2B5EF4-FFF2-40B4-BE49-F238E27FC236}">
                <a16:creationId xmlns:a16="http://schemas.microsoft.com/office/drawing/2014/main" id="{7E484EC8-CA9B-4132-A16E-28B97F6316AE}"/>
              </a:ext>
            </a:extLst>
          </p:cNvPr>
          <p:cNvSpPr>
            <a:spLocks noChangeArrowheads="1"/>
          </p:cNvSpPr>
          <p:nvPr/>
        </p:nvSpPr>
        <p:spPr bwMode="auto">
          <a:xfrm>
            <a:off x="769915" y="2949528"/>
            <a:ext cx="18473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anchor="ctr">
            <a:spAutoFit/>
          </a:bodyPr>
          <a:lstStyle/>
          <a:p>
            <a:pPr fontAlgn="base">
              <a:spcBef>
                <a:spcPct val="0"/>
              </a:spcBef>
              <a:spcAft>
                <a:spcPct val="0"/>
              </a:spcAft>
            </a:pPr>
            <a:endParaRPr lang="en-US" sz="1600" b="1">
              <a:solidFill>
                <a:srgbClr val="000000"/>
              </a:solidFill>
              <a:latin typeface="+mj-lt"/>
            </a:endParaRPr>
          </a:p>
        </p:txBody>
      </p:sp>
      <p:sp>
        <p:nvSpPr>
          <p:cNvPr id="182" name="Rectangle 28">
            <a:extLst>
              <a:ext uri="{FF2B5EF4-FFF2-40B4-BE49-F238E27FC236}">
                <a16:creationId xmlns:a16="http://schemas.microsoft.com/office/drawing/2014/main" id="{C90B0FCE-DD9D-4126-8C06-F45B319C4C77}"/>
              </a:ext>
            </a:extLst>
          </p:cNvPr>
          <p:cNvSpPr>
            <a:spLocks noChangeArrowheads="1"/>
          </p:cNvSpPr>
          <p:nvPr/>
        </p:nvSpPr>
        <p:spPr bwMode="auto">
          <a:xfrm>
            <a:off x="692494" y="2695549"/>
            <a:ext cx="1468956" cy="679031"/>
          </a:xfrm>
          <a:prstGeom prst="rect">
            <a:avLst/>
          </a:prstGeom>
          <a:solidFill>
            <a:schemeClr val="accent1"/>
          </a:solidFill>
          <a:ln w="12700">
            <a:noFill/>
            <a:miter lim="800000"/>
            <a:headEnd/>
            <a:tailEnd/>
          </a:ln>
          <a:effectLst>
            <a:outerShdw dist="35921" dir="2700000" algn="ctr" rotWithShape="0">
              <a:schemeClr val="bg2"/>
            </a:outerShdw>
          </a:effectLst>
        </p:spPr>
        <p:txBody>
          <a:bodyPr wrap="none" anchor="ctr"/>
          <a:lstStyle/>
          <a:p>
            <a:pPr algn="ctr" fontAlgn="base">
              <a:spcBef>
                <a:spcPct val="0"/>
              </a:spcBef>
              <a:spcAft>
                <a:spcPct val="0"/>
              </a:spcAft>
              <a:defRPr/>
            </a:pPr>
            <a:r>
              <a:rPr lang="en-US" sz="1400" b="1">
                <a:solidFill>
                  <a:schemeClr val="bg1"/>
                </a:solidFill>
                <a:latin typeface="+mj-lt"/>
              </a:rPr>
              <a:t>Manulife</a:t>
            </a:r>
          </a:p>
          <a:p>
            <a:pPr algn="ctr" fontAlgn="base">
              <a:spcBef>
                <a:spcPct val="0"/>
              </a:spcBef>
              <a:spcAft>
                <a:spcPct val="0"/>
              </a:spcAft>
              <a:defRPr/>
            </a:pPr>
            <a:r>
              <a:rPr lang="en-US" sz="1400" b="1">
                <a:solidFill>
                  <a:schemeClr val="bg1"/>
                </a:solidFill>
                <a:latin typeface="+mj-lt"/>
              </a:rPr>
              <a:t>Sr. Manager</a:t>
            </a:r>
          </a:p>
        </p:txBody>
      </p:sp>
      <p:sp>
        <p:nvSpPr>
          <p:cNvPr id="183" name="Rectangle 29">
            <a:extLst>
              <a:ext uri="{FF2B5EF4-FFF2-40B4-BE49-F238E27FC236}">
                <a16:creationId xmlns:a16="http://schemas.microsoft.com/office/drawing/2014/main" id="{4054B16D-BC71-4000-AACE-B8236CFEF1D5}"/>
              </a:ext>
            </a:extLst>
          </p:cNvPr>
          <p:cNvSpPr>
            <a:spLocks noChangeArrowheads="1"/>
          </p:cNvSpPr>
          <p:nvPr/>
        </p:nvSpPr>
        <p:spPr bwMode="auto">
          <a:xfrm>
            <a:off x="702681" y="1708862"/>
            <a:ext cx="1452656" cy="679031"/>
          </a:xfrm>
          <a:prstGeom prst="rect">
            <a:avLst/>
          </a:prstGeom>
          <a:solidFill>
            <a:schemeClr val="accent1"/>
          </a:solidFill>
          <a:ln w="12700">
            <a:noFill/>
            <a:miter lim="800000"/>
            <a:headEnd/>
            <a:tailEnd/>
          </a:ln>
          <a:effectLst>
            <a:outerShdw dist="35921" dir="2700000" algn="ctr" rotWithShape="0">
              <a:schemeClr val="bg2"/>
            </a:outerShdw>
          </a:effectLst>
        </p:spPr>
        <p:txBody>
          <a:bodyPr wrap="none" anchor="ctr"/>
          <a:lstStyle/>
          <a:p>
            <a:pPr algn="ctr" fontAlgn="base">
              <a:spcBef>
                <a:spcPct val="0"/>
              </a:spcBef>
              <a:spcAft>
                <a:spcPct val="0"/>
              </a:spcAft>
              <a:defRPr/>
            </a:pPr>
            <a:r>
              <a:rPr lang="en-US" sz="1400" b="1">
                <a:solidFill>
                  <a:schemeClr val="bg1"/>
                </a:solidFill>
                <a:latin typeface="+mj-lt"/>
              </a:rPr>
              <a:t>Manulife</a:t>
            </a:r>
          </a:p>
          <a:p>
            <a:pPr algn="ctr" fontAlgn="base">
              <a:spcBef>
                <a:spcPct val="0"/>
              </a:spcBef>
              <a:spcAft>
                <a:spcPct val="0"/>
              </a:spcAft>
              <a:defRPr/>
            </a:pPr>
            <a:r>
              <a:rPr lang="en-US" sz="1400" b="1">
                <a:solidFill>
                  <a:schemeClr val="bg1"/>
                </a:solidFill>
                <a:latin typeface="+mj-lt"/>
              </a:rPr>
              <a:t>Executives</a:t>
            </a:r>
          </a:p>
        </p:txBody>
      </p:sp>
      <p:sp>
        <p:nvSpPr>
          <p:cNvPr id="184" name="Rectangle 30">
            <a:extLst>
              <a:ext uri="{FF2B5EF4-FFF2-40B4-BE49-F238E27FC236}">
                <a16:creationId xmlns:a16="http://schemas.microsoft.com/office/drawing/2014/main" id="{B50E8E4C-9F02-44E0-8855-E309779EC494}"/>
              </a:ext>
            </a:extLst>
          </p:cNvPr>
          <p:cNvSpPr>
            <a:spLocks noChangeArrowheads="1"/>
          </p:cNvSpPr>
          <p:nvPr/>
        </p:nvSpPr>
        <p:spPr bwMode="auto">
          <a:xfrm>
            <a:off x="4488146" y="1882218"/>
            <a:ext cx="2486813" cy="420756"/>
          </a:xfrm>
          <a:prstGeom prst="rect">
            <a:avLst/>
          </a:prstGeom>
          <a:solidFill>
            <a:srgbClr val="29B3FF"/>
          </a:solidFill>
          <a:ln w="12700">
            <a:noFill/>
            <a:miter lim="800000"/>
            <a:headEnd/>
            <a:tailEnd/>
          </a:ln>
          <a:effectLst>
            <a:outerShdw dist="35921" dir="2700000" algn="ctr" rotWithShape="0">
              <a:schemeClr val="bg2"/>
            </a:outerShdw>
          </a:effectLst>
        </p:spPr>
        <p:txBody>
          <a:bodyPr wrap="square" anchor="ctr">
            <a:spAutoFit/>
          </a:bodyPr>
          <a:lstStyle/>
          <a:p>
            <a:pPr algn="ctr" fontAlgn="base">
              <a:spcBef>
                <a:spcPct val="0"/>
              </a:spcBef>
              <a:spcAft>
                <a:spcPct val="0"/>
              </a:spcAft>
              <a:defRPr/>
            </a:pPr>
            <a:r>
              <a:rPr lang="en-US" sz="1067" b="1">
                <a:latin typeface="+mj-lt"/>
              </a:rPr>
              <a:t>Atos Client Executive</a:t>
            </a:r>
          </a:p>
          <a:p>
            <a:pPr algn="ctr" fontAlgn="base">
              <a:spcBef>
                <a:spcPct val="0"/>
              </a:spcBef>
              <a:spcAft>
                <a:spcPct val="0"/>
              </a:spcAft>
              <a:defRPr/>
            </a:pPr>
            <a:r>
              <a:rPr lang="en-US" sz="1067" b="1">
                <a:latin typeface="+mj-lt"/>
              </a:rPr>
              <a:t>Atos Engagement Director</a:t>
            </a:r>
          </a:p>
        </p:txBody>
      </p:sp>
      <p:sp>
        <p:nvSpPr>
          <p:cNvPr id="185" name="Rectangle 31">
            <a:extLst>
              <a:ext uri="{FF2B5EF4-FFF2-40B4-BE49-F238E27FC236}">
                <a16:creationId xmlns:a16="http://schemas.microsoft.com/office/drawing/2014/main" id="{FDC32FA4-FA3E-42AF-A90F-CE23CF643395}"/>
              </a:ext>
            </a:extLst>
          </p:cNvPr>
          <p:cNvSpPr>
            <a:spLocks noChangeArrowheads="1"/>
          </p:cNvSpPr>
          <p:nvPr/>
        </p:nvSpPr>
        <p:spPr bwMode="auto">
          <a:xfrm>
            <a:off x="4488145" y="2914972"/>
            <a:ext cx="2456435" cy="256545"/>
          </a:xfrm>
          <a:prstGeom prst="rect">
            <a:avLst/>
          </a:prstGeom>
          <a:solidFill>
            <a:srgbClr val="29B3FF"/>
          </a:solidFill>
          <a:ln w="12700" algn="ctr">
            <a:noFill/>
            <a:miter lim="800000"/>
            <a:headEnd/>
            <a:tailEnd/>
          </a:ln>
          <a:effectLst>
            <a:outerShdw dist="35921" dir="2700000" algn="ctr" rotWithShape="0">
              <a:schemeClr val="bg2"/>
            </a:outerShdw>
          </a:effectLst>
        </p:spPr>
        <p:txBody>
          <a:bodyPr wrap="square" anchor="ctr">
            <a:spAutoFit/>
          </a:bodyPr>
          <a:lstStyle/>
          <a:p>
            <a:pPr algn="ctr" fontAlgn="base">
              <a:spcBef>
                <a:spcPct val="0"/>
              </a:spcBef>
              <a:spcAft>
                <a:spcPct val="0"/>
              </a:spcAft>
              <a:defRPr/>
            </a:pPr>
            <a:r>
              <a:rPr lang="en-US" sz="1067" b="1">
                <a:latin typeface="+mj-lt"/>
              </a:rPr>
              <a:t>Delivery Manager</a:t>
            </a:r>
          </a:p>
        </p:txBody>
      </p:sp>
      <p:sp>
        <p:nvSpPr>
          <p:cNvPr id="186" name="Line 32">
            <a:extLst>
              <a:ext uri="{FF2B5EF4-FFF2-40B4-BE49-F238E27FC236}">
                <a16:creationId xmlns:a16="http://schemas.microsoft.com/office/drawing/2014/main" id="{53924C6E-47C9-457E-93A8-B294695DFC2E}"/>
              </a:ext>
            </a:extLst>
          </p:cNvPr>
          <p:cNvSpPr>
            <a:spLocks noChangeShapeType="1"/>
          </p:cNvSpPr>
          <p:nvPr/>
        </p:nvSpPr>
        <p:spPr bwMode="auto">
          <a:xfrm>
            <a:off x="2179786" y="2133028"/>
            <a:ext cx="2235015" cy="0"/>
          </a:xfrm>
          <a:prstGeom prst="line">
            <a:avLst/>
          </a:prstGeom>
          <a:noFill/>
          <a:ln w="12700">
            <a:solidFill>
              <a:schemeClr val="tx1"/>
            </a:solidFill>
            <a:prstDash val="sysDot"/>
            <a:round/>
            <a:headEnd type="triangle" w="med" len="med"/>
            <a:tailEnd type="triangle" w="med" len="med"/>
          </a:ln>
          <a:extLst>
            <a:ext uri="{909E8E84-426E-40DD-AFC4-6F175D3DCCD1}">
              <a14:hiddenFill xmlns:a14="http://schemas.microsoft.com/office/drawing/2010/main">
                <a:noFill/>
              </a14:hiddenFill>
            </a:ext>
          </a:extLst>
        </p:spPr>
        <p:txBody>
          <a:bodyPr>
            <a:spAutoFit/>
          </a:bodyPr>
          <a:lstStyle/>
          <a:p>
            <a:pPr fontAlgn="base">
              <a:spcBef>
                <a:spcPct val="0"/>
              </a:spcBef>
              <a:spcAft>
                <a:spcPct val="0"/>
              </a:spcAft>
            </a:pPr>
            <a:endParaRPr lang="en-US" sz="1600" b="1">
              <a:solidFill>
                <a:srgbClr val="000000"/>
              </a:solidFill>
              <a:latin typeface="+mj-lt"/>
            </a:endParaRPr>
          </a:p>
        </p:txBody>
      </p:sp>
      <p:sp>
        <p:nvSpPr>
          <p:cNvPr id="187" name="Text Box 33">
            <a:extLst>
              <a:ext uri="{FF2B5EF4-FFF2-40B4-BE49-F238E27FC236}">
                <a16:creationId xmlns:a16="http://schemas.microsoft.com/office/drawing/2014/main" id="{F29BF27E-A4E5-4B39-94B7-C575AEA9A3A9}"/>
              </a:ext>
            </a:extLst>
          </p:cNvPr>
          <p:cNvSpPr txBox="1">
            <a:spLocks noChangeArrowheads="1"/>
          </p:cNvSpPr>
          <p:nvPr/>
        </p:nvSpPr>
        <p:spPr bwMode="auto">
          <a:xfrm>
            <a:off x="2375375" y="1849036"/>
            <a:ext cx="197422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a:spAutoFit/>
          </a:bodyPr>
          <a:lstStyle>
            <a:lvl1pPr eaLnBrk="0" hangingPunct="0">
              <a:defRPr sz="1600" b="1">
                <a:solidFill>
                  <a:schemeClr val="tx1"/>
                </a:solidFill>
                <a:latin typeface="Arial" pitchFamily="34" charset="0"/>
              </a:defRPr>
            </a:lvl1pPr>
            <a:lvl2pPr marL="742950" indent="-285750" eaLnBrk="0" hangingPunct="0">
              <a:defRPr sz="1600" b="1">
                <a:solidFill>
                  <a:schemeClr val="tx1"/>
                </a:solidFill>
                <a:latin typeface="Arial" pitchFamily="34" charset="0"/>
              </a:defRPr>
            </a:lvl2pPr>
            <a:lvl3pPr marL="1143000" indent="-228600" eaLnBrk="0" hangingPunct="0">
              <a:defRPr sz="1600" b="1">
                <a:solidFill>
                  <a:schemeClr val="tx1"/>
                </a:solidFill>
                <a:latin typeface="Arial" pitchFamily="34" charset="0"/>
              </a:defRPr>
            </a:lvl3pPr>
            <a:lvl4pPr marL="1600200" indent="-228600" eaLnBrk="0" hangingPunct="0">
              <a:defRPr sz="1600" b="1">
                <a:solidFill>
                  <a:schemeClr val="tx1"/>
                </a:solidFill>
                <a:latin typeface="Arial" pitchFamily="34" charset="0"/>
              </a:defRPr>
            </a:lvl4pPr>
            <a:lvl5pPr marL="2057400" indent="-228600" eaLnBrk="0" hangingPunct="0">
              <a:defRPr sz="1600" b="1">
                <a:solidFill>
                  <a:schemeClr val="tx1"/>
                </a:solidFill>
                <a:latin typeface="Arial" pitchFamily="34" charset="0"/>
              </a:defRPr>
            </a:lvl5pPr>
            <a:lvl6pPr marL="2514600" indent="-228600" eaLnBrk="0" fontAlgn="base" hangingPunct="0">
              <a:spcBef>
                <a:spcPct val="0"/>
              </a:spcBef>
              <a:spcAft>
                <a:spcPct val="0"/>
              </a:spcAft>
              <a:defRPr sz="1600" b="1">
                <a:solidFill>
                  <a:schemeClr val="tx1"/>
                </a:solidFill>
                <a:latin typeface="Arial" pitchFamily="34" charset="0"/>
              </a:defRPr>
            </a:lvl6pPr>
            <a:lvl7pPr marL="2971800" indent="-228600" eaLnBrk="0" fontAlgn="base" hangingPunct="0">
              <a:spcBef>
                <a:spcPct val="0"/>
              </a:spcBef>
              <a:spcAft>
                <a:spcPct val="0"/>
              </a:spcAft>
              <a:defRPr sz="1600" b="1">
                <a:solidFill>
                  <a:schemeClr val="tx1"/>
                </a:solidFill>
                <a:latin typeface="Arial" pitchFamily="34" charset="0"/>
              </a:defRPr>
            </a:lvl7pPr>
            <a:lvl8pPr marL="3429000" indent="-228600" eaLnBrk="0" fontAlgn="base" hangingPunct="0">
              <a:spcBef>
                <a:spcPct val="0"/>
              </a:spcBef>
              <a:spcAft>
                <a:spcPct val="0"/>
              </a:spcAft>
              <a:defRPr sz="1600" b="1">
                <a:solidFill>
                  <a:schemeClr val="tx1"/>
                </a:solidFill>
                <a:latin typeface="Arial" pitchFamily="34" charset="0"/>
              </a:defRPr>
            </a:lvl8pPr>
            <a:lvl9pPr marL="3886200" indent="-228600" eaLnBrk="0" fontAlgn="base" hangingPunct="0">
              <a:spcBef>
                <a:spcPct val="0"/>
              </a:spcBef>
              <a:spcAft>
                <a:spcPct val="0"/>
              </a:spcAft>
              <a:defRPr sz="1600" b="1">
                <a:solidFill>
                  <a:schemeClr val="tx1"/>
                </a:solidFill>
                <a:latin typeface="Arial" pitchFamily="34" charset="0"/>
              </a:defRPr>
            </a:lvl9pPr>
          </a:lstStyle>
          <a:p>
            <a:pPr eaLnBrk="1" fontAlgn="base" hangingPunct="1">
              <a:spcBef>
                <a:spcPct val="50000"/>
              </a:spcBef>
              <a:spcAft>
                <a:spcPct val="0"/>
              </a:spcAft>
            </a:pPr>
            <a:r>
              <a:rPr lang="en-US" sz="1400">
                <a:solidFill>
                  <a:srgbClr val="000000"/>
                </a:solidFill>
                <a:latin typeface="+mj-lt"/>
              </a:rPr>
              <a:t>Strategic Direction</a:t>
            </a:r>
          </a:p>
        </p:txBody>
      </p:sp>
      <p:sp>
        <p:nvSpPr>
          <p:cNvPr id="188" name="Text Box 34">
            <a:extLst>
              <a:ext uri="{FF2B5EF4-FFF2-40B4-BE49-F238E27FC236}">
                <a16:creationId xmlns:a16="http://schemas.microsoft.com/office/drawing/2014/main" id="{F35C576A-D59F-4DD6-9F1F-2CB46D0FB203}"/>
              </a:ext>
            </a:extLst>
          </p:cNvPr>
          <p:cNvSpPr txBox="1">
            <a:spLocks noChangeArrowheads="1"/>
          </p:cNvSpPr>
          <p:nvPr/>
        </p:nvSpPr>
        <p:spPr bwMode="auto">
          <a:xfrm>
            <a:off x="2291843" y="2102080"/>
            <a:ext cx="216778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a:spAutoFit/>
          </a:bodyPr>
          <a:lstStyle>
            <a:lvl1pPr eaLnBrk="0" hangingPunct="0">
              <a:defRPr sz="1600" b="1">
                <a:solidFill>
                  <a:schemeClr val="tx1"/>
                </a:solidFill>
                <a:latin typeface="Arial" pitchFamily="34" charset="0"/>
              </a:defRPr>
            </a:lvl1pPr>
            <a:lvl2pPr marL="742950" indent="-285750" eaLnBrk="0" hangingPunct="0">
              <a:defRPr sz="1600" b="1">
                <a:solidFill>
                  <a:schemeClr val="tx1"/>
                </a:solidFill>
                <a:latin typeface="Arial" pitchFamily="34" charset="0"/>
              </a:defRPr>
            </a:lvl2pPr>
            <a:lvl3pPr marL="1143000" indent="-228600" eaLnBrk="0" hangingPunct="0">
              <a:defRPr sz="1600" b="1">
                <a:solidFill>
                  <a:schemeClr val="tx1"/>
                </a:solidFill>
                <a:latin typeface="Arial" pitchFamily="34" charset="0"/>
              </a:defRPr>
            </a:lvl3pPr>
            <a:lvl4pPr marL="1600200" indent="-228600" eaLnBrk="0" hangingPunct="0">
              <a:defRPr sz="1600" b="1">
                <a:solidFill>
                  <a:schemeClr val="tx1"/>
                </a:solidFill>
                <a:latin typeface="Arial" pitchFamily="34" charset="0"/>
              </a:defRPr>
            </a:lvl4pPr>
            <a:lvl5pPr marL="2057400" indent="-228600" eaLnBrk="0" hangingPunct="0">
              <a:defRPr sz="1600" b="1">
                <a:solidFill>
                  <a:schemeClr val="tx1"/>
                </a:solidFill>
                <a:latin typeface="Arial" pitchFamily="34" charset="0"/>
              </a:defRPr>
            </a:lvl5pPr>
            <a:lvl6pPr marL="2514600" indent="-228600" eaLnBrk="0" fontAlgn="base" hangingPunct="0">
              <a:spcBef>
                <a:spcPct val="0"/>
              </a:spcBef>
              <a:spcAft>
                <a:spcPct val="0"/>
              </a:spcAft>
              <a:defRPr sz="1600" b="1">
                <a:solidFill>
                  <a:schemeClr val="tx1"/>
                </a:solidFill>
                <a:latin typeface="Arial" pitchFamily="34" charset="0"/>
              </a:defRPr>
            </a:lvl6pPr>
            <a:lvl7pPr marL="2971800" indent="-228600" eaLnBrk="0" fontAlgn="base" hangingPunct="0">
              <a:spcBef>
                <a:spcPct val="0"/>
              </a:spcBef>
              <a:spcAft>
                <a:spcPct val="0"/>
              </a:spcAft>
              <a:defRPr sz="1600" b="1">
                <a:solidFill>
                  <a:schemeClr val="tx1"/>
                </a:solidFill>
                <a:latin typeface="Arial" pitchFamily="34" charset="0"/>
              </a:defRPr>
            </a:lvl7pPr>
            <a:lvl8pPr marL="3429000" indent="-228600" eaLnBrk="0" fontAlgn="base" hangingPunct="0">
              <a:spcBef>
                <a:spcPct val="0"/>
              </a:spcBef>
              <a:spcAft>
                <a:spcPct val="0"/>
              </a:spcAft>
              <a:defRPr sz="1600" b="1">
                <a:solidFill>
                  <a:schemeClr val="tx1"/>
                </a:solidFill>
                <a:latin typeface="Arial" pitchFamily="34" charset="0"/>
              </a:defRPr>
            </a:lvl8pPr>
            <a:lvl9pPr marL="3886200" indent="-228600" eaLnBrk="0" fontAlgn="base" hangingPunct="0">
              <a:spcBef>
                <a:spcPct val="0"/>
              </a:spcBef>
              <a:spcAft>
                <a:spcPct val="0"/>
              </a:spcAft>
              <a:defRPr sz="1600" b="1">
                <a:solidFill>
                  <a:schemeClr val="tx1"/>
                </a:solidFill>
                <a:latin typeface="Arial" pitchFamily="34" charset="0"/>
              </a:defRPr>
            </a:lvl9pPr>
          </a:lstStyle>
          <a:p>
            <a:pPr eaLnBrk="1" fontAlgn="base" hangingPunct="1">
              <a:spcBef>
                <a:spcPct val="50000"/>
              </a:spcBef>
              <a:spcAft>
                <a:spcPct val="0"/>
              </a:spcAft>
            </a:pPr>
            <a:r>
              <a:rPr lang="en-US" sz="1400">
                <a:solidFill>
                  <a:srgbClr val="000000"/>
                </a:solidFill>
                <a:latin typeface="+mj-lt"/>
              </a:rPr>
              <a:t>Steering Committee</a:t>
            </a:r>
          </a:p>
        </p:txBody>
      </p:sp>
      <p:sp>
        <p:nvSpPr>
          <p:cNvPr id="189" name="Text Box 35">
            <a:extLst>
              <a:ext uri="{FF2B5EF4-FFF2-40B4-BE49-F238E27FC236}">
                <a16:creationId xmlns:a16="http://schemas.microsoft.com/office/drawing/2014/main" id="{EEDAF02F-F873-4A30-BC0E-F9BD55F052C7}"/>
              </a:ext>
            </a:extLst>
          </p:cNvPr>
          <p:cNvSpPr txBox="1">
            <a:spLocks noChangeArrowheads="1"/>
          </p:cNvSpPr>
          <p:nvPr/>
        </p:nvSpPr>
        <p:spPr bwMode="auto">
          <a:xfrm>
            <a:off x="2061618" y="2787784"/>
            <a:ext cx="2607855" cy="523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a:spAutoFit/>
          </a:bodyPr>
          <a:lstStyle>
            <a:lvl1pPr eaLnBrk="0" hangingPunct="0">
              <a:defRPr sz="1600" b="1">
                <a:solidFill>
                  <a:schemeClr val="tx1"/>
                </a:solidFill>
                <a:latin typeface="Arial" pitchFamily="34" charset="0"/>
              </a:defRPr>
            </a:lvl1pPr>
            <a:lvl2pPr marL="742950" indent="-285750" eaLnBrk="0" hangingPunct="0">
              <a:defRPr sz="1600" b="1">
                <a:solidFill>
                  <a:schemeClr val="tx1"/>
                </a:solidFill>
                <a:latin typeface="Arial" pitchFamily="34" charset="0"/>
              </a:defRPr>
            </a:lvl2pPr>
            <a:lvl3pPr marL="1143000" indent="-228600" eaLnBrk="0" hangingPunct="0">
              <a:defRPr sz="1600" b="1">
                <a:solidFill>
                  <a:schemeClr val="tx1"/>
                </a:solidFill>
                <a:latin typeface="Arial" pitchFamily="34" charset="0"/>
              </a:defRPr>
            </a:lvl3pPr>
            <a:lvl4pPr marL="1600200" indent="-228600" eaLnBrk="0" hangingPunct="0">
              <a:defRPr sz="1600" b="1">
                <a:solidFill>
                  <a:schemeClr val="tx1"/>
                </a:solidFill>
                <a:latin typeface="Arial" pitchFamily="34" charset="0"/>
              </a:defRPr>
            </a:lvl4pPr>
            <a:lvl5pPr marL="2057400" indent="-228600" eaLnBrk="0" hangingPunct="0">
              <a:defRPr sz="1600" b="1">
                <a:solidFill>
                  <a:schemeClr val="tx1"/>
                </a:solidFill>
                <a:latin typeface="Arial" pitchFamily="34" charset="0"/>
              </a:defRPr>
            </a:lvl5pPr>
            <a:lvl6pPr marL="2514600" indent="-228600" eaLnBrk="0" fontAlgn="base" hangingPunct="0">
              <a:spcBef>
                <a:spcPct val="0"/>
              </a:spcBef>
              <a:spcAft>
                <a:spcPct val="0"/>
              </a:spcAft>
              <a:defRPr sz="1600" b="1">
                <a:solidFill>
                  <a:schemeClr val="tx1"/>
                </a:solidFill>
                <a:latin typeface="Arial" pitchFamily="34" charset="0"/>
              </a:defRPr>
            </a:lvl6pPr>
            <a:lvl7pPr marL="2971800" indent="-228600" eaLnBrk="0" fontAlgn="base" hangingPunct="0">
              <a:spcBef>
                <a:spcPct val="0"/>
              </a:spcBef>
              <a:spcAft>
                <a:spcPct val="0"/>
              </a:spcAft>
              <a:defRPr sz="1600" b="1">
                <a:solidFill>
                  <a:schemeClr val="tx1"/>
                </a:solidFill>
                <a:latin typeface="Arial" pitchFamily="34" charset="0"/>
              </a:defRPr>
            </a:lvl7pPr>
            <a:lvl8pPr marL="3429000" indent="-228600" eaLnBrk="0" fontAlgn="base" hangingPunct="0">
              <a:spcBef>
                <a:spcPct val="0"/>
              </a:spcBef>
              <a:spcAft>
                <a:spcPct val="0"/>
              </a:spcAft>
              <a:defRPr sz="1600" b="1">
                <a:solidFill>
                  <a:schemeClr val="tx1"/>
                </a:solidFill>
                <a:latin typeface="Arial" pitchFamily="34" charset="0"/>
              </a:defRPr>
            </a:lvl8pPr>
            <a:lvl9pPr marL="3886200" indent="-228600" eaLnBrk="0" fontAlgn="base" hangingPunct="0">
              <a:spcBef>
                <a:spcPct val="0"/>
              </a:spcBef>
              <a:spcAft>
                <a:spcPct val="0"/>
              </a:spcAft>
              <a:defRPr sz="1600" b="1">
                <a:solidFill>
                  <a:schemeClr val="tx1"/>
                </a:solidFill>
                <a:latin typeface="Arial" pitchFamily="34" charset="0"/>
              </a:defRPr>
            </a:lvl9pPr>
          </a:lstStyle>
          <a:p>
            <a:pPr algn="ctr" eaLnBrk="1" fontAlgn="base" hangingPunct="1">
              <a:lnSpc>
                <a:spcPct val="75000"/>
              </a:lnSpc>
              <a:spcBef>
                <a:spcPct val="50000"/>
              </a:spcBef>
              <a:spcAft>
                <a:spcPct val="0"/>
              </a:spcAft>
            </a:pPr>
            <a:r>
              <a:rPr lang="en-US" sz="1400">
                <a:solidFill>
                  <a:srgbClr val="000000"/>
                </a:solidFill>
                <a:latin typeface="+mj-lt"/>
              </a:rPr>
              <a:t>Engagement</a:t>
            </a:r>
          </a:p>
          <a:p>
            <a:pPr algn="ctr" eaLnBrk="1" fontAlgn="base" hangingPunct="1">
              <a:lnSpc>
                <a:spcPct val="75000"/>
              </a:lnSpc>
              <a:spcBef>
                <a:spcPct val="50000"/>
              </a:spcBef>
              <a:spcAft>
                <a:spcPct val="0"/>
              </a:spcAft>
            </a:pPr>
            <a:r>
              <a:rPr lang="en-US" sz="1400">
                <a:solidFill>
                  <a:srgbClr val="000000"/>
                </a:solidFill>
                <a:latin typeface="+mj-lt"/>
              </a:rPr>
              <a:t>Management &amp; Escalation</a:t>
            </a:r>
          </a:p>
        </p:txBody>
      </p:sp>
      <p:sp>
        <p:nvSpPr>
          <p:cNvPr id="190" name="Line 36">
            <a:extLst>
              <a:ext uri="{FF2B5EF4-FFF2-40B4-BE49-F238E27FC236}">
                <a16:creationId xmlns:a16="http://schemas.microsoft.com/office/drawing/2014/main" id="{97CDD72E-AE84-41A4-96ED-9332F8EDD6CA}"/>
              </a:ext>
            </a:extLst>
          </p:cNvPr>
          <p:cNvSpPr>
            <a:spLocks noChangeShapeType="1"/>
          </p:cNvSpPr>
          <p:nvPr/>
        </p:nvSpPr>
        <p:spPr bwMode="auto">
          <a:xfrm>
            <a:off x="2179786" y="3035063"/>
            <a:ext cx="2235013" cy="0"/>
          </a:xfrm>
          <a:prstGeom prst="line">
            <a:avLst/>
          </a:prstGeom>
          <a:noFill/>
          <a:ln w="12700">
            <a:solidFill>
              <a:schemeClr val="tx1"/>
            </a:solidFill>
            <a:prstDash val="sysDot"/>
            <a:round/>
            <a:headEnd type="triangle" w="med" len="med"/>
            <a:tailEnd type="triangle" w="med" len="med"/>
          </a:ln>
          <a:extLst>
            <a:ext uri="{909E8E84-426E-40DD-AFC4-6F175D3DCCD1}">
              <a14:hiddenFill xmlns:a14="http://schemas.microsoft.com/office/drawing/2010/main">
                <a:noFill/>
              </a14:hiddenFill>
            </a:ext>
          </a:extLst>
        </p:spPr>
        <p:txBody>
          <a:bodyPr>
            <a:spAutoFit/>
          </a:bodyPr>
          <a:lstStyle/>
          <a:p>
            <a:pPr fontAlgn="base">
              <a:spcBef>
                <a:spcPct val="0"/>
              </a:spcBef>
              <a:spcAft>
                <a:spcPct val="0"/>
              </a:spcAft>
            </a:pPr>
            <a:endParaRPr lang="en-US" sz="1600" b="1">
              <a:solidFill>
                <a:srgbClr val="000000"/>
              </a:solidFill>
              <a:latin typeface="+mj-lt"/>
            </a:endParaRPr>
          </a:p>
        </p:txBody>
      </p:sp>
      <p:sp>
        <p:nvSpPr>
          <p:cNvPr id="191" name="Rectangle 37">
            <a:extLst>
              <a:ext uri="{FF2B5EF4-FFF2-40B4-BE49-F238E27FC236}">
                <a16:creationId xmlns:a16="http://schemas.microsoft.com/office/drawing/2014/main" id="{9939CC63-A7E7-4A1F-A7E2-BD604C774746}"/>
              </a:ext>
            </a:extLst>
          </p:cNvPr>
          <p:cNvSpPr>
            <a:spLocks noChangeArrowheads="1"/>
          </p:cNvSpPr>
          <p:nvPr/>
        </p:nvSpPr>
        <p:spPr bwMode="auto">
          <a:xfrm>
            <a:off x="4642987" y="2588168"/>
            <a:ext cx="18473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anchor="ctr">
            <a:spAutoFit/>
          </a:bodyPr>
          <a:lstStyle/>
          <a:p>
            <a:pPr fontAlgn="base">
              <a:spcBef>
                <a:spcPct val="0"/>
              </a:spcBef>
              <a:spcAft>
                <a:spcPct val="0"/>
              </a:spcAft>
            </a:pPr>
            <a:endParaRPr lang="en-US" sz="1600" b="1">
              <a:solidFill>
                <a:srgbClr val="000000"/>
              </a:solidFill>
              <a:latin typeface="+mj-lt"/>
            </a:endParaRPr>
          </a:p>
        </p:txBody>
      </p:sp>
      <p:sp>
        <p:nvSpPr>
          <p:cNvPr id="192" name="Line 40">
            <a:extLst>
              <a:ext uri="{FF2B5EF4-FFF2-40B4-BE49-F238E27FC236}">
                <a16:creationId xmlns:a16="http://schemas.microsoft.com/office/drawing/2014/main" id="{5F149525-A028-4F62-BDC9-F85D071374F5}"/>
              </a:ext>
            </a:extLst>
          </p:cNvPr>
          <p:cNvSpPr>
            <a:spLocks noChangeShapeType="1"/>
          </p:cNvSpPr>
          <p:nvPr/>
        </p:nvSpPr>
        <p:spPr bwMode="auto">
          <a:xfrm>
            <a:off x="2302029" y="4288600"/>
            <a:ext cx="1715480" cy="0"/>
          </a:xfrm>
          <a:prstGeom prst="line">
            <a:avLst/>
          </a:prstGeom>
          <a:noFill/>
          <a:ln w="12700">
            <a:solidFill>
              <a:schemeClr val="tx1"/>
            </a:solidFill>
            <a:prstDash val="sysDot"/>
            <a:round/>
            <a:headEnd type="triangle" w="med" len="med"/>
            <a:tailEnd type="triangle" w="med" len="med"/>
          </a:ln>
          <a:extLst>
            <a:ext uri="{909E8E84-426E-40DD-AFC4-6F175D3DCCD1}">
              <a14:hiddenFill xmlns:a14="http://schemas.microsoft.com/office/drawing/2010/main">
                <a:noFill/>
              </a14:hiddenFill>
            </a:ext>
          </a:extLst>
        </p:spPr>
        <p:txBody>
          <a:bodyPr>
            <a:spAutoFit/>
          </a:bodyPr>
          <a:lstStyle/>
          <a:p>
            <a:pPr fontAlgn="base">
              <a:spcBef>
                <a:spcPct val="0"/>
              </a:spcBef>
              <a:spcAft>
                <a:spcPct val="0"/>
              </a:spcAft>
            </a:pPr>
            <a:endParaRPr lang="en-US" sz="1600" b="1">
              <a:solidFill>
                <a:srgbClr val="000000"/>
              </a:solidFill>
              <a:latin typeface="+mj-lt"/>
            </a:endParaRPr>
          </a:p>
        </p:txBody>
      </p:sp>
      <p:sp>
        <p:nvSpPr>
          <p:cNvPr id="193" name="Rectangle 41">
            <a:extLst>
              <a:ext uri="{FF2B5EF4-FFF2-40B4-BE49-F238E27FC236}">
                <a16:creationId xmlns:a16="http://schemas.microsoft.com/office/drawing/2014/main" id="{76D77A56-D5E1-4183-85DB-8670D83049D6}"/>
              </a:ext>
            </a:extLst>
          </p:cNvPr>
          <p:cNvSpPr>
            <a:spLocks noChangeArrowheads="1"/>
          </p:cNvSpPr>
          <p:nvPr/>
        </p:nvSpPr>
        <p:spPr bwMode="auto">
          <a:xfrm>
            <a:off x="4107087" y="4189039"/>
            <a:ext cx="2797903" cy="328427"/>
          </a:xfrm>
          <a:prstGeom prst="rect">
            <a:avLst/>
          </a:prstGeom>
          <a:solidFill>
            <a:srgbClr val="CFC498"/>
          </a:solidFill>
          <a:ln w="12700">
            <a:noFill/>
            <a:miter lim="800000"/>
            <a:headEnd/>
            <a:tailEnd/>
          </a:ln>
          <a:effectLst/>
        </p:spPr>
        <p:txBody>
          <a:bodyPr anchor="ctr"/>
          <a:lstStyle/>
          <a:p>
            <a:pPr algn="ctr" fontAlgn="base">
              <a:spcBef>
                <a:spcPct val="0"/>
              </a:spcBef>
              <a:spcAft>
                <a:spcPct val="0"/>
              </a:spcAft>
              <a:defRPr/>
            </a:pPr>
            <a:r>
              <a:rPr lang="en-US" sz="1067" b="1">
                <a:solidFill>
                  <a:srgbClr val="000000"/>
                </a:solidFill>
                <a:latin typeface="+mj-lt"/>
              </a:rPr>
              <a:t>Scrum Master</a:t>
            </a:r>
          </a:p>
        </p:txBody>
      </p:sp>
      <p:sp>
        <p:nvSpPr>
          <p:cNvPr id="195" name="Text Box 43">
            <a:extLst>
              <a:ext uri="{FF2B5EF4-FFF2-40B4-BE49-F238E27FC236}">
                <a16:creationId xmlns:a16="http://schemas.microsoft.com/office/drawing/2014/main" id="{6B8A638A-B58D-48AF-B2D7-D2368F748D77}"/>
              </a:ext>
            </a:extLst>
          </p:cNvPr>
          <p:cNvSpPr txBox="1">
            <a:spLocks noChangeArrowheads="1"/>
          </p:cNvSpPr>
          <p:nvPr/>
        </p:nvSpPr>
        <p:spPr bwMode="auto">
          <a:xfrm rot="16200000">
            <a:off x="-389313" y="2587470"/>
            <a:ext cx="1821332" cy="31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a:spAutoFit/>
          </a:bodyPr>
          <a:lstStyle>
            <a:lvl1pPr eaLnBrk="0" hangingPunct="0">
              <a:defRPr sz="1600" b="1">
                <a:solidFill>
                  <a:schemeClr val="tx1"/>
                </a:solidFill>
                <a:latin typeface="Arial" pitchFamily="34" charset="0"/>
              </a:defRPr>
            </a:lvl1pPr>
            <a:lvl2pPr marL="742950" indent="-285750" eaLnBrk="0" hangingPunct="0">
              <a:defRPr sz="1600" b="1">
                <a:solidFill>
                  <a:schemeClr val="tx1"/>
                </a:solidFill>
                <a:latin typeface="Arial" pitchFamily="34" charset="0"/>
              </a:defRPr>
            </a:lvl2pPr>
            <a:lvl3pPr marL="1143000" indent="-228600" eaLnBrk="0" hangingPunct="0">
              <a:defRPr sz="1600" b="1">
                <a:solidFill>
                  <a:schemeClr val="tx1"/>
                </a:solidFill>
                <a:latin typeface="Arial" pitchFamily="34" charset="0"/>
              </a:defRPr>
            </a:lvl3pPr>
            <a:lvl4pPr marL="1600200" indent="-228600" eaLnBrk="0" hangingPunct="0">
              <a:defRPr sz="1600" b="1">
                <a:solidFill>
                  <a:schemeClr val="tx1"/>
                </a:solidFill>
                <a:latin typeface="Arial" pitchFamily="34" charset="0"/>
              </a:defRPr>
            </a:lvl4pPr>
            <a:lvl5pPr marL="2057400" indent="-228600" eaLnBrk="0" hangingPunct="0">
              <a:defRPr sz="1600" b="1">
                <a:solidFill>
                  <a:schemeClr val="tx1"/>
                </a:solidFill>
                <a:latin typeface="Arial" pitchFamily="34" charset="0"/>
              </a:defRPr>
            </a:lvl5pPr>
            <a:lvl6pPr marL="2514600" indent="-228600" eaLnBrk="0" fontAlgn="base" hangingPunct="0">
              <a:spcBef>
                <a:spcPct val="0"/>
              </a:spcBef>
              <a:spcAft>
                <a:spcPct val="0"/>
              </a:spcAft>
              <a:defRPr sz="1600" b="1">
                <a:solidFill>
                  <a:schemeClr val="tx1"/>
                </a:solidFill>
                <a:latin typeface="Arial" pitchFamily="34" charset="0"/>
              </a:defRPr>
            </a:lvl6pPr>
            <a:lvl7pPr marL="2971800" indent="-228600" eaLnBrk="0" fontAlgn="base" hangingPunct="0">
              <a:spcBef>
                <a:spcPct val="0"/>
              </a:spcBef>
              <a:spcAft>
                <a:spcPct val="0"/>
              </a:spcAft>
              <a:defRPr sz="1600" b="1">
                <a:solidFill>
                  <a:schemeClr val="tx1"/>
                </a:solidFill>
                <a:latin typeface="Arial" pitchFamily="34" charset="0"/>
              </a:defRPr>
            </a:lvl7pPr>
            <a:lvl8pPr marL="3429000" indent="-228600" eaLnBrk="0" fontAlgn="base" hangingPunct="0">
              <a:spcBef>
                <a:spcPct val="0"/>
              </a:spcBef>
              <a:spcAft>
                <a:spcPct val="0"/>
              </a:spcAft>
              <a:defRPr sz="1600" b="1">
                <a:solidFill>
                  <a:schemeClr val="tx1"/>
                </a:solidFill>
                <a:latin typeface="Arial" pitchFamily="34" charset="0"/>
              </a:defRPr>
            </a:lvl8pPr>
            <a:lvl9pPr marL="3886200" indent="-228600" eaLnBrk="0" fontAlgn="base" hangingPunct="0">
              <a:spcBef>
                <a:spcPct val="0"/>
              </a:spcBef>
              <a:spcAft>
                <a:spcPct val="0"/>
              </a:spcAft>
              <a:defRPr sz="1600" b="1">
                <a:solidFill>
                  <a:schemeClr val="tx1"/>
                </a:solidFill>
                <a:latin typeface="Arial" pitchFamily="34" charset="0"/>
              </a:defRPr>
            </a:lvl9pPr>
          </a:lstStyle>
          <a:p>
            <a:pPr eaLnBrk="1" fontAlgn="base" hangingPunct="1">
              <a:spcBef>
                <a:spcPct val="50000"/>
              </a:spcBef>
              <a:spcAft>
                <a:spcPct val="0"/>
              </a:spcAft>
            </a:pPr>
            <a:r>
              <a:rPr lang="en-US" sz="1467">
                <a:solidFill>
                  <a:srgbClr val="000000"/>
                </a:solidFill>
                <a:latin typeface="+mj-lt"/>
              </a:rPr>
              <a:t>Governance Team</a:t>
            </a:r>
          </a:p>
        </p:txBody>
      </p:sp>
      <p:sp>
        <p:nvSpPr>
          <p:cNvPr id="196" name="Text Box 44">
            <a:extLst>
              <a:ext uri="{FF2B5EF4-FFF2-40B4-BE49-F238E27FC236}">
                <a16:creationId xmlns:a16="http://schemas.microsoft.com/office/drawing/2014/main" id="{9564A0AD-17EC-494B-8902-7178230710DC}"/>
              </a:ext>
            </a:extLst>
          </p:cNvPr>
          <p:cNvSpPr txBox="1">
            <a:spLocks noChangeArrowheads="1"/>
          </p:cNvSpPr>
          <p:nvPr/>
        </p:nvSpPr>
        <p:spPr bwMode="auto">
          <a:xfrm rot="16200000">
            <a:off x="-314295" y="4786735"/>
            <a:ext cx="1707968" cy="31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a:spAutoFit/>
          </a:bodyPr>
          <a:lstStyle>
            <a:lvl1pPr eaLnBrk="0" hangingPunct="0">
              <a:defRPr sz="1600" b="1">
                <a:solidFill>
                  <a:schemeClr val="tx1"/>
                </a:solidFill>
                <a:latin typeface="Arial" pitchFamily="34" charset="0"/>
              </a:defRPr>
            </a:lvl1pPr>
            <a:lvl2pPr marL="742950" indent="-285750" eaLnBrk="0" hangingPunct="0">
              <a:defRPr sz="1600" b="1">
                <a:solidFill>
                  <a:schemeClr val="tx1"/>
                </a:solidFill>
                <a:latin typeface="Arial" pitchFamily="34" charset="0"/>
              </a:defRPr>
            </a:lvl2pPr>
            <a:lvl3pPr marL="1143000" indent="-228600" eaLnBrk="0" hangingPunct="0">
              <a:defRPr sz="1600" b="1">
                <a:solidFill>
                  <a:schemeClr val="tx1"/>
                </a:solidFill>
                <a:latin typeface="Arial" pitchFamily="34" charset="0"/>
              </a:defRPr>
            </a:lvl3pPr>
            <a:lvl4pPr marL="1600200" indent="-228600" eaLnBrk="0" hangingPunct="0">
              <a:defRPr sz="1600" b="1">
                <a:solidFill>
                  <a:schemeClr val="tx1"/>
                </a:solidFill>
                <a:latin typeface="Arial" pitchFamily="34" charset="0"/>
              </a:defRPr>
            </a:lvl4pPr>
            <a:lvl5pPr marL="2057400" indent="-228600" eaLnBrk="0" hangingPunct="0">
              <a:defRPr sz="1600" b="1">
                <a:solidFill>
                  <a:schemeClr val="tx1"/>
                </a:solidFill>
                <a:latin typeface="Arial" pitchFamily="34" charset="0"/>
              </a:defRPr>
            </a:lvl5pPr>
            <a:lvl6pPr marL="2514600" indent="-228600" eaLnBrk="0" fontAlgn="base" hangingPunct="0">
              <a:spcBef>
                <a:spcPct val="0"/>
              </a:spcBef>
              <a:spcAft>
                <a:spcPct val="0"/>
              </a:spcAft>
              <a:defRPr sz="1600" b="1">
                <a:solidFill>
                  <a:schemeClr val="tx1"/>
                </a:solidFill>
                <a:latin typeface="Arial" pitchFamily="34" charset="0"/>
              </a:defRPr>
            </a:lvl6pPr>
            <a:lvl7pPr marL="2971800" indent="-228600" eaLnBrk="0" fontAlgn="base" hangingPunct="0">
              <a:spcBef>
                <a:spcPct val="0"/>
              </a:spcBef>
              <a:spcAft>
                <a:spcPct val="0"/>
              </a:spcAft>
              <a:defRPr sz="1600" b="1">
                <a:solidFill>
                  <a:schemeClr val="tx1"/>
                </a:solidFill>
                <a:latin typeface="Arial" pitchFamily="34" charset="0"/>
              </a:defRPr>
            </a:lvl7pPr>
            <a:lvl8pPr marL="3429000" indent="-228600" eaLnBrk="0" fontAlgn="base" hangingPunct="0">
              <a:spcBef>
                <a:spcPct val="0"/>
              </a:spcBef>
              <a:spcAft>
                <a:spcPct val="0"/>
              </a:spcAft>
              <a:defRPr sz="1600" b="1">
                <a:solidFill>
                  <a:schemeClr val="tx1"/>
                </a:solidFill>
                <a:latin typeface="Arial" pitchFamily="34" charset="0"/>
              </a:defRPr>
            </a:lvl8pPr>
            <a:lvl9pPr marL="3886200" indent="-228600" eaLnBrk="0" fontAlgn="base" hangingPunct="0">
              <a:spcBef>
                <a:spcPct val="0"/>
              </a:spcBef>
              <a:spcAft>
                <a:spcPct val="0"/>
              </a:spcAft>
              <a:defRPr sz="1600" b="1">
                <a:solidFill>
                  <a:schemeClr val="tx1"/>
                </a:solidFill>
                <a:latin typeface="Arial" pitchFamily="34" charset="0"/>
              </a:defRPr>
            </a:lvl9pPr>
          </a:lstStyle>
          <a:p>
            <a:pPr eaLnBrk="1" fontAlgn="base" hangingPunct="1">
              <a:spcBef>
                <a:spcPct val="50000"/>
              </a:spcBef>
              <a:spcAft>
                <a:spcPct val="0"/>
              </a:spcAft>
            </a:pPr>
            <a:r>
              <a:rPr lang="en-US" sz="1467">
                <a:solidFill>
                  <a:srgbClr val="000000"/>
                </a:solidFill>
                <a:latin typeface="+mj-lt"/>
              </a:rPr>
              <a:t>Operations Team</a:t>
            </a:r>
          </a:p>
        </p:txBody>
      </p:sp>
      <p:sp>
        <p:nvSpPr>
          <p:cNvPr id="197" name="Rectangle 48">
            <a:extLst>
              <a:ext uri="{FF2B5EF4-FFF2-40B4-BE49-F238E27FC236}">
                <a16:creationId xmlns:a16="http://schemas.microsoft.com/office/drawing/2014/main" id="{11C3A650-89F8-4429-9587-744287FF3C91}"/>
              </a:ext>
            </a:extLst>
          </p:cNvPr>
          <p:cNvSpPr>
            <a:spLocks noChangeArrowheads="1"/>
          </p:cNvSpPr>
          <p:nvPr/>
        </p:nvSpPr>
        <p:spPr bwMode="auto">
          <a:xfrm>
            <a:off x="4101043" y="5091780"/>
            <a:ext cx="1385356" cy="347636"/>
          </a:xfrm>
          <a:prstGeom prst="rect">
            <a:avLst/>
          </a:prstGeom>
          <a:solidFill>
            <a:srgbClr val="CFC498"/>
          </a:solidFill>
          <a:ln w="12700">
            <a:noFill/>
            <a:miter lim="800000"/>
            <a:headEnd/>
            <a:tailEnd/>
          </a:ln>
          <a:effectLst/>
        </p:spPr>
        <p:txBody>
          <a:bodyPr anchor="ctr"/>
          <a:lstStyle/>
          <a:p>
            <a:pPr algn="ctr" fontAlgn="base">
              <a:spcBef>
                <a:spcPct val="0"/>
              </a:spcBef>
              <a:spcAft>
                <a:spcPct val="0"/>
              </a:spcAft>
              <a:defRPr/>
            </a:pPr>
            <a:r>
              <a:rPr lang="en-US" sz="1067" b="1">
                <a:solidFill>
                  <a:srgbClr val="000000"/>
                </a:solidFill>
                <a:latin typeface="+mj-lt"/>
              </a:rPr>
              <a:t>Data Architect</a:t>
            </a:r>
          </a:p>
        </p:txBody>
      </p:sp>
      <p:cxnSp>
        <p:nvCxnSpPr>
          <p:cNvPr id="198" name="AutoShape 56">
            <a:extLst>
              <a:ext uri="{FF2B5EF4-FFF2-40B4-BE49-F238E27FC236}">
                <a16:creationId xmlns:a16="http://schemas.microsoft.com/office/drawing/2014/main" id="{CB4B3396-6961-4324-9ADB-9306110D47C7}"/>
              </a:ext>
            </a:extLst>
          </p:cNvPr>
          <p:cNvCxnSpPr>
            <a:cxnSpLocks noChangeShapeType="1"/>
            <a:stCxn id="171" idx="0"/>
          </p:cNvCxnSpPr>
          <p:nvPr/>
        </p:nvCxnSpPr>
        <p:spPr bwMode="auto">
          <a:xfrm flipV="1">
            <a:off x="5506839" y="3349326"/>
            <a:ext cx="0" cy="660745"/>
          </a:xfrm>
          <a:prstGeom prst="straightConnector1">
            <a:avLst/>
          </a:prstGeom>
          <a:noFill/>
          <a:ln w="19050" cap="rnd">
            <a:solidFill>
              <a:srgbClr val="000000"/>
            </a:solidFill>
            <a:prstDash val="sysDot"/>
            <a:round/>
            <a:headEnd/>
            <a:tailEnd type="triangle" w="med" len="med"/>
          </a:ln>
          <a:extLst>
            <a:ext uri="{909E8E84-426E-40DD-AFC4-6F175D3DCCD1}">
              <a14:hiddenFill xmlns:a14="http://schemas.microsoft.com/office/drawing/2010/main">
                <a:noFill/>
              </a14:hiddenFill>
            </a:ext>
          </a:extLst>
        </p:spPr>
      </p:cxnSp>
      <p:sp>
        <p:nvSpPr>
          <p:cNvPr id="199" name="Line 116">
            <a:extLst>
              <a:ext uri="{FF2B5EF4-FFF2-40B4-BE49-F238E27FC236}">
                <a16:creationId xmlns:a16="http://schemas.microsoft.com/office/drawing/2014/main" id="{6D3BC7B3-25FC-472C-8E45-5E96909E29C0}"/>
              </a:ext>
            </a:extLst>
          </p:cNvPr>
          <p:cNvSpPr>
            <a:spLocks noChangeShapeType="1"/>
          </p:cNvSpPr>
          <p:nvPr/>
        </p:nvSpPr>
        <p:spPr bwMode="auto">
          <a:xfrm>
            <a:off x="963467" y="5843604"/>
            <a:ext cx="10235832" cy="0"/>
          </a:xfrm>
          <a:prstGeom prst="line">
            <a:avLst/>
          </a:prstGeom>
          <a:noFill/>
          <a:ln w="28575">
            <a:solidFill>
              <a:schemeClr val="tx1"/>
            </a:solidFill>
            <a:round/>
            <a:headEnd type="triangle" w="med" len="me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US" sz="1600" b="1">
              <a:solidFill>
                <a:srgbClr val="000000"/>
              </a:solidFill>
              <a:latin typeface="+mj-lt"/>
            </a:endParaRPr>
          </a:p>
        </p:txBody>
      </p:sp>
      <p:sp>
        <p:nvSpPr>
          <p:cNvPr id="200" name="Text Box 118">
            <a:extLst>
              <a:ext uri="{FF2B5EF4-FFF2-40B4-BE49-F238E27FC236}">
                <a16:creationId xmlns:a16="http://schemas.microsoft.com/office/drawing/2014/main" id="{0F3AD7B3-245F-46AC-8F50-CBE7E159388F}"/>
              </a:ext>
            </a:extLst>
          </p:cNvPr>
          <p:cNvSpPr txBox="1">
            <a:spLocks noChangeArrowheads="1"/>
          </p:cNvSpPr>
          <p:nvPr/>
        </p:nvSpPr>
        <p:spPr bwMode="auto">
          <a:xfrm>
            <a:off x="1574683" y="5830862"/>
            <a:ext cx="144142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Arial" pitchFamily="34" charset="0"/>
              </a:defRPr>
            </a:lvl1pPr>
            <a:lvl2pPr marL="742950" indent="-285750" eaLnBrk="0" hangingPunct="0">
              <a:defRPr sz="1600" b="1">
                <a:solidFill>
                  <a:schemeClr val="tx1"/>
                </a:solidFill>
                <a:latin typeface="Arial" pitchFamily="34" charset="0"/>
              </a:defRPr>
            </a:lvl2pPr>
            <a:lvl3pPr marL="1143000" indent="-228600" eaLnBrk="0" hangingPunct="0">
              <a:defRPr sz="1600" b="1">
                <a:solidFill>
                  <a:schemeClr val="tx1"/>
                </a:solidFill>
                <a:latin typeface="Arial" pitchFamily="34" charset="0"/>
              </a:defRPr>
            </a:lvl3pPr>
            <a:lvl4pPr marL="1600200" indent="-228600" eaLnBrk="0" hangingPunct="0">
              <a:defRPr sz="1600" b="1">
                <a:solidFill>
                  <a:schemeClr val="tx1"/>
                </a:solidFill>
                <a:latin typeface="Arial" pitchFamily="34" charset="0"/>
              </a:defRPr>
            </a:lvl4pPr>
            <a:lvl5pPr marL="2057400" indent="-228600" eaLnBrk="0" hangingPunct="0">
              <a:defRPr sz="1600" b="1">
                <a:solidFill>
                  <a:schemeClr val="tx1"/>
                </a:solidFill>
                <a:latin typeface="Arial" pitchFamily="34" charset="0"/>
              </a:defRPr>
            </a:lvl5pPr>
            <a:lvl6pPr marL="2514600" indent="-228600" eaLnBrk="0" fontAlgn="base" hangingPunct="0">
              <a:spcBef>
                <a:spcPct val="0"/>
              </a:spcBef>
              <a:spcAft>
                <a:spcPct val="0"/>
              </a:spcAft>
              <a:defRPr sz="1600" b="1">
                <a:solidFill>
                  <a:schemeClr val="tx1"/>
                </a:solidFill>
                <a:latin typeface="Arial" pitchFamily="34" charset="0"/>
              </a:defRPr>
            </a:lvl6pPr>
            <a:lvl7pPr marL="2971800" indent="-228600" eaLnBrk="0" fontAlgn="base" hangingPunct="0">
              <a:spcBef>
                <a:spcPct val="0"/>
              </a:spcBef>
              <a:spcAft>
                <a:spcPct val="0"/>
              </a:spcAft>
              <a:defRPr sz="1600" b="1">
                <a:solidFill>
                  <a:schemeClr val="tx1"/>
                </a:solidFill>
                <a:latin typeface="Arial" pitchFamily="34" charset="0"/>
              </a:defRPr>
            </a:lvl7pPr>
            <a:lvl8pPr marL="3429000" indent="-228600" eaLnBrk="0" fontAlgn="base" hangingPunct="0">
              <a:spcBef>
                <a:spcPct val="0"/>
              </a:spcBef>
              <a:spcAft>
                <a:spcPct val="0"/>
              </a:spcAft>
              <a:defRPr sz="1600" b="1">
                <a:solidFill>
                  <a:schemeClr val="tx1"/>
                </a:solidFill>
                <a:latin typeface="Arial" pitchFamily="34" charset="0"/>
              </a:defRPr>
            </a:lvl8pPr>
            <a:lvl9pPr marL="3886200" indent="-228600" eaLnBrk="0" fontAlgn="base" hangingPunct="0">
              <a:spcBef>
                <a:spcPct val="0"/>
              </a:spcBef>
              <a:spcAft>
                <a:spcPct val="0"/>
              </a:spcAft>
              <a:defRPr sz="1600" b="1">
                <a:solidFill>
                  <a:schemeClr val="tx1"/>
                </a:solidFill>
                <a:latin typeface="Arial" pitchFamily="34" charset="0"/>
              </a:defRPr>
            </a:lvl9pPr>
          </a:lstStyle>
          <a:p>
            <a:pPr eaLnBrk="1" fontAlgn="base" hangingPunct="1">
              <a:spcBef>
                <a:spcPct val="50000"/>
              </a:spcBef>
              <a:spcAft>
                <a:spcPct val="0"/>
              </a:spcAft>
            </a:pPr>
            <a:r>
              <a:rPr lang="en-US" sz="1200">
                <a:solidFill>
                  <a:srgbClr val="000000"/>
                </a:solidFill>
                <a:latin typeface="+mj-lt"/>
              </a:rPr>
              <a:t>Business Process</a:t>
            </a:r>
          </a:p>
        </p:txBody>
      </p:sp>
      <p:sp>
        <p:nvSpPr>
          <p:cNvPr id="201" name="Text Box 119">
            <a:extLst>
              <a:ext uri="{FF2B5EF4-FFF2-40B4-BE49-F238E27FC236}">
                <a16:creationId xmlns:a16="http://schemas.microsoft.com/office/drawing/2014/main" id="{406C8BCE-0CA2-4D70-B4CE-DA60D3A028DF}"/>
              </a:ext>
            </a:extLst>
          </p:cNvPr>
          <p:cNvSpPr txBox="1">
            <a:spLocks noChangeArrowheads="1"/>
          </p:cNvSpPr>
          <p:nvPr/>
        </p:nvSpPr>
        <p:spPr bwMode="auto">
          <a:xfrm>
            <a:off x="8029124" y="5830862"/>
            <a:ext cx="154721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Arial" pitchFamily="34" charset="0"/>
              </a:defRPr>
            </a:lvl1pPr>
            <a:lvl2pPr marL="742950" indent="-285750" eaLnBrk="0" hangingPunct="0">
              <a:defRPr sz="1600" b="1">
                <a:solidFill>
                  <a:schemeClr val="tx1"/>
                </a:solidFill>
                <a:latin typeface="Arial" pitchFamily="34" charset="0"/>
              </a:defRPr>
            </a:lvl2pPr>
            <a:lvl3pPr marL="1143000" indent="-228600" eaLnBrk="0" hangingPunct="0">
              <a:defRPr sz="1600" b="1">
                <a:solidFill>
                  <a:schemeClr val="tx1"/>
                </a:solidFill>
                <a:latin typeface="Arial" pitchFamily="34" charset="0"/>
              </a:defRPr>
            </a:lvl3pPr>
            <a:lvl4pPr marL="1600200" indent="-228600" eaLnBrk="0" hangingPunct="0">
              <a:defRPr sz="1600" b="1">
                <a:solidFill>
                  <a:schemeClr val="tx1"/>
                </a:solidFill>
                <a:latin typeface="Arial" pitchFamily="34" charset="0"/>
              </a:defRPr>
            </a:lvl4pPr>
            <a:lvl5pPr marL="2057400" indent="-228600" eaLnBrk="0" hangingPunct="0">
              <a:defRPr sz="1600" b="1">
                <a:solidFill>
                  <a:schemeClr val="tx1"/>
                </a:solidFill>
                <a:latin typeface="Arial" pitchFamily="34" charset="0"/>
              </a:defRPr>
            </a:lvl5pPr>
            <a:lvl6pPr marL="2514600" indent="-228600" eaLnBrk="0" fontAlgn="base" hangingPunct="0">
              <a:spcBef>
                <a:spcPct val="0"/>
              </a:spcBef>
              <a:spcAft>
                <a:spcPct val="0"/>
              </a:spcAft>
              <a:defRPr sz="1600" b="1">
                <a:solidFill>
                  <a:schemeClr val="tx1"/>
                </a:solidFill>
                <a:latin typeface="Arial" pitchFamily="34" charset="0"/>
              </a:defRPr>
            </a:lvl6pPr>
            <a:lvl7pPr marL="2971800" indent="-228600" eaLnBrk="0" fontAlgn="base" hangingPunct="0">
              <a:spcBef>
                <a:spcPct val="0"/>
              </a:spcBef>
              <a:spcAft>
                <a:spcPct val="0"/>
              </a:spcAft>
              <a:defRPr sz="1600" b="1">
                <a:solidFill>
                  <a:schemeClr val="tx1"/>
                </a:solidFill>
                <a:latin typeface="Arial" pitchFamily="34" charset="0"/>
              </a:defRPr>
            </a:lvl7pPr>
            <a:lvl8pPr marL="3429000" indent="-228600" eaLnBrk="0" fontAlgn="base" hangingPunct="0">
              <a:spcBef>
                <a:spcPct val="0"/>
              </a:spcBef>
              <a:spcAft>
                <a:spcPct val="0"/>
              </a:spcAft>
              <a:defRPr sz="1600" b="1">
                <a:solidFill>
                  <a:schemeClr val="tx1"/>
                </a:solidFill>
                <a:latin typeface="Arial" pitchFamily="34" charset="0"/>
              </a:defRPr>
            </a:lvl8pPr>
            <a:lvl9pPr marL="3886200" indent="-228600" eaLnBrk="0" fontAlgn="base" hangingPunct="0">
              <a:spcBef>
                <a:spcPct val="0"/>
              </a:spcBef>
              <a:spcAft>
                <a:spcPct val="0"/>
              </a:spcAft>
              <a:defRPr sz="1600" b="1">
                <a:solidFill>
                  <a:schemeClr val="tx1"/>
                </a:solidFill>
                <a:latin typeface="Arial" pitchFamily="34" charset="0"/>
              </a:defRPr>
            </a:lvl9pPr>
          </a:lstStyle>
          <a:p>
            <a:pPr eaLnBrk="1" fontAlgn="base" hangingPunct="1">
              <a:spcBef>
                <a:spcPct val="50000"/>
              </a:spcBef>
              <a:spcAft>
                <a:spcPct val="0"/>
              </a:spcAft>
            </a:pPr>
            <a:r>
              <a:rPr lang="en-US" sz="1200">
                <a:solidFill>
                  <a:srgbClr val="000000"/>
                </a:solidFill>
                <a:latin typeface="+mj-lt"/>
              </a:rPr>
              <a:t>Operation Support</a:t>
            </a:r>
          </a:p>
        </p:txBody>
      </p:sp>
      <p:grpSp>
        <p:nvGrpSpPr>
          <p:cNvPr id="211" name="Group 57">
            <a:extLst>
              <a:ext uri="{FF2B5EF4-FFF2-40B4-BE49-F238E27FC236}">
                <a16:creationId xmlns:a16="http://schemas.microsoft.com/office/drawing/2014/main" id="{84456DEF-57BE-486E-A685-440AFC020748}"/>
              </a:ext>
            </a:extLst>
          </p:cNvPr>
          <p:cNvGrpSpPr>
            <a:grpSpLocks/>
          </p:cNvGrpSpPr>
          <p:nvPr/>
        </p:nvGrpSpPr>
        <p:grpSpPr bwMode="auto">
          <a:xfrm>
            <a:off x="8044718" y="848242"/>
            <a:ext cx="4117413" cy="2745249"/>
            <a:chOff x="3433" y="520"/>
            <a:chExt cx="2091" cy="1560"/>
          </a:xfrm>
        </p:grpSpPr>
        <p:sp>
          <p:nvSpPr>
            <p:cNvPr id="212" name="Rectangle 23">
              <a:extLst>
                <a:ext uri="{FF2B5EF4-FFF2-40B4-BE49-F238E27FC236}">
                  <a16:creationId xmlns:a16="http://schemas.microsoft.com/office/drawing/2014/main" id="{DA7A7EE6-AA12-4CC7-B5D8-CB5DC0A32606}"/>
                </a:ext>
              </a:extLst>
            </p:cNvPr>
            <p:cNvSpPr>
              <a:spLocks noChangeArrowheads="1"/>
            </p:cNvSpPr>
            <p:nvPr/>
          </p:nvSpPr>
          <p:spPr bwMode="auto">
            <a:xfrm>
              <a:off x="3725" y="822"/>
              <a:ext cx="1648" cy="12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933" b="1">
                <a:solidFill>
                  <a:srgbClr val="000000"/>
                </a:solidFill>
                <a:latin typeface="+mj-lt"/>
              </a:endParaRPr>
            </a:p>
          </p:txBody>
        </p:sp>
        <p:sp>
          <p:nvSpPr>
            <p:cNvPr id="213" name="Oval 30">
              <a:extLst>
                <a:ext uri="{FF2B5EF4-FFF2-40B4-BE49-F238E27FC236}">
                  <a16:creationId xmlns:a16="http://schemas.microsoft.com/office/drawing/2014/main" id="{4C9C26F4-4947-44C2-9138-93FFA85B3BB3}"/>
                </a:ext>
              </a:extLst>
            </p:cNvPr>
            <p:cNvSpPr>
              <a:spLocks noChangeAspect="1" noChangeArrowheads="1"/>
            </p:cNvSpPr>
            <p:nvPr/>
          </p:nvSpPr>
          <p:spPr bwMode="ltGray">
            <a:xfrm>
              <a:off x="3610" y="1452"/>
              <a:ext cx="1793" cy="609"/>
            </a:xfrm>
            <a:prstGeom prst="ellipse">
              <a:avLst/>
            </a:prstGeom>
            <a:gradFill rotWithShape="1">
              <a:gsLst>
                <a:gs pos="0">
                  <a:srgbClr val="292929"/>
                </a:gs>
                <a:gs pos="100000">
                  <a:schemeClr val="bg1"/>
                </a:gs>
              </a:gsLst>
              <a:lin ang="2700000" scaled="1"/>
            </a:gradFill>
            <a:ln>
              <a:noFill/>
            </a:ln>
            <a:extLst>
              <a:ext uri="{91240B29-F687-4F45-9708-019B960494DF}">
                <a14:hiddenLine xmlns:a14="http://schemas.microsoft.com/office/drawing/2010/main" w="3175">
                  <a:solidFill>
                    <a:srgbClr val="000000"/>
                  </a:solidFill>
                  <a:round/>
                  <a:headEnd/>
                  <a:tailEnd type="none" w="sm" len="sm"/>
                </a14:hiddenLine>
              </a:ext>
            </a:extLst>
          </p:spPr>
          <p:txBody>
            <a:bodyPr vert="eaVert" wrap="none" lIns="122767" tIns="61384" rIns="122767" bIns="61384" anchor="ctr"/>
            <a:lstStyle/>
            <a:p>
              <a:pPr fontAlgn="base">
                <a:spcBef>
                  <a:spcPct val="0"/>
                </a:spcBef>
                <a:spcAft>
                  <a:spcPct val="0"/>
                </a:spcAft>
              </a:pPr>
              <a:endParaRPr lang="en-US" sz="933" b="1">
                <a:solidFill>
                  <a:srgbClr val="000000"/>
                </a:solidFill>
                <a:latin typeface="+mj-lt"/>
              </a:endParaRPr>
            </a:p>
          </p:txBody>
        </p:sp>
        <p:sp>
          <p:nvSpPr>
            <p:cNvPr id="214" name="AutoShape 27">
              <a:extLst>
                <a:ext uri="{FF2B5EF4-FFF2-40B4-BE49-F238E27FC236}">
                  <a16:creationId xmlns:a16="http://schemas.microsoft.com/office/drawing/2014/main" id="{8A9FE50A-F7F6-4B90-A1FE-6210D342542F}"/>
                </a:ext>
              </a:extLst>
            </p:cNvPr>
            <p:cNvSpPr>
              <a:spLocks noChangeAspect="1" noChangeArrowheads="1"/>
            </p:cNvSpPr>
            <p:nvPr/>
          </p:nvSpPr>
          <p:spPr bwMode="auto">
            <a:xfrm>
              <a:off x="3632" y="1183"/>
              <a:ext cx="275" cy="316"/>
            </a:xfrm>
            <a:prstGeom prst="flowChartExtract">
              <a:avLst/>
            </a:prstGeom>
            <a:noFill/>
            <a:ln w="9525">
              <a:noFill/>
              <a:miter lim="800000"/>
              <a:headEnd/>
              <a:tailEnd/>
            </a:ln>
            <a:effectLst/>
            <a:scene3d>
              <a:camera prst="orthographicFront"/>
              <a:lightRig rig="threePt" dir="t"/>
            </a:scene3d>
            <a:sp3d>
              <a:bevelT w="101600" prst="riblet"/>
            </a:sp3d>
          </p:spPr>
          <p:txBody>
            <a:bodyPr wrap="none" lIns="135160" tIns="67580" rIns="135160" bIns="67580" anchor="ctr">
              <a:spAutoFit/>
            </a:bodyPr>
            <a:lstStyle/>
            <a:p>
              <a:pPr fontAlgn="base">
                <a:spcBef>
                  <a:spcPct val="0"/>
                </a:spcBef>
                <a:spcAft>
                  <a:spcPct val="0"/>
                </a:spcAft>
                <a:defRPr/>
              </a:pPr>
              <a:endParaRPr lang="en-US" sz="933" b="1">
                <a:solidFill>
                  <a:srgbClr val="000000"/>
                </a:solidFill>
                <a:latin typeface="+mj-lt"/>
              </a:endParaRPr>
            </a:p>
          </p:txBody>
        </p:sp>
        <p:sp>
          <p:nvSpPr>
            <p:cNvPr id="215" name="Arc 28">
              <a:extLst>
                <a:ext uri="{FF2B5EF4-FFF2-40B4-BE49-F238E27FC236}">
                  <a16:creationId xmlns:a16="http://schemas.microsoft.com/office/drawing/2014/main" id="{4E0A6CC2-A2A5-4274-B52F-AA9005A6DEC0}"/>
                </a:ext>
              </a:extLst>
            </p:cNvPr>
            <p:cNvSpPr>
              <a:spLocks noChangeAspect="1"/>
            </p:cNvSpPr>
            <p:nvPr/>
          </p:nvSpPr>
          <p:spPr bwMode="gray">
            <a:xfrm rot="20539205">
              <a:off x="4417" y="1074"/>
              <a:ext cx="1058" cy="575"/>
            </a:xfrm>
            <a:custGeom>
              <a:avLst/>
              <a:gdLst>
                <a:gd name="G0" fmla="+- 0 0 0"/>
                <a:gd name="G1" fmla="+- 0 0 0"/>
                <a:gd name="G2" fmla="+- 21600 0 0"/>
                <a:gd name="T0" fmla="*/ 19866 w 19866"/>
                <a:gd name="T1" fmla="*/ 8479 h 19523"/>
                <a:gd name="T2" fmla="*/ 9242 w 19866"/>
                <a:gd name="T3" fmla="*/ 19523 h 19523"/>
                <a:gd name="T4" fmla="*/ 0 w 19866"/>
                <a:gd name="T5" fmla="*/ 0 h 19523"/>
              </a:gdLst>
              <a:ahLst/>
              <a:cxnLst>
                <a:cxn ang="0">
                  <a:pos x="T0" y="T1"/>
                </a:cxn>
                <a:cxn ang="0">
                  <a:pos x="T2" y="T3"/>
                </a:cxn>
                <a:cxn ang="0">
                  <a:pos x="T4" y="T5"/>
                </a:cxn>
              </a:cxnLst>
              <a:rect l="0" t="0" r="r" b="b"/>
              <a:pathLst>
                <a:path w="19866" h="19523" fill="none" extrusionOk="0">
                  <a:moveTo>
                    <a:pt x="19866" y="8479"/>
                  </a:moveTo>
                  <a:cubicBezTo>
                    <a:pt x="17793" y="13335"/>
                    <a:pt x="14014" y="17263"/>
                    <a:pt x="9241" y="19522"/>
                  </a:cubicBezTo>
                </a:path>
                <a:path w="19866" h="19523" stroke="0" extrusionOk="0">
                  <a:moveTo>
                    <a:pt x="19866" y="8479"/>
                  </a:moveTo>
                  <a:cubicBezTo>
                    <a:pt x="17793" y="13335"/>
                    <a:pt x="14014" y="17263"/>
                    <a:pt x="9241" y="19522"/>
                  </a:cubicBezTo>
                  <a:lnTo>
                    <a:pt x="0" y="0"/>
                  </a:lnTo>
                  <a:close/>
                </a:path>
              </a:pathLst>
            </a:custGeom>
            <a:solidFill>
              <a:srgbClr val="CC99FF"/>
            </a:solidFill>
            <a:ln w="12700">
              <a:noFill/>
              <a:round/>
              <a:headEnd type="none" w="sm" len="sm"/>
              <a:tailEnd type="none" w="sm" len="sm"/>
            </a:ln>
            <a:effectLst/>
            <a:scene3d>
              <a:camera prst="orthographicFront"/>
              <a:lightRig rig="threePt" dir="t"/>
            </a:scene3d>
            <a:sp3d/>
          </p:spPr>
          <p:txBody>
            <a:bodyPr wrap="none" anchor="ctr"/>
            <a:lstStyle/>
            <a:p>
              <a:pPr fontAlgn="base">
                <a:spcBef>
                  <a:spcPct val="0"/>
                </a:spcBef>
                <a:spcAft>
                  <a:spcPct val="0"/>
                </a:spcAft>
                <a:defRPr/>
              </a:pPr>
              <a:endParaRPr lang="en-US" sz="933" b="1">
                <a:solidFill>
                  <a:srgbClr val="000000"/>
                </a:solidFill>
                <a:latin typeface="+mj-lt"/>
              </a:endParaRPr>
            </a:p>
          </p:txBody>
        </p:sp>
        <p:sp>
          <p:nvSpPr>
            <p:cNvPr id="216" name="Rectangle 29">
              <a:extLst>
                <a:ext uri="{FF2B5EF4-FFF2-40B4-BE49-F238E27FC236}">
                  <a16:creationId xmlns:a16="http://schemas.microsoft.com/office/drawing/2014/main" id="{B3DE6AD6-71BE-4E28-B346-838368D87E71}"/>
                </a:ext>
              </a:extLst>
            </p:cNvPr>
            <p:cNvSpPr>
              <a:spLocks noChangeAspect="1" noChangeArrowheads="1"/>
            </p:cNvSpPr>
            <p:nvPr/>
          </p:nvSpPr>
          <p:spPr bwMode="auto">
            <a:xfrm>
              <a:off x="3447" y="656"/>
              <a:ext cx="1634" cy="640"/>
            </a:xfrm>
            <a:prstGeom prst="rect">
              <a:avLst/>
            </a:prstGeom>
            <a:noFill/>
            <a:ln w="9525">
              <a:noFill/>
              <a:miter lim="800000"/>
              <a:headEnd/>
              <a:tailEnd/>
            </a:ln>
            <a:effectLst/>
            <a:scene3d>
              <a:camera prst="orthographicFront"/>
              <a:lightRig rig="threePt" dir="t"/>
            </a:scene3d>
            <a:sp3d>
              <a:bevelT w="101600" prst="riblet"/>
            </a:sp3d>
          </p:spPr>
          <p:txBody>
            <a:bodyPr lIns="121915" tIns="60957" rIns="121915" bIns="60957"/>
            <a:lstStyle/>
            <a:p>
              <a:pPr marL="457189" indent="-457189" fontAlgn="base">
                <a:lnSpc>
                  <a:spcPct val="105000"/>
                </a:lnSpc>
                <a:spcBef>
                  <a:spcPct val="20000"/>
                </a:spcBef>
                <a:spcAft>
                  <a:spcPct val="0"/>
                </a:spcAft>
                <a:defRPr/>
              </a:pPr>
              <a:endParaRPr lang="en-US" sz="933" b="1">
                <a:solidFill>
                  <a:srgbClr val="000000"/>
                </a:solidFill>
                <a:latin typeface="+mj-lt"/>
              </a:endParaRPr>
            </a:p>
          </p:txBody>
        </p:sp>
        <p:sp>
          <p:nvSpPr>
            <p:cNvPr id="217" name="Oval 31">
              <a:extLst>
                <a:ext uri="{FF2B5EF4-FFF2-40B4-BE49-F238E27FC236}">
                  <a16:creationId xmlns:a16="http://schemas.microsoft.com/office/drawing/2014/main" id="{C6ADED7A-088A-40D6-B4AF-A4D6451CB739}"/>
                </a:ext>
              </a:extLst>
            </p:cNvPr>
            <p:cNvSpPr>
              <a:spLocks noChangeAspect="1" noChangeArrowheads="1"/>
            </p:cNvSpPr>
            <p:nvPr/>
          </p:nvSpPr>
          <p:spPr bwMode="gray">
            <a:xfrm rot="20601703">
              <a:off x="3465" y="673"/>
              <a:ext cx="2059" cy="1265"/>
            </a:xfrm>
            <a:prstGeom prst="ellipse">
              <a:avLst/>
            </a:prstGeom>
            <a:gradFill rotWithShape="0">
              <a:gsLst>
                <a:gs pos="0">
                  <a:srgbClr val="29698D"/>
                </a:gs>
                <a:gs pos="50000">
                  <a:srgbClr val="29698D">
                    <a:gamma/>
                    <a:tint val="24314"/>
                    <a:invGamma/>
                  </a:srgbClr>
                </a:gs>
                <a:gs pos="100000">
                  <a:srgbClr val="29698D"/>
                </a:gs>
              </a:gsLst>
              <a:lin ang="0" scaled="1"/>
            </a:gradFill>
            <a:ln w="12700">
              <a:noFill/>
              <a:round/>
              <a:headEnd type="none" w="sm" len="sm"/>
              <a:tailEnd type="none" w="sm" len="sm"/>
            </a:ln>
            <a:effectLst/>
            <a:scene3d>
              <a:camera prst="orthographicFront"/>
              <a:lightRig rig="threePt" dir="t"/>
            </a:scene3d>
            <a:sp3d>
              <a:bevelT w="101600" prst="riblet"/>
            </a:sp3d>
          </p:spPr>
          <p:txBody>
            <a:bodyPr wrap="none" anchor="ctr"/>
            <a:lstStyle/>
            <a:p>
              <a:pPr fontAlgn="base">
                <a:spcBef>
                  <a:spcPct val="0"/>
                </a:spcBef>
                <a:spcAft>
                  <a:spcPct val="0"/>
                </a:spcAft>
                <a:defRPr/>
              </a:pPr>
              <a:endParaRPr lang="en-US" sz="933" b="1">
                <a:solidFill>
                  <a:srgbClr val="000000"/>
                </a:solidFill>
                <a:latin typeface="+mj-lt"/>
              </a:endParaRPr>
            </a:p>
          </p:txBody>
        </p:sp>
        <p:sp>
          <p:nvSpPr>
            <p:cNvPr id="218" name="Oval 32">
              <a:extLst>
                <a:ext uri="{FF2B5EF4-FFF2-40B4-BE49-F238E27FC236}">
                  <a16:creationId xmlns:a16="http://schemas.microsoft.com/office/drawing/2014/main" id="{099F25DD-3313-4245-8B74-53BD16C89CF5}"/>
                </a:ext>
              </a:extLst>
            </p:cNvPr>
            <p:cNvSpPr>
              <a:spLocks noChangeAspect="1" noChangeArrowheads="1"/>
            </p:cNvSpPr>
            <p:nvPr/>
          </p:nvSpPr>
          <p:spPr bwMode="gray">
            <a:xfrm rot="20601703">
              <a:off x="3485" y="602"/>
              <a:ext cx="1988" cy="1225"/>
            </a:xfrm>
            <a:prstGeom prst="ellipse">
              <a:avLst/>
            </a:prstGeom>
            <a:solidFill>
              <a:srgbClr val="0099CC"/>
            </a:solidFill>
            <a:ln w="12700">
              <a:noFill/>
              <a:round/>
              <a:headEnd type="none" w="sm" len="sm"/>
              <a:tailEnd type="none" w="sm" len="sm"/>
            </a:ln>
            <a:effectLst/>
            <a:scene3d>
              <a:camera prst="orthographicFront"/>
              <a:lightRig rig="threePt" dir="t"/>
            </a:scene3d>
            <a:sp3d>
              <a:bevelT w="101600" prst="riblet"/>
            </a:sp3d>
          </p:spPr>
          <p:txBody>
            <a:bodyPr wrap="none" anchor="ctr"/>
            <a:lstStyle/>
            <a:p>
              <a:pPr fontAlgn="base">
                <a:spcBef>
                  <a:spcPct val="0"/>
                </a:spcBef>
                <a:spcAft>
                  <a:spcPct val="0"/>
                </a:spcAft>
                <a:defRPr/>
              </a:pPr>
              <a:endParaRPr lang="en-US" sz="933" b="1">
                <a:solidFill>
                  <a:srgbClr val="000000"/>
                </a:solidFill>
                <a:latin typeface="+mj-lt"/>
              </a:endParaRPr>
            </a:p>
          </p:txBody>
        </p:sp>
        <p:sp>
          <p:nvSpPr>
            <p:cNvPr id="219" name="Arc 33">
              <a:extLst>
                <a:ext uri="{FF2B5EF4-FFF2-40B4-BE49-F238E27FC236}">
                  <a16:creationId xmlns:a16="http://schemas.microsoft.com/office/drawing/2014/main" id="{609C6A5F-A4BA-4D65-976C-D7BAD41ADDC6}"/>
                </a:ext>
              </a:extLst>
            </p:cNvPr>
            <p:cNvSpPr>
              <a:spLocks noChangeAspect="1"/>
            </p:cNvSpPr>
            <p:nvPr/>
          </p:nvSpPr>
          <p:spPr bwMode="gray">
            <a:xfrm rot="20601703">
              <a:off x="4517" y="992"/>
              <a:ext cx="948" cy="607"/>
            </a:xfrm>
            <a:custGeom>
              <a:avLst/>
              <a:gdLst>
                <a:gd name="G0" fmla="+- 0 0 0"/>
                <a:gd name="G1" fmla="+- 0 0 0"/>
                <a:gd name="G2" fmla="+- 21600 0 0"/>
                <a:gd name="T0" fmla="*/ 19933 w 19933"/>
                <a:gd name="T1" fmla="*/ 8321 h 19523"/>
                <a:gd name="T2" fmla="*/ 9242 w 19933"/>
                <a:gd name="T3" fmla="*/ 19523 h 19523"/>
                <a:gd name="T4" fmla="*/ 0 w 19933"/>
                <a:gd name="T5" fmla="*/ 0 h 19523"/>
              </a:gdLst>
              <a:ahLst/>
              <a:cxnLst>
                <a:cxn ang="0">
                  <a:pos x="T0" y="T1"/>
                </a:cxn>
                <a:cxn ang="0">
                  <a:pos x="T2" y="T3"/>
                </a:cxn>
                <a:cxn ang="0">
                  <a:pos x="T4" y="T5"/>
                </a:cxn>
              </a:cxnLst>
              <a:rect l="0" t="0" r="r" b="b"/>
              <a:pathLst>
                <a:path w="19933" h="19523" fill="none" extrusionOk="0">
                  <a:moveTo>
                    <a:pt x="19932" y="8320"/>
                  </a:moveTo>
                  <a:cubicBezTo>
                    <a:pt x="17876" y="13247"/>
                    <a:pt x="14067" y="17238"/>
                    <a:pt x="9241" y="19522"/>
                  </a:cubicBezTo>
                </a:path>
                <a:path w="19933" h="19523" stroke="0" extrusionOk="0">
                  <a:moveTo>
                    <a:pt x="19932" y="8320"/>
                  </a:moveTo>
                  <a:cubicBezTo>
                    <a:pt x="17876" y="13247"/>
                    <a:pt x="14067" y="17238"/>
                    <a:pt x="9241" y="19522"/>
                  </a:cubicBezTo>
                  <a:lnTo>
                    <a:pt x="0" y="0"/>
                  </a:lnTo>
                  <a:close/>
                </a:path>
              </a:pathLst>
            </a:custGeom>
            <a:gradFill rotWithShape="0">
              <a:gsLst>
                <a:gs pos="0">
                  <a:srgbClr val="000080">
                    <a:gamma/>
                    <a:shade val="46275"/>
                    <a:invGamma/>
                  </a:srgbClr>
                </a:gs>
                <a:gs pos="50000">
                  <a:srgbClr val="000080"/>
                </a:gs>
                <a:gs pos="100000">
                  <a:srgbClr val="000080">
                    <a:gamma/>
                    <a:shade val="46275"/>
                    <a:invGamma/>
                  </a:srgbClr>
                </a:gs>
              </a:gsLst>
              <a:lin ang="18900000" scaled="1"/>
            </a:gradFill>
            <a:ln w="12700">
              <a:noFill/>
              <a:round/>
              <a:headEnd type="none" w="sm" len="sm"/>
              <a:tailEnd type="none" w="sm" len="sm"/>
            </a:ln>
            <a:effectLst/>
            <a:scene3d>
              <a:camera prst="orthographicFront"/>
              <a:lightRig rig="threePt" dir="t"/>
            </a:scene3d>
            <a:sp3d/>
          </p:spPr>
          <p:txBody>
            <a:bodyPr wrap="none" anchor="ctr"/>
            <a:lstStyle/>
            <a:p>
              <a:pPr fontAlgn="base">
                <a:spcBef>
                  <a:spcPct val="0"/>
                </a:spcBef>
                <a:spcAft>
                  <a:spcPct val="0"/>
                </a:spcAft>
                <a:defRPr/>
              </a:pPr>
              <a:endParaRPr lang="en-US" sz="933" b="1">
                <a:solidFill>
                  <a:srgbClr val="000000"/>
                </a:solidFill>
                <a:latin typeface="+mj-lt"/>
              </a:endParaRPr>
            </a:p>
          </p:txBody>
        </p:sp>
        <p:sp>
          <p:nvSpPr>
            <p:cNvPr id="220" name="Arc 34">
              <a:extLst>
                <a:ext uri="{FF2B5EF4-FFF2-40B4-BE49-F238E27FC236}">
                  <a16:creationId xmlns:a16="http://schemas.microsoft.com/office/drawing/2014/main" id="{E887CC36-2686-45C5-97FC-5662328F007D}"/>
                </a:ext>
              </a:extLst>
            </p:cNvPr>
            <p:cNvSpPr>
              <a:spLocks noChangeAspect="1"/>
            </p:cNvSpPr>
            <p:nvPr/>
          </p:nvSpPr>
          <p:spPr bwMode="gray">
            <a:xfrm rot="20601703">
              <a:off x="4432" y="634"/>
              <a:ext cx="1019" cy="644"/>
            </a:xfrm>
            <a:custGeom>
              <a:avLst/>
              <a:gdLst>
                <a:gd name="G0" fmla="+- 0 0 0"/>
                <a:gd name="G1" fmla="+- 14335 0 0"/>
                <a:gd name="G2" fmla="+- 21600 0 0"/>
                <a:gd name="T0" fmla="*/ 16157 w 21600"/>
                <a:gd name="T1" fmla="*/ 0 h 22718"/>
                <a:gd name="T2" fmla="*/ 19907 w 21600"/>
                <a:gd name="T3" fmla="*/ 22718 h 22718"/>
                <a:gd name="T4" fmla="*/ 0 w 21600"/>
                <a:gd name="T5" fmla="*/ 14335 h 22718"/>
              </a:gdLst>
              <a:ahLst/>
              <a:cxnLst>
                <a:cxn ang="0">
                  <a:pos x="T0" y="T1"/>
                </a:cxn>
                <a:cxn ang="0">
                  <a:pos x="T2" y="T3"/>
                </a:cxn>
                <a:cxn ang="0">
                  <a:pos x="T4" y="T5"/>
                </a:cxn>
              </a:cxnLst>
              <a:rect l="0" t="0" r="r" b="b"/>
              <a:pathLst>
                <a:path w="21600" h="22718" fill="none" extrusionOk="0">
                  <a:moveTo>
                    <a:pt x="16157" y="-1"/>
                  </a:moveTo>
                  <a:cubicBezTo>
                    <a:pt x="19663" y="3951"/>
                    <a:pt x="21600" y="9051"/>
                    <a:pt x="21600" y="14335"/>
                  </a:cubicBezTo>
                  <a:cubicBezTo>
                    <a:pt x="21600" y="17214"/>
                    <a:pt x="21024" y="20064"/>
                    <a:pt x="19906" y="22717"/>
                  </a:cubicBezTo>
                </a:path>
                <a:path w="21600" h="22718" stroke="0" extrusionOk="0">
                  <a:moveTo>
                    <a:pt x="16157" y="-1"/>
                  </a:moveTo>
                  <a:cubicBezTo>
                    <a:pt x="19663" y="3951"/>
                    <a:pt x="21600" y="9051"/>
                    <a:pt x="21600" y="14335"/>
                  </a:cubicBezTo>
                  <a:cubicBezTo>
                    <a:pt x="21600" y="17214"/>
                    <a:pt x="21024" y="20064"/>
                    <a:pt x="19906" y="22717"/>
                  </a:cubicBezTo>
                  <a:lnTo>
                    <a:pt x="0" y="14335"/>
                  </a:lnTo>
                  <a:close/>
                </a:path>
              </a:pathLst>
            </a:custGeom>
            <a:gradFill rotWithShape="0">
              <a:gsLst>
                <a:gs pos="0">
                  <a:srgbClr val="AAA0F8">
                    <a:gamma/>
                    <a:shade val="46275"/>
                    <a:invGamma/>
                  </a:srgbClr>
                </a:gs>
                <a:gs pos="100000">
                  <a:srgbClr val="AAA0F8"/>
                </a:gs>
              </a:gsLst>
              <a:lin ang="2700000" scaled="1"/>
            </a:gradFill>
            <a:ln w="12700">
              <a:noFill/>
              <a:round/>
              <a:headEnd type="none" w="sm" len="sm"/>
              <a:tailEnd type="none" w="sm" len="sm"/>
            </a:ln>
            <a:effectLst/>
            <a:scene3d>
              <a:camera prst="orthographicFront"/>
              <a:lightRig rig="threePt" dir="t"/>
            </a:scene3d>
            <a:sp3d/>
          </p:spPr>
          <p:txBody>
            <a:bodyPr wrap="none" lIns="121915" tIns="60957" rIns="121915" bIns="60957" anchor="ctr"/>
            <a:lstStyle/>
            <a:p>
              <a:pPr algn="ctr" fontAlgn="base">
                <a:spcBef>
                  <a:spcPct val="0"/>
                </a:spcBef>
                <a:spcAft>
                  <a:spcPct val="0"/>
                </a:spcAft>
                <a:defRPr/>
              </a:pPr>
              <a:endParaRPr lang="en-US" sz="933" b="1">
                <a:solidFill>
                  <a:srgbClr val="FFFFFF"/>
                </a:solidFill>
                <a:latin typeface="+mj-lt"/>
              </a:endParaRPr>
            </a:p>
          </p:txBody>
        </p:sp>
        <p:sp>
          <p:nvSpPr>
            <p:cNvPr id="221" name="Arc 35">
              <a:extLst>
                <a:ext uri="{FF2B5EF4-FFF2-40B4-BE49-F238E27FC236}">
                  <a16:creationId xmlns:a16="http://schemas.microsoft.com/office/drawing/2014/main" id="{9246569C-088A-480A-B794-AE8F36982733}"/>
                </a:ext>
              </a:extLst>
            </p:cNvPr>
            <p:cNvSpPr>
              <a:spLocks noChangeAspect="1"/>
            </p:cNvSpPr>
            <p:nvPr/>
          </p:nvSpPr>
          <p:spPr bwMode="gray">
            <a:xfrm rot="20601703" flipH="1">
              <a:off x="3514" y="1178"/>
              <a:ext cx="1027" cy="683"/>
            </a:xfrm>
            <a:custGeom>
              <a:avLst/>
              <a:gdLst>
                <a:gd name="G0" fmla="+- 0 0 0"/>
                <a:gd name="G1" fmla="+- 6947 0 0"/>
                <a:gd name="G2" fmla="+- 21600 0 0"/>
                <a:gd name="T0" fmla="*/ 20452 w 21600"/>
                <a:gd name="T1" fmla="*/ 0 h 24439"/>
                <a:gd name="T2" fmla="*/ 12673 w 21600"/>
                <a:gd name="T3" fmla="*/ 24439 h 24439"/>
                <a:gd name="T4" fmla="*/ 0 w 21600"/>
                <a:gd name="T5" fmla="*/ 6947 h 24439"/>
              </a:gdLst>
              <a:ahLst/>
              <a:cxnLst>
                <a:cxn ang="0">
                  <a:pos x="T0" y="T1"/>
                </a:cxn>
                <a:cxn ang="0">
                  <a:pos x="T2" y="T3"/>
                </a:cxn>
                <a:cxn ang="0">
                  <a:pos x="T4" y="T5"/>
                </a:cxn>
              </a:cxnLst>
              <a:rect l="0" t="0" r="r" b="b"/>
              <a:pathLst>
                <a:path w="21600" h="24439" fill="none" extrusionOk="0">
                  <a:moveTo>
                    <a:pt x="20452" y="-1"/>
                  </a:moveTo>
                  <a:cubicBezTo>
                    <a:pt x="21212" y="2237"/>
                    <a:pt x="21600" y="4584"/>
                    <a:pt x="21600" y="6947"/>
                  </a:cubicBezTo>
                  <a:cubicBezTo>
                    <a:pt x="21600" y="13871"/>
                    <a:pt x="18280" y="20376"/>
                    <a:pt x="12672" y="24438"/>
                  </a:cubicBezTo>
                </a:path>
                <a:path w="21600" h="24439" stroke="0" extrusionOk="0">
                  <a:moveTo>
                    <a:pt x="20452" y="-1"/>
                  </a:moveTo>
                  <a:cubicBezTo>
                    <a:pt x="21212" y="2237"/>
                    <a:pt x="21600" y="4584"/>
                    <a:pt x="21600" y="6947"/>
                  </a:cubicBezTo>
                  <a:cubicBezTo>
                    <a:pt x="21600" y="13871"/>
                    <a:pt x="18280" y="20376"/>
                    <a:pt x="12672" y="24438"/>
                  </a:cubicBezTo>
                  <a:lnTo>
                    <a:pt x="0" y="6947"/>
                  </a:lnTo>
                  <a:close/>
                </a:path>
              </a:pathLst>
            </a:custGeom>
            <a:gradFill rotWithShape="1">
              <a:gsLst>
                <a:gs pos="0">
                  <a:srgbClr val="AAA0F8">
                    <a:gamma/>
                    <a:shade val="46275"/>
                    <a:invGamma/>
                  </a:srgbClr>
                </a:gs>
                <a:gs pos="100000">
                  <a:srgbClr val="AAA0F8"/>
                </a:gs>
              </a:gsLst>
              <a:lin ang="2700000" scaled="1"/>
            </a:gradFill>
            <a:ln w="12700">
              <a:noFill/>
              <a:round/>
              <a:headEnd type="none" w="sm" len="sm"/>
              <a:tailEnd type="none" w="sm" len="sm"/>
            </a:ln>
            <a:effectLst/>
            <a:scene3d>
              <a:camera prst="orthographicFront"/>
              <a:lightRig rig="threePt" dir="t"/>
            </a:scene3d>
            <a:sp3d/>
          </p:spPr>
          <p:txBody>
            <a:bodyPr wrap="none" anchor="ctr"/>
            <a:lstStyle/>
            <a:p>
              <a:pPr fontAlgn="base">
                <a:spcBef>
                  <a:spcPct val="0"/>
                </a:spcBef>
                <a:spcAft>
                  <a:spcPct val="0"/>
                </a:spcAft>
                <a:defRPr/>
              </a:pPr>
              <a:endParaRPr lang="en-US" sz="933" b="1">
                <a:solidFill>
                  <a:srgbClr val="000000"/>
                </a:solidFill>
                <a:latin typeface="+mj-lt"/>
              </a:endParaRPr>
            </a:p>
          </p:txBody>
        </p:sp>
        <p:sp>
          <p:nvSpPr>
            <p:cNvPr id="222" name="Arc 36">
              <a:extLst>
                <a:ext uri="{FF2B5EF4-FFF2-40B4-BE49-F238E27FC236}">
                  <a16:creationId xmlns:a16="http://schemas.microsoft.com/office/drawing/2014/main" id="{5EB2F40D-DDFE-4E61-8213-0AF1C1BF8735}"/>
                </a:ext>
              </a:extLst>
            </p:cNvPr>
            <p:cNvSpPr>
              <a:spLocks noChangeAspect="1"/>
            </p:cNvSpPr>
            <p:nvPr/>
          </p:nvSpPr>
          <p:spPr bwMode="gray">
            <a:xfrm rot="20601703">
              <a:off x="4162" y="520"/>
              <a:ext cx="1005" cy="595"/>
            </a:xfrm>
            <a:custGeom>
              <a:avLst/>
              <a:gdLst>
                <a:gd name="G0" fmla="+- 4839 0 0"/>
                <a:gd name="G1" fmla="+- 21600 0 0"/>
                <a:gd name="G2" fmla="+- 21600 0 0"/>
                <a:gd name="T0" fmla="*/ 0 w 21397"/>
                <a:gd name="T1" fmla="*/ 549 h 21600"/>
                <a:gd name="T2" fmla="*/ 21397 w 21397"/>
                <a:gd name="T3" fmla="*/ 7730 h 21600"/>
                <a:gd name="T4" fmla="*/ 4839 w 21397"/>
                <a:gd name="T5" fmla="*/ 21600 h 21600"/>
              </a:gdLst>
              <a:ahLst/>
              <a:cxnLst>
                <a:cxn ang="0">
                  <a:pos x="T0" y="T1"/>
                </a:cxn>
                <a:cxn ang="0">
                  <a:pos x="T2" y="T3"/>
                </a:cxn>
                <a:cxn ang="0">
                  <a:pos x="T4" y="T5"/>
                </a:cxn>
              </a:cxnLst>
              <a:rect l="0" t="0" r="r" b="b"/>
              <a:pathLst>
                <a:path w="21397" h="21600" fill="none" extrusionOk="0">
                  <a:moveTo>
                    <a:pt x="0" y="549"/>
                  </a:moveTo>
                  <a:cubicBezTo>
                    <a:pt x="1587" y="184"/>
                    <a:pt x="3210" y="-1"/>
                    <a:pt x="4839" y="0"/>
                  </a:cubicBezTo>
                  <a:cubicBezTo>
                    <a:pt x="11230" y="0"/>
                    <a:pt x="17293" y="2830"/>
                    <a:pt x="21397" y="7729"/>
                  </a:cubicBezTo>
                </a:path>
                <a:path w="21397" h="21600" stroke="0" extrusionOk="0">
                  <a:moveTo>
                    <a:pt x="0" y="549"/>
                  </a:moveTo>
                  <a:cubicBezTo>
                    <a:pt x="1587" y="184"/>
                    <a:pt x="3210" y="-1"/>
                    <a:pt x="4839" y="0"/>
                  </a:cubicBezTo>
                  <a:cubicBezTo>
                    <a:pt x="11230" y="0"/>
                    <a:pt x="17293" y="2830"/>
                    <a:pt x="21397" y="7729"/>
                  </a:cubicBezTo>
                  <a:lnTo>
                    <a:pt x="4839" y="21600"/>
                  </a:lnTo>
                  <a:close/>
                </a:path>
              </a:pathLst>
            </a:custGeom>
            <a:solidFill>
              <a:srgbClr val="0099CC"/>
            </a:solidFill>
            <a:ln w="12700">
              <a:noFill/>
              <a:round/>
              <a:headEnd type="none" w="sm" len="sm"/>
              <a:tailEnd type="none" w="sm" len="sm"/>
            </a:ln>
            <a:effectLst/>
            <a:scene3d>
              <a:camera prst="orthographicFront"/>
              <a:lightRig rig="threePt" dir="t"/>
            </a:scene3d>
            <a:sp3d/>
          </p:spPr>
          <p:txBody>
            <a:bodyPr wrap="none" anchor="ctr"/>
            <a:lstStyle/>
            <a:p>
              <a:pPr fontAlgn="base">
                <a:spcBef>
                  <a:spcPct val="0"/>
                </a:spcBef>
                <a:spcAft>
                  <a:spcPct val="0"/>
                </a:spcAft>
                <a:defRPr/>
              </a:pPr>
              <a:endParaRPr lang="en-US" sz="933" b="1">
                <a:solidFill>
                  <a:srgbClr val="000000"/>
                </a:solidFill>
                <a:latin typeface="+mj-lt"/>
              </a:endParaRPr>
            </a:p>
          </p:txBody>
        </p:sp>
        <p:sp>
          <p:nvSpPr>
            <p:cNvPr id="223" name="Arc 37">
              <a:extLst>
                <a:ext uri="{FF2B5EF4-FFF2-40B4-BE49-F238E27FC236}">
                  <a16:creationId xmlns:a16="http://schemas.microsoft.com/office/drawing/2014/main" id="{D71597A8-020C-4E94-8C33-77C7019104F3}"/>
                </a:ext>
              </a:extLst>
            </p:cNvPr>
            <p:cNvSpPr>
              <a:spLocks noChangeAspect="1"/>
            </p:cNvSpPr>
            <p:nvPr/>
          </p:nvSpPr>
          <p:spPr bwMode="gray">
            <a:xfrm rot="20601703" flipH="1">
              <a:off x="3433" y="794"/>
              <a:ext cx="987" cy="579"/>
            </a:xfrm>
            <a:custGeom>
              <a:avLst/>
              <a:gdLst>
                <a:gd name="G0" fmla="+- 0 0 0"/>
                <a:gd name="G1" fmla="+- 21142 0 0"/>
                <a:gd name="G2" fmla="+- 21600 0 0"/>
                <a:gd name="T0" fmla="*/ 4423 w 20934"/>
                <a:gd name="T1" fmla="*/ 0 h 21142"/>
                <a:gd name="T2" fmla="*/ 20934 w 20934"/>
                <a:gd name="T3" fmla="*/ 15820 h 21142"/>
                <a:gd name="T4" fmla="*/ 0 w 20934"/>
                <a:gd name="T5" fmla="*/ 21142 h 21142"/>
              </a:gdLst>
              <a:ahLst/>
              <a:cxnLst>
                <a:cxn ang="0">
                  <a:pos x="T0" y="T1"/>
                </a:cxn>
                <a:cxn ang="0">
                  <a:pos x="T2" y="T3"/>
                </a:cxn>
                <a:cxn ang="0">
                  <a:pos x="T4" y="T5"/>
                </a:cxn>
              </a:cxnLst>
              <a:rect l="0" t="0" r="r" b="b"/>
              <a:pathLst>
                <a:path w="20934" h="21142" fill="none" extrusionOk="0">
                  <a:moveTo>
                    <a:pt x="4423" y="-1"/>
                  </a:moveTo>
                  <a:cubicBezTo>
                    <a:pt x="12495" y="1688"/>
                    <a:pt x="18902" y="7826"/>
                    <a:pt x="20934" y="15819"/>
                  </a:cubicBezTo>
                </a:path>
                <a:path w="20934" h="21142" stroke="0" extrusionOk="0">
                  <a:moveTo>
                    <a:pt x="4423" y="-1"/>
                  </a:moveTo>
                  <a:cubicBezTo>
                    <a:pt x="12495" y="1688"/>
                    <a:pt x="18902" y="7826"/>
                    <a:pt x="20934" y="15819"/>
                  </a:cubicBezTo>
                  <a:lnTo>
                    <a:pt x="0" y="21142"/>
                  </a:lnTo>
                  <a:close/>
                </a:path>
              </a:pathLst>
            </a:custGeom>
            <a:gradFill rotWithShape="1">
              <a:gsLst>
                <a:gs pos="0">
                  <a:srgbClr val="000080">
                    <a:gamma/>
                    <a:shade val="46275"/>
                    <a:invGamma/>
                  </a:srgbClr>
                </a:gs>
                <a:gs pos="50000">
                  <a:srgbClr val="000080"/>
                </a:gs>
                <a:gs pos="100000">
                  <a:srgbClr val="000080">
                    <a:gamma/>
                    <a:shade val="46275"/>
                    <a:invGamma/>
                  </a:srgbClr>
                </a:gs>
              </a:gsLst>
              <a:lin ang="18900000" scaled="1"/>
            </a:gradFill>
            <a:ln w="12700">
              <a:noFill/>
              <a:round/>
              <a:headEnd type="none" w="sm" len="sm"/>
              <a:tailEnd type="none" w="sm" len="sm"/>
            </a:ln>
            <a:effectLst/>
            <a:scene3d>
              <a:camera prst="orthographicFront"/>
              <a:lightRig rig="threePt" dir="t"/>
            </a:scene3d>
            <a:sp3d/>
          </p:spPr>
          <p:txBody>
            <a:bodyPr wrap="none" anchor="ctr"/>
            <a:lstStyle/>
            <a:p>
              <a:pPr fontAlgn="base">
                <a:spcBef>
                  <a:spcPct val="0"/>
                </a:spcBef>
                <a:spcAft>
                  <a:spcPct val="0"/>
                </a:spcAft>
                <a:defRPr/>
              </a:pPr>
              <a:endParaRPr lang="en-US" sz="933" b="1">
                <a:solidFill>
                  <a:srgbClr val="000000"/>
                </a:solidFill>
                <a:latin typeface="+mj-lt"/>
              </a:endParaRPr>
            </a:p>
          </p:txBody>
        </p:sp>
        <p:sp>
          <p:nvSpPr>
            <p:cNvPr id="224" name="Oval 38">
              <a:extLst>
                <a:ext uri="{FF2B5EF4-FFF2-40B4-BE49-F238E27FC236}">
                  <a16:creationId xmlns:a16="http://schemas.microsoft.com/office/drawing/2014/main" id="{0BEF6070-C37B-44B1-BCD9-04177517D4FC}"/>
                </a:ext>
              </a:extLst>
            </p:cNvPr>
            <p:cNvSpPr>
              <a:spLocks noChangeAspect="1" noChangeArrowheads="1"/>
            </p:cNvSpPr>
            <p:nvPr/>
          </p:nvSpPr>
          <p:spPr bwMode="gray">
            <a:xfrm rot="20601703">
              <a:off x="4008" y="919"/>
              <a:ext cx="962" cy="562"/>
            </a:xfrm>
            <a:prstGeom prst="ellipse">
              <a:avLst/>
            </a:prstGeom>
            <a:gradFill rotWithShape="0">
              <a:gsLst>
                <a:gs pos="0">
                  <a:srgbClr val="000000"/>
                </a:gs>
                <a:gs pos="50000">
                  <a:srgbClr val="000000">
                    <a:gamma/>
                    <a:tint val="24314"/>
                    <a:invGamma/>
                  </a:srgbClr>
                </a:gs>
                <a:gs pos="100000">
                  <a:srgbClr val="000000"/>
                </a:gs>
              </a:gsLst>
              <a:lin ang="0" scaled="1"/>
            </a:gradFill>
            <a:ln w="12700">
              <a:noFill/>
              <a:round/>
              <a:headEnd type="none" w="sm" len="sm"/>
              <a:tailEnd type="none" w="sm" len="sm"/>
            </a:ln>
            <a:effectLst/>
            <a:scene3d>
              <a:camera prst="orthographicFront"/>
              <a:lightRig rig="threePt" dir="t"/>
            </a:scene3d>
            <a:sp3d>
              <a:bevelT w="101600" prst="riblet"/>
            </a:sp3d>
          </p:spPr>
          <p:txBody>
            <a:bodyPr wrap="none" anchor="ctr"/>
            <a:lstStyle/>
            <a:p>
              <a:pPr fontAlgn="base">
                <a:spcBef>
                  <a:spcPct val="0"/>
                </a:spcBef>
                <a:spcAft>
                  <a:spcPct val="0"/>
                </a:spcAft>
                <a:defRPr/>
              </a:pPr>
              <a:endParaRPr lang="en-US" sz="933" b="1">
                <a:solidFill>
                  <a:srgbClr val="000000"/>
                </a:solidFill>
                <a:latin typeface="+mj-lt"/>
              </a:endParaRPr>
            </a:p>
          </p:txBody>
        </p:sp>
        <p:sp>
          <p:nvSpPr>
            <p:cNvPr id="225" name="Oval 39">
              <a:extLst>
                <a:ext uri="{FF2B5EF4-FFF2-40B4-BE49-F238E27FC236}">
                  <a16:creationId xmlns:a16="http://schemas.microsoft.com/office/drawing/2014/main" id="{B6B56752-BF0B-4FEB-B937-D760892016A5}"/>
                </a:ext>
              </a:extLst>
            </p:cNvPr>
            <p:cNvSpPr>
              <a:spLocks noChangeAspect="1" noChangeArrowheads="1"/>
            </p:cNvSpPr>
            <p:nvPr/>
          </p:nvSpPr>
          <p:spPr bwMode="gray">
            <a:xfrm rot="20601703">
              <a:off x="4035" y="1017"/>
              <a:ext cx="937" cy="461"/>
            </a:xfrm>
            <a:prstGeom prst="ellipse">
              <a:avLst/>
            </a:prstGeom>
            <a:solidFill>
              <a:schemeClr val="bg1"/>
            </a:solidFill>
            <a:ln w="12700">
              <a:noFill/>
              <a:round/>
              <a:headEnd type="none" w="sm" len="sm"/>
              <a:tailEnd type="none" w="sm" len="sm"/>
            </a:ln>
            <a:effectLst/>
            <a:scene3d>
              <a:camera prst="orthographicFront"/>
              <a:lightRig rig="threePt" dir="t"/>
            </a:scene3d>
            <a:sp3d>
              <a:bevelT w="101600" prst="riblet"/>
            </a:sp3d>
          </p:spPr>
          <p:txBody>
            <a:bodyPr wrap="none" lIns="121915" tIns="60957" rIns="121915" bIns="60957" anchor="ctr"/>
            <a:lstStyle/>
            <a:p>
              <a:pPr algn="ctr" fontAlgn="base">
                <a:spcBef>
                  <a:spcPct val="0"/>
                </a:spcBef>
                <a:spcAft>
                  <a:spcPct val="0"/>
                </a:spcAft>
                <a:defRPr/>
              </a:pPr>
              <a:endParaRPr lang="en-US" sz="933" b="1">
                <a:solidFill>
                  <a:srgbClr val="000000"/>
                </a:solidFill>
                <a:latin typeface="+mj-lt"/>
              </a:endParaRPr>
            </a:p>
          </p:txBody>
        </p:sp>
        <p:sp>
          <p:nvSpPr>
            <p:cNvPr id="226" name="Text Box 40">
              <a:extLst>
                <a:ext uri="{FF2B5EF4-FFF2-40B4-BE49-F238E27FC236}">
                  <a16:creationId xmlns:a16="http://schemas.microsoft.com/office/drawing/2014/main" id="{A65343E1-8A13-4F7D-920B-AD5AA266F913}"/>
                </a:ext>
              </a:extLst>
            </p:cNvPr>
            <p:cNvSpPr txBox="1">
              <a:spLocks noChangeAspect="1" noChangeArrowheads="1"/>
            </p:cNvSpPr>
            <p:nvPr/>
          </p:nvSpPr>
          <p:spPr bwMode="gray">
            <a:xfrm>
              <a:off x="4274" y="1501"/>
              <a:ext cx="562" cy="233"/>
            </a:xfrm>
            <a:prstGeom prst="rect">
              <a:avLst/>
            </a:prstGeom>
            <a:noFill/>
            <a:ln w="9525">
              <a:noFill/>
              <a:miter lim="800000"/>
              <a:headEnd/>
              <a:tailEnd/>
            </a:ln>
            <a:effectLst/>
            <a:scene3d>
              <a:camera prst="orthographicFront"/>
              <a:lightRig rig="threePt" dir="t"/>
            </a:scene3d>
            <a:sp3d>
              <a:bevelT w="101600" prst="riblet"/>
            </a:sp3d>
          </p:spPr>
          <p:txBody>
            <a:bodyPr wrap="none" lIns="121915" tIns="60957" rIns="121915" bIns="60957">
              <a:spAutoFit/>
            </a:bodyPr>
            <a:lstStyle/>
            <a:p>
              <a:pPr algn="ctr" fontAlgn="base">
                <a:spcBef>
                  <a:spcPct val="0"/>
                </a:spcBef>
                <a:spcAft>
                  <a:spcPct val="0"/>
                </a:spcAft>
                <a:defRPr/>
              </a:pPr>
              <a:r>
                <a:rPr lang="en-US" sz="933" b="1">
                  <a:solidFill>
                    <a:srgbClr val="FFFFFF"/>
                  </a:solidFill>
                  <a:latin typeface="+mj-lt"/>
                </a:rPr>
                <a:t>Wkly/Monthly</a:t>
              </a:r>
            </a:p>
            <a:p>
              <a:pPr algn="ctr" fontAlgn="base">
                <a:spcBef>
                  <a:spcPct val="0"/>
                </a:spcBef>
                <a:spcAft>
                  <a:spcPct val="0"/>
                </a:spcAft>
                <a:defRPr/>
              </a:pPr>
              <a:r>
                <a:rPr lang="en-US" sz="933" b="1">
                  <a:solidFill>
                    <a:srgbClr val="FFFFFF"/>
                  </a:solidFill>
                  <a:latin typeface="+mj-lt"/>
                </a:rPr>
                <a:t>Status Reports </a:t>
              </a:r>
            </a:p>
          </p:txBody>
        </p:sp>
        <p:sp>
          <p:nvSpPr>
            <p:cNvPr id="227" name="Text Box 41">
              <a:extLst>
                <a:ext uri="{FF2B5EF4-FFF2-40B4-BE49-F238E27FC236}">
                  <a16:creationId xmlns:a16="http://schemas.microsoft.com/office/drawing/2014/main" id="{D502D2C5-C07C-449E-8A02-6569422A776E}"/>
                </a:ext>
              </a:extLst>
            </p:cNvPr>
            <p:cNvSpPr txBox="1">
              <a:spLocks noChangeAspect="1" noChangeArrowheads="1"/>
            </p:cNvSpPr>
            <p:nvPr/>
          </p:nvSpPr>
          <p:spPr bwMode="gray">
            <a:xfrm>
              <a:off x="3560" y="915"/>
              <a:ext cx="648" cy="315"/>
            </a:xfrm>
            <a:prstGeom prst="rect">
              <a:avLst/>
            </a:prstGeom>
            <a:noFill/>
            <a:ln w="9525">
              <a:noFill/>
              <a:miter lim="800000"/>
              <a:headEnd/>
              <a:tailEnd/>
            </a:ln>
            <a:effectLst/>
            <a:scene3d>
              <a:camera prst="orthographicFront"/>
              <a:lightRig rig="threePt" dir="t"/>
            </a:scene3d>
            <a:sp3d>
              <a:bevelT w="101600" prst="riblet"/>
            </a:sp3d>
          </p:spPr>
          <p:txBody>
            <a:bodyPr lIns="121915" tIns="60957" rIns="121915" bIns="60957">
              <a:spAutoFit/>
            </a:bodyPr>
            <a:lstStyle/>
            <a:p>
              <a:pPr algn="ctr" fontAlgn="base">
                <a:spcBef>
                  <a:spcPct val="0"/>
                </a:spcBef>
                <a:spcAft>
                  <a:spcPct val="0"/>
                </a:spcAft>
                <a:defRPr/>
              </a:pPr>
              <a:r>
                <a:rPr lang="en-US" sz="933" b="1">
                  <a:solidFill>
                    <a:srgbClr val="FFFFFF"/>
                  </a:solidFill>
                  <a:latin typeface="+mj-lt"/>
                </a:rPr>
                <a:t>Issue</a:t>
              </a:r>
            </a:p>
            <a:p>
              <a:pPr algn="ctr" fontAlgn="base">
                <a:spcBef>
                  <a:spcPct val="0"/>
                </a:spcBef>
                <a:spcAft>
                  <a:spcPct val="0"/>
                </a:spcAft>
                <a:defRPr/>
              </a:pPr>
              <a:r>
                <a:rPr lang="en-US" sz="933" b="1">
                  <a:solidFill>
                    <a:srgbClr val="FFFFFF"/>
                  </a:solidFill>
                  <a:latin typeface="+mj-lt"/>
                </a:rPr>
                <a:t>Escalation</a:t>
              </a:r>
            </a:p>
            <a:p>
              <a:pPr algn="ctr" fontAlgn="base">
                <a:spcBef>
                  <a:spcPct val="0"/>
                </a:spcBef>
                <a:spcAft>
                  <a:spcPct val="0"/>
                </a:spcAft>
                <a:defRPr/>
              </a:pPr>
              <a:r>
                <a:rPr lang="en-US" sz="933" b="1">
                  <a:solidFill>
                    <a:srgbClr val="FFFFFF"/>
                  </a:solidFill>
                  <a:latin typeface="+mj-lt"/>
                </a:rPr>
                <a:t>Matrix</a:t>
              </a:r>
            </a:p>
          </p:txBody>
        </p:sp>
        <p:sp>
          <p:nvSpPr>
            <p:cNvPr id="228" name="Text Box 42">
              <a:extLst>
                <a:ext uri="{FF2B5EF4-FFF2-40B4-BE49-F238E27FC236}">
                  <a16:creationId xmlns:a16="http://schemas.microsoft.com/office/drawing/2014/main" id="{F64CC7A3-DA33-4F70-909A-504753BC9DEC}"/>
                </a:ext>
              </a:extLst>
            </p:cNvPr>
            <p:cNvSpPr txBox="1">
              <a:spLocks noChangeAspect="1" noChangeArrowheads="1"/>
            </p:cNvSpPr>
            <p:nvPr/>
          </p:nvSpPr>
          <p:spPr bwMode="gray">
            <a:xfrm>
              <a:off x="4209" y="590"/>
              <a:ext cx="727" cy="233"/>
            </a:xfrm>
            <a:prstGeom prst="rect">
              <a:avLst/>
            </a:prstGeom>
            <a:noFill/>
            <a:ln w="9525">
              <a:noFill/>
              <a:miter lim="800000"/>
              <a:headEnd/>
              <a:tailEnd/>
            </a:ln>
            <a:effectLst/>
            <a:scene3d>
              <a:camera prst="orthographicFront"/>
              <a:lightRig rig="threePt" dir="t"/>
            </a:scene3d>
            <a:sp3d>
              <a:bevelT w="101600" prst="riblet"/>
            </a:sp3d>
          </p:spPr>
          <p:txBody>
            <a:bodyPr wrap="none" lIns="121915" tIns="60957" rIns="121915" bIns="60957">
              <a:spAutoFit/>
            </a:bodyPr>
            <a:lstStyle/>
            <a:p>
              <a:pPr algn="ctr" fontAlgn="base">
                <a:spcBef>
                  <a:spcPct val="0"/>
                </a:spcBef>
                <a:spcAft>
                  <a:spcPct val="0"/>
                </a:spcAft>
                <a:defRPr/>
              </a:pPr>
              <a:r>
                <a:rPr lang="en-US" sz="933" b="1">
                  <a:solidFill>
                    <a:srgbClr val="FFFFFF"/>
                  </a:solidFill>
                  <a:latin typeface="+mj-lt"/>
                </a:rPr>
                <a:t>Qtrly Steering </a:t>
              </a:r>
            </a:p>
            <a:p>
              <a:pPr algn="ctr" fontAlgn="base">
                <a:spcBef>
                  <a:spcPct val="0"/>
                </a:spcBef>
                <a:spcAft>
                  <a:spcPct val="0"/>
                </a:spcAft>
                <a:defRPr/>
              </a:pPr>
              <a:r>
                <a:rPr lang="en-US" sz="933" b="1">
                  <a:solidFill>
                    <a:srgbClr val="FFFFFF"/>
                  </a:solidFill>
                  <a:latin typeface="+mj-lt"/>
                </a:rPr>
                <a:t>Committee Meetings</a:t>
              </a:r>
            </a:p>
          </p:txBody>
        </p:sp>
        <p:sp>
          <p:nvSpPr>
            <p:cNvPr id="229" name="Text Box 43">
              <a:extLst>
                <a:ext uri="{FF2B5EF4-FFF2-40B4-BE49-F238E27FC236}">
                  <a16:creationId xmlns:a16="http://schemas.microsoft.com/office/drawing/2014/main" id="{C90E604A-B49C-4D7F-B60F-771054B312F6}"/>
                </a:ext>
              </a:extLst>
            </p:cNvPr>
            <p:cNvSpPr txBox="1">
              <a:spLocks noChangeAspect="1" noChangeArrowheads="1"/>
            </p:cNvSpPr>
            <p:nvPr/>
          </p:nvSpPr>
          <p:spPr bwMode="gray">
            <a:xfrm>
              <a:off x="4924" y="756"/>
              <a:ext cx="504" cy="315"/>
            </a:xfrm>
            <a:prstGeom prst="rect">
              <a:avLst/>
            </a:prstGeom>
            <a:noFill/>
            <a:ln w="9525">
              <a:noFill/>
              <a:miter lim="800000"/>
              <a:headEnd/>
              <a:tailEnd/>
            </a:ln>
            <a:effectLst/>
            <a:scene3d>
              <a:camera prst="orthographicFront"/>
              <a:lightRig rig="threePt" dir="t"/>
            </a:scene3d>
            <a:sp3d>
              <a:bevelT w="101600" prst="riblet"/>
            </a:sp3d>
          </p:spPr>
          <p:txBody>
            <a:bodyPr wrap="none" lIns="121915" tIns="60957" rIns="121915" bIns="60957">
              <a:spAutoFit/>
            </a:bodyPr>
            <a:lstStyle/>
            <a:p>
              <a:pPr algn="ctr" fontAlgn="base">
                <a:spcBef>
                  <a:spcPct val="0"/>
                </a:spcBef>
                <a:spcAft>
                  <a:spcPct val="0"/>
                </a:spcAft>
                <a:defRPr/>
              </a:pPr>
              <a:r>
                <a:rPr lang="en-US" sz="933" b="1">
                  <a:solidFill>
                    <a:srgbClr val="FFFFFF"/>
                  </a:solidFill>
                  <a:latin typeface="+mj-lt"/>
                </a:rPr>
                <a:t>Monthly</a:t>
              </a:r>
            </a:p>
            <a:p>
              <a:pPr algn="ctr" fontAlgn="base">
                <a:spcBef>
                  <a:spcPct val="0"/>
                </a:spcBef>
                <a:spcAft>
                  <a:spcPct val="0"/>
                </a:spcAft>
                <a:defRPr/>
              </a:pPr>
              <a:r>
                <a:rPr lang="en-US" sz="933" b="1">
                  <a:solidFill>
                    <a:srgbClr val="FFFFFF"/>
                  </a:solidFill>
                  <a:latin typeface="+mj-lt"/>
                </a:rPr>
                <a:t> Governance </a:t>
              </a:r>
            </a:p>
            <a:p>
              <a:pPr algn="ctr" fontAlgn="base">
                <a:spcBef>
                  <a:spcPct val="0"/>
                </a:spcBef>
                <a:spcAft>
                  <a:spcPct val="0"/>
                </a:spcAft>
                <a:defRPr/>
              </a:pPr>
              <a:r>
                <a:rPr lang="en-US" sz="933" b="1">
                  <a:solidFill>
                    <a:srgbClr val="FFFFFF"/>
                  </a:solidFill>
                  <a:latin typeface="+mj-lt"/>
                </a:rPr>
                <a:t>Meetings</a:t>
              </a:r>
            </a:p>
          </p:txBody>
        </p:sp>
        <p:sp>
          <p:nvSpPr>
            <p:cNvPr id="230" name="Text Box 44">
              <a:extLst>
                <a:ext uri="{FF2B5EF4-FFF2-40B4-BE49-F238E27FC236}">
                  <a16:creationId xmlns:a16="http://schemas.microsoft.com/office/drawing/2014/main" id="{23021835-6FD2-46B1-8982-1805C3B5004A}"/>
                </a:ext>
              </a:extLst>
            </p:cNvPr>
            <p:cNvSpPr txBox="1">
              <a:spLocks noChangeAspect="1" noChangeArrowheads="1"/>
            </p:cNvSpPr>
            <p:nvPr/>
          </p:nvSpPr>
          <p:spPr bwMode="gray">
            <a:xfrm>
              <a:off x="4832" y="1165"/>
              <a:ext cx="471" cy="315"/>
            </a:xfrm>
            <a:prstGeom prst="rect">
              <a:avLst/>
            </a:prstGeom>
            <a:noFill/>
            <a:ln w="9525">
              <a:noFill/>
              <a:miter lim="800000"/>
              <a:headEnd/>
              <a:tailEnd/>
            </a:ln>
            <a:effectLst/>
            <a:scene3d>
              <a:camera prst="orthographicFront"/>
              <a:lightRig rig="threePt" dir="t"/>
            </a:scene3d>
            <a:sp3d>
              <a:bevelT w="101600" prst="riblet"/>
            </a:sp3d>
          </p:spPr>
          <p:txBody>
            <a:bodyPr wrap="none" lIns="121915" tIns="60957" rIns="121915" bIns="60957">
              <a:spAutoFit/>
            </a:bodyPr>
            <a:lstStyle/>
            <a:p>
              <a:pPr algn="ctr" fontAlgn="base">
                <a:spcBef>
                  <a:spcPct val="0"/>
                </a:spcBef>
                <a:spcAft>
                  <a:spcPct val="0"/>
                </a:spcAft>
                <a:defRPr/>
              </a:pPr>
              <a:r>
                <a:rPr lang="en-US" sz="933" b="1">
                  <a:solidFill>
                    <a:srgbClr val="FFFFFF"/>
                  </a:solidFill>
                  <a:latin typeface="+mj-lt"/>
                </a:rPr>
                <a:t>SLA </a:t>
              </a:r>
            </a:p>
            <a:p>
              <a:pPr algn="ctr" fontAlgn="base">
                <a:spcBef>
                  <a:spcPct val="0"/>
                </a:spcBef>
                <a:spcAft>
                  <a:spcPct val="0"/>
                </a:spcAft>
                <a:defRPr/>
              </a:pPr>
              <a:r>
                <a:rPr lang="en-US" sz="933" b="1">
                  <a:solidFill>
                    <a:srgbClr val="FFFFFF"/>
                  </a:solidFill>
                  <a:latin typeface="+mj-lt"/>
                </a:rPr>
                <a:t>Compliance</a:t>
              </a:r>
            </a:p>
            <a:p>
              <a:pPr algn="ctr" fontAlgn="base">
                <a:spcBef>
                  <a:spcPct val="0"/>
                </a:spcBef>
                <a:spcAft>
                  <a:spcPct val="0"/>
                </a:spcAft>
                <a:defRPr/>
              </a:pPr>
              <a:r>
                <a:rPr lang="en-US" sz="933" b="1">
                  <a:solidFill>
                    <a:srgbClr val="FFFFFF"/>
                  </a:solidFill>
                  <a:latin typeface="+mj-lt"/>
                </a:rPr>
                <a:t>Reports</a:t>
              </a:r>
            </a:p>
          </p:txBody>
        </p:sp>
        <p:pic>
          <p:nvPicPr>
            <p:cNvPr id="231" name="Text Box 45">
              <a:extLst>
                <a:ext uri="{FF2B5EF4-FFF2-40B4-BE49-F238E27FC236}">
                  <a16:creationId xmlns:a16="http://schemas.microsoft.com/office/drawing/2014/main" id="{E98AEAF8-8A58-40E1-9316-11FEEA6889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3548" y="1480"/>
              <a:ext cx="723" cy="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2" name="Text Box 112">
              <a:extLst>
                <a:ext uri="{FF2B5EF4-FFF2-40B4-BE49-F238E27FC236}">
                  <a16:creationId xmlns:a16="http://schemas.microsoft.com/office/drawing/2014/main" id="{733C34BF-4093-47E3-AED8-6A1E50ACBB3D}"/>
                </a:ext>
              </a:extLst>
            </p:cNvPr>
            <p:cNvSpPr txBox="1">
              <a:spLocks noChangeArrowheads="1"/>
            </p:cNvSpPr>
            <p:nvPr/>
          </p:nvSpPr>
          <p:spPr bwMode="auto">
            <a:xfrm>
              <a:off x="3557" y="1384"/>
              <a:ext cx="561"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5" tIns="60957" rIns="121915" bIns="60957">
              <a:spAutoFit/>
            </a:bodyPr>
            <a:lstStyle>
              <a:lvl1pPr eaLnBrk="0" hangingPunct="0">
                <a:defRPr sz="1600" b="1">
                  <a:solidFill>
                    <a:schemeClr val="tx1"/>
                  </a:solidFill>
                  <a:latin typeface="Arial" pitchFamily="34" charset="0"/>
                </a:defRPr>
              </a:lvl1pPr>
              <a:lvl2pPr marL="742950" indent="-285750" eaLnBrk="0" hangingPunct="0">
                <a:defRPr sz="1600" b="1">
                  <a:solidFill>
                    <a:schemeClr val="tx1"/>
                  </a:solidFill>
                  <a:latin typeface="Arial" pitchFamily="34" charset="0"/>
                </a:defRPr>
              </a:lvl2pPr>
              <a:lvl3pPr marL="1143000" indent="-228600" eaLnBrk="0" hangingPunct="0">
                <a:defRPr sz="1600" b="1">
                  <a:solidFill>
                    <a:schemeClr val="tx1"/>
                  </a:solidFill>
                  <a:latin typeface="Arial" pitchFamily="34" charset="0"/>
                </a:defRPr>
              </a:lvl3pPr>
              <a:lvl4pPr marL="1600200" indent="-228600" eaLnBrk="0" hangingPunct="0">
                <a:defRPr sz="1600" b="1">
                  <a:solidFill>
                    <a:schemeClr val="tx1"/>
                  </a:solidFill>
                  <a:latin typeface="Arial" pitchFamily="34" charset="0"/>
                </a:defRPr>
              </a:lvl4pPr>
              <a:lvl5pPr marL="2057400" indent="-228600" eaLnBrk="0" hangingPunct="0">
                <a:defRPr sz="1600" b="1">
                  <a:solidFill>
                    <a:schemeClr val="tx1"/>
                  </a:solidFill>
                  <a:latin typeface="Arial" pitchFamily="34" charset="0"/>
                </a:defRPr>
              </a:lvl5pPr>
              <a:lvl6pPr marL="2514600" indent="-228600" eaLnBrk="0" fontAlgn="base" hangingPunct="0">
                <a:spcBef>
                  <a:spcPct val="0"/>
                </a:spcBef>
                <a:spcAft>
                  <a:spcPct val="0"/>
                </a:spcAft>
                <a:defRPr sz="1600" b="1">
                  <a:solidFill>
                    <a:schemeClr val="tx1"/>
                  </a:solidFill>
                  <a:latin typeface="Arial" pitchFamily="34" charset="0"/>
                </a:defRPr>
              </a:lvl6pPr>
              <a:lvl7pPr marL="2971800" indent="-228600" eaLnBrk="0" fontAlgn="base" hangingPunct="0">
                <a:spcBef>
                  <a:spcPct val="0"/>
                </a:spcBef>
                <a:spcAft>
                  <a:spcPct val="0"/>
                </a:spcAft>
                <a:defRPr sz="1600" b="1">
                  <a:solidFill>
                    <a:schemeClr val="tx1"/>
                  </a:solidFill>
                  <a:latin typeface="Arial" pitchFamily="34" charset="0"/>
                </a:defRPr>
              </a:lvl7pPr>
              <a:lvl8pPr marL="3429000" indent="-228600" eaLnBrk="0" fontAlgn="base" hangingPunct="0">
                <a:spcBef>
                  <a:spcPct val="0"/>
                </a:spcBef>
                <a:spcAft>
                  <a:spcPct val="0"/>
                </a:spcAft>
                <a:defRPr sz="1600" b="1">
                  <a:solidFill>
                    <a:schemeClr val="tx1"/>
                  </a:solidFill>
                  <a:latin typeface="Arial" pitchFamily="34" charset="0"/>
                </a:defRPr>
              </a:lvl8pPr>
              <a:lvl9pPr marL="3886200" indent="-228600" eaLnBrk="0" fontAlgn="base" hangingPunct="0">
                <a:spcBef>
                  <a:spcPct val="0"/>
                </a:spcBef>
                <a:spcAft>
                  <a:spcPct val="0"/>
                </a:spcAft>
                <a:defRPr sz="1600" b="1">
                  <a:solidFill>
                    <a:schemeClr val="tx1"/>
                  </a:solidFill>
                  <a:latin typeface="Arial" pitchFamily="34" charset="0"/>
                </a:defRPr>
              </a:lvl9pPr>
            </a:lstStyle>
            <a:p>
              <a:pPr algn="ctr" eaLnBrk="1" fontAlgn="base" hangingPunct="1">
                <a:spcBef>
                  <a:spcPct val="0"/>
                </a:spcBef>
                <a:spcAft>
                  <a:spcPct val="0"/>
                </a:spcAft>
              </a:pPr>
              <a:r>
                <a:rPr lang="en-US" sz="933">
                  <a:solidFill>
                    <a:srgbClr val="FFFFFF"/>
                  </a:solidFill>
                  <a:latin typeface="+mj-lt"/>
                </a:rPr>
                <a:t>Monthly Status </a:t>
              </a:r>
            </a:p>
            <a:p>
              <a:pPr algn="ctr" eaLnBrk="1" fontAlgn="base" hangingPunct="1">
                <a:spcBef>
                  <a:spcPct val="0"/>
                </a:spcBef>
                <a:spcAft>
                  <a:spcPct val="0"/>
                </a:spcAft>
              </a:pPr>
              <a:r>
                <a:rPr lang="en-US" sz="933">
                  <a:solidFill>
                    <a:srgbClr val="FFFFFF"/>
                  </a:solidFill>
                  <a:latin typeface="+mj-lt"/>
                </a:rPr>
                <a:t>Dashboard</a:t>
              </a:r>
            </a:p>
          </p:txBody>
        </p:sp>
        <p:sp>
          <p:nvSpPr>
            <p:cNvPr id="233" name="Text Box 46">
              <a:extLst>
                <a:ext uri="{FF2B5EF4-FFF2-40B4-BE49-F238E27FC236}">
                  <a16:creationId xmlns:a16="http://schemas.microsoft.com/office/drawing/2014/main" id="{53393CDB-DCA0-4C78-AC74-DF7014BAF2BE}"/>
                </a:ext>
              </a:extLst>
            </p:cNvPr>
            <p:cNvSpPr txBox="1">
              <a:spLocks noChangeAspect="1" noChangeArrowheads="1"/>
            </p:cNvSpPr>
            <p:nvPr/>
          </p:nvSpPr>
          <p:spPr bwMode="auto">
            <a:xfrm>
              <a:off x="3988" y="986"/>
              <a:ext cx="1008" cy="396"/>
            </a:xfrm>
            <a:prstGeom prst="rect">
              <a:avLst/>
            </a:prstGeom>
            <a:noFill/>
            <a:ln w="9525">
              <a:noFill/>
              <a:miter lim="800000"/>
              <a:headEnd/>
              <a:tailEnd/>
            </a:ln>
            <a:effectLst/>
            <a:scene3d>
              <a:camera prst="orthographicFront"/>
              <a:lightRig rig="threePt" dir="t"/>
            </a:scene3d>
            <a:sp3d>
              <a:bevelT w="101600" prst="riblet"/>
            </a:sp3d>
          </p:spPr>
          <p:txBody>
            <a:bodyPr lIns="121915" tIns="60957" rIns="121915" bIns="60957">
              <a:spAutoFit/>
            </a:bodyPr>
            <a:lstStyle/>
            <a:p>
              <a:pPr algn="ctr" fontAlgn="base">
                <a:spcBef>
                  <a:spcPct val="0"/>
                </a:spcBef>
                <a:spcAft>
                  <a:spcPct val="0"/>
                </a:spcAft>
                <a:defRPr/>
              </a:pPr>
              <a:endParaRPr lang="en-US" sz="933" b="1">
                <a:solidFill>
                  <a:srgbClr val="000066"/>
                </a:solidFill>
                <a:effectLst>
                  <a:outerShdw blurRad="38100" dist="38100" dir="2700000" algn="tl">
                    <a:srgbClr val="C0C0C0"/>
                  </a:outerShdw>
                </a:effectLst>
                <a:latin typeface="+mj-lt"/>
              </a:endParaRPr>
            </a:p>
            <a:p>
              <a:pPr algn="ctr" fontAlgn="base">
                <a:spcBef>
                  <a:spcPct val="0"/>
                </a:spcBef>
                <a:spcAft>
                  <a:spcPct val="0"/>
                </a:spcAft>
                <a:defRPr/>
              </a:pPr>
              <a:r>
                <a:rPr lang="en-US" sz="933" b="1">
                  <a:solidFill>
                    <a:srgbClr val="000066"/>
                  </a:solidFill>
                  <a:effectLst>
                    <a:outerShdw blurRad="38100" dist="38100" dir="2700000" algn="tl">
                      <a:srgbClr val="C0C0C0"/>
                    </a:outerShdw>
                  </a:effectLst>
                  <a:latin typeface="+mj-lt"/>
                </a:rPr>
                <a:t>Project </a:t>
              </a:r>
            </a:p>
            <a:p>
              <a:pPr algn="ctr" fontAlgn="base">
                <a:spcBef>
                  <a:spcPct val="0"/>
                </a:spcBef>
                <a:spcAft>
                  <a:spcPct val="0"/>
                </a:spcAft>
                <a:defRPr/>
              </a:pPr>
              <a:r>
                <a:rPr lang="en-US" sz="933" b="1">
                  <a:solidFill>
                    <a:srgbClr val="000066"/>
                  </a:solidFill>
                  <a:effectLst>
                    <a:outerShdw blurRad="38100" dist="38100" dir="2700000" algn="tl">
                      <a:srgbClr val="C0C0C0"/>
                    </a:outerShdw>
                  </a:effectLst>
                  <a:latin typeface="+mj-lt"/>
                </a:rPr>
                <a:t>Governance </a:t>
              </a:r>
            </a:p>
            <a:p>
              <a:pPr algn="ctr" fontAlgn="base">
                <a:spcBef>
                  <a:spcPct val="0"/>
                </a:spcBef>
                <a:spcAft>
                  <a:spcPct val="0"/>
                </a:spcAft>
                <a:defRPr/>
              </a:pPr>
              <a:r>
                <a:rPr lang="en-US" sz="933" b="1">
                  <a:solidFill>
                    <a:srgbClr val="000066"/>
                  </a:solidFill>
                  <a:effectLst>
                    <a:outerShdw blurRad="38100" dist="38100" dir="2700000" algn="tl">
                      <a:srgbClr val="C0C0C0"/>
                    </a:outerShdw>
                  </a:effectLst>
                  <a:latin typeface="+mj-lt"/>
                </a:rPr>
                <a:t>Model</a:t>
              </a:r>
            </a:p>
          </p:txBody>
        </p:sp>
      </p:grpSp>
      <p:sp>
        <p:nvSpPr>
          <p:cNvPr id="234" name="Rectangle 11">
            <a:extLst>
              <a:ext uri="{FF2B5EF4-FFF2-40B4-BE49-F238E27FC236}">
                <a16:creationId xmlns:a16="http://schemas.microsoft.com/office/drawing/2014/main" id="{A4C6D458-5055-44F1-B529-C39AE03A0D01}"/>
              </a:ext>
            </a:extLst>
          </p:cNvPr>
          <p:cNvSpPr>
            <a:spLocks noChangeArrowheads="1"/>
          </p:cNvSpPr>
          <p:nvPr/>
        </p:nvSpPr>
        <p:spPr bwMode="auto">
          <a:xfrm>
            <a:off x="8613493" y="3555825"/>
            <a:ext cx="3320940" cy="3265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107949" tIns="55033" rIns="107949" bIns="55033">
            <a:spAutoFit/>
          </a:bodyPr>
          <a:lstStyle/>
          <a:p>
            <a:pPr algn="ctr" defTabSz="1073124" fontAlgn="base">
              <a:spcBef>
                <a:spcPct val="0"/>
              </a:spcBef>
              <a:spcAft>
                <a:spcPct val="0"/>
              </a:spcAft>
            </a:pPr>
            <a:r>
              <a:rPr lang="en-US" sz="1400" b="1">
                <a:solidFill>
                  <a:srgbClr val="000000"/>
                </a:solidFill>
                <a:latin typeface="+mj-lt"/>
              </a:rPr>
              <a:t>Atos Offshore Team</a:t>
            </a:r>
          </a:p>
        </p:txBody>
      </p:sp>
      <p:sp>
        <p:nvSpPr>
          <p:cNvPr id="236" name="Rectangle 48">
            <a:extLst>
              <a:ext uri="{FF2B5EF4-FFF2-40B4-BE49-F238E27FC236}">
                <a16:creationId xmlns:a16="http://schemas.microsoft.com/office/drawing/2014/main" id="{08202AAC-8F23-4C93-B805-D7F80E2BB0FF}"/>
              </a:ext>
            </a:extLst>
          </p:cNvPr>
          <p:cNvSpPr>
            <a:spLocks noChangeArrowheads="1"/>
          </p:cNvSpPr>
          <p:nvPr/>
        </p:nvSpPr>
        <p:spPr bwMode="auto">
          <a:xfrm>
            <a:off x="5583107" y="5108235"/>
            <a:ext cx="1385356" cy="347636"/>
          </a:xfrm>
          <a:prstGeom prst="rect">
            <a:avLst/>
          </a:prstGeom>
          <a:solidFill>
            <a:srgbClr val="CFC498"/>
          </a:solidFill>
          <a:ln w="12700">
            <a:noFill/>
            <a:miter lim="800000"/>
            <a:headEnd/>
            <a:tailEnd/>
          </a:ln>
          <a:effectLst/>
        </p:spPr>
        <p:txBody>
          <a:bodyPr anchor="ctr"/>
          <a:lstStyle/>
          <a:p>
            <a:pPr algn="ctr" fontAlgn="base">
              <a:spcBef>
                <a:spcPct val="0"/>
              </a:spcBef>
              <a:spcAft>
                <a:spcPct val="0"/>
              </a:spcAft>
              <a:defRPr/>
            </a:pPr>
            <a:r>
              <a:rPr lang="en-US" sz="1067" b="1">
                <a:solidFill>
                  <a:srgbClr val="000000"/>
                </a:solidFill>
                <a:latin typeface="+mj-lt"/>
              </a:rPr>
              <a:t>Business Sys. Analyst</a:t>
            </a:r>
          </a:p>
        </p:txBody>
      </p:sp>
      <p:sp>
        <p:nvSpPr>
          <p:cNvPr id="237" name="Rectangle 48">
            <a:extLst>
              <a:ext uri="{FF2B5EF4-FFF2-40B4-BE49-F238E27FC236}">
                <a16:creationId xmlns:a16="http://schemas.microsoft.com/office/drawing/2014/main" id="{549D7112-6B0C-4B0D-BA34-8954CF3CF6FF}"/>
              </a:ext>
            </a:extLst>
          </p:cNvPr>
          <p:cNvSpPr>
            <a:spLocks noChangeArrowheads="1"/>
          </p:cNvSpPr>
          <p:nvPr/>
        </p:nvSpPr>
        <p:spPr bwMode="auto">
          <a:xfrm>
            <a:off x="8831439" y="4485118"/>
            <a:ext cx="1261979" cy="383409"/>
          </a:xfrm>
          <a:prstGeom prst="rect">
            <a:avLst/>
          </a:prstGeom>
          <a:solidFill>
            <a:srgbClr val="CFC498"/>
          </a:solidFill>
          <a:ln w="12700">
            <a:noFill/>
            <a:miter lim="800000"/>
            <a:headEnd/>
            <a:tailEnd/>
          </a:ln>
          <a:effectLst/>
        </p:spPr>
        <p:txBody>
          <a:bodyPr anchor="ctr"/>
          <a:lstStyle/>
          <a:p>
            <a:pPr algn="ctr" fontAlgn="base">
              <a:spcBef>
                <a:spcPct val="0"/>
              </a:spcBef>
              <a:spcAft>
                <a:spcPct val="0"/>
              </a:spcAft>
              <a:defRPr/>
            </a:pPr>
            <a:r>
              <a:rPr lang="en-US" sz="1067" b="1">
                <a:solidFill>
                  <a:srgbClr val="000000"/>
                </a:solidFill>
                <a:latin typeface="+mj-lt"/>
              </a:rPr>
              <a:t>Lead Developer</a:t>
            </a:r>
          </a:p>
        </p:txBody>
      </p:sp>
      <p:sp>
        <p:nvSpPr>
          <p:cNvPr id="238" name="Rectangle 48">
            <a:extLst>
              <a:ext uri="{FF2B5EF4-FFF2-40B4-BE49-F238E27FC236}">
                <a16:creationId xmlns:a16="http://schemas.microsoft.com/office/drawing/2014/main" id="{97F36EC2-53DD-40ED-8A7B-1465CFF4488D}"/>
              </a:ext>
            </a:extLst>
          </p:cNvPr>
          <p:cNvSpPr>
            <a:spLocks noChangeArrowheads="1"/>
          </p:cNvSpPr>
          <p:nvPr/>
        </p:nvSpPr>
        <p:spPr bwMode="auto">
          <a:xfrm>
            <a:off x="10272708" y="4486172"/>
            <a:ext cx="1427555" cy="383409"/>
          </a:xfrm>
          <a:prstGeom prst="rect">
            <a:avLst/>
          </a:prstGeom>
          <a:solidFill>
            <a:srgbClr val="CFC498"/>
          </a:solidFill>
          <a:ln w="12700">
            <a:noFill/>
            <a:miter lim="800000"/>
            <a:headEnd/>
            <a:tailEnd/>
          </a:ln>
          <a:effectLst/>
        </p:spPr>
        <p:txBody>
          <a:bodyPr anchor="ctr"/>
          <a:lstStyle/>
          <a:p>
            <a:pPr algn="ctr" fontAlgn="base">
              <a:spcBef>
                <a:spcPct val="0"/>
              </a:spcBef>
              <a:spcAft>
                <a:spcPct val="0"/>
              </a:spcAft>
              <a:defRPr/>
            </a:pPr>
            <a:r>
              <a:rPr lang="en-US" sz="1067" b="1">
                <a:solidFill>
                  <a:srgbClr val="000000"/>
                </a:solidFill>
                <a:latin typeface="+mj-lt"/>
              </a:rPr>
              <a:t>Business System Analyst</a:t>
            </a:r>
          </a:p>
        </p:txBody>
      </p:sp>
      <p:sp>
        <p:nvSpPr>
          <p:cNvPr id="239" name="Rectangle 48">
            <a:extLst>
              <a:ext uri="{FF2B5EF4-FFF2-40B4-BE49-F238E27FC236}">
                <a16:creationId xmlns:a16="http://schemas.microsoft.com/office/drawing/2014/main" id="{44C031C5-F0A0-452A-BEDB-AB140949AEC9}"/>
              </a:ext>
            </a:extLst>
          </p:cNvPr>
          <p:cNvSpPr>
            <a:spLocks noChangeArrowheads="1"/>
          </p:cNvSpPr>
          <p:nvPr/>
        </p:nvSpPr>
        <p:spPr bwMode="auto">
          <a:xfrm>
            <a:off x="8831437" y="4932402"/>
            <a:ext cx="1261979" cy="383409"/>
          </a:xfrm>
          <a:prstGeom prst="rect">
            <a:avLst/>
          </a:prstGeom>
          <a:solidFill>
            <a:srgbClr val="CFC498"/>
          </a:solidFill>
          <a:ln w="12700">
            <a:noFill/>
            <a:miter lim="800000"/>
            <a:headEnd/>
            <a:tailEnd/>
          </a:ln>
          <a:effectLst/>
        </p:spPr>
        <p:txBody>
          <a:bodyPr anchor="ctr"/>
          <a:lstStyle/>
          <a:p>
            <a:pPr algn="ctr" fontAlgn="base">
              <a:spcBef>
                <a:spcPct val="0"/>
              </a:spcBef>
              <a:spcAft>
                <a:spcPct val="0"/>
              </a:spcAft>
              <a:defRPr/>
            </a:pPr>
            <a:r>
              <a:rPr lang="en-US" sz="1067" b="1">
                <a:solidFill>
                  <a:srgbClr val="000000"/>
                </a:solidFill>
                <a:latin typeface="+mj-lt"/>
              </a:rPr>
              <a:t>Developer</a:t>
            </a:r>
          </a:p>
        </p:txBody>
      </p:sp>
      <p:sp>
        <p:nvSpPr>
          <p:cNvPr id="240" name="Rectangle 48">
            <a:extLst>
              <a:ext uri="{FF2B5EF4-FFF2-40B4-BE49-F238E27FC236}">
                <a16:creationId xmlns:a16="http://schemas.microsoft.com/office/drawing/2014/main" id="{BB8E05A7-6D24-4E77-BE13-AF7383523019}"/>
              </a:ext>
            </a:extLst>
          </p:cNvPr>
          <p:cNvSpPr>
            <a:spLocks noChangeArrowheads="1"/>
          </p:cNvSpPr>
          <p:nvPr/>
        </p:nvSpPr>
        <p:spPr bwMode="auto">
          <a:xfrm>
            <a:off x="10280703" y="4939069"/>
            <a:ext cx="1419560" cy="383409"/>
          </a:xfrm>
          <a:prstGeom prst="rect">
            <a:avLst/>
          </a:prstGeom>
          <a:solidFill>
            <a:srgbClr val="CFC498"/>
          </a:solidFill>
          <a:ln w="12700">
            <a:noFill/>
            <a:miter lim="800000"/>
            <a:headEnd/>
            <a:tailEnd/>
          </a:ln>
          <a:effectLst/>
        </p:spPr>
        <p:txBody>
          <a:bodyPr anchor="ctr"/>
          <a:lstStyle/>
          <a:p>
            <a:pPr algn="ctr" fontAlgn="base">
              <a:spcBef>
                <a:spcPct val="0"/>
              </a:spcBef>
              <a:spcAft>
                <a:spcPct val="0"/>
              </a:spcAft>
              <a:defRPr/>
            </a:pPr>
            <a:r>
              <a:rPr lang="en-US" sz="1067" b="1">
                <a:solidFill>
                  <a:srgbClr val="000000"/>
                </a:solidFill>
                <a:latin typeface="+mj-lt"/>
              </a:rPr>
              <a:t>QA Engineer, Tester</a:t>
            </a:r>
          </a:p>
        </p:txBody>
      </p:sp>
      <p:sp>
        <p:nvSpPr>
          <p:cNvPr id="241" name="Rectangle 48">
            <a:extLst>
              <a:ext uri="{FF2B5EF4-FFF2-40B4-BE49-F238E27FC236}">
                <a16:creationId xmlns:a16="http://schemas.microsoft.com/office/drawing/2014/main" id="{94DB4BA4-C23A-4630-84A1-F91D761630AB}"/>
              </a:ext>
            </a:extLst>
          </p:cNvPr>
          <p:cNvSpPr>
            <a:spLocks noChangeArrowheads="1"/>
          </p:cNvSpPr>
          <p:nvPr/>
        </p:nvSpPr>
        <p:spPr bwMode="auto">
          <a:xfrm>
            <a:off x="10316513" y="5351214"/>
            <a:ext cx="1383750" cy="383409"/>
          </a:xfrm>
          <a:prstGeom prst="rect">
            <a:avLst/>
          </a:prstGeom>
          <a:solidFill>
            <a:srgbClr val="CFC498"/>
          </a:solidFill>
          <a:ln w="12700">
            <a:noFill/>
            <a:miter lim="800000"/>
            <a:headEnd/>
            <a:tailEnd/>
          </a:ln>
          <a:effectLst/>
        </p:spPr>
        <p:txBody>
          <a:bodyPr anchor="ctr"/>
          <a:lstStyle/>
          <a:p>
            <a:pPr algn="ctr" fontAlgn="base">
              <a:spcBef>
                <a:spcPct val="0"/>
              </a:spcBef>
              <a:spcAft>
                <a:spcPct val="0"/>
              </a:spcAft>
              <a:defRPr/>
            </a:pPr>
            <a:r>
              <a:rPr lang="en-US" sz="1067" b="1">
                <a:solidFill>
                  <a:srgbClr val="000000"/>
                </a:solidFill>
                <a:latin typeface="+mj-lt"/>
              </a:rPr>
              <a:t>Release Manager</a:t>
            </a:r>
          </a:p>
        </p:txBody>
      </p:sp>
      <p:sp>
        <p:nvSpPr>
          <p:cNvPr id="75" name="Rectangle 41">
            <a:extLst>
              <a:ext uri="{FF2B5EF4-FFF2-40B4-BE49-F238E27FC236}">
                <a16:creationId xmlns:a16="http://schemas.microsoft.com/office/drawing/2014/main" id="{BE9C22EF-270A-4CF2-A077-D27D9C30ADDC}"/>
              </a:ext>
            </a:extLst>
          </p:cNvPr>
          <p:cNvSpPr>
            <a:spLocks noChangeArrowheads="1"/>
          </p:cNvSpPr>
          <p:nvPr/>
        </p:nvSpPr>
        <p:spPr bwMode="auto">
          <a:xfrm>
            <a:off x="4087447" y="4650663"/>
            <a:ext cx="2797903" cy="328427"/>
          </a:xfrm>
          <a:prstGeom prst="rect">
            <a:avLst/>
          </a:prstGeom>
          <a:solidFill>
            <a:srgbClr val="CFC498"/>
          </a:solidFill>
          <a:ln w="12700">
            <a:noFill/>
            <a:miter lim="800000"/>
            <a:headEnd/>
            <a:tailEnd/>
          </a:ln>
          <a:effectLst/>
        </p:spPr>
        <p:txBody>
          <a:bodyPr anchor="ctr"/>
          <a:lstStyle/>
          <a:p>
            <a:pPr algn="ctr" fontAlgn="base">
              <a:spcBef>
                <a:spcPct val="0"/>
              </a:spcBef>
              <a:spcAft>
                <a:spcPct val="0"/>
              </a:spcAft>
              <a:defRPr/>
            </a:pPr>
            <a:r>
              <a:rPr lang="en-US" sz="1067" b="1">
                <a:solidFill>
                  <a:srgbClr val="000000"/>
                </a:solidFill>
                <a:latin typeface="+mj-lt"/>
              </a:rPr>
              <a:t>Technical Lead</a:t>
            </a:r>
          </a:p>
        </p:txBody>
      </p:sp>
      <p:sp>
        <p:nvSpPr>
          <p:cNvPr id="76" name="Rectangle 48">
            <a:extLst>
              <a:ext uri="{FF2B5EF4-FFF2-40B4-BE49-F238E27FC236}">
                <a16:creationId xmlns:a16="http://schemas.microsoft.com/office/drawing/2014/main" id="{549E2C5D-573E-43E8-88ED-35DDBEF1B748}"/>
              </a:ext>
            </a:extLst>
          </p:cNvPr>
          <p:cNvSpPr>
            <a:spLocks noChangeArrowheads="1"/>
          </p:cNvSpPr>
          <p:nvPr/>
        </p:nvSpPr>
        <p:spPr bwMode="auto">
          <a:xfrm>
            <a:off x="8867172" y="5349673"/>
            <a:ext cx="1233690" cy="383409"/>
          </a:xfrm>
          <a:prstGeom prst="rect">
            <a:avLst/>
          </a:prstGeom>
          <a:solidFill>
            <a:srgbClr val="CFC498"/>
          </a:solidFill>
          <a:ln w="12700">
            <a:noFill/>
            <a:miter lim="800000"/>
            <a:headEnd/>
            <a:tailEnd/>
          </a:ln>
          <a:effectLst/>
        </p:spPr>
        <p:txBody>
          <a:bodyPr anchor="ctr"/>
          <a:lstStyle/>
          <a:p>
            <a:pPr algn="ctr" fontAlgn="base">
              <a:spcBef>
                <a:spcPct val="0"/>
              </a:spcBef>
              <a:spcAft>
                <a:spcPct val="0"/>
              </a:spcAft>
              <a:defRPr/>
            </a:pPr>
            <a:r>
              <a:rPr lang="en-US" sz="1067" b="1">
                <a:solidFill>
                  <a:srgbClr val="000000"/>
                </a:solidFill>
                <a:latin typeface="+mj-lt"/>
              </a:rPr>
              <a:t>Data Designer</a:t>
            </a:r>
          </a:p>
        </p:txBody>
      </p:sp>
    </p:spTree>
    <p:extLst>
      <p:ext uri="{BB962C8B-B14F-4D97-AF65-F5344CB8AC3E}">
        <p14:creationId xmlns:p14="http://schemas.microsoft.com/office/powerpoint/2010/main" val="128852170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21A3A3F-474B-45DC-9C04-1EFCBFF994DF}"/>
              </a:ext>
            </a:extLst>
          </p:cNvPr>
          <p:cNvSpPr>
            <a:spLocks noGrp="1"/>
          </p:cNvSpPr>
          <p:nvPr>
            <p:ph type="title"/>
          </p:nvPr>
        </p:nvSpPr>
        <p:spPr/>
        <p:txBody>
          <a:bodyPr/>
          <a:lstStyle/>
          <a:p>
            <a:r>
              <a:rPr lang="en-US"/>
              <a:t>Sprint Execution – Onsite/Offshore Model</a:t>
            </a:r>
            <a:endParaRPr lang="en-GB"/>
          </a:p>
        </p:txBody>
      </p:sp>
      <p:sp>
        <p:nvSpPr>
          <p:cNvPr id="164" name="Pentagon 198">
            <a:extLst>
              <a:ext uri="{FF2B5EF4-FFF2-40B4-BE49-F238E27FC236}">
                <a16:creationId xmlns:a16="http://schemas.microsoft.com/office/drawing/2014/main" id="{9E6B39D0-FA16-4FE9-AD54-66FE4EEB1E65}"/>
              </a:ext>
            </a:extLst>
          </p:cNvPr>
          <p:cNvSpPr/>
          <p:nvPr/>
        </p:nvSpPr>
        <p:spPr>
          <a:xfrm>
            <a:off x="385664" y="1320099"/>
            <a:ext cx="2152299" cy="361152"/>
          </a:xfrm>
          <a:prstGeom prst="homePlate">
            <a:avLst/>
          </a:prstGeom>
          <a:solidFill>
            <a:srgbClr val="6639B7"/>
          </a:solidFill>
          <a:ln w="25400" cap="flat" cmpd="sng" algn="ctr">
            <a:noFill/>
            <a:prstDash val="solid"/>
          </a:ln>
          <a:effectLst/>
        </p:spPr>
        <p:txBody>
          <a:bodyPr rtlCol="0" anchor="ctr"/>
          <a:lstStyle/>
          <a:p>
            <a:pPr algn="ctr" defTabSz="1625519">
              <a:defRPr/>
            </a:pPr>
            <a:r>
              <a:rPr lang="en-IN" sz="1600" b="1" kern="0">
                <a:solidFill>
                  <a:prstClr val="white"/>
                </a:solidFill>
                <a:latin typeface="Verdana"/>
              </a:rPr>
              <a:t>SPRINT 1</a:t>
            </a:r>
          </a:p>
        </p:txBody>
      </p:sp>
      <p:sp>
        <p:nvSpPr>
          <p:cNvPr id="165" name="Pentagon 199">
            <a:extLst>
              <a:ext uri="{FF2B5EF4-FFF2-40B4-BE49-F238E27FC236}">
                <a16:creationId xmlns:a16="http://schemas.microsoft.com/office/drawing/2014/main" id="{5C04CCA6-BD98-43FB-8F8B-D7607A0D6157}"/>
              </a:ext>
            </a:extLst>
          </p:cNvPr>
          <p:cNvSpPr/>
          <p:nvPr/>
        </p:nvSpPr>
        <p:spPr>
          <a:xfrm>
            <a:off x="2801711" y="1320099"/>
            <a:ext cx="2152299" cy="361152"/>
          </a:xfrm>
          <a:prstGeom prst="homePlate">
            <a:avLst/>
          </a:prstGeom>
          <a:solidFill>
            <a:srgbClr val="6639B7"/>
          </a:solidFill>
          <a:ln w="25400" cap="flat" cmpd="sng" algn="ctr">
            <a:noFill/>
            <a:prstDash val="solid"/>
          </a:ln>
          <a:effectLst/>
        </p:spPr>
        <p:txBody>
          <a:bodyPr rtlCol="0" anchor="ctr"/>
          <a:lstStyle/>
          <a:p>
            <a:pPr algn="ctr" defTabSz="1625519">
              <a:defRPr/>
            </a:pPr>
            <a:r>
              <a:rPr lang="en-IN" sz="1600" b="1" kern="0">
                <a:solidFill>
                  <a:prstClr val="white"/>
                </a:solidFill>
                <a:latin typeface="Verdana"/>
              </a:rPr>
              <a:t>SPRINT 2</a:t>
            </a:r>
          </a:p>
        </p:txBody>
      </p:sp>
      <p:sp>
        <p:nvSpPr>
          <p:cNvPr id="166" name="Pentagon 200">
            <a:extLst>
              <a:ext uri="{FF2B5EF4-FFF2-40B4-BE49-F238E27FC236}">
                <a16:creationId xmlns:a16="http://schemas.microsoft.com/office/drawing/2014/main" id="{545664E0-543D-43B7-85FB-914A30256A60}"/>
              </a:ext>
            </a:extLst>
          </p:cNvPr>
          <p:cNvSpPr/>
          <p:nvPr/>
        </p:nvSpPr>
        <p:spPr>
          <a:xfrm>
            <a:off x="7633805" y="1320099"/>
            <a:ext cx="2152299" cy="361152"/>
          </a:xfrm>
          <a:prstGeom prst="homePlate">
            <a:avLst/>
          </a:prstGeom>
          <a:solidFill>
            <a:srgbClr val="6639B7"/>
          </a:solidFill>
          <a:ln w="25400" cap="flat" cmpd="sng" algn="ctr">
            <a:noFill/>
            <a:prstDash val="solid"/>
          </a:ln>
          <a:effectLst/>
        </p:spPr>
        <p:txBody>
          <a:bodyPr rtlCol="0" anchor="ctr"/>
          <a:lstStyle/>
          <a:p>
            <a:pPr algn="ctr" defTabSz="1625519">
              <a:defRPr/>
            </a:pPr>
            <a:r>
              <a:rPr lang="en-IN" sz="1600" b="1" kern="0">
                <a:solidFill>
                  <a:prstClr val="white"/>
                </a:solidFill>
                <a:latin typeface="Verdana"/>
              </a:rPr>
              <a:t>SPRINT...</a:t>
            </a:r>
          </a:p>
        </p:txBody>
      </p:sp>
      <p:sp>
        <p:nvSpPr>
          <p:cNvPr id="167" name="Pentagon 201">
            <a:extLst>
              <a:ext uri="{FF2B5EF4-FFF2-40B4-BE49-F238E27FC236}">
                <a16:creationId xmlns:a16="http://schemas.microsoft.com/office/drawing/2014/main" id="{B118B022-67FD-474F-A544-6D796854849B}"/>
              </a:ext>
            </a:extLst>
          </p:cNvPr>
          <p:cNvSpPr/>
          <p:nvPr/>
        </p:nvSpPr>
        <p:spPr>
          <a:xfrm>
            <a:off x="5217757" y="1320099"/>
            <a:ext cx="2152299" cy="361152"/>
          </a:xfrm>
          <a:prstGeom prst="homePlate">
            <a:avLst/>
          </a:prstGeom>
          <a:solidFill>
            <a:srgbClr val="6639B7"/>
          </a:solidFill>
          <a:ln w="25400" cap="flat" cmpd="sng" algn="ctr">
            <a:noFill/>
            <a:prstDash val="solid"/>
          </a:ln>
          <a:effectLst/>
        </p:spPr>
        <p:txBody>
          <a:bodyPr rtlCol="0" anchor="ctr"/>
          <a:lstStyle/>
          <a:p>
            <a:pPr algn="ctr" defTabSz="1625519">
              <a:defRPr/>
            </a:pPr>
            <a:r>
              <a:rPr lang="en-IN" sz="1600" b="1" kern="0">
                <a:solidFill>
                  <a:prstClr val="white"/>
                </a:solidFill>
                <a:latin typeface="Verdana"/>
              </a:rPr>
              <a:t>SPRINT 3</a:t>
            </a:r>
          </a:p>
        </p:txBody>
      </p:sp>
      <p:sp>
        <p:nvSpPr>
          <p:cNvPr id="168" name="Pentagon 202">
            <a:extLst>
              <a:ext uri="{FF2B5EF4-FFF2-40B4-BE49-F238E27FC236}">
                <a16:creationId xmlns:a16="http://schemas.microsoft.com/office/drawing/2014/main" id="{594D7206-42C3-45C0-8925-AD8FFD7435FC}"/>
              </a:ext>
            </a:extLst>
          </p:cNvPr>
          <p:cNvSpPr/>
          <p:nvPr/>
        </p:nvSpPr>
        <p:spPr>
          <a:xfrm>
            <a:off x="10049853" y="1320097"/>
            <a:ext cx="2057480" cy="361152"/>
          </a:xfrm>
          <a:prstGeom prst="homePlate">
            <a:avLst/>
          </a:prstGeom>
          <a:solidFill>
            <a:srgbClr val="6639B7"/>
          </a:solidFill>
          <a:ln w="25400" cap="flat" cmpd="sng" algn="ctr">
            <a:noFill/>
            <a:prstDash val="solid"/>
          </a:ln>
          <a:effectLst/>
        </p:spPr>
        <p:txBody>
          <a:bodyPr rtlCol="0" anchor="ctr"/>
          <a:lstStyle/>
          <a:p>
            <a:pPr algn="ctr" defTabSz="1625519">
              <a:defRPr/>
            </a:pPr>
            <a:r>
              <a:rPr lang="en-IN" sz="1600" b="1" kern="0">
                <a:solidFill>
                  <a:prstClr val="white"/>
                </a:solidFill>
                <a:latin typeface="Verdana"/>
              </a:rPr>
              <a:t>SPRINT N</a:t>
            </a:r>
          </a:p>
        </p:txBody>
      </p:sp>
      <p:sp>
        <p:nvSpPr>
          <p:cNvPr id="7" name="Rectangle 6">
            <a:extLst>
              <a:ext uri="{FF2B5EF4-FFF2-40B4-BE49-F238E27FC236}">
                <a16:creationId xmlns:a16="http://schemas.microsoft.com/office/drawing/2014/main" id="{1E9307C8-4D77-4BF5-AA2D-3FDA35164D9E}"/>
              </a:ext>
            </a:extLst>
          </p:cNvPr>
          <p:cNvSpPr/>
          <p:nvPr/>
        </p:nvSpPr>
        <p:spPr>
          <a:xfrm>
            <a:off x="409453" y="1745540"/>
            <a:ext cx="11726235" cy="4364637"/>
          </a:xfrm>
          <a:prstGeom prst="rect">
            <a:avLst/>
          </a:prstGeom>
          <a:solidFill>
            <a:sysClr val="window" lastClr="FFFFFF"/>
          </a:solidFill>
          <a:ln w="19050" cap="flat" cmpd="sng" algn="ctr">
            <a:solidFill>
              <a:schemeClr val="accent3"/>
            </a:solidFill>
            <a:prstDash val="solid"/>
          </a:ln>
          <a:effectLst/>
        </p:spPr>
        <p:txBody>
          <a:bodyPr rtlCol="0" anchor="ctr"/>
          <a:lstStyle/>
          <a:p>
            <a:pPr algn="ctr" defTabSz="1625519">
              <a:defRPr/>
            </a:pPr>
            <a:endParaRPr lang="en-IN" sz="3200" kern="0">
              <a:solidFill>
                <a:prstClr val="white"/>
              </a:solidFill>
              <a:latin typeface="Verdana"/>
            </a:endParaRPr>
          </a:p>
        </p:txBody>
      </p:sp>
      <p:sp>
        <p:nvSpPr>
          <p:cNvPr id="8" name="Rectangle 7">
            <a:extLst>
              <a:ext uri="{FF2B5EF4-FFF2-40B4-BE49-F238E27FC236}">
                <a16:creationId xmlns:a16="http://schemas.microsoft.com/office/drawing/2014/main" id="{C5A65170-A7FE-48AA-B296-9BF6F1669BEC}"/>
              </a:ext>
            </a:extLst>
          </p:cNvPr>
          <p:cNvSpPr/>
          <p:nvPr/>
        </p:nvSpPr>
        <p:spPr>
          <a:xfrm>
            <a:off x="4539570" y="1817142"/>
            <a:ext cx="3135113" cy="275908"/>
          </a:xfrm>
          <a:prstGeom prst="rect">
            <a:avLst/>
          </a:prstGeom>
          <a:solidFill>
            <a:srgbClr val="0089C4"/>
          </a:solidFill>
          <a:ln w="25400" cap="flat" cmpd="sng" algn="ctr">
            <a:noFill/>
            <a:prstDash val="solid"/>
          </a:ln>
          <a:effectLst/>
        </p:spPr>
        <p:txBody>
          <a:bodyPr rtlCol="0" anchor="ctr"/>
          <a:lstStyle/>
          <a:p>
            <a:pPr algn="ctr" defTabSz="1625519">
              <a:defRPr/>
            </a:pPr>
            <a:r>
              <a:rPr lang="en-IN" sz="1333" b="1" kern="0">
                <a:solidFill>
                  <a:prstClr val="white"/>
                </a:solidFill>
                <a:latin typeface="Verdana"/>
              </a:rPr>
              <a:t>Atos Scrum Master</a:t>
            </a:r>
          </a:p>
        </p:txBody>
      </p:sp>
      <p:sp>
        <p:nvSpPr>
          <p:cNvPr id="9" name="Rectangle 8">
            <a:extLst>
              <a:ext uri="{FF2B5EF4-FFF2-40B4-BE49-F238E27FC236}">
                <a16:creationId xmlns:a16="http://schemas.microsoft.com/office/drawing/2014/main" id="{15455F4E-11D4-4031-85BE-97884B4A5DFF}"/>
              </a:ext>
            </a:extLst>
          </p:cNvPr>
          <p:cNvSpPr/>
          <p:nvPr/>
        </p:nvSpPr>
        <p:spPr>
          <a:xfrm>
            <a:off x="9727842" y="1904117"/>
            <a:ext cx="2134343" cy="1017572"/>
          </a:xfrm>
          <a:prstGeom prst="rect">
            <a:avLst/>
          </a:prstGeom>
          <a:solidFill>
            <a:srgbClr val="F4D3F5"/>
          </a:solidFill>
          <a:ln w="25400" cap="flat" cmpd="sng" algn="ctr">
            <a:noFill/>
            <a:prstDash val="solid"/>
          </a:ln>
          <a:effectLst/>
        </p:spPr>
        <p:txBody>
          <a:bodyPr rtlCol="0" anchor="ctr"/>
          <a:lstStyle/>
          <a:p>
            <a:pPr algn="ctr" defTabSz="1625519">
              <a:defRPr/>
            </a:pPr>
            <a:endParaRPr lang="en-IN" sz="3200" kern="0">
              <a:solidFill>
                <a:prstClr val="white"/>
              </a:solidFill>
              <a:latin typeface="Verdana"/>
            </a:endParaRPr>
          </a:p>
        </p:txBody>
      </p:sp>
      <p:sp>
        <p:nvSpPr>
          <p:cNvPr id="13" name="TextBox 12">
            <a:extLst>
              <a:ext uri="{FF2B5EF4-FFF2-40B4-BE49-F238E27FC236}">
                <a16:creationId xmlns:a16="http://schemas.microsoft.com/office/drawing/2014/main" id="{1A79E797-1D43-46E7-97DC-6AEA49D8A1B6}"/>
              </a:ext>
            </a:extLst>
          </p:cNvPr>
          <p:cNvSpPr txBox="1"/>
          <p:nvPr/>
        </p:nvSpPr>
        <p:spPr>
          <a:xfrm>
            <a:off x="10120865" y="1956643"/>
            <a:ext cx="1428505" cy="234487"/>
          </a:xfrm>
          <a:prstGeom prst="rect">
            <a:avLst/>
          </a:prstGeom>
          <a:no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en-US"/>
            </a:defPPr>
            <a:lvl1pPr algn="ctr">
              <a:defRPr sz="105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1625519">
              <a:defRPr/>
            </a:pPr>
            <a:r>
              <a:rPr lang="en-IN" sz="1867" b="1" kern="0">
                <a:solidFill>
                  <a:srgbClr val="A626AA"/>
                </a:solidFill>
                <a:latin typeface="Verdana"/>
              </a:rPr>
              <a:t>INDIA</a:t>
            </a:r>
          </a:p>
        </p:txBody>
      </p:sp>
      <p:grpSp>
        <p:nvGrpSpPr>
          <p:cNvPr id="14" name="Group 13">
            <a:extLst>
              <a:ext uri="{FF2B5EF4-FFF2-40B4-BE49-F238E27FC236}">
                <a16:creationId xmlns:a16="http://schemas.microsoft.com/office/drawing/2014/main" id="{0EC00633-F506-4786-96B4-BDFA12C3487B}"/>
              </a:ext>
            </a:extLst>
          </p:cNvPr>
          <p:cNvGrpSpPr/>
          <p:nvPr/>
        </p:nvGrpSpPr>
        <p:grpSpPr>
          <a:xfrm>
            <a:off x="871084" y="4202191"/>
            <a:ext cx="1372603" cy="1184143"/>
            <a:chOff x="812800" y="1817521"/>
            <a:chExt cx="1125883" cy="2477385"/>
          </a:xfrm>
          <a:solidFill>
            <a:schemeClr val="accent2">
              <a:lumMod val="60000"/>
              <a:lumOff val="40000"/>
            </a:schemeClr>
          </a:solidFill>
        </p:grpSpPr>
        <p:sp>
          <p:nvSpPr>
            <p:cNvPr id="129" name="Cube 128">
              <a:extLst>
                <a:ext uri="{FF2B5EF4-FFF2-40B4-BE49-F238E27FC236}">
                  <a16:creationId xmlns:a16="http://schemas.microsoft.com/office/drawing/2014/main" id="{6D32B9BA-9634-4126-8FFE-8F861E29C820}"/>
                </a:ext>
              </a:extLst>
            </p:cNvPr>
            <p:cNvSpPr/>
            <p:nvPr/>
          </p:nvSpPr>
          <p:spPr>
            <a:xfrm>
              <a:off x="812800" y="3805239"/>
              <a:ext cx="909983" cy="489667"/>
            </a:xfrm>
            <a:prstGeom prst="cube">
              <a:avLst>
                <a:gd name="adj" fmla="val 15591"/>
              </a:avLst>
            </a:prstGeom>
            <a:grpFill/>
            <a:ln w="3175" cap="flat" cmpd="sng" algn="ctr">
              <a:solidFill>
                <a:schemeClr val="tx1">
                  <a:lumMod val="65000"/>
                  <a:lumOff val="35000"/>
                </a:schemeClr>
              </a:solidFill>
              <a:prstDash val="solid"/>
            </a:ln>
            <a:effectLst/>
          </p:spPr>
          <p:txBody>
            <a:bodyPr rtlCol="0" anchor="ctr"/>
            <a:lstStyle/>
            <a:p>
              <a:pPr algn="ctr" defTabSz="1219139" fontAlgn="base">
                <a:spcBef>
                  <a:spcPct val="0"/>
                </a:spcBef>
                <a:spcAft>
                  <a:spcPct val="0"/>
                </a:spcAft>
                <a:defRPr/>
              </a:pPr>
              <a:endParaRPr lang="en-US" sz="2667" kern="0">
                <a:solidFill>
                  <a:srgbClr val="FFFFFF"/>
                </a:solidFill>
                <a:latin typeface="Verdana"/>
              </a:endParaRPr>
            </a:p>
          </p:txBody>
        </p:sp>
        <p:sp>
          <p:nvSpPr>
            <p:cNvPr id="130" name="Cube 129">
              <a:extLst>
                <a:ext uri="{FF2B5EF4-FFF2-40B4-BE49-F238E27FC236}">
                  <a16:creationId xmlns:a16="http://schemas.microsoft.com/office/drawing/2014/main" id="{9F859701-554E-4E21-8522-240AD6D2A2BA}"/>
                </a:ext>
              </a:extLst>
            </p:cNvPr>
            <p:cNvSpPr/>
            <p:nvPr/>
          </p:nvSpPr>
          <p:spPr>
            <a:xfrm>
              <a:off x="812800" y="3068879"/>
              <a:ext cx="909983" cy="798269"/>
            </a:xfrm>
            <a:prstGeom prst="cube">
              <a:avLst>
                <a:gd name="adj" fmla="val 12636"/>
              </a:avLst>
            </a:prstGeom>
            <a:grpFill/>
            <a:ln w="3175" cap="flat" cmpd="sng" algn="ctr">
              <a:solidFill>
                <a:schemeClr val="tx1">
                  <a:lumMod val="65000"/>
                  <a:lumOff val="35000"/>
                </a:schemeClr>
              </a:solidFill>
              <a:prstDash val="solid"/>
            </a:ln>
            <a:effectLst/>
          </p:spPr>
          <p:txBody>
            <a:bodyPr rtlCol="0" anchor="ctr"/>
            <a:lstStyle/>
            <a:p>
              <a:pPr algn="ctr" defTabSz="1219139" fontAlgn="base">
                <a:spcBef>
                  <a:spcPct val="0"/>
                </a:spcBef>
                <a:spcAft>
                  <a:spcPct val="0"/>
                </a:spcAft>
                <a:defRPr/>
              </a:pPr>
              <a:endParaRPr lang="en-US" sz="2667" kern="0">
                <a:solidFill>
                  <a:srgbClr val="FFFFFF"/>
                </a:solidFill>
                <a:latin typeface="Verdana"/>
              </a:endParaRPr>
            </a:p>
          </p:txBody>
        </p:sp>
        <p:sp>
          <p:nvSpPr>
            <p:cNvPr id="131" name="Cube 130">
              <a:extLst>
                <a:ext uri="{FF2B5EF4-FFF2-40B4-BE49-F238E27FC236}">
                  <a16:creationId xmlns:a16="http://schemas.microsoft.com/office/drawing/2014/main" id="{0BFF0A37-7F1E-45D1-96BD-B5CBA0637CD7}"/>
                </a:ext>
              </a:extLst>
            </p:cNvPr>
            <p:cNvSpPr/>
            <p:nvPr/>
          </p:nvSpPr>
          <p:spPr>
            <a:xfrm>
              <a:off x="812800" y="3019893"/>
              <a:ext cx="909983" cy="106235"/>
            </a:xfrm>
            <a:prstGeom prst="cube">
              <a:avLst>
                <a:gd name="adj" fmla="val 88976"/>
              </a:avLst>
            </a:prstGeom>
            <a:grpFill/>
            <a:ln w="3175" cap="flat" cmpd="sng" algn="ctr">
              <a:solidFill>
                <a:schemeClr val="tx1">
                  <a:lumMod val="65000"/>
                  <a:lumOff val="35000"/>
                </a:schemeClr>
              </a:solidFill>
              <a:prstDash val="solid"/>
            </a:ln>
            <a:effectLst/>
          </p:spPr>
          <p:txBody>
            <a:bodyPr rtlCol="0" anchor="ctr"/>
            <a:lstStyle/>
            <a:p>
              <a:pPr algn="ctr" defTabSz="1219139" fontAlgn="base">
                <a:spcBef>
                  <a:spcPct val="0"/>
                </a:spcBef>
                <a:spcAft>
                  <a:spcPct val="0"/>
                </a:spcAft>
                <a:defRPr/>
              </a:pPr>
              <a:endParaRPr lang="en-US" sz="2667" kern="0">
                <a:solidFill>
                  <a:srgbClr val="FFFFFF"/>
                </a:solidFill>
                <a:latin typeface="Verdana"/>
              </a:endParaRPr>
            </a:p>
          </p:txBody>
        </p:sp>
        <p:sp>
          <p:nvSpPr>
            <p:cNvPr id="132" name="Cube 131">
              <a:extLst>
                <a:ext uri="{FF2B5EF4-FFF2-40B4-BE49-F238E27FC236}">
                  <a16:creationId xmlns:a16="http://schemas.microsoft.com/office/drawing/2014/main" id="{DF039DD3-AEE7-4415-B729-B620FE1D61DC}"/>
                </a:ext>
              </a:extLst>
            </p:cNvPr>
            <p:cNvSpPr/>
            <p:nvPr/>
          </p:nvSpPr>
          <p:spPr>
            <a:xfrm>
              <a:off x="812800" y="2986555"/>
              <a:ext cx="909983" cy="106235"/>
            </a:xfrm>
            <a:prstGeom prst="cube">
              <a:avLst>
                <a:gd name="adj" fmla="val 88976"/>
              </a:avLst>
            </a:prstGeom>
            <a:grpFill/>
            <a:ln w="3175" cap="flat" cmpd="sng" algn="ctr">
              <a:solidFill>
                <a:schemeClr val="tx1">
                  <a:lumMod val="65000"/>
                  <a:lumOff val="35000"/>
                </a:schemeClr>
              </a:solidFill>
              <a:prstDash val="solid"/>
            </a:ln>
            <a:effectLst/>
          </p:spPr>
          <p:txBody>
            <a:bodyPr rtlCol="0" anchor="ctr"/>
            <a:lstStyle/>
            <a:p>
              <a:pPr algn="ctr" defTabSz="1219139" fontAlgn="base">
                <a:spcBef>
                  <a:spcPct val="0"/>
                </a:spcBef>
                <a:spcAft>
                  <a:spcPct val="0"/>
                </a:spcAft>
                <a:defRPr/>
              </a:pPr>
              <a:endParaRPr lang="en-US" sz="2667" kern="0">
                <a:solidFill>
                  <a:srgbClr val="FFFFFF"/>
                </a:solidFill>
                <a:latin typeface="Verdana"/>
              </a:endParaRPr>
            </a:p>
          </p:txBody>
        </p:sp>
        <p:sp>
          <p:nvSpPr>
            <p:cNvPr id="133" name="Cube 132">
              <a:extLst>
                <a:ext uri="{FF2B5EF4-FFF2-40B4-BE49-F238E27FC236}">
                  <a16:creationId xmlns:a16="http://schemas.microsoft.com/office/drawing/2014/main" id="{BF1186F2-788B-405E-9988-A6862DDBEEB7}"/>
                </a:ext>
              </a:extLst>
            </p:cNvPr>
            <p:cNvSpPr/>
            <p:nvPr/>
          </p:nvSpPr>
          <p:spPr>
            <a:xfrm>
              <a:off x="812800" y="2955599"/>
              <a:ext cx="909983" cy="106235"/>
            </a:xfrm>
            <a:prstGeom prst="cube">
              <a:avLst>
                <a:gd name="adj" fmla="val 88976"/>
              </a:avLst>
            </a:prstGeom>
            <a:grpFill/>
            <a:ln w="3175" cap="flat" cmpd="sng" algn="ctr">
              <a:solidFill>
                <a:schemeClr val="tx1">
                  <a:lumMod val="65000"/>
                  <a:lumOff val="35000"/>
                </a:schemeClr>
              </a:solidFill>
              <a:prstDash val="solid"/>
            </a:ln>
            <a:effectLst/>
          </p:spPr>
          <p:txBody>
            <a:bodyPr rtlCol="0" anchor="ctr"/>
            <a:lstStyle/>
            <a:p>
              <a:pPr algn="ctr" defTabSz="1219139" fontAlgn="base">
                <a:spcBef>
                  <a:spcPct val="0"/>
                </a:spcBef>
                <a:spcAft>
                  <a:spcPct val="0"/>
                </a:spcAft>
                <a:defRPr/>
              </a:pPr>
              <a:endParaRPr lang="en-US" sz="2667" kern="0">
                <a:solidFill>
                  <a:srgbClr val="FFFFFF"/>
                </a:solidFill>
                <a:latin typeface="Verdana"/>
              </a:endParaRPr>
            </a:p>
          </p:txBody>
        </p:sp>
        <p:sp>
          <p:nvSpPr>
            <p:cNvPr id="134" name="Cube 133">
              <a:extLst>
                <a:ext uri="{FF2B5EF4-FFF2-40B4-BE49-F238E27FC236}">
                  <a16:creationId xmlns:a16="http://schemas.microsoft.com/office/drawing/2014/main" id="{4FBDC88B-EDA5-4163-870C-891F95E6D81A}"/>
                </a:ext>
              </a:extLst>
            </p:cNvPr>
            <p:cNvSpPr/>
            <p:nvPr/>
          </p:nvSpPr>
          <p:spPr>
            <a:xfrm>
              <a:off x="812800" y="2919880"/>
              <a:ext cx="909983" cy="106235"/>
            </a:xfrm>
            <a:prstGeom prst="cube">
              <a:avLst>
                <a:gd name="adj" fmla="val 88976"/>
              </a:avLst>
            </a:prstGeom>
            <a:grpFill/>
            <a:ln w="3175" cap="flat" cmpd="sng" algn="ctr">
              <a:solidFill>
                <a:schemeClr val="tx1">
                  <a:lumMod val="65000"/>
                  <a:lumOff val="35000"/>
                </a:schemeClr>
              </a:solidFill>
              <a:prstDash val="solid"/>
            </a:ln>
            <a:effectLst/>
          </p:spPr>
          <p:txBody>
            <a:bodyPr rtlCol="0" anchor="ctr"/>
            <a:lstStyle/>
            <a:p>
              <a:pPr algn="ctr" defTabSz="1219139" fontAlgn="base">
                <a:spcBef>
                  <a:spcPct val="0"/>
                </a:spcBef>
                <a:spcAft>
                  <a:spcPct val="0"/>
                </a:spcAft>
                <a:defRPr/>
              </a:pPr>
              <a:endParaRPr lang="en-US" sz="2667" kern="0">
                <a:solidFill>
                  <a:srgbClr val="FFFFFF"/>
                </a:solidFill>
                <a:latin typeface="Verdana"/>
              </a:endParaRPr>
            </a:p>
          </p:txBody>
        </p:sp>
        <p:sp>
          <p:nvSpPr>
            <p:cNvPr id="135" name="Cube 134">
              <a:extLst>
                <a:ext uri="{FF2B5EF4-FFF2-40B4-BE49-F238E27FC236}">
                  <a16:creationId xmlns:a16="http://schemas.microsoft.com/office/drawing/2014/main" id="{E17120DD-FCD3-4A97-9854-A724C73C5A4E}"/>
                </a:ext>
              </a:extLst>
            </p:cNvPr>
            <p:cNvSpPr/>
            <p:nvPr/>
          </p:nvSpPr>
          <p:spPr>
            <a:xfrm>
              <a:off x="812800" y="2884161"/>
              <a:ext cx="909983" cy="106235"/>
            </a:xfrm>
            <a:prstGeom prst="cube">
              <a:avLst>
                <a:gd name="adj" fmla="val 88976"/>
              </a:avLst>
            </a:prstGeom>
            <a:grpFill/>
            <a:ln w="3175" cap="flat" cmpd="sng" algn="ctr">
              <a:solidFill>
                <a:schemeClr val="tx1">
                  <a:lumMod val="65000"/>
                  <a:lumOff val="35000"/>
                </a:schemeClr>
              </a:solidFill>
              <a:prstDash val="solid"/>
            </a:ln>
            <a:effectLst/>
          </p:spPr>
          <p:txBody>
            <a:bodyPr rtlCol="0" anchor="ctr"/>
            <a:lstStyle/>
            <a:p>
              <a:pPr algn="ctr" defTabSz="1219139" fontAlgn="base">
                <a:spcBef>
                  <a:spcPct val="0"/>
                </a:spcBef>
                <a:spcAft>
                  <a:spcPct val="0"/>
                </a:spcAft>
                <a:defRPr/>
              </a:pPr>
              <a:endParaRPr lang="en-US" sz="2667" kern="0">
                <a:solidFill>
                  <a:srgbClr val="FFFFFF"/>
                </a:solidFill>
                <a:latin typeface="Verdana"/>
              </a:endParaRPr>
            </a:p>
          </p:txBody>
        </p:sp>
        <p:sp>
          <p:nvSpPr>
            <p:cNvPr id="136" name="Cube 135">
              <a:extLst>
                <a:ext uri="{FF2B5EF4-FFF2-40B4-BE49-F238E27FC236}">
                  <a16:creationId xmlns:a16="http://schemas.microsoft.com/office/drawing/2014/main" id="{4DB7201A-5FFD-4BE1-87B9-3862A44C59BF}"/>
                </a:ext>
              </a:extLst>
            </p:cNvPr>
            <p:cNvSpPr/>
            <p:nvPr/>
          </p:nvSpPr>
          <p:spPr>
            <a:xfrm>
              <a:off x="812800" y="2853205"/>
              <a:ext cx="909983" cy="106235"/>
            </a:xfrm>
            <a:prstGeom prst="cube">
              <a:avLst>
                <a:gd name="adj" fmla="val 88976"/>
              </a:avLst>
            </a:prstGeom>
            <a:grpFill/>
            <a:ln w="3175" cap="flat" cmpd="sng" algn="ctr">
              <a:solidFill>
                <a:schemeClr val="tx1">
                  <a:lumMod val="65000"/>
                  <a:lumOff val="35000"/>
                </a:schemeClr>
              </a:solidFill>
              <a:prstDash val="solid"/>
            </a:ln>
            <a:effectLst/>
          </p:spPr>
          <p:txBody>
            <a:bodyPr rtlCol="0" anchor="ctr"/>
            <a:lstStyle/>
            <a:p>
              <a:pPr algn="ctr" defTabSz="1219139" fontAlgn="base">
                <a:spcBef>
                  <a:spcPct val="0"/>
                </a:spcBef>
                <a:spcAft>
                  <a:spcPct val="0"/>
                </a:spcAft>
                <a:defRPr/>
              </a:pPr>
              <a:endParaRPr lang="en-US" sz="2667" kern="0">
                <a:solidFill>
                  <a:srgbClr val="FFFFFF"/>
                </a:solidFill>
                <a:latin typeface="Verdana"/>
              </a:endParaRPr>
            </a:p>
          </p:txBody>
        </p:sp>
        <p:sp>
          <p:nvSpPr>
            <p:cNvPr id="137" name="Cube 136">
              <a:extLst>
                <a:ext uri="{FF2B5EF4-FFF2-40B4-BE49-F238E27FC236}">
                  <a16:creationId xmlns:a16="http://schemas.microsoft.com/office/drawing/2014/main" id="{9ECBFBA3-6F1D-46B1-BA14-8A6751DD09C5}"/>
                </a:ext>
              </a:extLst>
            </p:cNvPr>
            <p:cNvSpPr/>
            <p:nvPr/>
          </p:nvSpPr>
          <p:spPr>
            <a:xfrm>
              <a:off x="812800" y="2727569"/>
              <a:ext cx="909983" cy="195135"/>
            </a:xfrm>
            <a:prstGeom prst="cube">
              <a:avLst>
                <a:gd name="adj" fmla="val 49788"/>
              </a:avLst>
            </a:prstGeom>
            <a:grpFill/>
            <a:ln w="3175" cap="flat" cmpd="sng" algn="ctr">
              <a:solidFill>
                <a:schemeClr val="tx1">
                  <a:lumMod val="65000"/>
                  <a:lumOff val="35000"/>
                </a:schemeClr>
              </a:solidFill>
              <a:prstDash val="solid"/>
            </a:ln>
            <a:effectLst/>
          </p:spPr>
          <p:txBody>
            <a:bodyPr rtlCol="0" anchor="ctr"/>
            <a:lstStyle/>
            <a:p>
              <a:pPr algn="ctr" defTabSz="1219139" fontAlgn="base">
                <a:spcBef>
                  <a:spcPct val="0"/>
                </a:spcBef>
                <a:spcAft>
                  <a:spcPct val="0"/>
                </a:spcAft>
                <a:defRPr/>
              </a:pPr>
              <a:endParaRPr lang="en-US" sz="2667" kern="0">
                <a:solidFill>
                  <a:srgbClr val="FFFFFF"/>
                </a:solidFill>
                <a:latin typeface="Verdana"/>
              </a:endParaRPr>
            </a:p>
          </p:txBody>
        </p:sp>
        <p:sp>
          <p:nvSpPr>
            <p:cNvPr id="138" name="Cube 137">
              <a:extLst>
                <a:ext uri="{FF2B5EF4-FFF2-40B4-BE49-F238E27FC236}">
                  <a16:creationId xmlns:a16="http://schemas.microsoft.com/office/drawing/2014/main" id="{16B25851-D06E-456B-8340-26AAB31678BE}"/>
                </a:ext>
              </a:extLst>
            </p:cNvPr>
            <p:cNvSpPr/>
            <p:nvPr/>
          </p:nvSpPr>
          <p:spPr>
            <a:xfrm>
              <a:off x="812800" y="2577570"/>
              <a:ext cx="914400" cy="226639"/>
            </a:xfrm>
            <a:prstGeom prst="cube">
              <a:avLst>
                <a:gd name="adj" fmla="val 45593"/>
              </a:avLst>
            </a:prstGeom>
            <a:grpFill/>
            <a:ln w="3175" cap="flat" cmpd="sng" algn="ctr">
              <a:solidFill>
                <a:schemeClr val="tx1">
                  <a:lumMod val="65000"/>
                  <a:lumOff val="35000"/>
                </a:schemeClr>
              </a:solidFill>
              <a:prstDash val="solid"/>
            </a:ln>
            <a:effectLst/>
          </p:spPr>
          <p:txBody>
            <a:bodyPr rtlCol="0" anchor="ctr"/>
            <a:lstStyle/>
            <a:p>
              <a:pPr algn="ctr" defTabSz="1219139" fontAlgn="base">
                <a:spcBef>
                  <a:spcPct val="0"/>
                </a:spcBef>
                <a:spcAft>
                  <a:spcPct val="0"/>
                </a:spcAft>
                <a:defRPr/>
              </a:pPr>
              <a:endParaRPr lang="en-US" sz="2667" kern="0">
                <a:solidFill>
                  <a:srgbClr val="FFFFFF"/>
                </a:solidFill>
                <a:latin typeface="Verdana"/>
              </a:endParaRPr>
            </a:p>
          </p:txBody>
        </p:sp>
        <p:sp>
          <p:nvSpPr>
            <p:cNvPr id="139" name="Cube 138">
              <a:extLst>
                <a:ext uri="{FF2B5EF4-FFF2-40B4-BE49-F238E27FC236}">
                  <a16:creationId xmlns:a16="http://schemas.microsoft.com/office/drawing/2014/main" id="{BF26967D-CB06-42F0-ADE6-B34E1681A1CB}"/>
                </a:ext>
              </a:extLst>
            </p:cNvPr>
            <p:cNvSpPr/>
            <p:nvPr/>
          </p:nvSpPr>
          <p:spPr>
            <a:xfrm>
              <a:off x="812800" y="2432335"/>
              <a:ext cx="914400" cy="226639"/>
            </a:xfrm>
            <a:prstGeom prst="cube">
              <a:avLst>
                <a:gd name="adj" fmla="val 48630"/>
              </a:avLst>
            </a:prstGeom>
            <a:grpFill/>
            <a:ln w="3175" cap="flat" cmpd="sng" algn="ctr">
              <a:solidFill>
                <a:schemeClr val="tx1">
                  <a:lumMod val="65000"/>
                  <a:lumOff val="35000"/>
                </a:schemeClr>
              </a:solidFill>
              <a:prstDash val="solid"/>
            </a:ln>
            <a:effectLst/>
          </p:spPr>
          <p:txBody>
            <a:bodyPr rtlCol="0" anchor="ctr"/>
            <a:lstStyle/>
            <a:p>
              <a:pPr algn="ctr" defTabSz="1219139" fontAlgn="base">
                <a:spcBef>
                  <a:spcPct val="0"/>
                </a:spcBef>
                <a:spcAft>
                  <a:spcPct val="0"/>
                </a:spcAft>
                <a:defRPr/>
              </a:pPr>
              <a:endParaRPr lang="en-US" sz="2667" kern="0">
                <a:solidFill>
                  <a:srgbClr val="FFFFFF"/>
                </a:solidFill>
                <a:latin typeface="Verdana"/>
              </a:endParaRPr>
            </a:p>
          </p:txBody>
        </p:sp>
        <p:sp>
          <p:nvSpPr>
            <p:cNvPr id="140" name="Cube 139">
              <a:extLst>
                <a:ext uri="{FF2B5EF4-FFF2-40B4-BE49-F238E27FC236}">
                  <a16:creationId xmlns:a16="http://schemas.microsoft.com/office/drawing/2014/main" id="{872EAF26-D066-492C-B3FA-9B76E1EB9BBC}"/>
                </a:ext>
              </a:extLst>
            </p:cNvPr>
            <p:cNvSpPr/>
            <p:nvPr/>
          </p:nvSpPr>
          <p:spPr>
            <a:xfrm>
              <a:off x="812800" y="2294790"/>
              <a:ext cx="909983" cy="195135"/>
            </a:xfrm>
            <a:prstGeom prst="cube">
              <a:avLst>
                <a:gd name="adj" fmla="val 48630"/>
              </a:avLst>
            </a:prstGeom>
            <a:grpFill/>
            <a:ln w="3175" cap="flat" cmpd="sng" algn="ctr">
              <a:solidFill>
                <a:schemeClr val="tx1">
                  <a:lumMod val="65000"/>
                  <a:lumOff val="35000"/>
                </a:schemeClr>
              </a:solidFill>
              <a:prstDash val="solid"/>
            </a:ln>
            <a:effectLst/>
          </p:spPr>
          <p:txBody>
            <a:bodyPr rtlCol="0" anchor="ctr"/>
            <a:lstStyle/>
            <a:p>
              <a:pPr algn="ctr" defTabSz="1219139" fontAlgn="base">
                <a:spcBef>
                  <a:spcPct val="0"/>
                </a:spcBef>
                <a:spcAft>
                  <a:spcPct val="0"/>
                </a:spcAft>
                <a:defRPr/>
              </a:pPr>
              <a:endParaRPr lang="en-US" sz="2667" kern="0">
                <a:solidFill>
                  <a:srgbClr val="FFFFFF"/>
                </a:solidFill>
                <a:latin typeface="Verdana"/>
              </a:endParaRPr>
            </a:p>
          </p:txBody>
        </p:sp>
        <p:sp>
          <p:nvSpPr>
            <p:cNvPr id="141" name="Cube 140">
              <a:extLst>
                <a:ext uri="{FF2B5EF4-FFF2-40B4-BE49-F238E27FC236}">
                  <a16:creationId xmlns:a16="http://schemas.microsoft.com/office/drawing/2014/main" id="{79E45000-E877-4E07-9F27-A8A8BF9C5BD3}"/>
                </a:ext>
              </a:extLst>
            </p:cNvPr>
            <p:cNvSpPr/>
            <p:nvPr/>
          </p:nvSpPr>
          <p:spPr>
            <a:xfrm>
              <a:off x="812800" y="2157246"/>
              <a:ext cx="909983" cy="195135"/>
            </a:xfrm>
            <a:prstGeom prst="cube">
              <a:avLst>
                <a:gd name="adj" fmla="val 48630"/>
              </a:avLst>
            </a:prstGeom>
            <a:grpFill/>
            <a:ln w="3175" cap="flat" cmpd="sng" algn="ctr">
              <a:solidFill>
                <a:schemeClr val="tx1">
                  <a:lumMod val="65000"/>
                  <a:lumOff val="35000"/>
                </a:schemeClr>
              </a:solidFill>
              <a:prstDash val="solid"/>
            </a:ln>
            <a:effectLst/>
          </p:spPr>
          <p:txBody>
            <a:bodyPr rtlCol="0" anchor="ctr"/>
            <a:lstStyle/>
            <a:p>
              <a:pPr algn="ctr" defTabSz="1219139" fontAlgn="base">
                <a:spcBef>
                  <a:spcPct val="0"/>
                </a:spcBef>
                <a:spcAft>
                  <a:spcPct val="0"/>
                </a:spcAft>
                <a:defRPr/>
              </a:pPr>
              <a:endParaRPr lang="en-US" sz="2667" kern="0">
                <a:solidFill>
                  <a:srgbClr val="FFFFFF"/>
                </a:solidFill>
                <a:latin typeface="Verdana"/>
              </a:endParaRPr>
            </a:p>
          </p:txBody>
        </p:sp>
        <p:sp>
          <p:nvSpPr>
            <p:cNvPr id="142" name="Cube 141">
              <a:extLst>
                <a:ext uri="{FF2B5EF4-FFF2-40B4-BE49-F238E27FC236}">
                  <a16:creationId xmlns:a16="http://schemas.microsoft.com/office/drawing/2014/main" id="{FEBD09D5-A11D-4560-8149-F25D4C646684}"/>
                </a:ext>
              </a:extLst>
            </p:cNvPr>
            <p:cNvSpPr/>
            <p:nvPr/>
          </p:nvSpPr>
          <p:spPr>
            <a:xfrm>
              <a:off x="1028700" y="2039771"/>
              <a:ext cx="909983" cy="154154"/>
            </a:xfrm>
            <a:prstGeom prst="cube">
              <a:avLst>
                <a:gd name="adj" fmla="val 82999"/>
              </a:avLst>
            </a:prstGeom>
            <a:grpFill/>
            <a:ln w="3175" cap="flat" cmpd="sng" algn="ctr">
              <a:solidFill>
                <a:schemeClr val="tx1">
                  <a:lumMod val="65000"/>
                  <a:lumOff val="35000"/>
                </a:schemeClr>
              </a:solidFill>
              <a:prstDash val="solid"/>
            </a:ln>
            <a:effectLst/>
          </p:spPr>
          <p:txBody>
            <a:bodyPr rtlCol="0" anchor="ctr"/>
            <a:lstStyle/>
            <a:p>
              <a:pPr algn="ctr" defTabSz="1219139" fontAlgn="base">
                <a:spcBef>
                  <a:spcPct val="0"/>
                </a:spcBef>
                <a:spcAft>
                  <a:spcPct val="0"/>
                </a:spcAft>
                <a:defRPr/>
              </a:pPr>
              <a:endParaRPr lang="en-US" sz="2667" kern="0">
                <a:solidFill>
                  <a:srgbClr val="FFFFFF"/>
                </a:solidFill>
                <a:latin typeface="Verdana"/>
              </a:endParaRPr>
            </a:p>
          </p:txBody>
        </p:sp>
        <p:sp>
          <p:nvSpPr>
            <p:cNvPr id="143" name="Cube 142">
              <a:extLst>
                <a:ext uri="{FF2B5EF4-FFF2-40B4-BE49-F238E27FC236}">
                  <a16:creationId xmlns:a16="http://schemas.microsoft.com/office/drawing/2014/main" id="{33C25A8A-6C5A-49C3-BD36-8FEE2B2F9E09}"/>
                </a:ext>
              </a:extLst>
            </p:cNvPr>
            <p:cNvSpPr/>
            <p:nvPr/>
          </p:nvSpPr>
          <p:spPr>
            <a:xfrm>
              <a:off x="1028700" y="1957221"/>
              <a:ext cx="909983" cy="154154"/>
            </a:xfrm>
            <a:prstGeom prst="cube">
              <a:avLst>
                <a:gd name="adj" fmla="val 82999"/>
              </a:avLst>
            </a:prstGeom>
            <a:grpFill/>
            <a:ln w="3175" cap="flat" cmpd="sng" algn="ctr">
              <a:solidFill>
                <a:schemeClr val="tx1">
                  <a:lumMod val="65000"/>
                  <a:lumOff val="35000"/>
                </a:schemeClr>
              </a:solidFill>
              <a:prstDash val="solid"/>
            </a:ln>
            <a:effectLst/>
          </p:spPr>
          <p:txBody>
            <a:bodyPr rtlCol="0" anchor="ctr"/>
            <a:lstStyle/>
            <a:p>
              <a:pPr algn="ctr" defTabSz="1219139" fontAlgn="base">
                <a:spcBef>
                  <a:spcPct val="0"/>
                </a:spcBef>
                <a:spcAft>
                  <a:spcPct val="0"/>
                </a:spcAft>
                <a:defRPr/>
              </a:pPr>
              <a:endParaRPr lang="en-US" sz="2667" kern="0">
                <a:solidFill>
                  <a:srgbClr val="FFFFFF"/>
                </a:solidFill>
                <a:latin typeface="Verdana"/>
              </a:endParaRPr>
            </a:p>
          </p:txBody>
        </p:sp>
        <p:sp>
          <p:nvSpPr>
            <p:cNvPr id="144" name="Cube 143">
              <a:extLst>
                <a:ext uri="{FF2B5EF4-FFF2-40B4-BE49-F238E27FC236}">
                  <a16:creationId xmlns:a16="http://schemas.microsoft.com/office/drawing/2014/main" id="{56CE81A3-7CD0-4CC2-9AFF-D82924E9E9A8}"/>
                </a:ext>
              </a:extLst>
            </p:cNvPr>
            <p:cNvSpPr/>
            <p:nvPr/>
          </p:nvSpPr>
          <p:spPr>
            <a:xfrm>
              <a:off x="1028700" y="1890546"/>
              <a:ext cx="909983" cy="154154"/>
            </a:xfrm>
            <a:prstGeom prst="cube">
              <a:avLst>
                <a:gd name="adj" fmla="val 82999"/>
              </a:avLst>
            </a:prstGeom>
            <a:grpFill/>
            <a:ln w="3175" cap="flat" cmpd="sng" algn="ctr">
              <a:solidFill>
                <a:schemeClr val="tx1">
                  <a:lumMod val="65000"/>
                  <a:lumOff val="35000"/>
                </a:schemeClr>
              </a:solidFill>
              <a:prstDash val="solid"/>
            </a:ln>
            <a:effectLst/>
          </p:spPr>
          <p:txBody>
            <a:bodyPr rtlCol="0" anchor="ctr"/>
            <a:lstStyle/>
            <a:p>
              <a:pPr algn="ctr" defTabSz="1219139" fontAlgn="base">
                <a:spcBef>
                  <a:spcPct val="0"/>
                </a:spcBef>
                <a:spcAft>
                  <a:spcPct val="0"/>
                </a:spcAft>
                <a:defRPr/>
              </a:pPr>
              <a:endParaRPr lang="en-US" sz="2667" kern="0">
                <a:solidFill>
                  <a:srgbClr val="FFFFFF"/>
                </a:solidFill>
                <a:latin typeface="Verdana"/>
              </a:endParaRPr>
            </a:p>
          </p:txBody>
        </p:sp>
        <p:sp>
          <p:nvSpPr>
            <p:cNvPr id="145" name="Cube 144">
              <a:extLst>
                <a:ext uri="{FF2B5EF4-FFF2-40B4-BE49-F238E27FC236}">
                  <a16:creationId xmlns:a16="http://schemas.microsoft.com/office/drawing/2014/main" id="{09182939-60C1-42BB-8738-B2EC0A0BA561}"/>
                </a:ext>
              </a:extLst>
            </p:cNvPr>
            <p:cNvSpPr/>
            <p:nvPr/>
          </p:nvSpPr>
          <p:spPr>
            <a:xfrm>
              <a:off x="1028700" y="1817521"/>
              <a:ext cx="909983" cy="154154"/>
            </a:xfrm>
            <a:prstGeom prst="cube">
              <a:avLst>
                <a:gd name="adj" fmla="val 82999"/>
              </a:avLst>
            </a:prstGeom>
            <a:grpFill/>
            <a:ln w="3175" cap="flat" cmpd="sng" algn="ctr">
              <a:solidFill>
                <a:schemeClr val="tx1">
                  <a:lumMod val="65000"/>
                  <a:lumOff val="35000"/>
                </a:schemeClr>
              </a:solidFill>
              <a:prstDash val="solid"/>
            </a:ln>
            <a:effectLst/>
          </p:spPr>
          <p:txBody>
            <a:bodyPr rtlCol="0" anchor="ctr"/>
            <a:lstStyle/>
            <a:p>
              <a:pPr algn="ctr" defTabSz="1219139" fontAlgn="base">
                <a:spcBef>
                  <a:spcPct val="0"/>
                </a:spcBef>
                <a:spcAft>
                  <a:spcPct val="0"/>
                </a:spcAft>
                <a:defRPr/>
              </a:pPr>
              <a:endParaRPr lang="en-US" sz="2667" kern="0">
                <a:solidFill>
                  <a:srgbClr val="FFFFFF"/>
                </a:solidFill>
                <a:latin typeface="Verdana"/>
              </a:endParaRPr>
            </a:p>
          </p:txBody>
        </p:sp>
      </p:grpSp>
      <p:sp>
        <p:nvSpPr>
          <p:cNvPr id="15" name="TextBox 14">
            <a:extLst>
              <a:ext uri="{FF2B5EF4-FFF2-40B4-BE49-F238E27FC236}">
                <a16:creationId xmlns:a16="http://schemas.microsoft.com/office/drawing/2014/main" id="{7AD5C227-FF1E-4B55-8B58-B0F6459C8391}"/>
              </a:ext>
            </a:extLst>
          </p:cNvPr>
          <p:cNvSpPr txBox="1"/>
          <p:nvPr/>
        </p:nvSpPr>
        <p:spPr>
          <a:xfrm>
            <a:off x="511526" y="3066457"/>
            <a:ext cx="1608215" cy="528995"/>
          </a:xfrm>
          <a:prstGeom prst="rect">
            <a:avLst/>
          </a:prstGeom>
          <a:solidFill>
            <a:srgbClr val="0089C4"/>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a:defRPr sz="10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1625519">
              <a:defRPr/>
            </a:pPr>
            <a:r>
              <a:rPr lang="en-US" sz="1333" b="1" kern="0">
                <a:solidFill>
                  <a:prstClr val="white"/>
                </a:solidFill>
                <a:latin typeface="Verdana"/>
              </a:rPr>
              <a:t>Product Backlog Initialization</a:t>
            </a:r>
          </a:p>
        </p:txBody>
      </p:sp>
      <p:sp>
        <p:nvSpPr>
          <p:cNvPr id="16" name="TextBox 15">
            <a:extLst>
              <a:ext uri="{FF2B5EF4-FFF2-40B4-BE49-F238E27FC236}">
                <a16:creationId xmlns:a16="http://schemas.microsoft.com/office/drawing/2014/main" id="{808C6BA6-8EBA-473A-98D2-1A4AA6412999}"/>
              </a:ext>
            </a:extLst>
          </p:cNvPr>
          <p:cNvSpPr txBox="1"/>
          <p:nvPr/>
        </p:nvSpPr>
        <p:spPr>
          <a:xfrm>
            <a:off x="2361839" y="4083573"/>
            <a:ext cx="2012027" cy="453161"/>
          </a:xfrm>
          <a:prstGeom prst="rect">
            <a:avLst/>
          </a:prstGeom>
          <a:solidFill>
            <a:srgbClr val="0089C4"/>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a:defRPr sz="10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1625519">
              <a:defRPr/>
            </a:pPr>
            <a:r>
              <a:rPr lang="en-US" sz="1333" b="1" kern="0">
                <a:solidFill>
                  <a:prstClr val="white"/>
                </a:solidFill>
                <a:latin typeface="Verdana"/>
              </a:rPr>
              <a:t>Product Backlog</a:t>
            </a:r>
          </a:p>
          <a:p>
            <a:pPr defTabSz="1625519">
              <a:defRPr/>
            </a:pPr>
            <a:r>
              <a:rPr lang="en-US" sz="1333" b="1" kern="0">
                <a:solidFill>
                  <a:prstClr val="white"/>
                </a:solidFill>
                <a:latin typeface="Verdana"/>
              </a:rPr>
              <a:t>Prioritization</a:t>
            </a:r>
          </a:p>
        </p:txBody>
      </p:sp>
      <p:sp>
        <p:nvSpPr>
          <p:cNvPr id="17" name="Frame 16">
            <a:extLst>
              <a:ext uri="{FF2B5EF4-FFF2-40B4-BE49-F238E27FC236}">
                <a16:creationId xmlns:a16="http://schemas.microsoft.com/office/drawing/2014/main" id="{6A728350-F895-4A56-B695-CFD27467E2BF}"/>
              </a:ext>
            </a:extLst>
          </p:cNvPr>
          <p:cNvSpPr/>
          <p:nvPr/>
        </p:nvSpPr>
        <p:spPr>
          <a:xfrm>
            <a:off x="2452545" y="3412390"/>
            <a:ext cx="1061895" cy="317649"/>
          </a:xfrm>
          <a:prstGeom prst="frame">
            <a:avLst/>
          </a:prstGeom>
          <a:solidFill>
            <a:srgbClr val="0089C4"/>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625519">
              <a:defRPr/>
            </a:pPr>
            <a:r>
              <a:rPr lang="en-IN" sz="1333" b="1" kern="0">
                <a:solidFill>
                  <a:srgbClr val="0089C4">
                    <a:lumMod val="75000"/>
                  </a:srgbClr>
                </a:solidFill>
                <a:latin typeface="Verdana"/>
              </a:rPr>
              <a:t>MF PO</a:t>
            </a:r>
          </a:p>
        </p:txBody>
      </p:sp>
      <p:pic>
        <p:nvPicPr>
          <p:cNvPr id="18" name="Picture 6" descr="Image result for scrum sprint icon">
            <a:extLst>
              <a:ext uri="{FF2B5EF4-FFF2-40B4-BE49-F238E27FC236}">
                <a16:creationId xmlns:a16="http://schemas.microsoft.com/office/drawing/2014/main" id="{E97E67D7-3AC8-4C3D-AF5A-5CC1FF873976}"/>
              </a:ext>
            </a:extLst>
          </p:cNvPr>
          <p:cNvPicPr>
            <a:picLocks noChangeAspect="1" noChangeArrowheads="1"/>
          </p:cNvPicPr>
          <p:nvPr/>
        </p:nvPicPr>
        <p:blipFill>
          <a:blip r:embed="rId2" cstate="print">
            <a:duotone>
              <a:srgbClr val="5B9BD5">
                <a:shade val="45000"/>
                <a:satMod val="135000"/>
              </a:srgbClr>
              <a:prstClr val="white"/>
            </a:duotone>
            <a:extLst>
              <a:ext uri="{28A0092B-C50C-407E-A947-70E740481C1C}">
                <a14:useLocalDpi xmlns:a14="http://schemas.microsoft.com/office/drawing/2010/main" val="0"/>
              </a:ext>
            </a:extLst>
          </a:blip>
          <a:stretch>
            <a:fillRect/>
          </a:stretch>
        </p:blipFill>
        <p:spPr bwMode="auto">
          <a:xfrm>
            <a:off x="5463162" y="3140032"/>
            <a:ext cx="1441196" cy="144664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157DA4CA-ABE0-4924-BC0A-97768463FFD8}"/>
              </a:ext>
            </a:extLst>
          </p:cNvPr>
          <p:cNvSpPr/>
          <p:nvPr/>
        </p:nvSpPr>
        <p:spPr>
          <a:xfrm>
            <a:off x="5560723" y="3639601"/>
            <a:ext cx="1130029" cy="283836"/>
          </a:xfrm>
          <a:prstGeom prst="rect">
            <a:avLst/>
          </a:prstGeom>
          <a:noFill/>
          <a:ln w="25400" cap="flat" cmpd="sng" algn="ctr">
            <a:noFill/>
            <a:prstDash val="solid"/>
          </a:ln>
          <a:effectLst/>
          <a:scene3d>
            <a:camera prst="orthographicFront"/>
            <a:lightRig rig="threePt" dir="t"/>
          </a:scene3d>
          <a:sp3d/>
        </p:spPr>
        <p:txBody>
          <a:bodyPr rtlCol="0" anchor="ctr"/>
          <a:lstStyle/>
          <a:p>
            <a:pPr algn="ctr" defTabSz="1219139">
              <a:defRPr/>
            </a:pPr>
            <a:r>
              <a:rPr lang="en-US" sz="1400" b="1" i="1" kern="0">
                <a:solidFill>
                  <a:srgbClr val="000000"/>
                </a:solidFill>
                <a:latin typeface="Verdana"/>
                <a:cs typeface="Arial" pitchFamily="34" charset="0"/>
              </a:rPr>
              <a:t>Daily Standup</a:t>
            </a:r>
          </a:p>
        </p:txBody>
      </p:sp>
      <p:sp>
        <p:nvSpPr>
          <p:cNvPr id="20" name="TextBox 19">
            <a:extLst>
              <a:ext uri="{FF2B5EF4-FFF2-40B4-BE49-F238E27FC236}">
                <a16:creationId xmlns:a16="http://schemas.microsoft.com/office/drawing/2014/main" id="{F64343E3-80FC-43C6-9AF4-AB5B9EFC94BB}"/>
              </a:ext>
            </a:extLst>
          </p:cNvPr>
          <p:cNvSpPr txBox="1"/>
          <p:nvPr/>
        </p:nvSpPr>
        <p:spPr>
          <a:xfrm>
            <a:off x="4543778" y="2193275"/>
            <a:ext cx="1089013" cy="393677"/>
          </a:xfrm>
          <a:prstGeom prst="rect">
            <a:avLst/>
          </a:prstGeom>
          <a:solidFill>
            <a:srgbClr val="0089C4"/>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a:defRPr sz="10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1625519">
              <a:defRPr/>
            </a:pPr>
            <a:r>
              <a:rPr lang="en-US" sz="1333" b="1" kern="0">
                <a:solidFill>
                  <a:prstClr val="white"/>
                </a:solidFill>
                <a:latin typeface="Verdana"/>
              </a:rPr>
              <a:t>Sprint Planning</a:t>
            </a:r>
          </a:p>
        </p:txBody>
      </p:sp>
      <p:grpSp>
        <p:nvGrpSpPr>
          <p:cNvPr id="21" name="Group 20">
            <a:extLst>
              <a:ext uri="{FF2B5EF4-FFF2-40B4-BE49-F238E27FC236}">
                <a16:creationId xmlns:a16="http://schemas.microsoft.com/office/drawing/2014/main" id="{2F854C9F-D37C-458E-B8E3-2CE03D7A1484}"/>
              </a:ext>
            </a:extLst>
          </p:cNvPr>
          <p:cNvGrpSpPr/>
          <p:nvPr/>
        </p:nvGrpSpPr>
        <p:grpSpPr>
          <a:xfrm>
            <a:off x="6610878" y="2695897"/>
            <a:ext cx="1408516" cy="650148"/>
            <a:chOff x="7967942" y="1448931"/>
            <a:chExt cx="1307943" cy="649342"/>
          </a:xfrm>
        </p:grpSpPr>
        <p:grpSp>
          <p:nvGrpSpPr>
            <p:cNvPr id="119" name="Group 118">
              <a:extLst>
                <a:ext uri="{FF2B5EF4-FFF2-40B4-BE49-F238E27FC236}">
                  <a16:creationId xmlns:a16="http://schemas.microsoft.com/office/drawing/2014/main" id="{0B4116E0-E41A-4F8E-9210-F4F8BFF3BB61}"/>
                </a:ext>
              </a:extLst>
            </p:cNvPr>
            <p:cNvGrpSpPr/>
            <p:nvPr/>
          </p:nvGrpSpPr>
          <p:grpSpPr>
            <a:xfrm>
              <a:off x="7967942" y="1754062"/>
              <a:ext cx="910004" cy="344211"/>
              <a:chOff x="7967942" y="1754062"/>
              <a:chExt cx="910004" cy="344211"/>
            </a:xfrm>
          </p:grpSpPr>
          <p:sp>
            <p:nvSpPr>
              <p:cNvPr id="125" name="Cube 124">
                <a:extLst>
                  <a:ext uri="{FF2B5EF4-FFF2-40B4-BE49-F238E27FC236}">
                    <a16:creationId xmlns:a16="http://schemas.microsoft.com/office/drawing/2014/main" id="{E3DA87CB-BB17-45DF-9EBA-FD5AE7D5A345}"/>
                  </a:ext>
                </a:extLst>
              </p:cNvPr>
              <p:cNvSpPr/>
              <p:nvPr/>
            </p:nvSpPr>
            <p:spPr>
              <a:xfrm>
                <a:off x="7967946" y="2003228"/>
                <a:ext cx="909987" cy="95045"/>
              </a:xfrm>
              <a:prstGeom prst="cube">
                <a:avLst>
                  <a:gd name="adj" fmla="val 82999"/>
                </a:avLst>
              </a:prstGeom>
              <a:solidFill>
                <a:srgbClr val="00A59C"/>
              </a:solidFill>
              <a:ln w="6350" cap="flat" cmpd="sng" algn="ctr">
                <a:solidFill>
                  <a:schemeClr val="bg1">
                    <a:lumMod val="50000"/>
                  </a:schemeClr>
                </a:solidFill>
                <a:prstDash val="solid"/>
                <a:miter lim="800000"/>
              </a:ln>
              <a:effectLst/>
            </p:spPr>
            <p:txBody>
              <a:bodyPr rtlCol="0" anchor="ctr"/>
              <a:lstStyle/>
              <a:p>
                <a:pPr algn="ctr" defTabSz="1219139" fontAlgn="base">
                  <a:spcBef>
                    <a:spcPct val="0"/>
                  </a:spcBef>
                  <a:spcAft>
                    <a:spcPct val="0"/>
                  </a:spcAft>
                  <a:defRPr/>
                </a:pPr>
                <a:endParaRPr lang="en-US" sz="2667" kern="0">
                  <a:solidFill>
                    <a:srgbClr val="FFFFFF"/>
                  </a:solidFill>
                  <a:latin typeface="Verdana"/>
                </a:endParaRPr>
              </a:p>
            </p:txBody>
          </p:sp>
          <p:sp>
            <p:nvSpPr>
              <p:cNvPr id="126" name="Cube 125">
                <a:extLst>
                  <a:ext uri="{FF2B5EF4-FFF2-40B4-BE49-F238E27FC236}">
                    <a16:creationId xmlns:a16="http://schemas.microsoft.com/office/drawing/2014/main" id="{ADA743D3-D501-43C6-8F28-C315BD36748B}"/>
                  </a:ext>
                </a:extLst>
              </p:cNvPr>
              <p:cNvSpPr/>
              <p:nvPr/>
            </p:nvSpPr>
            <p:spPr>
              <a:xfrm>
                <a:off x="7967963" y="1926168"/>
                <a:ext cx="909983" cy="95045"/>
              </a:xfrm>
              <a:prstGeom prst="cube">
                <a:avLst>
                  <a:gd name="adj" fmla="val 82999"/>
                </a:avLst>
              </a:prstGeom>
              <a:solidFill>
                <a:srgbClr val="00A59C"/>
              </a:solidFill>
              <a:ln w="6350" cap="flat" cmpd="sng" algn="ctr">
                <a:solidFill>
                  <a:schemeClr val="bg1">
                    <a:lumMod val="50000"/>
                  </a:schemeClr>
                </a:solidFill>
                <a:prstDash val="solid"/>
                <a:miter lim="800000"/>
              </a:ln>
              <a:effectLst/>
            </p:spPr>
            <p:txBody>
              <a:bodyPr rtlCol="0" anchor="ctr"/>
              <a:lstStyle/>
              <a:p>
                <a:pPr algn="ctr" defTabSz="1219139" fontAlgn="base">
                  <a:spcBef>
                    <a:spcPct val="0"/>
                  </a:spcBef>
                  <a:spcAft>
                    <a:spcPct val="0"/>
                  </a:spcAft>
                  <a:defRPr/>
                </a:pPr>
                <a:endParaRPr lang="en-US" sz="2667" kern="0">
                  <a:solidFill>
                    <a:srgbClr val="FFFFFF"/>
                  </a:solidFill>
                  <a:latin typeface="Verdana"/>
                </a:endParaRPr>
              </a:p>
            </p:txBody>
          </p:sp>
          <p:sp>
            <p:nvSpPr>
              <p:cNvPr id="127" name="Cube 126">
                <a:extLst>
                  <a:ext uri="{FF2B5EF4-FFF2-40B4-BE49-F238E27FC236}">
                    <a16:creationId xmlns:a16="http://schemas.microsoft.com/office/drawing/2014/main" id="{87E51E89-27DC-4D22-9189-2B14AAD17F5F}"/>
                  </a:ext>
                </a:extLst>
              </p:cNvPr>
              <p:cNvSpPr/>
              <p:nvPr/>
            </p:nvSpPr>
            <p:spPr>
              <a:xfrm>
                <a:off x="7967942" y="1843603"/>
                <a:ext cx="909983" cy="95045"/>
              </a:xfrm>
              <a:prstGeom prst="cube">
                <a:avLst>
                  <a:gd name="adj" fmla="val 82999"/>
                </a:avLst>
              </a:prstGeom>
              <a:solidFill>
                <a:srgbClr val="00A59C"/>
              </a:solidFill>
              <a:ln w="6350" cap="flat" cmpd="sng" algn="ctr">
                <a:solidFill>
                  <a:schemeClr val="bg1">
                    <a:lumMod val="50000"/>
                  </a:schemeClr>
                </a:solidFill>
                <a:prstDash val="solid"/>
                <a:miter lim="800000"/>
              </a:ln>
              <a:effectLst/>
            </p:spPr>
            <p:txBody>
              <a:bodyPr rtlCol="0" anchor="ctr"/>
              <a:lstStyle/>
              <a:p>
                <a:pPr algn="ctr" defTabSz="1219139" fontAlgn="base">
                  <a:spcBef>
                    <a:spcPct val="0"/>
                  </a:spcBef>
                  <a:spcAft>
                    <a:spcPct val="0"/>
                  </a:spcAft>
                  <a:defRPr/>
                </a:pPr>
                <a:endParaRPr lang="en-US" sz="2667" kern="0">
                  <a:solidFill>
                    <a:srgbClr val="FFFFFF"/>
                  </a:solidFill>
                  <a:latin typeface="Verdana"/>
                </a:endParaRPr>
              </a:p>
            </p:txBody>
          </p:sp>
          <p:sp>
            <p:nvSpPr>
              <p:cNvPr id="128" name="Cube 127">
                <a:extLst>
                  <a:ext uri="{FF2B5EF4-FFF2-40B4-BE49-F238E27FC236}">
                    <a16:creationId xmlns:a16="http://schemas.microsoft.com/office/drawing/2014/main" id="{016BC5AC-30ED-419E-8513-C73A68E5F754}"/>
                  </a:ext>
                </a:extLst>
              </p:cNvPr>
              <p:cNvSpPr/>
              <p:nvPr/>
            </p:nvSpPr>
            <p:spPr>
              <a:xfrm>
                <a:off x="7967949" y="1754062"/>
                <a:ext cx="909983" cy="95045"/>
              </a:xfrm>
              <a:prstGeom prst="cube">
                <a:avLst>
                  <a:gd name="adj" fmla="val 82999"/>
                </a:avLst>
              </a:prstGeom>
              <a:solidFill>
                <a:srgbClr val="00A59C"/>
              </a:solidFill>
              <a:ln w="6350" cap="flat" cmpd="sng" algn="ctr">
                <a:solidFill>
                  <a:schemeClr val="bg1">
                    <a:lumMod val="50000"/>
                  </a:schemeClr>
                </a:solidFill>
                <a:prstDash val="solid"/>
                <a:miter lim="800000"/>
              </a:ln>
              <a:effectLst/>
            </p:spPr>
            <p:txBody>
              <a:bodyPr rtlCol="0" anchor="ctr"/>
              <a:lstStyle/>
              <a:p>
                <a:pPr algn="ctr" defTabSz="1219139" fontAlgn="base">
                  <a:spcBef>
                    <a:spcPct val="0"/>
                  </a:spcBef>
                  <a:spcAft>
                    <a:spcPct val="0"/>
                  </a:spcAft>
                  <a:defRPr/>
                </a:pPr>
                <a:endParaRPr lang="en-US" sz="2667" kern="0">
                  <a:solidFill>
                    <a:srgbClr val="FFFFFF"/>
                  </a:solidFill>
                  <a:latin typeface="Verdana"/>
                </a:endParaRPr>
              </a:p>
            </p:txBody>
          </p:sp>
        </p:grpSp>
        <p:grpSp>
          <p:nvGrpSpPr>
            <p:cNvPr id="120" name="Group 119">
              <a:extLst>
                <a:ext uri="{FF2B5EF4-FFF2-40B4-BE49-F238E27FC236}">
                  <a16:creationId xmlns:a16="http://schemas.microsoft.com/office/drawing/2014/main" id="{5F14DCF2-340F-4B81-9FFD-3CEEFB1D0125}"/>
                </a:ext>
              </a:extLst>
            </p:cNvPr>
            <p:cNvGrpSpPr/>
            <p:nvPr/>
          </p:nvGrpSpPr>
          <p:grpSpPr>
            <a:xfrm>
              <a:off x="8365899" y="1448931"/>
              <a:ext cx="909986" cy="320557"/>
              <a:chOff x="8239815" y="1625318"/>
              <a:chExt cx="909986" cy="320557"/>
            </a:xfrm>
          </p:grpSpPr>
          <p:sp>
            <p:nvSpPr>
              <p:cNvPr id="121" name="Cube 120">
                <a:extLst>
                  <a:ext uri="{FF2B5EF4-FFF2-40B4-BE49-F238E27FC236}">
                    <a16:creationId xmlns:a16="http://schemas.microsoft.com/office/drawing/2014/main" id="{CE54D318-1B3F-41B4-B3EC-FCADD6C89810}"/>
                  </a:ext>
                </a:extLst>
              </p:cNvPr>
              <p:cNvSpPr/>
              <p:nvPr/>
            </p:nvSpPr>
            <p:spPr>
              <a:xfrm>
                <a:off x="8239815" y="1850830"/>
                <a:ext cx="909984" cy="95045"/>
              </a:xfrm>
              <a:prstGeom prst="cube">
                <a:avLst>
                  <a:gd name="adj" fmla="val 82999"/>
                </a:avLst>
              </a:prstGeom>
              <a:solidFill>
                <a:srgbClr val="00A59C"/>
              </a:solidFill>
              <a:ln w="6350" cap="flat" cmpd="sng" algn="ctr">
                <a:solidFill>
                  <a:schemeClr val="bg1">
                    <a:lumMod val="50000"/>
                  </a:schemeClr>
                </a:solidFill>
                <a:prstDash val="solid"/>
                <a:miter lim="800000"/>
              </a:ln>
              <a:effectLst/>
            </p:spPr>
            <p:txBody>
              <a:bodyPr rtlCol="0" anchor="ctr"/>
              <a:lstStyle/>
              <a:p>
                <a:pPr algn="ctr" defTabSz="1219139" fontAlgn="base">
                  <a:spcBef>
                    <a:spcPct val="0"/>
                  </a:spcBef>
                  <a:spcAft>
                    <a:spcPct val="0"/>
                  </a:spcAft>
                  <a:defRPr/>
                </a:pPr>
                <a:endParaRPr lang="en-US" sz="2667" kern="0">
                  <a:solidFill>
                    <a:srgbClr val="FFFFFF"/>
                  </a:solidFill>
                  <a:latin typeface="Verdana"/>
                </a:endParaRPr>
              </a:p>
            </p:txBody>
          </p:sp>
          <p:sp>
            <p:nvSpPr>
              <p:cNvPr id="122" name="Cube 121">
                <a:extLst>
                  <a:ext uri="{FF2B5EF4-FFF2-40B4-BE49-F238E27FC236}">
                    <a16:creationId xmlns:a16="http://schemas.microsoft.com/office/drawing/2014/main" id="{5ACE0DF6-45CB-4E11-9DFD-D6B460FAE970}"/>
                  </a:ext>
                </a:extLst>
              </p:cNvPr>
              <p:cNvSpPr/>
              <p:nvPr/>
            </p:nvSpPr>
            <p:spPr>
              <a:xfrm>
                <a:off x="8239815" y="1773915"/>
                <a:ext cx="909984" cy="95045"/>
              </a:xfrm>
              <a:prstGeom prst="cube">
                <a:avLst>
                  <a:gd name="adj" fmla="val 82999"/>
                </a:avLst>
              </a:prstGeom>
              <a:solidFill>
                <a:srgbClr val="00A59C"/>
              </a:solidFill>
              <a:ln w="6350" cap="flat" cmpd="sng" algn="ctr">
                <a:solidFill>
                  <a:schemeClr val="bg1">
                    <a:lumMod val="50000"/>
                  </a:schemeClr>
                </a:solidFill>
                <a:prstDash val="solid"/>
                <a:miter lim="800000"/>
              </a:ln>
              <a:effectLst/>
            </p:spPr>
            <p:txBody>
              <a:bodyPr rtlCol="0" anchor="ctr"/>
              <a:lstStyle/>
              <a:p>
                <a:pPr algn="ctr" defTabSz="1219139" fontAlgn="base">
                  <a:spcBef>
                    <a:spcPct val="0"/>
                  </a:spcBef>
                  <a:spcAft>
                    <a:spcPct val="0"/>
                  </a:spcAft>
                  <a:defRPr/>
                </a:pPr>
                <a:endParaRPr lang="en-US" sz="2667" kern="0">
                  <a:solidFill>
                    <a:srgbClr val="FFFFFF"/>
                  </a:solidFill>
                  <a:latin typeface="Verdana"/>
                </a:endParaRPr>
              </a:p>
            </p:txBody>
          </p:sp>
          <p:sp>
            <p:nvSpPr>
              <p:cNvPr id="123" name="Cube 122">
                <a:extLst>
                  <a:ext uri="{FF2B5EF4-FFF2-40B4-BE49-F238E27FC236}">
                    <a16:creationId xmlns:a16="http://schemas.microsoft.com/office/drawing/2014/main" id="{A891DCD5-A68B-4AC0-818E-AB58024CB5F5}"/>
                  </a:ext>
                </a:extLst>
              </p:cNvPr>
              <p:cNvSpPr/>
              <p:nvPr/>
            </p:nvSpPr>
            <p:spPr>
              <a:xfrm>
                <a:off x="8239815" y="1698190"/>
                <a:ext cx="909984" cy="95045"/>
              </a:xfrm>
              <a:prstGeom prst="cube">
                <a:avLst>
                  <a:gd name="adj" fmla="val 82999"/>
                </a:avLst>
              </a:prstGeom>
              <a:solidFill>
                <a:srgbClr val="00A59C"/>
              </a:solidFill>
              <a:ln w="6350" cap="flat" cmpd="sng" algn="ctr">
                <a:solidFill>
                  <a:schemeClr val="bg1">
                    <a:lumMod val="50000"/>
                  </a:schemeClr>
                </a:solidFill>
                <a:prstDash val="solid"/>
                <a:miter lim="800000"/>
              </a:ln>
              <a:effectLst/>
            </p:spPr>
            <p:txBody>
              <a:bodyPr rtlCol="0" anchor="ctr"/>
              <a:lstStyle/>
              <a:p>
                <a:pPr algn="ctr" defTabSz="1219139" fontAlgn="base">
                  <a:spcBef>
                    <a:spcPct val="0"/>
                  </a:spcBef>
                  <a:spcAft>
                    <a:spcPct val="0"/>
                  </a:spcAft>
                  <a:defRPr/>
                </a:pPr>
                <a:endParaRPr lang="en-US" sz="2667" kern="0">
                  <a:solidFill>
                    <a:srgbClr val="FFFFFF"/>
                  </a:solidFill>
                  <a:latin typeface="Verdana"/>
                </a:endParaRPr>
              </a:p>
            </p:txBody>
          </p:sp>
          <p:sp>
            <p:nvSpPr>
              <p:cNvPr id="124" name="Cube 123">
                <a:extLst>
                  <a:ext uri="{FF2B5EF4-FFF2-40B4-BE49-F238E27FC236}">
                    <a16:creationId xmlns:a16="http://schemas.microsoft.com/office/drawing/2014/main" id="{5A9BD8BD-4DDD-419A-9D27-BA3868985AC3}"/>
                  </a:ext>
                </a:extLst>
              </p:cNvPr>
              <p:cNvSpPr/>
              <p:nvPr/>
            </p:nvSpPr>
            <p:spPr>
              <a:xfrm>
                <a:off x="8239815" y="1625318"/>
                <a:ext cx="909986" cy="95045"/>
              </a:xfrm>
              <a:prstGeom prst="cube">
                <a:avLst>
                  <a:gd name="adj" fmla="val 82999"/>
                </a:avLst>
              </a:prstGeom>
              <a:solidFill>
                <a:srgbClr val="00A59C"/>
              </a:solidFill>
              <a:ln w="6350" cap="flat" cmpd="sng" algn="ctr">
                <a:solidFill>
                  <a:schemeClr val="bg1">
                    <a:lumMod val="50000"/>
                  </a:schemeClr>
                </a:solidFill>
                <a:prstDash val="solid"/>
                <a:miter lim="800000"/>
              </a:ln>
              <a:effectLst/>
            </p:spPr>
            <p:txBody>
              <a:bodyPr rtlCol="0" anchor="ctr"/>
              <a:lstStyle/>
              <a:p>
                <a:pPr algn="ctr" defTabSz="1219139" fontAlgn="base">
                  <a:spcBef>
                    <a:spcPct val="0"/>
                  </a:spcBef>
                  <a:spcAft>
                    <a:spcPct val="0"/>
                  </a:spcAft>
                  <a:defRPr/>
                </a:pPr>
                <a:endParaRPr lang="en-US" sz="2667" kern="0">
                  <a:solidFill>
                    <a:srgbClr val="FFFFFF"/>
                  </a:solidFill>
                  <a:latin typeface="Verdana"/>
                </a:endParaRPr>
              </a:p>
            </p:txBody>
          </p:sp>
        </p:grpSp>
      </p:grpSp>
      <p:sp>
        <p:nvSpPr>
          <p:cNvPr id="22" name="TextBox 21">
            <a:extLst>
              <a:ext uri="{FF2B5EF4-FFF2-40B4-BE49-F238E27FC236}">
                <a16:creationId xmlns:a16="http://schemas.microsoft.com/office/drawing/2014/main" id="{9C7006B3-D79E-4902-B46B-CD5DC7AE4205}"/>
              </a:ext>
            </a:extLst>
          </p:cNvPr>
          <p:cNvSpPr txBox="1"/>
          <p:nvPr/>
        </p:nvSpPr>
        <p:spPr>
          <a:xfrm>
            <a:off x="6564346" y="2191130"/>
            <a:ext cx="1110337" cy="398060"/>
          </a:xfrm>
          <a:prstGeom prst="rect">
            <a:avLst/>
          </a:prstGeom>
          <a:solidFill>
            <a:srgbClr val="0089C4"/>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a:defRPr sz="10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1625519">
              <a:defRPr/>
            </a:pPr>
            <a:r>
              <a:rPr lang="en-US" sz="1333" b="1" kern="0">
                <a:solidFill>
                  <a:prstClr val="white"/>
                </a:solidFill>
                <a:latin typeface="Verdana"/>
              </a:rPr>
              <a:t>Sprint Backlog</a:t>
            </a:r>
          </a:p>
        </p:txBody>
      </p:sp>
      <p:cxnSp>
        <p:nvCxnSpPr>
          <p:cNvPr id="23" name="Straight Arrow Connector 22">
            <a:extLst>
              <a:ext uri="{FF2B5EF4-FFF2-40B4-BE49-F238E27FC236}">
                <a16:creationId xmlns:a16="http://schemas.microsoft.com/office/drawing/2014/main" id="{341EA71C-64B0-4DAA-8F77-DBD4AAD8298F}"/>
              </a:ext>
            </a:extLst>
          </p:cNvPr>
          <p:cNvCxnSpPr>
            <a:cxnSpLocks/>
            <a:stCxn id="8" idx="2"/>
          </p:cNvCxnSpPr>
          <p:nvPr/>
        </p:nvCxnSpPr>
        <p:spPr>
          <a:xfrm>
            <a:off x="6107127" y="2093050"/>
            <a:ext cx="8635" cy="1099121"/>
          </a:xfrm>
          <a:prstGeom prst="straightConnector1">
            <a:avLst/>
          </a:prstGeom>
          <a:noFill/>
          <a:ln w="9525" cap="flat" cmpd="sng" algn="ctr">
            <a:solidFill>
              <a:srgbClr val="0066A1">
                <a:shade val="95000"/>
                <a:satMod val="105000"/>
              </a:srgbClr>
            </a:solidFill>
            <a:prstDash val="solid"/>
            <a:tailEnd type="triangle"/>
          </a:ln>
          <a:effectLst/>
        </p:spPr>
      </p:cxnSp>
      <p:sp>
        <p:nvSpPr>
          <p:cNvPr id="24" name="Rectangle 23">
            <a:extLst>
              <a:ext uri="{FF2B5EF4-FFF2-40B4-BE49-F238E27FC236}">
                <a16:creationId xmlns:a16="http://schemas.microsoft.com/office/drawing/2014/main" id="{F43C7A6B-AAD1-43C2-9F58-02198F79CED6}"/>
              </a:ext>
            </a:extLst>
          </p:cNvPr>
          <p:cNvSpPr/>
          <p:nvPr/>
        </p:nvSpPr>
        <p:spPr>
          <a:xfrm>
            <a:off x="1353891" y="1904116"/>
            <a:ext cx="1741340" cy="1018589"/>
          </a:xfrm>
          <a:prstGeom prst="rect">
            <a:avLst/>
          </a:prstGeom>
          <a:solidFill>
            <a:schemeClr val="accent3">
              <a:lumMod val="20000"/>
              <a:lumOff val="80000"/>
            </a:schemeClr>
          </a:solidFill>
          <a:ln w="25400" cap="flat" cmpd="sng" algn="ctr">
            <a:noFill/>
            <a:prstDash val="solid"/>
          </a:ln>
          <a:effectLst/>
        </p:spPr>
        <p:txBody>
          <a:bodyPr rtlCol="0" anchor="ctr"/>
          <a:lstStyle/>
          <a:p>
            <a:pPr algn="ctr" defTabSz="1625519">
              <a:defRPr/>
            </a:pPr>
            <a:endParaRPr lang="en-IN" sz="3200" kern="0">
              <a:solidFill>
                <a:prstClr val="white"/>
              </a:solidFill>
              <a:latin typeface="Verdana"/>
            </a:endParaRPr>
          </a:p>
        </p:txBody>
      </p:sp>
      <p:sp>
        <p:nvSpPr>
          <p:cNvPr id="28" name="TextBox 27">
            <a:extLst>
              <a:ext uri="{FF2B5EF4-FFF2-40B4-BE49-F238E27FC236}">
                <a16:creationId xmlns:a16="http://schemas.microsoft.com/office/drawing/2014/main" id="{8D41742F-7E67-4D8F-90DB-4E82023783B1}"/>
              </a:ext>
            </a:extLst>
          </p:cNvPr>
          <p:cNvSpPr txBox="1"/>
          <p:nvPr/>
        </p:nvSpPr>
        <p:spPr>
          <a:xfrm>
            <a:off x="1353890" y="1946663"/>
            <a:ext cx="1741340" cy="281120"/>
          </a:xfrm>
          <a:prstGeom prst="rect">
            <a:avLst/>
          </a:prstGeom>
          <a:no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en-US"/>
            </a:defPPr>
            <a:lvl1pPr algn="ctr">
              <a:defRPr sz="1600"/>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1625519">
              <a:defRPr/>
            </a:pPr>
            <a:r>
              <a:rPr lang="en-IN" b="1" kern="0">
                <a:solidFill>
                  <a:srgbClr val="0066A1"/>
                </a:solidFill>
                <a:latin typeface="Verdana"/>
              </a:rPr>
              <a:t>USA/Canada</a:t>
            </a:r>
            <a:endParaRPr lang="en-IN" sz="1867" b="1" kern="0">
              <a:solidFill>
                <a:srgbClr val="0066A1"/>
              </a:solidFill>
              <a:latin typeface="Verdana"/>
            </a:endParaRPr>
          </a:p>
        </p:txBody>
      </p:sp>
      <p:sp>
        <p:nvSpPr>
          <p:cNvPr id="29" name="Rectangle 28">
            <a:extLst>
              <a:ext uri="{FF2B5EF4-FFF2-40B4-BE49-F238E27FC236}">
                <a16:creationId xmlns:a16="http://schemas.microsoft.com/office/drawing/2014/main" id="{5523A227-FECF-4D4B-8F4E-79711B60DCC5}"/>
              </a:ext>
            </a:extLst>
          </p:cNvPr>
          <p:cNvSpPr/>
          <p:nvPr/>
        </p:nvSpPr>
        <p:spPr>
          <a:xfrm>
            <a:off x="2574155" y="5765465"/>
            <a:ext cx="6998413" cy="276345"/>
          </a:xfrm>
          <a:prstGeom prst="rect">
            <a:avLst/>
          </a:prstGeom>
          <a:solidFill>
            <a:schemeClr val="accent3"/>
          </a:solidFill>
          <a:ln w="25400" cap="flat" cmpd="sng" algn="ctr">
            <a:noFill/>
            <a:prstDash val="solid"/>
          </a:ln>
          <a:effectLst/>
        </p:spPr>
        <p:txBody>
          <a:bodyPr rtlCol="0" anchor="ctr"/>
          <a:lstStyle/>
          <a:p>
            <a:pPr algn="ctr" defTabSz="1625519">
              <a:defRPr/>
            </a:pPr>
            <a:r>
              <a:rPr lang="en-IN" sz="1333" b="1" kern="0">
                <a:solidFill>
                  <a:prstClr val="white"/>
                </a:solidFill>
                <a:latin typeface="Verdana"/>
              </a:rPr>
              <a:t>SHARED DEVOPS – Cloud COE, Java Developer, Agile COE, Testing COE </a:t>
            </a:r>
          </a:p>
        </p:txBody>
      </p:sp>
      <p:cxnSp>
        <p:nvCxnSpPr>
          <p:cNvPr id="30" name="Elbow Connector 30">
            <a:extLst>
              <a:ext uri="{FF2B5EF4-FFF2-40B4-BE49-F238E27FC236}">
                <a16:creationId xmlns:a16="http://schemas.microsoft.com/office/drawing/2014/main" id="{AE450EB8-5460-4839-AEFB-90A79110A77D}"/>
              </a:ext>
            </a:extLst>
          </p:cNvPr>
          <p:cNvCxnSpPr>
            <a:cxnSpLocks/>
            <a:stCxn id="9" idx="2"/>
          </p:cNvCxnSpPr>
          <p:nvPr/>
        </p:nvCxnSpPr>
        <p:spPr>
          <a:xfrm rot="5400000">
            <a:off x="8394627" y="1308254"/>
            <a:ext cx="786952" cy="4013823"/>
          </a:xfrm>
          <a:prstGeom prst="bentConnector2">
            <a:avLst/>
          </a:prstGeom>
          <a:noFill/>
          <a:ln w="9525" cap="flat" cmpd="sng" algn="ctr">
            <a:solidFill>
              <a:srgbClr val="0066A1">
                <a:shade val="95000"/>
                <a:satMod val="105000"/>
              </a:srgbClr>
            </a:solidFill>
            <a:prstDash val="solid"/>
            <a:tailEnd type="triangle"/>
          </a:ln>
          <a:effectLst/>
        </p:spPr>
      </p:cxnSp>
      <p:cxnSp>
        <p:nvCxnSpPr>
          <p:cNvPr id="31" name="Elbow Connector 31">
            <a:extLst>
              <a:ext uri="{FF2B5EF4-FFF2-40B4-BE49-F238E27FC236}">
                <a16:creationId xmlns:a16="http://schemas.microsoft.com/office/drawing/2014/main" id="{12DA29E1-B8EE-4857-911D-65921DF91345}"/>
              </a:ext>
            </a:extLst>
          </p:cNvPr>
          <p:cNvCxnSpPr>
            <a:cxnSpLocks/>
            <a:stCxn id="24" idx="2"/>
            <a:endCxn id="18" idx="1"/>
          </p:cNvCxnSpPr>
          <p:nvPr/>
        </p:nvCxnSpPr>
        <p:spPr>
          <a:xfrm rot="16200000" flipH="1">
            <a:off x="3373536" y="1773731"/>
            <a:ext cx="940651" cy="3238600"/>
          </a:xfrm>
          <a:prstGeom prst="bentConnector2">
            <a:avLst/>
          </a:prstGeom>
          <a:noFill/>
          <a:ln w="9525" cap="flat" cmpd="sng" algn="ctr">
            <a:solidFill>
              <a:srgbClr val="0066A1">
                <a:shade val="95000"/>
                <a:satMod val="105000"/>
              </a:srgbClr>
            </a:solidFill>
            <a:prstDash val="solid"/>
            <a:tailEnd type="triangle"/>
          </a:ln>
          <a:effectLst/>
        </p:spPr>
      </p:cxnSp>
      <p:cxnSp>
        <p:nvCxnSpPr>
          <p:cNvPr id="32" name="Elbow Connector 32">
            <a:extLst>
              <a:ext uri="{FF2B5EF4-FFF2-40B4-BE49-F238E27FC236}">
                <a16:creationId xmlns:a16="http://schemas.microsoft.com/office/drawing/2014/main" id="{2541B137-09BF-4D85-AA1B-D7F8849815F2}"/>
              </a:ext>
            </a:extLst>
          </p:cNvPr>
          <p:cNvCxnSpPr/>
          <p:nvPr/>
        </p:nvCxnSpPr>
        <p:spPr>
          <a:xfrm rot="16200000" flipV="1">
            <a:off x="1413824" y="4210933"/>
            <a:ext cx="25720" cy="8235"/>
          </a:xfrm>
          <a:prstGeom prst="bentConnector3">
            <a:avLst/>
          </a:prstGeom>
          <a:noFill/>
          <a:ln w="9525" cap="flat" cmpd="sng" algn="ctr">
            <a:solidFill>
              <a:srgbClr val="0066A1">
                <a:shade val="95000"/>
                <a:satMod val="105000"/>
              </a:srgbClr>
            </a:solidFill>
            <a:prstDash val="solid"/>
            <a:tailEnd type="triangle"/>
          </a:ln>
          <a:effectLst/>
        </p:spPr>
      </p:cxnSp>
      <p:cxnSp>
        <p:nvCxnSpPr>
          <p:cNvPr id="33" name="Elbow Connector 33">
            <a:extLst>
              <a:ext uri="{FF2B5EF4-FFF2-40B4-BE49-F238E27FC236}">
                <a16:creationId xmlns:a16="http://schemas.microsoft.com/office/drawing/2014/main" id="{783B68FE-F43B-4EA4-AF5F-DDD94FAFD6EC}"/>
              </a:ext>
            </a:extLst>
          </p:cNvPr>
          <p:cNvCxnSpPr>
            <a:cxnSpLocks/>
          </p:cNvCxnSpPr>
          <p:nvPr/>
        </p:nvCxnSpPr>
        <p:spPr>
          <a:xfrm flipV="1">
            <a:off x="1722380" y="3787179"/>
            <a:ext cx="3910360" cy="400837"/>
          </a:xfrm>
          <a:prstGeom prst="bentConnector3">
            <a:avLst>
              <a:gd name="adj1" fmla="val 82"/>
            </a:avLst>
          </a:prstGeom>
          <a:noFill/>
          <a:ln w="9525" cap="flat" cmpd="sng" algn="ctr">
            <a:solidFill>
              <a:srgbClr val="0066A1">
                <a:shade val="95000"/>
                <a:satMod val="105000"/>
              </a:srgbClr>
            </a:solidFill>
            <a:prstDash val="solid"/>
            <a:tailEnd type="triangle"/>
          </a:ln>
          <a:effectLst/>
        </p:spPr>
      </p:cxnSp>
      <p:grpSp>
        <p:nvGrpSpPr>
          <p:cNvPr id="35" name="Group 34">
            <a:extLst>
              <a:ext uri="{FF2B5EF4-FFF2-40B4-BE49-F238E27FC236}">
                <a16:creationId xmlns:a16="http://schemas.microsoft.com/office/drawing/2014/main" id="{B1B96D6D-3946-4043-8EF5-D3D2D7BB35C2}"/>
              </a:ext>
            </a:extLst>
          </p:cNvPr>
          <p:cNvGrpSpPr/>
          <p:nvPr/>
        </p:nvGrpSpPr>
        <p:grpSpPr>
          <a:xfrm>
            <a:off x="11152728" y="5124041"/>
            <a:ext cx="686625" cy="423073"/>
            <a:chOff x="988911" y="5071736"/>
            <a:chExt cx="884679" cy="963135"/>
          </a:xfrm>
          <a:solidFill>
            <a:schemeClr val="bg2"/>
          </a:solidFill>
        </p:grpSpPr>
        <p:grpSp>
          <p:nvGrpSpPr>
            <p:cNvPr id="86" name="Group 85">
              <a:extLst>
                <a:ext uri="{FF2B5EF4-FFF2-40B4-BE49-F238E27FC236}">
                  <a16:creationId xmlns:a16="http://schemas.microsoft.com/office/drawing/2014/main" id="{5539B4DC-3EB8-4E1C-9123-8D53C5871D3B}"/>
                </a:ext>
              </a:extLst>
            </p:cNvPr>
            <p:cNvGrpSpPr/>
            <p:nvPr/>
          </p:nvGrpSpPr>
          <p:grpSpPr>
            <a:xfrm>
              <a:off x="1325880" y="5404485"/>
              <a:ext cx="547710" cy="553729"/>
              <a:chOff x="1435774" y="1789788"/>
              <a:chExt cx="3410045" cy="3447519"/>
            </a:xfrm>
            <a:grpFill/>
            <a:effectLst>
              <a:outerShdw blurRad="50800" dist="25400" dir="5400000" algn="t" rotWithShape="0">
                <a:prstClr val="black">
                  <a:alpha val="40000"/>
                </a:prstClr>
              </a:outerShdw>
            </a:effectLst>
          </p:grpSpPr>
          <p:sp>
            <p:nvSpPr>
              <p:cNvPr id="97" name="Parallelogram 5">
                <a:extLst>
                  <a:ext uri="{FF2B5EF4-FFF2-40B4-BE49-F238E27FC236}">
                    <a16:creationId xmlns:a16="http://schemas.microsoft.com/office/drawing/2014/main" id="{57E0F707-0563-4EDB-B650-60306B134F61}"/>
                  </a:ext>
                </a:extLst>
              </p:cNvPr>
              <p:cNvSpPr/>
              <p:nvPr/>
            </p:nvSpPr>
            <p:spPr>
              <a:xfrm rot="16200000" flipV="1">
                <a:off x="2443070" y="2834557"/>
                <a:ext cx="2757672" cy="2047827"/>
              </a:xfrm>
              <a:custGeom>
                <a:avLst/>
                <a:gdLst/>
                <a:ahLst/>
                <a:cxnLst/>
                <a:rect l="l" t="t" r="r" b="b"/>
                <a:pathLst>
                  <a:path w="2056374" h="1527048">
                    <a:moveTo>
                      <a:pt x="2056374" y="0"/>
                    </a:moveTo>
                    <a:lnTo>
                      <a:pt x="339951" y="0"/>
                    </a:lnTo>
                    <a:lnTo>
                      <a:pt x="0" y="1527048"/>
                    </a:lnTo>
                    <a:lnTo>
                      <a:pt x="1706076" y="1527048"/>
                    </a:lnTo>
                    <a:lnTo>
                      <a:pt x="1704529" y="1524011"/>
                    </a:lnTo>
                    <a:close/>
                  </a:path>
                </a:pathLst>
              </a:custGeom>
              <a:grpFill/>
              <a:ln w="12700" cap="flat" cmpd="sng" algn="ctr">
                <a:solidFill>
                  <a:schemeClr val="accent2">
                    <a:lumMod val="75000"/>
                  </a:schemeClr>
                </a:solidFill>
                <a:prstDash val="solid"/>
              </a:ln>
              <a:effectLst/>
            </p:spPr>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defTabSz="1219139" fontAlgn="base">
                  <a:spcBef>
                    <a:spcPct val="0"/>
                  </a:spcBef>
                  <a:spcAft>
                    <a:spcPct val="0"/>
                  </a:spcAft>
                  <a:defRPr/>
                </a:pPr>
                <a:endParaRPr lang="en-US" sz="1333" kern="0">
                  <a:solidFill>
                    <a:srgbClr val="FFFFFF"/>
                  </a:solidFill>
                  <a:latin typeface="Verdana"/>
                </a:endParaRPr>
              </a:p>
            </p:txBody>
          </p:sp>
          <p:sp>
            <p:nvSpPr>
              <p:cNvPr id="98" name="Parallelogram 7">
                <a:extLst>
                  <a:ext uri="{FF2B5EF4-FFF2-40B4-BE49-F238E27FC236}">
                    <a16:creationId xmlns:a16="http://schemas.microsoft.com/office/drawing/2014/main" id="{031ED493-5C5D-482F-A37B-1B4E454A9093}"/>
                  </a:ext>
                </a:extLst>
              </p:cNvPr>
              <p:cNvSpPr/>
              <p:nvPr/>
            </p:nvSpPr>
            <p:spPr>
              <a:xfrm rot="5400000" flipH="1" flipV="1">
                <a:off x="635317" y="3075146"/>
                <a:ext cx="2975454" cy="1348868"/>
              </a:xfrm>
              <a:custGeom>
                <a:avLst/>
                <a:gdLst/>
                <a:ahLst/>
                <a:cxnLst/>
                <a:rect l="l" t="t" r="r" b="b"/>
                <a:pathLst>
                  <a:path w="2218772" h="1005840">
                    <a:moveTo>
                      <a:pt x="2218772" y="0"/>
                    </a:moveTo>
                    <a:lnTo>
                      <a:pt x="1706271" y="1005840"/>
                    </a:lnTo>
                    <a:lnTo>
                      <a:pt x="0" y="1005840"/>
                    </a:lnTo>
                    <a:lnTo>
                      <a:pt x="521629" y="0"/>
                    </a:lnTo>
                    <a:close/>
                  </a:path>
                </a:pathLst>
              </a:custGeom>
              <a:grpFill/>
              <a:ln w="12700" cap="flat" cmpd="sng" algn="ctr">
                <a:solidFill>
                  <a:schemeClr val="accent2">
                    <a:lumMod val="75000"/>
                  </a:schemeClr>
                </a:solidFill>
                <a:prstDash val="solid"/>
              </a:ln>
              <a:effectLst/>
            </p:spPr>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defTabSz="1219139" fontAlgn="base">
                  <a:spcBef>
                    <a:spcPct val="0"/>
                  </a:spcBef>
                  <a:spcAft>
                    <a:spcPct val="0"/>
                  </a:spcAft>
                  <a:defRPr/>
                </a:pPr>
                <a:endParaRPr lang="en-US" sz="1333" kern="0">
                  <a:solidFill>
                    <a:srgbClr val="FFFFFF"/>
                  </a:solidFill>
                  <a:latin typeface="Verdana"/>
                </a:endParaRPr>
              </a:p>
            </p:txBody>
          </p:sp>
          <p:sp>
            <p:nvSpPr>
              <p:cNvPr id="99" name="Parallelogram 9">
                <a:extLst>
                  <a:ext uri="{FF2B5EF4-FFF2-40B4-BE49-F238E27FC236}">
                    <a16:creationId xmlns:a16="http://schemas.microsoft.com/office/drawing/2014/main" id="{CC2E4A5E-D4D4-40DF-BB1D-F6E54C010A3F}"/>
                  </a:ext>
                </a:extLst>
              </p:cNvPr>
              <p:cNvSpPr/>
              <p:nvPr/>
            </p:nvSpPr>
            <p:spPr>
              <a:xfrm rot="16200000" flipV="1">
                <a:off x="2554883" y="670679"/>
                <a:ext cx="1161684" cy="3399902"/>
              </a:xfrm>
              <a:custGeom>
                <a:avLst/>
                <a:gdLst/>
                <a:ahLst/>
                <a:cxnLst/>
                <a:rect l="l" t="t" r="r" b="b"/>
                <a:pathLst>
                  <a:path w="866258" h="2535280">
                    <a:moveTo>
                      <a:pt x="866258" y="1008202"/>
                    </a:moveTo>
                    <a:lnTo>
                      <a:pt x="352554" y="0"/>
                    </a:lnTo>
                    <a:lnTo>
                      <a:pt x="0" y="1527078"/>
                    </a:lnTo>
                    <a:lnTo>
                      <a:pt x="513705" y="2535280"/>
                    </a:lnTo>
                    <a:close/>
                  </a:path>
                </a:pathLst>
              </a:custGeom>
              <a:grpFill/>
              <a:ln w="12700" cap="flat" cmpd="sng" algn="ctr">
                <a:solidFill>
                  <a:schemeClr val="accent2">
                    <a:lumMod val="75000"/>
                  </a:schemeClr>
                </a:solidFill>
                <a:prstDash val="solid"/>
              </a:ln>
              <a:effectLst/>
            </p:spPr>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defTabSz="1219139" fontAlgn="base">
                  <a:spcBef>
                    <a:spcPct val="0"/>
                  </a:spcBef>
                  <a:spcAft>
                    <a:spcPct val="0"/>
                  </a:spcAft>
                  <a:defRPr/>
                </a:pPr>
                <a:endParaRPr lang="en-US" sz="1333" kern="0">
                  <a:solidFill>
                    <a:srgbClr val="FFFFFF"/>
                  </a:solidFill>
                  <a:latin typeface="Verdana"/>
                </a:endParaRPr>
              </a:p>
            </p:txBody>
          </p:sp>
          <p:sp>
            <p:nvSpPr>
              <p:cNvPr id="100" name="Parallelogram 5">
                <a:extLst>
                  <a:ext uri="{FF2B5EF4-FFF2-40B4-BE49-F238E27FC236}">
                    <a16:creationId xmlns:a16="http://schemas.microsoft.com/office/drawing/2014/main" id="{0230C8C8-3D16-4B7F-98A1-952EC7516C58}"/>
                  </a:ext>
                </a:extLst>
              </p:cNvPr>
              <p:cNvSpPr/>
              <p:nvPr/>
            </p:nvSpPr>
            <p:spPr>
              <a:xfrm rot="16200000" flipV="1">
                <a:off x="2471970" y="2859412"/>
                <a:ext cx="2472511" cy="1818734"/>
              </a:xfrm>
              <a:custGeom>
                <a:avLst/>
                <a:gdLst/>
                <a:ahLst/>
                <a:cxnLst/>
                <a:rect l="l" t="t" r="r" b="b"/>
                <a:pathLst>
                  <a:path w="2472511" h="1818734">
                    <a:moveTo>
                      <a:pt x="2472511" y="0"/>
                    </a:moveTo>
                    <a:cubicBezTo>
                      <a:pt x="2266465" y="602682"/>
                      <a:pt x="1803439" y="1153748"/>
                      <a:pt x="1148076" y="1496659"/>
                    </a:cubicBezTo>
                    <a:cubicBezTo>
                      <a:pt x="775166" y="1691780"/>
                      <a:pt x="382390" y="1797315"/>
                      <a:pt x="0" y="1818734"/>
                    </a:cubicBezTo>
                    <a:lnTo>
                      <a:pt x="2055639" y="1818734"/>
                    </a:lnTo>
                    <a:lnTo>
                      <a:pt x="2053564" y="1814661"/>
                    </a:lnTo>
                    <a:close/>
                  </a:path>
                </a:pathLst>
              </a:custGeom>
              <a:grpFill/>
              <a:ln w="25400" cap="flat" cmpd="sng" algn="ctr">
                <a:solidFill>
                  <a:schemeClr val="accent2">
                    <a:lumMod val="75000"/>
                  </a:schemeClr>
                </a:solidFill>
                <a:prstDash val="solid"/>
              </a:ln>
              <a:effectLst/>
            </p:spPr>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defTabSz="1219139" fontAlgn="base">
                  <a:spcBef>
                    <a:spcPct val="0"/>
                  </a:spcBef>
                  <a:spcAft>
                    <a:spcPct val="0"/>
                  </a:spcAft>
                  <a:defRPr/>
                </a:pPr>
                <a:endParaRPr lang="en-US" sz="1333" kern="0">
                  <a:solidFill>
                    <a:srgbClr val="FFFFFF"/>
                  </a:solidFill>
                  <a:latin typeface="Verdana"/>
                </a:endParaRPr>
              </a:p>
            </p:txBody>
          </p:sp>
        </p:grpSp>
        <p:grpSp>
          <p:nvGrpSpPr>
            <p:cNvPr id="87" name="Group 86">
              <a:extLst>
                <a:ext uri="{FF2B5EF4-FFF2-40B4-BE49-F238E27FC236}">
                  <a16:creationId xmlns:a16="http://schemas.microsoft.com/office/drawing/2014/main" id="{B6A0CBD3-434E-4705-89D6-087885D7341B}"/>
                </a:ext>
              </a:extLst>
            </p:cNvPr>
            <p:cNvGrpSpPr/>
            <p:nvPr/>
          </p:nvGrpSpPr>
          <p:grpSpPr>
            <a:xfrm>
              <a:off x="988911" y="5481142"/>
              <a:ext cx="547710" cy="553729"/>
              <a:chOff x="1435774" y="1789788"/>
              <a:chExt cx="3410045" cy="3447519"/>
            </a:xfrm>
            <a:grpFill/>
            <a:effectLst>
              <a:outerShdw blurRad="50800" dist="25400" dir="5400000" algn="t" rotWithShape="0">
                <a:prstClr val="black">
                  <a:alpha val="40000"/>
                </a:prstClr>
              </a:outerShdw>
            </a:effectLst>
          </p:grpSpPr>
          <p:sp>
            <p:nvSpPr>
              <p:cNvPr id="93" name="Parallelogram 5">
                <a:extLst>
                  <a:ext uri="{FF2B5EF4-FFF2-40B4-BE49-F238E27FC236}">
                    <a16:creationId xmlns:a16="http://schemas.microsoft.com/office/drawing/2014/main" id="{3F41C50D-99C7-4A50-B5E0-1B0C6DD6B8FC}"/>
                  </a:ext>
                </a:extLst>
              </p:cNvPr>
              <p:cNvSpPr/>
              <p:nvPr/>
            </p:nvSpPr>
            <p:spPr>
              <a:xfrm rot="16200000" flipV="1">
                <a:off x="2443070" y="2834557"/>
                <a:ext cx="2757672" cy="2047827"/>
              </a:xfrm>
              <a:custGeom>
                <a:avLst/>
                <a:gdLst/>
                <a:ahLst/>
                <a:cxnLst/>
                <a:rect l="l" t="t" r="r" b="b"/>
                <a:pathLst>
                  <a:path w="2056374" h="1527048">
                    <a:moveTo>
                      <a:pt x="2056374" y="0"/>
                    </a:moveTo>
                    <a:lnTo>
                      <a:pt x="339951" y="0"/>
                    </a:lnTo>
                    <a:lnTo>
                      <a:pt x="0" y="1527048"/>
                    </a:lnTo>
                    <a:lnTo>
                      <a:pt x="1706076" y="1527048"/>
                    </a:lnTo>
                    <a:lnTo>
                      <a:pt x="1704529" y="1524011"/>
                    </a:lnTo>
                    <a:close/>
                  </a:path>
                </a:pathLst>
              </a:custGeom>
              <a:grpFill/>
              <a:ln w="12700" cap="flat" cmpd="sng" algn="ctr">
                <a:solidFill>
                  <a:schemeClr val="accent2">
                    <a:lumMod val="75000"/>
                  </a:schemeClr>
                </a:solidFill>
                <a:prstDash val="solid"/>
              </a:ln>
              <a:effectLst/>
            </p:spPr>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defTabSz="1219139" fontAlgn="base">
                  <a:spcBef>
                    <a:spcPct val="0"/>
                  </a:spcBef>
                  <a:spcAft>
                    <a:spcPct val="0"/>
                  </a:spcAft>
                  <a:defRPr/>
                </a:pPr>
                <a:endParaRPr lang="en-US" sz="1333" kern="0">
                  <a:solidFill>
                    <a:srgbClr val="FFFFFF"/>
                  </a:solidFill>
                  <a:latin typeface="Verdana"/>
                </a:endParaRPr>
              </a:p>
            </p:txBody>
          </p:sp>
          <p:sp>
            <p:nvSpPr>
              <p:cNvPr id="94" name="Parallelogram 7">
                <a:extLst>
                  <a:ext uri="{FF2B5EF4-FFF2-40B4-BE49-F238E27FC236}">
                    <a16:creationId xmlns:a16="http://schemas.microsoft.com/office/drawing/2014/main" id="{7F4A2DE7-732E-4A09-85F7-4E0226650504}"/>
                  </a:ext>
                </a:extLst>
              </p:cNvPr>
              <p:cNvSpPr/>
              <p:nvPr/>
            </p:nvSpPr>
            <p:spPr>
              <a:xfrm rot="5400000" flipH="1" flipV="1">
                <a:off x="635317" y="3075146"/>
                <a:ext cx="2975454" cy="1348868"/>
              </a:xfrm>
              <a:custGeom>
                <a:avLst/>
                <a:gdLst/>
                <a:ahLst/>
                <a:cxnLst/>
                <a:rect l="l" t="t" r="r" b="b"/>
                <a:pathLst>
                  <a:path w="2218772" h="1005840">
                    <a:moveTo>
                      <a:pt x="2218772" y="0"/>
                    </a:moveTo>
                    <a:lnTo>
                      <a:pt x="1706271" y="1005840"/>
                    </a:lnTo>
                    <a:lnTo>
                      <a:pt x="0" y="1005840"/>
                    </a:lnTo>
                    <a:lnTo>
                      <a:pt x="521629" y="0"/>
                    </a:lnTo>
                    <a:close/>
                  </a:path>
                </a:pathLst>
              </a:custGeom>
              <a:grpFill/>
              <a:ln w="12700" cap="flat" cmpd="sng" algn="ctr">
                <a:solidFill>
                  <a:schemeClr val="accent2">
                    <a:lumMod val="75000"/>
                  </a:schemeClr>
                </a:solidFill>
                <a:prstDash val="solid"/>
              </a:ln>
              <a:effectLst/>
            </p:spPr>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defTabSz="1219139" fontAlgn="base">
                  <a:spcBef>
                    <a:spcPct val="0"/>
                  </a:spcBef>
                  <a:spcAft>
                    <a:spcPct val="0"/>
                  </a:spcAft>
                  <a:defRPr/>
                </a:pPr>
                <a:endParaRPr lang="en-US" sz="1333" kern="0">
                  <a:solidFill>
                    <a:srgbClr val="FFFFFF"/>
                  </a:solidFill>
                  <a:latin typeface="Verdana"/>
                </a:endParaRPr>
              </a:p>
            </p:txBody>
          </p:sp>
          <p:sp>
            <p:nvSpPr>
              <p:cNvPr id="95" name="Parallelogram 9">
                <a:extLst>
                  <a:ext uri="{FF2B5EF4-FFF2-40B4-BE49-F238E27FC236}">
                    <a16:creationId xmlns:a16="http://schemas.microsoft.com/office/drawing/2014/main" id="{A5AB6D7B-6E9E-401F-A393-41270344A26B}"/>
                  </a:ext>
                </a:extLst>
              </p:cNvPr>
              <p:cNvSpPr/>
              <p:nvPr/>
            </p:nvSpPr>
            <p:spPr>
              <a:xfrm rot="16200000" flipV="1">
                <a:off x="2554883" y="670679"/>
                <a:ext cx="1161684" cy="3399902"/>
              </a:xfrm>
              <a:custGeom>
                <a:avLst/>
                <a:gdLst/>
                <a:ahLst/>
                <a:cxnLst/>
                <a:rect l="l" t="t" r="r" b="b"/>
                <a:pathLst>
                  <a:path w="866258" h="2535280">
                    <a:moveTo>
                      <a:pt x="866258" y="1008202"/>
                    </a:moveTo>
                    <a:lnTo>
                      <a:pt x="352554" y="0"/>
                    </a:lnTo>
                    <a:lnTo>
                      <a:pt x="0" y="1527078"/>
                    </a:lnTo>
                    <a:lnTo>
                      <a:pt x="513705" y="2535280"/>
                    </a:lnTo>
                    <a:close/>
                  </a:path>
                </a:pathLst>
              </a:custGeom>
              <a:grpFill/>
              <a:ln w="12700" cap="flat" cmpd="sng" algn="ctr">
                <a:solidFill>
                  <a:schemeClr val="accent2">
                    <a:lumMod val="75000"/>
                  </a:schemeClr>
                </a:solidFill>
                <a:prstDash val="solid"/>
              </a:ln>
              <a:effectLst/>
            </p:spPr>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defTabSz="1219139" fontAlgn="base">
                  <a:spcBef>
                    <a:spcPct val="0"/>
                  </a:spcBef>
                  <a:spcAft>
                    <a:spcPct val="0"/>
                  </a:spcAft>
                  <a:defRPr/>
                </a:pPr>
                <a:endParaRPr lang="en-US" sz="1333" kern="0">
                  <a:solidFill>
                    <a:srgbClr val="FFFFFF"/>
                  </a:solidFill>
                  <a:latin typeface="Verdana"/>
                </a:endParaRPr>
              </a:p>
            </p:txBody>
          </p:sp>
          <p:sp>
            <p:nvSpPr>
              <p:cNvPr id="96" name="Parallelogram 5">
                <a:extLst>
                  <a:ext uri="{FF2B5EF4-FFF2-40B4-BE49-F238E27FC236}">
                    <a16:creationId xmlns:a16="http://schemas.microsoft.com/office/drawing/2014/main" id="{A6DBC0F0-E6AA-4F4D-B853-1855039BBED9}"/>
                  </a:ext>
                </a:extLst>
              </p:cNvPr>
              <p:cNvSpPr/>
              <p:nvPr/>
            </p:nvSpPr>
            <p:spPr>
              <a:xfrm rot="16200000" flipV="1">
                <a:off x="2471970" y="2859412"/>
                <a:ext cx="2472511" cy="1818734"/>
              </a:xfrm>
              <a:custGeom>
                <a:avLst/>
                <a:gdLst/>
                <a:ahLst/>
                <a:cxnLst/>
                <a:rect l="l" t="t" r="r" b="b"/>
                <a:pathLst>
                  <a:path w="2472511" h="1818734">
                    <a:moveTo>
                      <a:pt x="2472511" y="0"/>
                    </a:moveTo>
                    <a:cubicBezTo>
                      <a:pt x="2266465" y="602682"/>
                      <a:pt x="1803439" y="1153748"/>
                      <a:pt x="1148076" y="1496659"/>
                    </a:cubicBezTo>
                    <a:cubicBezTo>
                      <a:pt x="775166" y="1691780"/>
                      <a:pt x="382390" y="1797315"/>
                      <a:pt x="0" y="1818734"/>
                    </a:cubicBezTo>
                    <a:lnTo>
                      <a:pt x="2055639" y="1818734"/>
                    </a:lnTo>
                    <a:lnTo>
                      <a:pt x="2053564" y="1814661"/>
                    </a:lnTo>
                    <a:close/>
                  </a:path>
                </a:pathLst>
              </a:custGeom>
              <a:grpFill/>
              <a:ln w="25400" cap="flat" cmpd="sng" algn="ctr">
                <a:solidFill>
                  <a:schemeClr val="accent2">
                    <a:lumMod val="75000"/>
                  </a:schemeClr>
                </a:solidFill>
                <a:prstDash val="solid"/>
              </a:ln>
              <a:effectLst/>
            </p:spPr>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defTabSz="1219139" fontAlgn="base">
                  <a:spcBef>
                    <a:spcPct val="0"/>
                  </a:spcBef>
                  <a:spcAft>
                    <a:spcPct val="0"/>
                  </a:spcAft>
                  <a:defRPr/>
                </a:pPr>
                <a:endParaRPr lang="en-US" sz="1333" kern="0">
                  <a:solidFill>
                    <a:srgbClr val="FFFFFF"/>
                  </a:solidFill>
                  <a:latin typeface="Verdana"/>
                </a:endParaRPr>
              </a:p>
            </p:txBody>
          </p:sp>
        </p:grpSp>
        <p:grpSp>
          <p:nvGrpSpPr>
            <p:cNvPr id="88" name="Group 87">
              <a:extLst>
                <a:ext uri="{FF2B5EF4-FFF2-40B4-BE49-F238E27FC236}">
                  <a16:creationId xmlns:a16="http://schemas.microsoft.com/office/drawing/2014/main" id="{B9FD678F-014E-41D1-9CDB-C8E0C5FE9C49}"/>
                </a:ext>
              </a:extLst>
            </p:cNvPr>
            <p:cNvGrpSpPr/>
            <p:nvPr/>
          </p:nvGrpSpPr>
          <p:grpSpPr>
            <a:xfrm>
              <a:off x="1138562" y="5071736"/>
              <a:ext cx="547710" cy="553729"/>
              <a:chOff x="1435774" y="1789788"/>
              <a:chExt cx="3410045" cy="3447519"/>
            </a:xfrm>
            <a:grpFill/>
            <a:effectLst/>
          </p:grpSpPr>
          <p:sp>
            <p:nvSpPr>
              <p:cNvPr id="89" name="Parallelogram 5">
                <a:extLst>
                  <a:ext uri="{FF2B5EF4-FFF2-40B4-BE49-F238E27FC236}">
                    <a16:creationId xmlns:a16="http://schemas.microsoft.com/office/drawing/2014/main" id="{B3F536A2-18DA-4D9D-9FB6-FDE67488FB8A}"/>
                  </a:ext>
                </a:extLst>
              </p:cNvPr>
              <p:cNvSpPr/>
              <p:nvPr/>
            </p:nvSpPr>
            <p:spPr>
              <a:xfrm rot="16200000" flipV="1">
                <a:off x="2443070" y="2834557"/>
                <a:ext cx="2757672" cy="2047827"/>
              </a:xfrm>
              <a:custGeom>
                <a:avLst/>
                <a:gdLst/>
                <a:ahLst/>
                <a:cxnLst/>
                <a:rect l="l" t="t" r="r" b="b"/>
                <a:pathLst>
                  <a:path w="2056374" h="1527048">
                    <a:moveTo>
                      <a:pt x="2056374" y="0"/>
                    </a:moveTo>
                    <a:lnTo>
                      <a:pt x="339951" y="0"/>
                    </a:lnTo>
                    <a:lnTo>
                      <a:pt x="0" y="1527048"/>
                    </a:lnTo>
                    <a:lnTo>
                      <a:pt x="1706076" y="1527048"/>
                    </a:lnTo>
                    <a:lnTo>
                      <a:pt x="1704529" y="1524011"/>
                    </a:lnTo>
                    <a:close/>
                  </a:path>
                </a:pathLst>
              </a:custGeom>
              <a:grpFill/>
              <a:ln w="12700" cap="flat" cmpd="sng" algn="ctr">
                <a:solidFill>
                  <a:schemeClr val="accent2">
                    <a:lumMod val="75000"/>
                  </a:schemeClr>
                </a:solidFill>
                <a:prstDash val="solid"/>
              </a:ln>
              <a:effectLst/>
            </p:spPr>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defTabSz="1219139" fontAlgn="base">
                  <a:spcBef>
                    <a:spcPct val="0"/>
                  </a:spcBef>
                  <a:spcAft>
                    <a:spcPct val="0"/>
                  </a:spcAft>
                  <a:defRPr/>
                </a:pPr>
                <a:endParaRPr lang="en-US" sz="1333" kern="0">
                  <a:solidFill>
                    <a:srgbClr val="FFFFFF"/>
                  </a:solidFill>
                  <a:latin typeface="Verdana"/>
                </a:endParaRPr>
              </a:p>
            </p:txBody>
          </p:sp>
          <p:sp>
            <p:nvSpPr>
              <p:cNvPr id="90" name="Parallelogram 7">
                <a:extLst>
                  <a:ext uri="{FF2B5EF4-FFF2-40B4-BE49-F238E27FC236}">
                    <a16:creationId xmlns:a16="http://schemas.microsoft.com/office/drawing/2014/main" id="{FBD1F50A-AB80-4AEE-B9DD-4A32EB6A1BD8}"/>
                  </a:ext>
                </a:extLst>
              </p:cNvPr>
              <p:cNvSpPr/>
              <p:nvPr/>
            </p:nvSpPr>
            <p:spPr>
              <a:xfrm rot="5400000" flipH="1" flipV="1">
                <a:off x="635317" y="3075146"/>
                <a:ext cx="2975454" cy="1348868"/>
              </a:xfrm>
              <a:custGeom>
                <a:avLst/>
                <a:gdLst/>
                <a:ahLst/>
                <a:cxnLst/>
                <a:rect l="l" t="t" r="r" b="b"/>
                <a:pathLst>
                  <a:path w="2218772" h="1005840">
                    <a:moveTo>
                      <a:pt x="2218772" y="0"/>
                    </a:moveTo>
                    <a:lnTo>
                      <a:pt x="1706271" y="1005840"/>
                    </a:lnTo>
                    <a:lnTo>
                      <a:pt x="0" y="1005840"/>
                    </a:lnTo>
                    <a:lnTo>
                      <a:pt x="521629" y="0"/>
                    </a:lnTo>
                    <a:close/>
                  </a:path>
                </a:pathLst>
              </a:custGeom>
              <a:grpFill/>
              <a:ln w="12700" cap="flat" cmpd="sng" algn="ctr">
                <a:solidFill>
                  <a:schemeClr val="accent2">
                    <a:lumMod val="75000"/>
                  </a:schemeClr>
                </a:solidFill>
                <a:prstDash val="solid"/>
              </a:ln>
              <a:effectLst/>
            </p:spPr>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defTabSz="1219139" fontAlgn="base">
                  <a:spcBef>
                    <a:spcPct val="0"/>
                  </a:spcBef>
                  <a:spcAft>
                    <a:spcPct val="0"/>
                  </a:spcAft>
                  <a:defRPr/>
                </a:pPr>
                <a:endParaRPr lang="en-US" sz="1333" kern="0">
                  <a:solidFill>
                    <a:srgbClr val="FFFFFF"/>
                  </a:solidFill>
                  <a:latin typeface="Verdana"/>
                </a:endParaRPr>
              </a:p>
            </p:txBody>
          </p:sp>
          <p:sp>
            <p:nvSpPr>
              <p:cNvPr id="91" name="Parallelogram 9">
                <a:extLst>
                  <a:ext uri="{FF2B5EF4-FFF2-40B4-BE49-F238E27FC236}">
                    <a16:creationId xmlns:a16="http://schemas.microsoft.com/office/drawing/2014/main" id="{57696FC8-BAFB-4C78-8AB3-C89CF95EE138}"/>
                  </a:ext>
                </a:extLst>
              </p:cNvPr>
              <p:cNvSpPr/>
              <p:nvPr/>
            </p:nvSpPr>
            <p:spPr>
              <a:xfrm rot="16200000" flipV="1">
                <a:off x="2554883" y="670679"/>
                <a:ext cx="1161684" cy="3399902"/>
              </a:xfrm>
              <a:custGeom>
                <a:avLst/>
                <a:gdLst/>
                <a:ahLst/>
                <a:cxnLst/>
                <a:rect l="l" t="t" r="r" b="b"/>
                <a:pathLst>
                  <a:path w="866258" h="2535280">
                    <a:moveTo>
                      <a:pt x="866258" y="1008202"/>
                    </a:moveTo>
                    <a:lnTo>
                      <a:pt x="352554" y="0"/>
                    </a:lnTo>
                    <a:lnTo>
                      <a:pt x="0" y="1527078"/>
                    </a:lnTo>
                    <a:lnTo>
                      <a:pt x="513705" y="2535280"/>
                    </a:lnTo>
                    <a:close/>
                  </a:path>
                </a:pathLst>
              </a:custGeom>
              <a:grpFill/>
              <a:ln w="12700" cap="flat" cmpd="sng" algn="ctr">
                <a:solidFill>
                  <a:schemeClr val="accent2">
                    <a:lumMod val="75000"/>
                  </a:schemeClr>
                </a:solidFill>
                <a:prstDash val="solid"/>
              </a:ln>
              <a:effectLst/>
            </p:spPr>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defTabSz="1219139" fontAlgn="base">
                  <a:spcBef>
                    <a:spcPct val="0"/>
                  </a:spcBef>
                  <a:spcAft>
                    <a:spcPct val="0"/>
                  </a:spcAft>
                  <a:defRPr/>
                </a:pPr>
                <a:endParaRPr lang="en-US" sz="1333" kern="0">
                  <a:solidFill>
                    <a:srgbClr val="FFFFFF"/>
                  </a:solidFill>
                  <a:latin typeface="Verdana"/>
                </a:endParaRPr>
              </a:p>
            </p:txBody>
          </p:sp>
          <p:sp>
            <p:nvSpPr>
              <p:cNvPr id="92" name="Parallelogram 5">
                <a:extLst>
                  <a:ext uri="{FF2B5EF4-FFF2-40B4-BE49-F238E27FC236}">
                    <a16:creationId xmlns:a16="http://schemas.microsoft.com/office/drawing/2014/main" id="{82CB6FB4-A16C-4A7F-838F-053597EBDAB7}"/>
                  </a:ext>
                </a:extLst>
              </p:cNvPr>
              <p:cNvSpPr/>
              <p:nvPr/>
            </p:nvSpPr>
            <p:spPr>
              <a:xfrm rot="16200000" flipV="1">
                <a:off x="2471970" y="2859412"/>
                <a:ext cx="2472511" cy="1818734"/>
              </a:xfrm>
              <a:custGeom>
                <a:avLst/>
                <a:gdLst/>
                <a:ahLst/>
                <a:cxnLst/>
                <a:rect l="l" t="t" r="r" b="b"/>
                <a:pathLst>
                  <a:path w="2472511" h="1818734">
                    <a:moveTo>
                      <a:pt x="2472511" y="0"/>
                    </a:moveTo>
                    <a:cubicBezTo>
                      <a:pt x="2266465" y="602682"/>
                      <a:pt x="1803439" y="1153748"/>
                      <a:pt x="1148076" y="1496659"/>
                    </a:cubicBezTo>
                    <a:cubicBezTo>
                      <a:pt x="775166" y="1691780"/>
                      <a:pt x="382390" y="1797315"/>
                      <a:pt x="0" y="1818734"/>
                    </a:cubicBezTo>
                    <a:lnTo>
                      <a:pt x="2055639" y="1818734"/>
                    </a:lnTo>
                    <a:lnTo>
                      <a:pt x="2053564" y="1814661"/>
                    </a:lnTo>
                    <a:close/>
                  </a:path>
                </a:pathLst>
              </a:custGeom>
              <a:grpFill/>
              <a:ln w="25400" cap="flat" cmpd="sng" algn="ctr">
                <a:solidFill>
                  <a:schemeClr val="accent2">
                    <a:lumMod val="75000"/>
                  </a:schemeClr>
                </a:solidFill>
                <a:prstDash val="solid"/>
              </a:ln>
              <a:effectLst/>
            </p:spPr>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defTabSz="1219139" fontAlgn="base">
                  <a:spcBef>
                    <a:spcPct val="0"/>
                  </a:spcBef>
                  <a:spcAft>
                    <a:spcPct val="0"/>
                  </a:spcAft>
                  <a:defRPr/>
                </a:pPr>
                <a:endParaRPr lang="en-US" sz="1333" kern="0">
                  <a:solidFill>
                    <a:srgbClr val="FFFFFF"/>
                  </a:solidFill>
                  <a:latin typeface="Verdana"/>
                </a:endParaRPr>
              </a:p>
            </p:txBody>
          </p:sp>
        </p:grpSp>
      </p:grpSp>
      <p:pic>
        <p:nvPicPr>
          <p:cNvPr id="36" name="Picture 2" descr="Image result for people discussing with board icon">
            <a:extLst>
              <a:ext uri="{FF2B5EF4-FFF2-40B4-BE49-F238E27FC236}">
                <a16:creationId xmlns:a16="http://schemas.microsoft.com/office/drawing/2014/main" id="{0B6C1015-8A64-496A-BD81-7943CD324003}"/>
              </a:ext>
            </a:extLst>
          </p:cNvPr>
          <p:cNvPicPr>
            <a:picLocks noChangeAspect="1" noChangeArrowheads="1"/>
          </p:cNvPicPr>
          <p:nvPr/>
        </p:nvPicPr>
        <p:blipFill rotWithShape="1">
          <a:blip r:embed="rId3">
            <a:duotone>
              <a:srgbClr val="5B9BD5">
                <a:shade val="45000"/>
                <a:satMod val="135000"/>
              </a:srgbClr>
              <a:prstClr val="white"/>
            </a:duotone>
            <a:extLst>
              <a:ext uri="{BEBA8EAE-BF5A-486C-A8C5-ECC9F3942E4B}">
                <a14:imgProps xmlns:a14="http://schemas.microsoft.com/office/drawing/2010/main">
                  <a14:imgLayer r:embed="rId4">
                    <a14:imgEffect>
                      <a14:backgroundRemoval t="25532" b="45745" l="6667" r="25778">
                        <a14:foregroundMark x1="36000" y1="83830" x2="43333" y2="77660"/>
                        <a14:foregroundMark x1="41333" y1="75319" x2="48667" y2="84894"/>
                        <a14:foregroundMark x1="37556" y1="86170" x2="40667" y2="88511"/>
                        <a14:foregroundMark x1="42222" y1="75957" x2="43333" y2="73830"/>
                        <a14:foregroundMark x1="42667" y1="88723" x2="47333" y2="84255"/>
                        <a14:foregroundMark x1="46667" y1="80426" x2="48444" y2="82128"/>
                        <a14:foregroundMark x1="6667" y1="37234" x2="24000" y2="37660"/>
                        <a14:foregroundMark x1="12222" y1="31489" x2="19111" y2="30638"/>
                      </a14:backgroundRemoval>
                    </a14:imgEffect>
                  </a14:imgLayer>
                </a14:imgProps>
              </a:ext>
              <a:ext uri="{28A0092B-C50C-407E-A947-70E740481C1C}">
                <a14:useLocalDpi xmlns:a14="http://schemas.microsoft.com/office/drawing/2010/main" val="0"/>
              </a:ext>
            </a:extLst>
          </a:blip>
          <a:srcRect l="5463" t="25543" r="74141" b="56009"/>
          <a:stretch/>
        </p:blipFill>
        <p:spPr bwMode="auto">
          <a:xfrm>
            <a:off x="9243960" y="4317967"/>
            <a:ext cx="959464" cy="648719"/>
          </a:xfrm>
          <a:prstGeom prst="rect">
            <a:avLst/>
          </a:prstGeom>
          <a:ln>
            <a:solidFill>
              <a:srgbClr val="4472C4">
                <a:lumMod val="75000"/>
              </a:srgbClr>
            </a:solid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37" name="Picture 2" descr="Image result for people discussing with board icon">
            <a:extLst>
              <a:ext uri="{FF2B5EF4-FFF2-40B4-BE49-F238E27FC236}">
                <a16:creationId xmlns:a16="http://schemas.microsoft.com/office/drawing/2014/main" id="{3DD32BD4-1AD2-41AF-996A-2F2E3E8835F0}"/>
              </a:ext>
            </a:extLst>
          </p:cNvPr>
          <p:cNvPicPr>
            <a:picLocks noChangeAspect="1" noChangeArrowheads="1"/>
          </p:cNvPicPr>
          <p:nvPr/>
        </p:nvPicPr>
        <p:blipFill rotWithShape="1">
          <a:blip r:embed="rId5">
            <a:duotone>
              <a:srgbClr val="5B9BD5">
                <a:shade val="45000"/>
                <a:satMod val="135000"/>
              </a:srgbClr>
              <a:prstClr val="white"/>
            </a:duotone>
            <a:extLst>
              <a:ext uri="{BEBA8EAE-BF5A-486C-A8C5-ECC9F3942E4B}">
                <a14:imgProps xmlns:a14="http://schemas.microsoft.com/office/drawing/2010/main">
                  <a14:imgLayer r:embed="rId4">
                    <a14:imgEffect>
                      <a14:backgroundRemoval t="6596" b="20638" l="74444" r="95556">
                        <a14:foregroundMark x1="78667" y1="7872" x2="79333" y2="19362"/>
                        <a14:foregroundMark x1="86000" y1="14681" x2="86444" y2="16809"/>
                        <a14:foregroundMark x1="84000" y1="9787" x2="92222" y2="10851"/>
                      </a14:backgroundRemoval>
                    </a14:imgEffect>
                  </a14:imgLayer>
                </a14:imgProps>
              </a:ext>
              <a:ext uri="{28A0092B-C50C-407E-A947-70E740481C1C}">
                <a14:useLocalDpi xmlns:a14="http://schemas.microsoft.com/office/drawing/2010/main" val="0"/>
              </a:ext>
            </a:extLst>
          </a:blip>
          <a:srcRect l="74296" t="5142" r="2000" b="78404"/>
          <a:stretch/>
        </p:blipFill>
        <p:spPr bwMode="auto">
          <a:xfrm>
            <a:off x="7554675" y="4152532"/>
            <a:ext cx="1013291" cy="636109"/>
          </a:xfrm>
          <a:prstGeom prst="rect">
            <a:avLst/>
          </a:prstGeom>
          <a:ln>
            <a:solidFill>
              <a:srgbClr val="0070C0"/>
            </a:solid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38" name="TextBox 37">
            <a:extLst>
              <a:ext uri="{FF2B5EF4-FFF2-40B4-BE49-F238E27FC236}">
                <a16:creationId xmlns:a16="http://schemas.microsoft.com/office/drawing/2014/main" id="{9ABD9848-F59B-4DC7-97B6-E9369DEFEC75}"/>
              </a:ext>
            </a:extLst>
          </p:cNvPr>
          <p:cNvSpPr txBox="1"/>
          <p:nvPr/>
        </p:nvSpPr>
        <p:spPr>
          <a:xfrm>
            <a:off x="9236346" y="4990421"/>
            <a:ext cx="984980" cy="420284"/>
          </a:xfrm>
          <a:prstGeom prst="rect">
            <a:avLst/>
          </a:prstGeom>
          <a:solidFill>
            <a:srgbClr val="0089C4"/>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a:defRPr sz="10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1625519">
              <a:defRPr/>
            </a:pPr>
            <a:r>
              <a:rPr lang="en-US" sz="1333" b="1" kern="0">
                <a:solidFill>
                  <a:prstClr val="white"/>
                </a:solidFill>
                <a:latin typeface="Verdana"/>
              </a:rPr>
              <a:t>Sprint Retro</a:t>
            </a:r>
          </a:p>
        </p:txBody>
      </p:sp>
      <p:sp>
        <p:nvSpPr>
          <p:cNvPr id="39" name="TextBox 38">
            <a:extLst>
              <a:ext uri="{FF2B5EF4-FFF2-40B4-BE49-F238E27FC236}">
                <a16:creationId xmlns:a16="http://schemas.microsoft.com/office/drawing/2014/main" id="{6240C1B9-CF7F-4F5E-9804-AA8E9C915E77}"/>
              </a:ext>
            </a:extLst>
          </p:cNvPr>
          <p:cNvSpPr txBox="1"/>
          <p:nvPr/>
        </p:nvSpPr>
        <p:spPr>
          <a:xfrm>
            <a:off x="7531934" y="4809178"/>
            <a:ext cx="1061709" cy="379933"/>
          </a:xfrm>
          <a:prstGeom prst="rect">
            <a:avLst/>
          </a:prstGeom>
          <a:solidFill>
            <a:srgbClr val="0089C4"/>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a:defRPr sz="10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1625519">
              <a:defRPr/>
            </a:pPr>
            <a:r>
              <a:rPr lang="en-US" sz="1333" b="1" kern="0">
                <a:solidFill>
                  <a:prstClr val="white"/>
                </a:solidFill>
                <a:latin typeface="Verdana"/>
              </a:rPr>
              <a:t>Demo per DoD</a:t>
            </a:r>
          </a:p>
        </p:txBody>
      </p:sp>
      <p:sp>
        <p:nvSpPr>
          <p:cNvPr id="40" name="TextBox 39">
            <a:extLst>
              <a:ext uri="{FF2B5EF4-FFF2-40B4-BE49-F238E27FC236}">
                <a16:creationId xmlns:a16="http://schemas.microsoft.com/office/drawing/2014/main" id="{14ECFB49-9971-41D8-8EA0-4573189DE068}"/>
              </a:ext>
            </a:extLst>
          </p:cNvPr>
          <p:cNvSpPr txBox="1"/>
          <p:nvPr/>
        </p:nvSpPr>
        <p:spPr>
          <a:xfrm>
            <a:off x="10790089" y="4286528"/>
            <a:ext cx="1199249" cy="582283"/>
          </a:xfrm>
          <a:prstGeom prst="rect">
            <a:avLst/>
          </a:prstGeom>
          <a:solidFill>
            <a:srgbClr val="0089C4"/>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a:defRPr sz="10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1625519">
              <a:defRPr/>
            </a:pPr>
            <a:r>
              <a:rPr lang="en-US" sz="1400" b="1" kern="0">
                <a:solidFill>
                  <a:prstClr val="white"/>
                </a:solidFill>
                <a:latin typeface="Verdana"/>
              </a:rPr>
              <a:t>Product Increment</a:t>
            </a:r>
          </a:p>
        </p:txBody>
      </p:sp>
      <p:sp>
        <p:nvSpPr>
          <p:cNvPr id="41" name="Isosceles Triangle 40">
            <a:extLst>
              <a:ext uri="{FF2B5EF4-FFF2-40B4-BE49-F238E27FC236}">
                <a16:creationId xmlns:a16="http://schemas.microsoft.com/office/drawing/2014/main" id="{7B6AE8CA-0ED2-49CC-B87F-B8AE565D126C}"/>
              </a:ext>
            </a:extLst>
          </p:cNvPr>
          <p:cNvSpPr/>
          <p:nvPr/>
        </p:nvSpPr>
        <p:spPr>
          <a:xfrm>
            <a:off x="9597372" y="4000662"/>
            <a:ext cx="181723" cy="187529"/>
          </a:xfrm>
          <a:prstGeom prst="triangle">
            <a:avLst/>
          </a:prstGeom>
          <a:solidFill>
            <a:srgbClr val="0089C4">
              <a:lumMod val="75000"/>
            </a:srgbClr>
          </a:solidFill>
          <a:ln w="25400" cap="flat" cmpd="sng" algn="ctr">
            <a:noFill/>
            <a:prstDash val="solid"/>
          </a:ln>
          <a:effectLst/>
        </p:spPr>
        <p:txBody>
          <a:bodyPr rtlCol="0" anchor="ctr"/>
          <a:lstStyle/>
          <a:p>
            <a:pPr algn="ctr" defTabSz="1625519">
              <a:defRPr/>
            </a:pPr>
            <a:endParaRPr lang="en-IN" sz="3200" kern="0">
              <a:solidFill>
                <a:prstClr val="white"/>
              </a:solidFill>
              <a:latin typeface="Verdana"/>
            </a:endParaRPr>
          </a:p>
        </p:txBody>
      </p:sp>
      <p:cxnSp>
        <p:nvCxnSpPr>
          <p:cNvPr id="42" name="Elbow Connector 42">
            <a:extLst>
              <a:ext uri="{FF2B5EF4-FFF2-40B4-BE49-F238E27FC236}">
                <a16:creationId xmlns:a16="http://schemas.microsoft.com/office/drawing/2014/main" id="{849B185C-0360-48A5-944B-00966702E279}"/>
              </a:ext>
            </a:extLst>
          </p:cNvPr>
          <p:cNvCxnSpPr>
            <a:endCxn id="37" idx="1"/>
          </p:cNvCxnSpPr>
          <p:nvPr/>
        </p:nvCxnSpPr>
        <p:spPr>
          <a:xfrm>
            <a:off x="6264078" y="4257295"/>
            <a:ext cx="1290597" cy="213292"/>
          </a:xfrm>
          <a:prstGeom prst="bentConnector3">
            <a:avLst>
              <a:gd name="adj1" fmla="val 50000"/>
            </a:avLst>
          </a:prstGeom>
          <a:noFill/>
          <a:ln w="9525" cap="flat" cmpd="sng" algn="ctr">
            <a:solidFill>
              <a:srgbClr val="0066A1">
                <a:shade val="95000"/>
                <a:satMod val="105000"/>
              </a:srgbClr>
            </a:solidFill>
            <a:prstDash val="solid"/>
            <a:tailEnd type="triangle"/>
          </a:ln>
          <a:effectLst/>
        </p:spPr>
      </p:cxnSp>
      <p:sp>
        <p:nvSpPr>
          <p:cNvPr id="43" name="Isosceles Triangle 42">
            <a:extLst>
              <a:ext uri="{FF2B5EF4-FFF2-40B4-BE49-F238E27FC236}">
                <a16:creationId xmlns:a16="http://schemas.microsoft.com/office/drawing/2014/main" id="{6819DAF2-0C9B-4972-A5DA-C8A57E7CFA03}"/>
              </a:ext>
            </a:extLst>
          </p:cNvPr>
          <p:cNvSpPr/>
          <p:nvPr/>
        </p:nvSpPr>
        <p:spPr>
          <a:xfrm>
            <a:off x="7960935" y="3930957"/>
            <a:ext cx="181723" cy="187529"/>
          </a:xfrm>
          <a:prstGeom prst="triangle">
            <a:avLst/>
          </a:prstGeom>
          <a:solidFill>
            <a:srgbClr val="0089C4">
              <a:lumMod val="75000"/>
            </a:srgbClr>
          </a:solidFill>
          <a:ln w="25400" cap="flat" cmpd="sng" algn="ctr">
            <a:noFill/>
            <a:prstDash val="solid"/>
          </a:ln>
          <a:effectLst/>
        </p:spPr>
        <p:txBody>
          <a:bodyPr rtlCol="0" anchor="ctr"/>
          <a:lstStyle/>
          <a:p>
            <a:pPr algn="ctr" defTabSz="1625519">
              <a:defRPr/>
            </a:pPr>
            <a:endParaRPr lang="en-IN" sz="3200" kern="0">
              <a:solidFill>
                <a:prstClr val="white"/>
              </a:solidFill>
              <a:latin typeface="Verdana"/>
            </a:endParaRPr>
          </a:p>
        </p:txBody>
      </p:sp>
      <p:cxnSp>
        <p:nvCxnSpPr>
          <p:cNvPr id="44" name="Elbow Connector 44">
            <a:extLst>
              <a:ext uri="{FF2B5EF4-FFF2-40B4-BE49-F238E27FC236}">
                <a16:creationId xmlns:a16="http://schemas.microsoft.com/office/drawing/2014/main" id="{8A2A6F90-4C08-4FA2-A8CF-0E4FC4C51009}"/>
              </a:ext>
            </a:extLst>
          </p:cNvPr>
          <p:cNvCxnSpPr>
            <a:cxnSpLocks/>
          </p:cNvCxnSpPr>
          <p:nvPr/>
        </p:nvCxnSpPr>
        <p:spPr>
          <a:xfrm>
            <a:off x="6963356" y="3811695"/>
            <a:ext cx="2736821" cy="476863"/>
          </a:xfrm>
          <a:prstGeom prst="bentConnector2">
            <a:avLst/>
          </a:prstGeom>
          <a:noFill/>
          <a:ln w="9525" cap="flat" cmpd="sng" algn="ctr">
            <a:solidFill>
              <a:srgbClr val="0066A1">
                <a:shade val="95000"/>
                <a:satMod val="105000"/>
              </a:srgbClr>
            </a:solidFill>
            <a:prstDash val="solid"/>
            <a:tailEnd type="triangle"/>
          </a:ln>
          <a:effectLst/>
        </p:spPr>
      </p:cxnSp>
      <p:cxnSp>
        <p:nvCxnSpPr>
          <p:cNvPr id="45" name="Straight Arrow Connector 44">
            <a:extLst>
              <a:ext uri="{FF2B5EF4-FFF2-40B4-BE49-F238E27FC236}">
                <a16:creationId xmlns:a16="http://schemas.microsoft.com/office/drawing/2014/main" id="{5B746F7F-99C5-4F75-95A0-D1FE0566BFCC}"/>
              </a:ext>
            </a:extLst>
          </p:cNvPr>
          <p:cNvCxnSpPr/>
          <p:nvPr/>
        </p:nvCxnSpPr>
        <p:spPr>
          <a:xfrm>
            <a:off x="6129292" y="4094427"/>
            <a:ext cx="1" cy="1452687"/>
          </a:xfrm>
          <a:prstGeom prst="straightConnector1">
            <a:avLst/>
          </a:prstGeom>
          <a:noFill/>
          <a:ln w="9525" cap="flat" cmpd="sng" algn="ctr">
            <a:solidFill>
              <a:srgbClr val="0066A1">
                <a:shade val="95000"/>
                <a:satMod val="105000"/>
              </a:srgbClr>
            </a:solidFill>
            <a:prstDash val="solid"/>
            <a:tailEnd type="triangle"/>
          </a:ln>
          <a:effectLst/>
        </p:spPr>
      </p:cxnSp>
      <p:cxnSp>
        <p:nvCxnSpPr>
          <p:cNvPr id="46" name="Elbow Connector 46">
            <a:extLst>
              <a:ext uri="{FF2B5EF4-FFF2-40B4-BE49-F238E27FC236}">
                <a16:creationId xmlns:a16="http://schemas.microsoft.com/office/drawing/2014/main" id="{BCEFB442-BC5E-44E4-9777-C2BA720F0F90}"/>
              </a:ext>
            </a:extLst>
          </p:cNvPr>
          <p:cNvCxnSpPr>
            <a:cxnSpLocks/>
            <a:stCxn id="39" idx="2"/>
            <a:endCxn id="129" idx="3"/>
          </p:cNvCxnSpPr>
          <p:nvPr/>
        </p:nvCxnSpPr>
        <p:spPr>
          <a:xfrm rot="5400000">
            <a:off x="4636551" y="1960095"/>
            <a:ext cx="197223" cy="6655253"/>
          </a:xfrm>
          <a:prstGeom prst="bentConnector3">
            <a:avLst>
              <a:gd name="adj1" fmla="val 254546"/>
            </a:avLst>
          </a:prstGeom>
          <a:noFill/>
          <a:ln w="9525" cap="flat" cmpd="sng" algn="ctr">
            <a:solidFill>
              <a:srgbClr val="0066A1">
                <a:shade val="95000"/>
                <a:satMod val="105000"/>
              </a:srgbClr>
            </a:solidFill>
            <a:prstDash val="solid"/>
            <a:tailEnd type="triangle"/>
          </a:ln>
          <a:effectLst/>
        </p:spPr>
      </p:cxnSp>
      <p:cxnSp>
        <p:nvCxnSpPr>
          <p:cNvPr id="47" name="Elbow Connector 55">
            <a:extLst>
              <a:ext uri="{FF2B5EF4-FFF2-40B4-BE49-F238E27FC236}">
                <a16:creationId xmlns:a16="http://schemas.microsoft.com/office/drawing/2014/main" id="{1CBFC524-7665-4B5D-9FC3-14321F0D6757}"/>
              </a:ext>
            </a:extLst>
          </p:cNvPr>
          <p:cNvCxnSpPr>
            <a:cxnSpLocks/>
            <a:stCxn id="29" idx="3"/>
          </p:cNvCxnSpPr>
          <p:nvPr/>
        </p:nvCxnSpPr>
        <p:spPr>
          <a:xfrm flipV="1">
            <a:off x="9572568" y="5591541"/>
            <a:ext cx="1978120" cy="312096"/>
          </a:xfrm>
          <a:prstGeom prst="bentConnector3">
            <a:avLst>
              <a:gd name="adj1" fmla="val 100167"/>
            </a:avLst>
          </a:prstGeom>
          <a:noFill/>
          <a:ln w="9525" cap="flat" cmpd="sng" algn="ctr">
            <a:solidFill>
              <a:srgbClr val="0066A1">
                <a:shade val="95000"/>
                <a:satMod val="105000"/>
              </a:srgbClr>
            </a:solidFill>
            <a:prstDash val="solid"/>
            <a:tailEnd type="triangle"/>
          </a:ln>
          <a:effectLst/>
        </p:spPr>
      </p:cxnSp>
      <p:pic>
        <p:nvPicPr>
          <p:cNvPr id="48" name="Picture 14" descr="http://smartbear.com/SmartBear/media/images/Solutions/icon-continuous-integration.png">
            <a:extLst>
              <a:ext uri="{FF2B5EF4-FFF2-40B4-BE49-F238E27FC236}">
                <a16:creationId xmlns:a16="http://schemas.microsoft.com/office/drawing/2014/main" id="{AEF2AF49-F82D-433A-8A1F-DB0A3D01BD41}"/>
              </a:ext>
            </a:extLst>
          </p:cNvPr>
          <p:cNvPicPr>
            <a:picLocks noChangeAspect="1" noChangeArrowheads="1"/>
          </p:cNvPicPr>
          <p:nvPr/>
        </p:nvPicPr>
        <p:blipFill>
          <a:blip r:embed="rId6" cstate="print">
            <a:duotone>
              <a:srgbClr val="4472C4">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219342" y="4891219"/>
            <a:ext cx="850569" cy="720111"/>
          </a:xfrm>
          <a:prstGeom prst="rect">
            <a:avLst/>
          </a:prstGeom>
          <a:noFill/>
          <a:extLst>
            <a:ext uri="{909E8E84-426E-40DD-AFC4-6F175D3DCCD1}">
              <a14:hiddenFill xmlns:a14="http://schemas.microsoft.com/office/drawing/2010/main">
                <a:solidFill>
                  <a:srgbClr val="FFFFFF"/>
                </a:solidFill>
              </a14:hiddenFill>
            </a:ext>
          </a:extLst>
        </p:spPr>
      </p:pic>
      <p:sp>
        <p:nvSpPr>
          <p:cNvPr id="49" name="12-Point Star 57">
            <a:extLst>
              <a:ext uri="{FF2B5EF4-FFF2-40B4-BE49-F238E27FC236}">
                <a16:creationId xmlns:a16="http://schemas.microsoft.com/office/drawing/2014/main" id="{562C762E-2EA4-4519-B262-7FAF2B04CC65}"/>
              </a:ext>
            </a:extLst>
          </p:cNvPr>
          <p:cNvSpPr/>
          <p:nvPr/>
        </p:nvSpPr>
        <p:spPr>
          <a:xfrm>
            <a:off x="2019207" y="3662016"/>
            <a:ext cx="414931" cy="359677"/>
          </a:xfrm>
          <a:prstGeom prst="star12">
            <a:avLst/>
          </a:prstGeom>
          <a:solidFill>
            <a:srgbClr val="FA6119"/>
          </a:solidFill>
          <a:ln w="25400" cap="flat" cmpd="sng" algn="ctr">
            <a:noFill/>
            <a:prstDash val="solid"/>
          </a:ln>
          <a:effectLst/>
        </p:spPr>
        <p:txBody>
          <a:bodyPr rtlCol="0" anchor="ctr"/>
          <a:lstStyle/>
          <a:p>
            <a:pPr algn="ctr" defTabSz="1625519">
              <a:defRPr/>
            </a:pPr>
            <a:r>
              <a:rPr lang="en-IN" sz="1867" b="1" kern="0">
                <a:solidFill>
                  <a:prstClr val="white"/>
                </a:solidFill>
                <a:latin typeface="Verdana"/>
              </a:rPr>
              <a:t>1</a:t>
            </a:r>
          </a:p>
        </p:txBody>
      </p:sp>
      <p:sp>
        <p:nvSpPr>
          <p:cNvPr id="52" name="TextBox 51">
            <a:extLst>
              <a:ext uri="{FF2B5EF4-FFF2-40B4-BE49-F238E27FC236}">
                <a16:creationId xmlns:a16="http://schemas.microsoft.com/office/drawing/2014/main" id="{F65BD419-C7BF-43E5-9EEF-D02D0E7BD33E}"/>
              </a:ext>
            </a:extLst>
          </p:cNvPr>
          <p:cNvSpPr txBox="1"/>
          <p:nvPr/>
        </p:nvSpPr>
        <p:spPr>
          <a:xfrm>
            <a:off x="2361839" y="4617069"/>
            <a:ext cx="2012027" cy="223775"/>
          </a:xfrm>
          <a:prstGeom prst="rect">
            <a:avLst/>
          </a:prstGeom>
          <a:solidFill>
            <a:srgbClr val="0089C4"/>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a:defRPr sz="10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1625519">
              <a:defRPr/>
            </a:pPr>
            <a:r>
              <a:rPr lang="en-US" sz="1333" b="1" kern="0">
                <a:solidFill>
                  <a:prstClr val="white"/>
                </a:solidFill>
                <a:latin typeface="Verdana"/>
              </a:rPr>
              <a:t>Release Planning</a:t>
            </a:r>
          </a:p>
        </p:txBody>
      </p:sp>
      <p:sp>
        <p:nvSpPr>
          <p:cNvPr id="53" name="TextBox 52">
            <a:extLst>
              <a:ext uri="{FF2B5EF4-FFF2-40B4-BE49-F238E27FC236}">
                <a16:creationId xmlns:a16="http://schemas.microsoft.com/office/drawing/2014/main" id="{595C796F-C519-49E6-8066-00FD26245F65}"/>
              </a:ext>
            </a:extLst>
          </p:cNvPr>
          <p:cNvSpPr txBox="1"/>
          <p:nvPr/>
        </p:nvSpPr>
        <p:spPr>
          <a:xfrm>
            <a:off x="511762" y="3644505"/>
            <a:ext cx="973500" cy="420080"/>
          </a:xfrm>
          <a:prstGeom prst="rect">
            <a:avLst/>
          </a:prstGeom>
          <a:solidFill>
            <a:srgbClr val="0089C4"/>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a:defRPr sz="10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1625519">
              <a:defRPr/>
            </a:pPr>
            <a:r>
              <a:rPr lang="en-US" sz="1333" b="1" kern="0">
                <a:solidFill>
                  <a:prstClr val="white"/>
                </a:solidFill>
                <a:latin typeface="Verdana"/>
              </a:rPr>
              <a:t>Project KickOff</a:t>
            </a:r>
          </a:p>
        </p:txBody>
      </p:sp>
      <p:sp>
        <p:nvSpPr>
          <p:cNvPr id="54" name="Isosceles Triangle 53">
            <a:extLst>
              <a:ext uri="{FF2B5EF4-FFF2-40B4-BE49-F238E27FC236}">
                <a16:creationId xmlns:a16="http://schemas.microsoft.com/office/drawing/2014/main" id="{4E8658DE-AD80-41DD-8E3D-E7939F8344C7}"/>
              </a:ext>
            </a:extLst>
          </p:cNvPr>
          <p:cNvSpPr/>
          <p:nvPr/>
        </p:nvSpPr>
        <p:spPr>
          <a:xfrm>
            <a:off x="1013605" y="2837036"/>
            <a:ext cx="181723" cy="187529"/>
          </a:xfrm>
          <a:prstGeom prst="triangle">
            <a:avLst/>
          </a:prstGeom>
          <a:solidFill>
            <a:srgbClr val="0089C4">
              <a:lumMod val="75000"/>
            </a:srgbClr>
          </a:solidFill>
          <a:ln w="25400" cap="flat" cmpd="sng" algn="ctr">
            <a:noFill/>
            <a:prstDash val="solid"/>
          </a:ln>
          <a:effectLst/>
        </p:spPr>
        <p:txBody>
          <a:bodyPr rtlCol="0" anchor="ctr"/>
          <a:lstStyle/>
          <a:p>
            <a:pPr algn="ctr" defTabSz="1625519">
              <a:defRPr/>
            </a:pPr>
            <a:endParaRPr lang="en-IN" sz="3200" kern="0">
              <a:solidFill>
                <a:prstClr val="white"/>
              </a:solidFill>
              <a:latin typeface="Verdana"/>
            </a:endParaRPr>
          </a:p>
        </p:txBody>
      </p:sp>
      <p:sp>
        <p:nvSpPr>
          <p:cNvPr id="55" name="TextBox 54">
            <a:extLst>
              <a:ext uri="{FF2B5EF4-FFF2-40B4-BE49-F238E27FC236}">
                <a16:creationId xmlns:a16="http://schemas.microsoft.com/office/drawing/2014/main" id="{EB824612-3400-4071-A558-6A047B0A4F19}"/>
              </a:ext>
            </a:extLst>
          </p:cNvPr>
          <p:cNvSpPr txBox="1"/>
          <p:nvPr/>
        </p:nvSpPr>
        <p:spPr>
          <a:xfrm>
            <a:off x="4539570" y="2683713"/>
            <a:ext cx="1089013" cy="458027"/>
          </a:xfrm>
          <a:prstGeom prst="rect">
            <a:avLst/>
          </a:prstGeom>
          <a:solidFill>
            <a:srgbClr val="0089C4"/>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a:defRPr sz="10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1625519">
              <a:defRPr/>
            </a:pPr>
            <a:r>
              <a:rPr lang="en-US" sz="1333" b="1" kern="0">
                <a:solidFill>
                  <a:prstClr val="white"/>
                </a:solidFill>
                <a:latin typeface="Verdana"/>
              </a:rPr>
              <a:t>Story Grooming</a:t>
            </a:r>
          </a:p>
        </p:txBody>
      </p:sp>
      <p:sp>
        <p:nvSpPr>
          <p:cNvPr id="56" name="Isosceles Triangle 55">
            <a:extLst>
              <a:ext uri="{FF2B5EF4-FFF2-40B4-BE49-F238E27FC236}">
                <a16:creationId xmlns:a16="http://schemas.microsoft.com/office/drawing/2014/main" id="{A7822636-7D13-473A-A910-5A0B3BDFC4A0}"/>
              </a:ext>
            </a:extLst>
          </p:cNvPr>
          <p:cNvSpPr/>
          <p:nvPr/>
        </p:nvSpPr>
        <p:spPr>
          <a:xfrm>
            <a:off x="3508864" y="5266629"/>
            <a:ext cx="181723" cy="187529"/>
          </a:xfrm>
          <a:prstGeom prst="triangle">
            <a:avLst/>
          </a:prstGeom>
          <a:solidFill>
            <a:srgbClr val="0089C4">
              <a:lumMod val="75000"/>
            </a:srgbClr>
          </a:solidFill>
          <a:ln w="25400" cap="flat" cmpd="sng" algn="ctr">
            <a:noFill/>
            <a:prstDash val="solid"/>
          </a:ln>
          <a:effectLst/>
        </p:spPr>
        <p:txBody>
          <a:bodyPr rtlCol="0" anchor="ctr"/>
          <a:lstStyle/>
          <a:p>
            <a:pPr algn="ctr" defTabSz="1625519">
              <a:defRPr/>
            </a:pPr>
            <a:endParaRPr lang="en-IN" sz="3200" kern="0">
              <a:solidFill>
                <a:prstClr val="white"/>
              </a:solidFill>
              <a:latin typeface="Verdana"/>
            </a:endParaRPr>
          </a:p>
        </p:txBody>
      </p:sp>
      <p:sp>
        <p:nvSpPr>
          <p:cNvPr id="57" name="TextBox 56">
            <a:extLst>
              <a:ext uri="{FF2B5EF4-FFF2-40B4-BE49-F238E27FC236}">
                <a16:creationId xmlns:a16="http://schemas.microsoft.com/office/drawing/2014/main" id="{F8A4CD9D-9DDB-43C5-B375-4C7982E7C59F}"/>
              </a:ext>
            </a:extLst>
          </p:cNvPr>
          <p:cNvSpPr txBox="1"/>
          <p:nvPr/>
        </p:nvSpPr>
        <p:spPr>
          <a:xfrm>
            <a:off x="2361839" y="4921178"/>
            <a:ext cx="2021021" cy="253373"/>
          </a:xfrm>
          <a:prstGeom prst="rect">
            <a:avLst/>
          </a:prstGeom>
          <a:solidFill>
            <a:srgbClr val="0089C4"/>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a:defRPr sz="10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1625519">
              <a:defRPr/>
            </a:pPr>
            <a:r>
              <a:rPr lang="en-US" sz="1333" b="1" kern="0">
                <a:solidFill>
                  <a:prstClr val="white"/>
                </a:solidFill>
                <a:latin typeface="Verdana"/>
              </a:rPr>
              <a:t>Definition of Done </a:t>
            </a:r>
          </a:p>
        </p:txBody>
      </p:sp>
      <p:sp>
        <p:nvSpPr>
          <p:cNvPr id="58" name="12-Point Star 67">
            <a:extLst>
              <a:ext uri="{FF2B5EF4-FFF2-40B4-BE49-F238E27FC236}">
                <a16:creationId xmlns:a16="http://schemas.microsoft.com/office/drawing/2014/main" id="{6D537678-3457-4736-B0BB-A55363333C84}"/>
              </a:ext>
            </a:extLst>
          </p:cNvPr>
          <p:cNvSpPr/>
          <p:nvPr/>
        </p:nvSpPr>
        <p:spPr>
          <a:xfrm>
            <a:off x="5896325" y="2199060"/>
            <a:ext cx="419555" cy="389833"/>
          </a:xfrm>
          <a:prstGeom prst="star12">
            <a:avLst/>
          </a:prstGeom>
          <a:solidFill>
            <a:srgbClr val="FA6119"/>
          </a:solidFill>
          <a:ln w="25400" cap="flat" cmpd="sng" algn="ctr">
            <a:noFill/>
            <a:prstDash val="solid"/>
          </a:ln>
          <a:effectLst/>
        </p:spPr>
        <p:txBody>
          <a:bodyPr rtlCol="0" anchor="ctr"/>
          <a:lstStyle/>
          <a:p>
            <a:pPr algn="ctr" defTabSz="1625519">
              <a:defRPr/>
            </a:pPr>
            <a:r>
              <a:rPr lang="en-IN" sz="1867" b="1" kern="0">
                <a:solidFill>
                  <a:prstClr val="white"/>
                </a:solidFill>
                <a:latin typeface="Verdana"/>
              </a:rPr>
              <a:t>2</a:t>
            </a:r>
          </a:p>
        </p:txBody>
      </p:sp>
      <p:sp>
        <p:nvSpPr>
          <p:cNvPr id="59" name="TextBox 58">
            <a:extLst>
              <a:ext uri="{FF2B5EF4-FFF2-40B4-BE49-F238E27FC236}">
                <a16:creationId xmlns:a16="http://schemas.microsoft.com/office/drawing/2014/main" id="{2519BB1F-0F2D-4D90-B01A-7C484B0CA377}"/>
              </a:ext>
            </a:extLst>
          </p:cNvPr>
          <p:cNvSpPr txBox="1"/>
          <p:nvPr/>
        </p:nvSpPr>
        <p:spPr>
          <a:xfrm>
            <a:off x="6273793" y="4555944"/>
            <a:ext cx="1087049" cy="443201"/>
          </a:xfrm>
          <a:prstGeom prst="rect">
            <a:avLst/>
          </a:prstGeom>
          <a:solidFill>
            <a:srgbClr val="0089C4"/>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a:defRPr sz="10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1625519">
              <a:defRPr/>
            </a:pPr>
            <a:r>
              <a:rPr lang="en-US" sz="1333" b="1" kern="0">
                <a:solidFill>
                  <a:prstClr val="white"/>
                </a:solidFill>
                <a:latin typeface="Verdana"/>
              </a:rPr>
              <a:t>Sprint Execution</a:t>
            </a:r>
          </a:p>
        </p:txBody>
      </p:sp>
      <p:sp>
        <p:nvSpPr>
          <p:cNvPr id="60" name="TextBox 59">
            <a:extLst>
              <a:ext uri="{FF2B5EF4-FFF2-40B4-BE49-F238E27FC236}">
                <a16:creationId xmlns:a16="http://schemas.microsoft.com/office/drawing/2014/main" id="{A1ABAC9C-606B-4B68-ABF8-69178BAAB32A}"/>
              </a:ext>
            </a:extLst>
          </p:cNvPr>
          <p:cNvSpPr txBox="1"/>
          <p:nvPr/>
        </p:nvSpPr>
        <p:spPr>
          <a:xfrm>
            <a:off x="6841850" y="5266122"/>
            <a:ext cx="1154737" cy="306781"/>
          </a:xfrm>
          <a:prstGeom prst="rect">
            <a:avLst/>
          </a:prstGeom>
          <a:solidFill>
            <a:srgbClr val="0089C4"/>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a:defRPr sz="10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1625519">
              <a:defRPr/>
            </a:pPr>
            <a:r>
              <a:rPr lang="en-US" sz="1333" b="1" kern="0">
                <a:solidFill>
                  <a:prstClr val="white"/>
                </a:solidFill>
                <a:latin typeface="Verdana"/>
              </a:rPr>
              <a:t>PO Rejects</a:t>
            </a:r>
          </a:p>
        </p:txBody>
      </p:sp>
      <p:sp>
        <p:nvSpPr>
          <p:cNvPr id="61" name="12-Point Star 70">
            <a:extLst>
              <a:ext uri="{FF2B5EF4-FFF2-40B4-BE49-F238E27FC236}">
                <a16:creationId xmlns:a16="http://schemas.microsoft.com/office/drawing/2014/main" id="{982D086F-9E43-49CA-BD42-B3FF5417E8A5}"/>
              </a:ext>
            </a:extLst>
          </p:cNvPr>
          <p:cNvSpPr/>
          <p:nvPr/>
        </p:nvSpPr>
        <p:spPr>
          <a:xfrm>
            <a:off x="3827703" y="3400463"/>
            <a:ext cx="396455" cy="364048"/>
          </a:xfrm>
          <a:prstGeom prst="star12">
            <a:avLst/>
          </a:prstGeom>
          <a:solidFill>
            <a:srgbClr val="FA6119"/>
          </a:solidFill>
          <a:ln w="25400" cap="flat" cmpd="sng" algn="ctr">
            <a:noFill/>
            <a:prstDash val="solid"/>
          </a:ln>
          <a:effectLst/>
        </p:spPr>
        <p:txBody>
          <a:bodyPr rtlCol="0" anchor="ctr"/>
          <a:lstStyle/>
          <a:p>
            <a:pPr algn="ctr" defTabSz="1625519">
              <a:defRPr/>
            </a:pPr>
            <a:r>
              <a:rPr lang="en-IN" sz="1867" b="1" kern="0">
                <a:solidFill>
                  <a:prstClr val="white"/>
                </a:solidFill>
                <a:latin typeface="Verdana"/>
              </a:rPr>
              <a:t>3</a:t>
            </a:r>
          </a:p>
        </p:txBody>
      </p:sp>
      <p:sp>
        <p:nvSpPr>
          <p:cNvPr id="62" name="12-Point Star 71">
            <a:extLst>
              <a:ext uri="{FF2B5EF4-FFF2-40B4-BE49-F238E27FC236}">
                <a16:creationId xmlns:a16="http://schemas.microsoft.com/office/drawing/2014/main" id="{DF683FCE-17BF-4CAB-8298-553E10E4C414}"/>
              </a:ext>
            </a:extLst>
          </p:cNvPr>
          <p:cNvSpPr/>
          <p:nvPr/>
        </p:nvSpPr>
        <p:spPr>
          <a:xfrm>
            <a:off x="10532529" y="3473577"/>
            <a:ext cx="446961" cy="463201"/>
          </a:xfrm>
          <a:prstGeom prst="star12">
            <a:avLst/>
          </a:prstGeom>
          <a:solidFill>
            <a:srgbClr val="FA6119"/>
          </a:solidFill>
          <a:ln w="25400" cap="flat" cmpd="sng" algn="ctr">
            <a:noFill/>
            <a:prstDash val="solid"/>
          </a:ln>
          <a:effectLst/>
        </p:spPr>
        <p:txBody>
          <a:bodyPr rtlCol="0" anchor="ctr"/>
          <a:lstStyle/>
          <a:p>
            <a:pPr algn="ctr" defTabSz="1625519">
              <a:defRPr/>
            </a:pPr>
            <a:r>
              <a:rPr lang="en-IN" sz="1867" b="1" kern="0">
                <a:solidFill>
                  <a:prstClr val="white"/>
                </a:solidFill>
                <a:latin typeface="Verdana"/>
              </a:rPr>
              <a:t>3</a:t>
            </a:r>
          </a:p>
        </p:txBody>
      </p:sp>
      <p:sp>
        <p:nvSpPr>
          <p:cNvPr id="63" name="TextBox 62">
            <a:extLst>
              <a:ext uri="{FF2B5EF4-FFF2-40B4-BE49-F238E27FC236}">
                <a16:creationId xmlns:a16="http://schemas.microsoft.com/office/drawing/2014/main" id="{90EFCFE5-B494-4B0F-B8BC-FD8C1186ADC6}"/>
              </a:ext>
            </a:extLst>
          </p:cNvPr>
          <p:cNvSpPr txBox="1"/>
          <p:nvPr/>
        </p:nvSpPr>
        <p:spPr>
          <a:xfrm>
            <a:off x="9727842" y="3157451"/>
            <a:ext cx="796273" cy="439060"/>
          </a:xfrm>
          <a:prstGeom prst="rect">
            <a:avLst/>
          </a:prstGeom>
          <a:solidFill>
            <a:srgbClr val="0089C4"/>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a:defRPr sz="10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1625519">
              <a:defRPr/>
            </a:pPr>
            <a:r>
              <a:rPr lang="en-US" sz="1333" b="1" kern="0">
                <a:solidFill>
                  <a:prstClr val="white"/>
                </a:solidFill>
                <a:latin typeface="Verdana"/>
              </a:rPr>
              <a:t>Dev &amp; Test</a:t>
            </a:r>
          </a:p>
        </p:txBody>
      </p:sp>
      <p:sp>
        <p:nvSpPr>
          <p:cNvPr id="64" name="12-Point Star 73">
            <a:extLst>
              <a:ext uri="{FF2B5EF4-FFF2-40B4-BE49-F238E27FC236}">
                <a16:creationId xmlns:a16="http://schemas.microsoft.com/office/drawing/2014/main" id="{0873FB35-3A67-401C-8063-807AEAC740E7}"/>
              </a:ext>
            </a:extLst>
          </p:cNvPr>
          <p:cNvSpPr/>
          <p:nvPr/>
        </p:nvSpPr>
        <p:spPr>
          <a:xfrm>
            <a:off x="7062329" y="4083996"/>
            <a:ext cx="368881" cy="382155"/>
          </a:xfrm>
          <a:prstGeom prst="star12">
            <a:avLst/>
          </a:prstGeom>
          <a:solidFill>
            <a:srgbClr val="FA6119"/>
          </a:solidFill>
          <a:ln w="25400" cap="flat" cmpd="sng" algn="ctr">
            <a:noFill/>
            <a:prstDash val="solid"/>
          </a:ln>
          <a:effectLst/>
        </p:spPr>
        <p:txBody>
          <a:bodyPr rtlCol="0" anchor="ctr"/>
          <a:lstStyle/>
          <a:p>
            <a:pPr algn="ctr" defTabSz="1625519">
              <a:defRPr/>
            </a:pPr>
            <a:r>
              <a:rPr lang="en-IN" sz="1867" b="1" kern="0">
                <a:solidFill>
                  <a:prstClr val="white"/>
                </a:solidFill>
                <a:latin typeface="Verdana"/>
              </a:rPr>
              <a:t>4</a:t>
            </a:r>
          </a:p>
        </p:txBody>
      </p:sp>
      <p:sp>
        <p:nvSpPr>
          <p:cNvPr id="65" name="12-Point Star 74">
            <a:extLst>
              <a:ext uri="{FF2B5EF4-FFF2-40B4-BE49-F238E27FC236}">
                <a16:creationId xmlns:a16="http://schemas.microsoft.com/office/drawing/2014/main" id="{0F117495-583C-4940-AC87-10CB272DD48B}"/>
              </a:ext>
            </a:extLst>
          </p:cNvPr>
          <p:cNvSpPr/>
          <p:nvPr/>
        </p:nvSpPr>
        <p:spPr>
          <a:xfrm>
            <a:off x="5818720" y="4464147"/>
            <a:ext cx="428403" cy="416059"/>
          </a:xfrm>
          <a:prstGeom prst="star12">
            <a:avLst/>
          </a:prstGeom>
          <a:solidFill>
            <a:srgbClr val="FA6119"/>
          </a:solidFill>
          <a:ln w="25400" cap="flat" cmpd="sng" algn="ctr">
            <a:noFill/>
            <a:prstDash val="solid"/>
          </a:ln>
          <a:effectLst/>
        </p:spPr>
        <p:txBody>
          <a:bodyPr rtlCol="0" anchor="ctr"/>
          <a:lstStyle/>
          <a:p>
            <a:pPr algn="ctr" defTabSz="1625519">
              <a:defRPr/>
            </a:pPr>
            <a:r>
              <a:rPr lang="en-IN" sz="1867" b="1" kern="0">
                <a:solidFill>
                  <a:prstClr val="white"/>
                </a:solidFill>
                <a:latin typeface="Verdana"/>
              </a:rPr>
              <a:t>5</a:t>
            </a:r>
          </a:p>
        </p:txBody>
      </p:sp>
      <p:sp>
        <p:nvSpPr>
          <p:cNvPr id="66" name="TextBox 65">
            <a:extLst>
              <a:ext uri="{FF2B5EF4-FFF2-40B4-BE49-F238E27FC236}">
                <a16:creationId xmlns:a16="http://schemas.microsoft.com/office/drawing/2014/main" id="{989CD824-361A-4A76-9E03-2E2E1F8D1467}"/>
              </a:ext>
            </a:extLst>
          </p:cNvPr>
          <p:cNvSpPr txBox="1"/>
          <p:nvPr/>
        </p:nvSpPr>
        <p:spPr>
          <a:xfrm>
            <a:off x="3677397" y="2909939"/>
            <a:ext cx="720337" cy="458027"/>
          </a:xfrm>
          <a:prstGeom prst="rect">
            <a:avLst/>
          </a:prstGeom>
          <a:solidFill>
            <a:srgbClr val="0089C4"/>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a:defRPr sz="10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1625519">
              <a:defRPr/>
            </a:pPr>
            <a:r>
              <a:rPr lang="en-US" sz="1333" b="1" kern="0">
                <a:solidFill>
                  <a:prstClr val="white"/>
                </a:solidFill>
                <a:latin typeface="Verdana"/>
              </a:rPr>
              <a:t>Dev &amp; Test</a:t>
            </a:r>
          </a:p>
        </p:txBody>
      </p:sp>
      <p:sp>
        <p:nvSpPr>
          <p:cNvPr id="67" name="4-Point Star 76">
            <a:extLst>
              <a:ext uri="{FF2B5EF4-FFF2-40B4-BE49-F238E27FC236}">
                <a16:creationId xmlns:a16="http://schemas.microsoft.com/office/drawing/2014/main" id="{E451C1EA-E43E-44AA-822E-23F03DE72375}"/>
              </a:ext>
            </a:extLst>
          </p:cNvPr>
          <p:cNvSpPr/>
          <p:nvPr/>
        </p:nvSpPr>
        <p:spPr>
          <a:xfrm>
            <a:off x="10666041" y="2773945"/>
            <a:ext cx="272984" cy="260721"/>
          </a:xfrm>
          <a:prstGeom prst="star4">
            <a:avLst/>
          </a:prstGeom>
          <a:solidFill>
            <a:srgbClr val="0066A1"/>
          </a:solidFill>
          <a:ln w="25400" cap="flat" cmpd="sng" algn="ctr">
            <a:noFill/>
            <a:prstDash val="solid"/>
          </a:ln>
          <a:effectLst/>
        </p:spPr>
        <p:txBody>
          <a:bodyPr rtlCol="0" anchor="ctr"/>
          <a:lstStyle/>
          <a:p>
            <a:pPr algn="ctr" defTabSz="1625519">
              <a:defRPr/>
            </a:pPr>
            <a:endParaRPr lang="en-IN" sz="3200" kern="0">
              <a:solidFill>
                <a:prstClr val="white"/>
              </a:solidFill>
              <a:latin typeface="Verdana"/>
            </a:endParaRPr>
          </a:p>
        </p:txBody>
      </p:sp>
      <p:sp>
        <p:nvSpPr>
          <p:cNvPr id="69" name="4-Point Star 78">
            <a:extLst>
              <a:ext uri="{FF2B5EF4-FFF2-40B4-BE49-F238E27FC236}">
                <a16:creationId xmlns:a16="http://schemas.microsoft.com/office/drawing/2014/main" id="{3F637FD5-C9B1-4614-B74B-0C32963AD4C5}"/>
              </a:ext>
            </a:extLst>
          </p:cNvPr>
          <p:cNvSpPr/>
          <p:nvPr/>
        </p:nvSpPr>
        <p:spPr>
          <a:xfrm>
            <a:off x="6680055" y="4994819"/>
            <a:ext cx="75571" cy="83304"/>
          </a:xfrm>
          <a:prstGeom prst="star4">
            <a:avLst/>
          </a:prstGeom>
          <a:solidFill>
            <a:srgbClr val="0066A1"/>
          </a:solidFill>
          <a:ln w="25400" cap="flat" cmpd="sng" algn="ctr">
            <a:noFill/>
            <a:prstDash val="solid"/>
          </a:ln>
          <a:effectLst/>
        </p:spPr>
        <p:txBody>
          <a:bodyPr rtlCol="0" anchor="ctr"/>
          <a:lstStyle/>
          <a:p>
            <a:pPr algn="ctr" defTabSz="1625519">
              <a:defRPr/>
            </a:pPr>
            <a:endParaRPr lang="en-IN" sz="3200" kern="0">
              <a:solidFill>
                <a:prstClr val="white"/>
              </a:solidFill>
              <a:latin typeface="Verdana"/>
            </a:endParaRPr>
          </a:p>
        </p:txBody>
      </p:sp>
      <p:sp>
        <p:nvSpPr>
          <p:cNvPr id="70" name="12-Point Star 79">
            <a:extLst>
              <a:ext uri="{FF2B5EF4-FFF2-40B4-BE49-F238E27FC236}">
                <a16:creationId xmlns:a16="http://schemas.microsoft.com/office/drawing/2014/main" id="{5A7BDA0A-9E70-4F2A-BB9F-1686897BA1B4}"/>
              </a:ext>
            </a:extLst>
          </p:cNvPr>
          <p:cNvSpPr/>
          <p:nvPr/>
        </p:nvSpPr>
        <p:spPr>
          <a:xfrm>
            <a:off x="10433446" y="5655804"/>
            <a:ext cx="417324" cy="405949"/>
          </a:xfrm>
          <a:prstGeom prst="star12">
            <a:avLst/>
          </a:prstGeom>
          <a:solidFill>
            <a:srgbClr val="FA6119"/>
          </a:solidFill>
          <a:ln w="25400" cap="flat" cmpd="sng" algn="ctr">
            <a:noFill/>
            <a:prstDash val="solid"/>
          </a:ln>
          <a:effectLst/>
        </p:spPr>
        <p:txBody>
          <a:bodyPr rtlCol="0" anchor="ctr"/>
          <a:lstStyle/>
          <a:p>
            <a:pPr algn="ctr" defTabSz="1625519">
              <a:defRPr/>
            </a:pPr>
            <a:r>
              <a:rPr lang="en-IN" sz="1867" b="1" kern="0">
                <a:solidFill>
                  <a:prstClr val="white"/>
                </a:solidFill>
                <a:latin typeface="Verdana"/>
              </a:rPr>
              <a:t>6</a:t>
            </a:r>
          </a:p>
        </p:txBody>
      </p:sp>
      <p:sp>
        <p:nvSpPr>
          <p:cNvPr id="71" name="12-Point Star 80">
            <a:extLst>
              <a:ext uri="{FF2B5EF4-FFF2-40B4-BE49-F238E27FC236}">
                <a16:creationId xmlns:a16="http://schemas.microsoft.com/office/drawing/2014/main" id="{D06FAE40-CEE4-4CE8-BE23-5E99C790F685}"/>
              </a:ext>
            </a:extLst>
          </p:cNvPr>
          <p:cNvSpPr/>
          <p:nvPr/>
        </p:nvSpPr>
        <p:spPr>
          <a:xfrm>
            <a:off x="8710535" y="3713121"/>
            <a:ext cx="452008" cy="418249"/>
          </a:xfrm>
          <a:prstGeom prst="star12">
            <a:avLst/>
          </a:prstGeom>
          <a:solidFill>
            <a:srgbClr val="FA6119"/>
          </a:solidFill>
          <a:ln w="25400" cap="flat" cmpd="sng" algn="ctr">
            <a:noFill/>
            <a:prstDash val="solid"/>
          </a:ln>
          <a:effectLst/>
        </p:spPr>
        <p:txBody>
          <a:bodyPr rtlCol="0" anchor="ctr"/>
          <a:lstStyle/>
          <a:p>
            <a:pPr algn="ctr" defTabSz="1625519">
              <a:defRPr/>
            </a:pPr>
            <a:r>
              <a:rPr lang="en-IN" sz="1867" b="1" kern="0">
                <a:solidFill>
                  <a:prstClr val="white"/>
                </a:solidFill>
                <a:latin typeface="Verdana"/>
              </a:rPr>
              <a:t>7</a:t>
            </a:r>
          </a:p>
        </p:txBody>
      </p:sp>
      <p:sp>
        <p:nvSpPr>
          <p:cNvPr id="72" name="TextBox 71">
            <a:extLst>
              <a:ext uri="{FF2B5EF4-FFF2-40B4-BE49-F238E27FC236}">
                <a16:creationId xmlns:a16="http://schemas.microsoft.com/office/drawing/2014/main" id="{BCD91ABF-1328-46A5-95D6-3F67B8138C4D}"/>
              </a:ext>
            </a:extLst>
          </p:cNvPr>
          <p:cNvSpPr txBox="1"/>
          <p:nvPr/>
        </p:nvSpPr>
        <p:spPr>
          <a:xfrm>
            <a:off x="4929703" y="4509313"/>
            <a:ext cx="857812" cy="254576"/>
          </a:xfrm>
          <a:prstGeom prst="rect">
            <a:avLst/>
          </a:prstGeom>
          <a:solidFill>
            <a:srgbClr val="0089C4"/>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a:defRPr sz="10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1625519">
              <a:defRPr/>
            </a:pPr>
            <a:r>
              <a:rPr lang="en-US" sz="1333" b="1" kern="0">
                <a:solidFill>
                  <a:prstClr val="white"/>
                </a:solidFill>
                <a:latin typeface="Verdana"/>
              </a:rPr>
              <a:t>CI / CD</a:t>
            </a:r>
          </a:p>
        </p:txBody>
      </p:sp>
      <p:grpSp>
        <p:nvGrpSpPr>
          <p:cNvPr id="181" name="Group 428">
            <a:extLst>
              <a:ext uri="{FF2B5EF4-FFF2-40B4-BE49-F238E27FC236}">
                <a16:creationId xmlns:a16="http://schemas.microsoft.com/office/drawing/2014/main" id="{2CAA1CF4-503D-45D9-82AE-49DFFF836E38}"/>
              </a:ext>
            </a:extLst>
          </p:cNvPr>
          <p:cNvGrpSpPr>
            <a:grpSpLocks noChangeAspect="1"/>
          </p:cNvGrpSpPr>
          <p:nvPr/>
        </p:nvGrpSpPr>
        <p:grpSpPr>
          <a:xfrm>
            <a:off x="1851200" y="2310968"/>
            <a:ext cx="664971" cy="478711"/>
            <a:chOff x="3957109" y="3957134"/>
            <a:chExt cx="540000" cy="431102"/>
          </a:xfrm>
          <a:solidFill>
            <a:schemeClr val="tx2"/>
          </a:solidFill>
        </p:grpSpPr>
        <p:sp>
          <p:nvSpPr>
            <p:cNvPr id="182" name="Oval 576">
              <a:extLst>
                <a:ext uri="{FF2B5EF4-FFF2-40B4-BE49-F238E27FC236}">
                  <a16:creationId xmlns:a16="http://schemas.microsoft.com/office/drawing/2014/main" id="{6BF2C9FD-2A14-4068-9FC2-27C463FE22A5}"/>
                </a:ext>
              </a:extLst>
            </p:cNvPr>
            <p:cNvSpPr>
              <a:spLocks noChangeArrowheads="1"/>
            </p:cNvSpPr>
            <p:nvPr/>
          </p:nvSpPr>
          <p:spPr bwMode="auto">
            <a:xfrm>
              <a:off x="4005670" y="3957134"/>
              <a:ext cx="124681" cy="1244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625519">
                <a:defRPr/>
              </a:pPr>
              <a:endParaRPr lang="en-GB" sz="4800" kern="0">
                <a:solidFill>
                  <a:prstClr val="black"/>
                </a:solidFill>
                <a:latin typeface="Verdana"/>
                <a:ea typeface="Verdana" panose="020B0604030504040204" pitchFamily="34" charset="0"/>
                <a:cs typeface="Verdana" panose="020B0604030504040204" pitchFamily="34" charset="0"/>
              </a:endParaRPr>
            </a:p>
          </p:txBody>
        </p:sp>
        <p:sp>
          <p:nvSpPr>
            <p:cNvPr id="183" name="Oval 577">
              <a:extLst>
                <a:ext uri="{FF2B5EF4-FFF2-40B4-BE49-F238E27FC236}">
                  <a16:creationId xmlns:a16="http://schemas.microsoft.com/office/drawing/2014/main" id="{C6B7AB18-94D1-49E3-B0EE-F58485DF6379}"/>
                </a:ext>
              </a:extLst>
            </p:cNvPr>
            <p:cNvSpPr>
              <a:spLocks noChangeArrowheads="1"/>
            </p:cNvSpPr>
            <p:nvPr/>
          </p:nvSpPr>
          <p:spPr bwMode="auto">
            <a:xfrm>
              <a:off x="4323867" y="3957134"/>
              <a:ext cx="124681" cy="1244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625519">
                <a:defRPr/>
              </a:pPr>
              <a:endParaRPr lang="en-GB" sz="4800" kern="0">
                <a:solidFill>
                  <a:prstClr val="black"/>
                </a:solidFill>
                <a:latin typeface="Verdana"/>
                <a:ea typeface="Verdana" panose="020B0604030504040204" pitchFamily="34" charset="0"/>
                <a:cs typeface="Verdana" panose="020B0604030504040204" pitchFamily="34" charset="0"/>
              </a:endParaRPr>
            </a:p>
          </p:txBody>
        </p:sp>
        <p:sp>
          <p:nvSpPr>
            <p:cNvPr id="184" name="Oval 578">
              <a:extLst>
                <a:ext uri="{FF2B5EF4-FFF2-40B4-BE49-F238E27FC236}">
                  <a16:creationId xmlns:a16="http://schemas.microsoft.com/office/drawing/2014/main" id="{29304A28-C329-4DD5-A2E5-004B2B6F51FB}"/>
                </a:ext>
              </a:extLst>
            </p:cNvPr>
            <p:cNvSpPr>
              <a:spLocks noChangeArrowheads="1"/>
            </p:cNvSpPr>
            <p:nvPr/>
          </p:nvSpPr>
          <p:spPr bwMode="auto">
            <a:xfrm>
              <a:off x="4164708" y="4017835"/>
              <a:ext cx="124681" cy="1244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625519">
                <a:defRPr/>
              </a:pPr>
              <a:endParaRPr lang="en-GB" sz="4800" kern="0">
                <a:solidFill>
                  <a:prstClr val="black"/>
                </a:solidFill>
                <a:latin typeface="Verdana"/>
                <a:ea typeface="Verdana" panose="020B0604030504040204" pitchFamily="34" charset="0"/>
                <a:cs typeface="Verdana" panose="020B0604030504040204" pitchFamily="34" charset="0"/>
              </a:endParaRPr>
            </a:p>
          </p:txBody>
        </p:sp>
        <p:sp>
          <p:nvSpPr>
            <p:cNvPr id="185" name="Freeform 579">
              <a:extLst>
                <a:ext uri="{FF2B5EF4-FFF2-40B4-BE49-F238E27FC236}">
                  <a16:creationId xmlns:a16="http://schemas.microsoft.com/office/drawing/2014/main" id="{1593DD82-1BE1-4D8C-B3E6-1010814CF18C}"/>
                </a:ext>
              </a:extLst>
            </p:cNvPr>
            <p:cNvSpPr>
              <a:spLocks noEditPoints="1"/>
            </p:cNvSpPr>
            <p:nvPr/>
          </p:nvSpPr>
          <p:spPr bwMode="auto">
            <a:xfrm>
              <a:off x="4116268" y="4147737"/>
              <a:ext cx="221682" cy="240499"/>
            </a:xfrm>
            <a:custGeom>
              <a:avLst/>
              <a:gdLst>
                <a:gd name="T0" fmla="*/ 443 w 772"/>
                <a:gd name="T1" fmla="*/ 0 h 837"/>
                <a:gd name="T2" fmla="*/ 329 w 772"/>
                <a:gd name="T3" fmla="*/ 0 h 837"/>
                <a:gd name="T4" fmla="*/ 0 w 772"/>
                <a:gd name="T5" fmla="*/ 330 h 837"/>
                <a:gd name="T6" fmla="*/ 0 w 772"/>
                <a:gd name="T7" fmla="*/ 668 h 837"/>
                <a:gd name="T8" fmla="*/ 772 w 772"/>
                <a:gd name="T9" fmla="*/ 671 h 837"/>
                <a:gd name="T10" fmla="*/ 772 w 772"/>
                <a:gd name="T11" fmla="*/ 330 h 837"/>
                <a:gd name="T12" fmla="*/ 443 w 772"/>
                <a:gd name="T13" fmla="*/ 0 h 837"/>
                <a:gd name="T14" fmla="*/ 420 w 772"/>
                <a:gd name="T15" fmla="*/ 567 h 837"/>
                <a:gd name="T16" fmla="*/ 412 w 772"/>
                <a:gd name="T17" fmla="*/ 573 h 837"/>
                <a:gd name="T18" fmla="*/ 360 w 772"/>
                <a:gd name="T19" fmla="*/ 573 h 837"/>
                <a:gd name="T20" fmla="*/ 352 w 772"/>
                <a:gd name="T21" fmla="*/ 567 h 837"/>
                <a:gd name="T22" fmla="*/ 328 w 772"/>
                <a:gd name="T23" fmla="*/ 512 h 837"/>
                <a:gd name="T24" fmla="*/ 342 w 772"/>
                <a:gd name="T25" fmla="*/ 231 h 837"/>
                <a:gd name="T26" fmla="*/ 385 w 772"/>
                <a:gd name="T27" fmla="*/ 200 h 837"/>
                <a:gd name="T28" fmla="*/ 429 w 772"/>
                <a:gd name="T29" fmla="*/ 231 h 837"/>
                <a:gd name="T30" fmla="*/ 445 w 772"/>
                <a:gd name="T31" fmla="*/ 512 h 837"/>
                <a:gd name="T32" fmla="*/ 420 w 772"/>
                <a:gd name="T33" fmla="*/ 567 h 837"/>
                <a:gd name="T34" fmla="*/ 455 w 772"/>
                <a:gd name="T35" fmla="*/ 78 h 837"/>
                <a:gd name="T36" fmla="*/ 434 w 772"/>
                <a:gd name="T37" fmla="*/ 137 h 837"/>
                <a:gd name="T38" fmla="*/ 391 w 772"/>
                <a:gd name="T39" fmla="*/ 160 h 837"/>
                <a:gd name="T40" fmla="*/ 381 w 772"/>
                <a:gd name="T41" fmla="*/ 160 h 837"/>
                <a:gd name="T42" fmla="*/ 338 w 772"/>
                <a:gd name="T43" fmla="*/ 137 h 837"/>
                <a:gd name="T44" fmla="*/ 317 w 772"/>
                <a:gd name="T45" fmla="*/ 78 h 837"/>
                <a:gd name="T46" fmla="*/ 342 w 772"/>
                <a:gd name="T47" fmla="*/ 55 h 837"/>
                <a:gd name="T48" fmla="*/ 431 w 772"/>
                <a:gd name="T49" fmla="*/ 55 h 837"/>
                <a:gd name="T50" fmla="*/ 455 w 772"/>
                <a:gd name="T51" fmla="*/ 78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72" h="837">
                  <a:moveTo>
                    <a:pt x="443" y="0"/>
                  </a:moveTo>
                  <a:cubicBezTo>
                    <a:pt x="329" y="0"/>
                    <a:pt x="329" y="0"/>
                    <a:pt x="329" y="0"/>
                  </a:cubicBezTo>
                  <a:cubicBezTo>
                    <a:pt x="147" y="0"/>
                    <a:pt x="0" y="148"/>
                    <a:pt x="0" y="330"/>
                  </a:cubicBezTo>
                  <a:cubicBezTo>
                    <a:pt x="0" y="668"/>
                    <a:pt x="0" y="668"/>
                    <a:pt x="0" y="668"/>
                  </a:cubicBezTo>
                  <a:cubicBezTo>
                    <a:pt x="222" y="835"/>
                    <a:pt x="536" y="837"/>
                    <a:pt x="772" y="671"/>
                  </a:cubicBezTo>
                  <a:cubicBezTo>
                    <a:pt x="772" y="330"/>
                    <a:pt x="772" y="330"/>
                    <a:pt x="772" y="330"/>
                  </a:cubicBezTo>
                  <a:cubicBezTo>
                    <a:pt x="772" y="148"/>
                    <a:pt x="624" y="0"/>
                    <a:pt x="443" y="0"/>
                  </a:cubicBezTo>
                  <a:close/>
                  <a:moveTo>
                    <a:pt x="420" y="567"/>
                  </a:moveTo>
                  <a:cubicBezTo>
                    <a:pt x="412" y="573"/>
                    <a:pt x="412" y="573"/>
                    <a:pt x="412" y="573"/>
                  </a:cubicBezTo>
                  <a:cubicBezTo>
                    <a:pt x="398" y="587"/>
                    <a:pt x="375" y="587"/>
                    <a:pt x="360" y="573"/>
                  </a:cubicBezTo>
                  <a:cubicBezTo>
                    <a:pt x="352" y="567"/>
                    <a:pt x="352" y="567"/>
                    <a:pt x="352" y="567"/>
                  </a:cubicBezTo>
                  <a:cubicBezTo>
                    <a:pt x="338" y="553"/>
                    <a:pt x="327" y="528"/>
                    <a:pt x="328" y="512"/>
                  </a:cubicBezTo>
                  <a:cubicBezTo>
                    <a:pt x="342" y="231"/>
                    <a:pt x="342" y="231"/>
                    <a:pt x="342" y="231"/>
                  </a:cubicBezTo>
                  <a:cubicBezTo>
                    <a:pt x="343" y="214"/>
                    <a:pt x="362" y="200"/>
                    <a:pt x="385" y="200"/>
                  </a:cubicBezTo>
                  <a:cubicBezTo>
                    <a:pt x="408" y="200"/>
                    <a:pt x="427" y="214"/>
                    <a:pt x="429" y="231"/>
                  </a:cubicBezTo>
                  <a:cubicBezTo>
                    <a:pt x="445" y="512"/>
                    <a:pt x="445" y="512"/>
                    <a:pt x="445" y="512"/>
                  </a:cubicBezTo>
                  <a:cubicBezTo>
                    <a:pt x="445" y="528"/>
                    <a:pt x="434" y="553"/>
                    <a:pt x="420" y="567"/>
                  </a:cubicBezTo>
                  <a:close/>
                  <a:moveTo>
                    <a:pt x="455" y="78"/>
                  </a:moveTo>
                  <a:cubicBezTo>
                    <a:pt x="434" y="137"/>
                    <a:pt x="434" y="137"/>
                    <a:pt x="434" y="137"/>
                  </a:cubicBezTo>
                  <a:cubicBezTo>
                    <a:pt x="429" y="150"/>
                    <a:pt x="410" y="160"/>
                    <a:pt x="391" y="160"/>
                  </a:cubicBezTo>
                  <a:cubicBezTo>
                    <a:pt x="381" y="160"/>
                    <a:pt x="381" y="160"/>
                    <a:pt x="381" y="160"/>
                  </a:cubicBezTo>
                  <a:cubicBezTo>
                    <a:pt x="362" y="160"/>
                    <a:pt x="343" y="150"/>
                    <a:pt x="338" y="137"/>
                  </a:cubicBezTo>
                  <a:cubicBezTo>
                    <a:pt x="317" y="78"/>
                    <a:pt x="317" y="78"/>
                    <a:pt x="317" y="78"/>
                  </a:cubicBezTo>
                  <a:cubicBezTo>
                    <a:pt x="312" y="66"/>
                    <a:pt x="323" y="55"/>
                    <a:pt x="342" y="55"/>
                  </a:cubicBezTo>
                  <a:cubicBezTo>
                    <a:pt x="431" y="55"/>
                    <a:pt x="431" y="55"/>
                    <a:pt x="431" y="55"/>
                  </a:cubicBezTo>
                  <a:cubicBezTo>
                    <a:pt x="449" y="55"/>
                    <a:pt x="460" y="66"/>
                    <a:pt x="45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625519">
                <a:defRPr/>
              </a:pPr>
              <a:endParaRPr lang="en-GB" sz="4800" kern="0">
                <a:solidFill>
                  <a:prstClr val="black"/>
                </a:solidFill>
                <a:latin typeface="Verdana"/>
                <a:ea typeface="Verdana" panose="020B0604030504040204" pitchFamily="34" charset="0"/>
                <a:cs typeface="Verdana" panose="020B0604030504040204" pitchFamily="34" charset="0"/>
              </a:endParaRPr>
            </a:p>
          </p:txBody>
        </p:sp>
        <p:sp>
          <p:nvSpPr>
            <p:cNvPr id="186" name="Freeform 580">
              <a:extLst>
                <a:ext uri="{FF2B5EF4-FFF2-40B4-BE49-F238E27FC236}">
                  <a16:creationId xmlns:a16="http://schemas.microsoft.com/office/drawing/2014/main" id="{44192383-3BF1-4625-9C24-E7E625A71676}"/>
                </a:ext>
              </a:extLst>
            </p:cNvPr>
            <p:cNvSpPr>
              <a:spLocks noEditPoints="1"/>
            </p:cNvSpPr>
            <p:nvPr/>
          </p:nvSpPr>
          <p:spPr bwMode="auto">
            <a:xfrm>
              <a:off x="3957109" y="4087035"/>
              <a:ext cx="213912" cy="234793"/>
            </a:xfrm>
            <a:custGeom>
              <a:avLst/>
              <a:gdLst>
                <a:gd name="T0" fmla="*/ 745 w 745"/>
                <a:gd name="T1" fmla="*/ 198 h 817"/>
                <a:gd name="T2" fmla="*/ 443 w 745"/>
                <a:gd name="T3" fmla="*/ 0 h 817"/>
                <a:gd name="T4" fmla="*/ 329 w 745"/>
                <a:gd name="T5" fmla="*/ 0 h 817"/>
                <a:gd name="T6" fmla="*/ 0 w 745"/>
                <a:gd name="T7" fmla="*/ 330 h 817"/>
                <a:gd name="T8" fmla="*/ 0 w 745"/>
                <a:gd name="T9" fmla="*/ 668 h 817"/>
                <a:gd name="T10" fmla="*/ 514 w 745"/>
                <a:gd name="T11" fmla="*/ 781 h 817"/>
                <a:gd name="T12" fmla="*/ 514 w 745"/>
                <a:gd name="T13" fmla="*/ 541 h 817"/>
                <a:gd name="T14" fmla="*/ 745 w 745"/>
                <a:gd name="T15" fmla="*/ 198 h 817"/>
                <a:gd name="T16" fmla="*/ 420 w 745"/>
                <a:gd name="T17" fmla="*/ 567 h 817"/>
                <a:gd name="T18" fmla="*/ 412 w 745"/>
                <a:gd name="T19" fmla="*/ 573 h 817"/>
                <a:gd name="T20" fmla="*/ 360 w 745"/>
                <a:gd name="T21" fmla="*/ 573 h 817"/>
                <a:gd name="T22" fmla="*/ 352 w 745"/>
                <a:gd name="T23" fmla="*/ 567 h 817"/>
                <a:gd name="T24" fmla="*/ 328 w 745"/>
                <a:gd name="T25" fmla="*/ 512 h 817"/>
                <a:gd name="T26" fmla="*/ 342 w 745"/>
                <a:gd name="T27" fmla="*/ 231 h 817"/>
                <a:gd name="T28" fmla="*/ 385 w 745"/>
                <a:gd name="T29" fmla="*/ 200 h 817"/>
                <a:gd name="T30" fmla="*/ 429 w 745"/>
                <a:gd name="T31" fmla="*/ 231 h 817"/>
                <a:gd name="T32" fmla="*/ 445 w 745"/>
                <a:gd name="T33" fmla="*/ 512 h 817"/>
                <a:gd name="T34" fmla="*/ 420 w 745"/>
                <a:gd name="T35" fmla="*/ 567 h 817"/>
                <a:gd name="T36" fmla="*/ 455 w 745"/>
                <a:gd name="T37" fmla="*/ 78 h 817"/>
                <a:gd name="T38" fmla="*/ 434 w 745"/>
                <a:gd name="T39" fmla="*/ 137 h 817"/>
                <a:gd name="T40" fmla="*/ 391 w 745"/>
                <a:gd name="T41" fmla="*/ 160 h 817"/>
                <a:gd name="T42" fmla="*/ 381 w 745"/>
                <a:gd name="T43" fmla="*/ 160 h 817"/>
                <a:gd name="T44" fmla="*/ 338 w 745"/>
                <a:gd name="T45" fmla="*/ 137 h 817"/>
                <a:gd name="T46" fmla="*/ 317 w 745"/>
                <a:gd name="T47" fmla="*/ 78 h 817"/>
                <a:gd name="T48" fmla="*/ 342 w 745"/>
                <a:gd name="T49" fmla="*/ 55 h 817"/>
                <a:gd name="T50" fmla="*/ 431 w 745"/>
                <a:gd name="T51" fmla="*/ 55 h 817"/>
                <a:gd name="T52" fmla="*/ 455 w 745"/>
                <a:gd name="T53" fmla="*/ 78 h 8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45" h="817">
                  <a:moveTo>
                    <a:pt x="745" y="198"/>
                  </a:moveTo>
                  <a:cubicBezTo>
                    <a:pt x="694" y="82"/>
                    <a:pt x="578" y="0"/>
                    <a:pt x="443" y="0"/>
                  </a:cubicBezTo>
                  <a:cubicBezTo>
                    <a:pt x="329" y="0"/>
                    <a:pt x="329" y="0"/>
                    <a:pt x="329" y="0"/>
                  </a:cubicBezTo>
                  <a:cubicBezTo>
                    <a:pt x="147" y="0"/>
                    <a:pt x="0" y="148"/>
                    <a:pt x="0" y="330"/>
                  </a:cubicBezTo>
                  <a:cubicBezTo>
                    <a:pt x="0" y="668"/>
                    <a:pt x="0" y="668"/>
                    <a:pt x="0" y="668"/>
                  </a:cubicBezTo>
                  <a:cubicBezTo>
                    <a:pt x="147" y="779"/>
                    <a:pt x="335" y="817"/>
                    <a:pt x="514" y="781"/>
                  </a:cubicBezTo>
                  <a:cubicBezTo>
                    <a:pt x="514" y="541"/>
                    <a:pt x="514" y="541"/>
                    <a:pt x="514" y="541"/>
                  </a:cubicBezTo>
                  <a:cubicBezTo>
                    <a:pt x="514" y="386"/>
                    <a:pt x="610" y="253"/>
                    <a:pt x="745" y="198"/>
                  </a:cubicBezTo>
                  <a:close/>
                  <a:moveTo>
                    <a:pt x="420" y="567"/>
                  </a:moveTo>
                  <a:cubicBezTo>
                    <a:pt x="412" y="573"/>
                    <a:pt x="412" y="573"/>
                    <a:pt x="412" y="573"/>
                  </a:cubicBezTo>
                  <a:cubicBezTo>
                    <a:pt x="398" y="587"/>
                    <a:pt x="375" y="587"/>
                    <a:pt x="360" y="573"/>
                  </a:cubicBezTo>
                  <a:cubicBezTo>
                    <a:pt x="352" y="567"/>
                    <a:pt x="352" y="567"/>
                    <a:pt x="352" y="567"/>
                  </a:cubicBezTo>
                  <a:cubicBezTo>
                    <a:pt x="338" y="553"/>
                    <a:pt x="327" y="528"/>
                    <a:pt x="328" y="512"/>
                  </a:cubicBezTo>
                  <a:cubicBezTo>
                    <a:pt x="342" y="231"/>
                    <a:pt x="342" y="231"/>
                    <a:pt x="342" y="231"/>
                  </a:cubicBezTo>
                  <a:cubicBezTo>
                    <a:pt x="343" y="214"/>
                    <a:pt x="362" y="200"/>
                    <a:pt x="385" y="200"/>
                  </a:cubicBezTo>
                  <a:cubicBezTo>
                    <a:pt x="408" y="200"/>
                    <a:pt x="427" y="214"/>
                    <a:pt x="429" y="231"/>
                  </a:cubicBezTo>
                  <a:cubicBezTo>
                    <a:pt x="445" y="512"/>
                    <a:pt x="445" y="512"/>
                    <a:pt x="445" y="512"/>
                  </a:cubicBezTo>
                  <a:cubicBezTo>
                    <a:pt x="445" y="528"/>
                    <a:pt x="434" y="553"/>
                    <a:pt x="420" y="567"/>
                  </a:cubicBezTo>
                  <a:close/>
                  <a:moveTo>
                    <a:pt x="455" y="78"/>
                  </a:moveTo>
                  <a:cubicBezTo>
                    <a:pt x="434" y="137"/>
                    <a:pt x="434" y="137"/>
                    <a:pt x="434" y="137"/>
                  </a:cubicBezTo>
                  <a:cubicBezTo>
                    <a:pt x="429" y="150"/>
                    <a:pt x="410" y="160"/>
                    <a:pt x="391" y="160"/>
                  </a:cubicBezTo>
                  <a:cubicBezTo>
                    <a:pt x="381" y="160"/>
                    <a:pt x="381" y="160"/>
                    <a:pt x="381" y="160"/>
                  </a:cubicBezTo>
                  <a:cubicBezTo>
                    <a:pt x="362" y="160"/>
                    <a:pt x="343" y="150"/>
                    <a:pt x="338" y="137"/>
                  </a:cubicBezTo>
                  <a:cubicBezTo>
                    <a:pt x="317" y="78"/>
                    <a:pt x="317" y="78"/>
                    <a:pt x="317" y="78"/>
                  </a:cubicBezTo>
                  <a:cubicBezTo>
                    <a:pt x="312" y="66"/>
                    <a:pt x="323" y="55"/>
                    <a:pt x="342" y="55"/>
                  </a:cubicBezTo>
                  <a:cubicBezTo>
                    <a:pt x="431" y="55"/>
                    <a:pt x="431" y="55"/>
                    <a:pt x="431" y="55"/>
                  </a:cubicBezTo>
                  <a:cubicBezTo>
                    <a:pt x="449" y="55"/>
                    <a:pt x="460" y="66"/>
                    <a:pt x="45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625519">
                <a:defRPr/>
              </a:pPr>
              <a:endParaRPr lang="en-GB" sz="4800" kern="0">
                <a:solidFill>
                  <a:prstClr val="black"/>
                </a:solidFill>
                <a:latin typeface="Verdana"/>
                <a:ea typeface="Verdana" panose="020B0604030504040204" pitchFamily="34" charset="0"/>
                <a:cs typeface="Verdana" panose="020B0604030504040204" pitchFamily="34" charset="0"/>
              </a:endParaRPr>
            </a:p>
          </p:txBody>
        </p:sp>
        <p:sp>
          <p:nvSpPr>
            <p:cNvPr id="187" name="Freeform 581">
              <a:extLst>
                <a:ext uri="{FF2B5EF4-FFF2-40B4-BE49-F238E27FC236}">
                  <a16:creationId xmlns:a16="http://schemas.microsoft.com/office/drawing/2014/main" id="{452BBABC-04E5-40E3-9A9E-67A012C3CB57}"/>
                </a:ext>
              </a:extLst>
            </p:cNvPr>
            <p:cNvSpPr>
              <a:spLocks noEditPoints="1"/>
            </p:cNvSpPr>
            <p:nvPr/>
          </p:nvSpPr>
          <p:spPr bwMode="auto">
            <a:xfrm>
              <a:off x="4283076" y="4087035"/>
              <a:ext cx="214033" cy="234551"/>
            </a:xfrm>
            <a:custGeom>
              <a:avLst/>
              <a:gdLst>
                <a:gd name="T0" fmla="*/ 416 w 745"/>
                <a:gd name="T1" fmla="*/ 0 h 816"/>
                <a:gd name="T2" fmla="*/ 302 w 745"/>
                <a:gd name="T3" fmla="*/ 0 h 816"/>
                <a:gd name="T4" fmla="*/ 0 w 745"/>
                <a:gd name="T5" fmla="*/ 198 h 816"/>
                <a:gd name="T6" fmla="*/ 231 w 745"/>
                <a:gd name="T7" fmla="*/ 541 h 816"/>
                <a:gd name="T8" fmla="*/ 231 w 745"/>
                <a:gd name="T9" fmla="*/ 782 h 816"/>
                <a:gd name="T10" fmla="*/ 745 w 745"/>
                <a:gd name="T11" fmla="*/ 670 h 816"/>
                <a:gd name="T12" fmla="*/ 745 w 745"/>
                <a:gd name="T13" fmla="*/ 330 h 816"/>
                <a:gd name="T14" fmla="*/ 416 w 745"/>
                <a:gd name="T15" fmla="*/ 0 h 816"/>
                <a:gd name="T16" fmla="*/ 393 w 745"/>
                <a:gd name="T17" fmla="*/ 567 h 816"/>
                <a:gd name="T18" fmla="*/ 385 w 745"/>
                <a:gd name="T19" fmla="*/ 573 h 816"/>
                <a:gd name="T20" fmla="*/ 333 w 745"/>
                <a:gd name="T21" fmla="*/ 573 h 816"/>
                <a:gd name="T22" fmla="*/ 325 w 745"/>
                <a:gd name="T23" fmla="*/ 567 h 816"/>
                <a:gd name="T24" fmla="*/ 301 w 745"/>
                <a:gd name="T25" fmla="*/ 512 h 816"/>
                <a:gd name="T26" fmla="*/ 315 w 745"/>
                <a:gd name="T27" fmla="*/ 231 h 816"/>
                <a:gd name="T28" fmla="*/ 358 w 745"/>
                <a:gd name="T29" fmla="*/ 200 h 816"/>
                <a:gd name="T30" fmla="*/ 402 w 745"/>
                <a:gd name="T31" fmla="*/ 231 h 816"/>
                <a:gd name="T32" fmla="*/ 418 w 745"/>
                <a:gd name="T33" fmla="*/ 512 h 816"/>
                <a:gd name="T34" fmla="*/ 393 w 745"/>
                <a:gd name="T35" fmla="*/ 567 h 816"/>
                <a:gd name="T36" fmla="*/ 428 w 745"/>
                <a:gd name="T37" fmla="*/ 78 h 816"/>
                <a:gd name="T38" fmla="*/ 407 w 745"/>
                <a:gd name="T39" fmla="*/ 137 h 816"/>
                <a:gd name="T40" fmla="*/ 364 w 745"/>
                <a:gd name="T41" fmla="*/ 160 h 816"/>
                <a:gd name="T42" fmla="*/ 354 w 745"/>
                <a:gd name="T43" fmla="*/ 160 h 816"/>
                <a:gd name="T44" fmla="*/ 311 w 745"/>
                <a:gd name="T45" fmla="*/ 137 h 816"/>
                <a:gd name="T46" fmla="*/ 290 w 745"/>
                <a:gd name="T47" fmla="*/ 78 h 816"/>
                <a:gd name="T48" fmla="*/ 315 w 745"/>
                <a:gd name="T49" fmla="*/ 55 h 816"/>
                <a:gd name="T50" fmla="*/ 404 w 745"/>
                <a:gd name="T51" fmla="*/ 55 h 816"/>
                <a:gd name="T52" fmla="*/ 428 w 745"/>
                <a:gd name="T53" fmla="*/ 78 h 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45" h="816">
                  <a:moveTo>
                    <a:pt x="416" y="0"/>
                  </a:moveTo>
                  <a:cubicBezTo>
                    <a:pt x="302" y="0"/>
                    <a:pt x="302" y="0"/>
                    <a:pt x="302" y="0"/>
                  </a:cubicBezTo>
                  <a:cubicBezTo>
                    <a:pt x="167" y="0"/>
                    <a:pt x="51" y="82"/>
                    <a:pt x="0" y="198"/>
                  </a:cubicBezTo>
                  <a:cubicBezTo>
                    <a:pt x="136" y="253"/>
                    <a:pt x="231" y="386"/>
                    <a:pt x="231" y="541"/>
                  </a:cubicBezTo>
                  <a:cubicBezTo>
                    <a:pt x="231" y="782"/>
                    <a:pt x="231" y="782"/>
                    <a:pt x="231" y="782"/>
                  </a:cubicBezTo>
                  <a:cubicBezTo>
                    <a:pt x="404" y="816"/>
                    <a:pt x="591" y="779"/>
                    <a:pt x="745" y="670"/>
                  </a:cubicBezTo>
                  <a:cubicBezTo>
                    <a:pt x="745" y="330"/>
                    <a:pt x="745" y="330"/>
                    <a:pt x="745" y="330"/>
                  </a:cubicBezTo>
                  <a:cubicBezTo>
                    <a:pt x="745" y="148"/>
                    <a:pt x="597" y="0"/>
                    <a:pt x="416" y="0"/>
                  </a:cubicBezTo>
                  <a:close/>
                  <a:moveTo>
                    <a:pt x="393" y="567"/>
                  </a:moveTo>
                  <a:cubicBezTo>
                    <a:pt x="385" y="573"/>
                    <a:pt x="385" y="573"/>
                    <a:pt x="385" y="573"/>
                  </a:cubicBezTo>
                  <a:cubicBezTo>
                    <a:pt x="371" y="587"/>
                    <a:pt x="348" y="587"/>
                    <a:pt x="333" y="573"/>
                  </a:cubicBezTo>
                  <a:cubicBezTo>
                    <a:pt x="325" y="567"/>
                    <a:pt x="325" y="567"/>
                    <a:pt x="325" y="567"/>
                  </a:cubicBezTo>
                  <a:cubicBezTo>
                    <a:pt x="311" y="553"/>
                    <a:pt x="300" y="528"/>
                    <a:pt x="301" y="512"/>
                  </a:cubicBezTo>
                  <a:cubicBezTo>
                    <a:pt x="315" y="231"/>
                    <a:pt x="315" y="231"/>
                    <a:pt x="315" y="231"/>
                  </a:cubicBezTo>
                  <a:cubicBezTo>
                    <a:pt x="316" y="214"/>
                    <a:pt x="335" y="200"/>
                    <a:pt x="358" y="200"/>
                  </a:cubicBezTo>
                  <a:cubicBezTo>
                    <a:pt x="381" y="200"/>
                    <a:pt x="400" y="214"/>
                    <a:pt x="402" y="231"/>
                  </a:cubicBezTo>
                  <a:cubicBezTo>
                    <a:pt x="418" y="512"/>
                    <a:pt x="418" y="512"/>
                    <a:pt x="418" y="512"/>
                  </a:cubicBezTo>
                  <a:cubicBezTo>
                    <a:pt x="418" y="528"/>
                    <a:pt x="407" y="553"/>
                    <a:pt x="393" y="567"/>
                  </a:cubicBezTo>
                  <a:close/>
                  <a:moveTo>
                    <a:pt x="428" y="78"/>
                  </a:moveTo>
                  <a:cubicBezTo>
                    <a:pt x="407" y="137"/>
                    <a:pt x="407" y="137"/>
                    <a:pt x="407" y="137"/>
                  </a:cubicBezTo>
                  <a:cubicBezTo>
                    <a:pt x="402" y="150"/>
                    <a:pt x="383" y="160"/>
                    <a:pt x="364" y="160"/>
                  </a:cubicBezTo>
                  <a:cubicBezTo>
                    <a:pt x="354" y="160"/>
                    <a:pt x="354" y="160"/>
                    <a:pt x="354" y="160"/>
                  </a:cubicBezTo>
                  <a:cubicBezTo>
                    <a:pt x="335" y="160"/>
                    <a:pt x="316" y="150"/>
                    <a:pt x="311" y="137"/>
                  </a:cubicBezTo>
                  <a:cubicBezTo>
                    <a:pt x="290" y="78"/>
                    <a:pt x="290" y="78"/>
                    <a:pt x="290" y="78"/>
                  </a:cubicBezTo>
                  <a:cubicBezTo>
                    <a:pt x="285" y="66"/>
                    <a:pt x="296" y="55"/>
                    <a:pt x="315" y="55"/>
                  </a:cubicBezTo>
                  <a:cubicBezTo>
                    <a:pt x="404" y="55"/>
                    <a:pt x="404" y="55"/>
                    <a:pt x="404" y="55"/>
                  </a:cubicBezTo>
                  <a:cubicBezTo>
                    <a:pt x="422" y="55"/>
                    <a:pt x="433" y="66"/>
                    <a:pt x="428"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625519">
                <a:defRPr/>
              </a:pPr>
              <a:endParaRPr lang="en-GB" sz="4800" kern="0">
                <a:solidFill>
                  <a:prstClr val="black"/>
                </a:solidFill>
                <a:latin typeface="Verdana"/>
                <a:ea typeface="Verdana" panose="020B0604030504040204" pitchFamily="34" charset="0"/>
                <a:cs typeface="Verdana" panose="020B0604030504040204" pitchFamily="34" charset="0"/>
              </a:endParaRPr>
            </a:p>
          </p:txBody>
        </p:sp>
      </p:grpSp>
      <p:grpSp>
        <p:nvGrpSpPr>
          <p:cNvPr id="209" name="Group 428">
            <a:extLst>
              <a:ext uri="{FF2B5EF4-FFF2-40B4-BE49-F238E27FC236}">
                <a16:creationId xmlns:a16="http://schemas.microsoft.com/office/drawing/2014/main" id="{80A27BFE-43DD-41BD-AD16-03CD9582FB57}"/>
              </a:ext>
            </a:extLst>
          </p:cNvPr>
          <p:cNvGrpSpPr>
            <a:grpSpLocks noChangeAspect="1"/>
          </p:cNvGrpSpPr>
          <p:nvPr/>
        </p:nvGrpSpPr>
        <p:grpSpPr>
          <a:xfrm>
            <a:off x="10470047" y="2267110"/>
            <a:ext cx="664971" cy="478711"/>
            <a:chOff x="3957109" y="3957134"/>
            <a:chExt cx="540000" cy="431102"/>
          </a:xfrm>
          <a:solidFill>
            <a:srgbClr val="C82ECC"/>
          </a:solidFill>
        </p:grpSpPr>
        <p:sp>
          <p:nvSpPr>
            <p:cNvPr id="210" name="Oval 576">
              <a:extLst>
                <a:ext uri="{FF2B5EF4-FFF2-40B4-BE49-F238E27FC236}">
                  <a16:creationId xmlns:a16="http://schemas.microsoft.com/office/drawing/2014/main" id="{7F0C136A-A7E1-4B3C-8821-4F272A4BE7F2}"/>
                </a:ext>
              </a:extLst>
            </p:cNvPr>
            <p:cNvSpPr>
              <a:spLocks noChangeArrowheads="1"/>
            </p:cNvSpPr>
            <p:nvPr/>
          </p:nvSpPr>
          <p:spPr bwMode="auto">
            <a:xfrm>
              <a:off x="4005670" y="3957134"/>
              <a:ext cx="124681" cy="1244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625519">
                <a:defRPr/>
              </a:pPr>
              <a:endParaRPr lang="en-GB" sz="4800" kern="0">
                <a:solidFill>
                  <a:prstClr val="black"/>
                </a:solidFill>
                <a:latin typeface="Verdana"/>
                <a:ea typeface="Verdana" panose="020B0604030504040204" pitchFamily="34" charset="0"/>
                <a:cs typeface="Verdana" panose="020B0604030504040204" pitchFamily="34" charset="0"/>
              </a:endParaRPr>
            </a:p>
          </p:txBody>
        </p:sp>
        <p:sp>
          <p:nvSpPr>
            <p:cNvPr id="211" name="Oval 577">
              <a:extLst>
                <a:ext uri="{FF2B5EF4-FFF2-40B4-BE49-F238E27FC236}">
                  <a16:creationId xmlns:a16="http://schemas.microsoft.com/office/drawing/2014/main" id="{8D2EEED8-A94F-4EC1-8CFD-963DC8D3782D}"/>
                </a:ext>
              </a:extLst>
            </p:cNvPr>
            <p:cNvSpPr>
              <a:spLocks noChangeArrowheads="1"/>
            </p:cNvSpPr>
            <p:nvPr/>
          </p:nvSpPr>
          <p:spPr bwMode="auto">
            <a:xfrm>
              <a:off x="4323867" y="3957134"/>
              <a:ext cx="124681" cy="1244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625519">
                <a:defRPr/>
              </a:pPr>
              <a:endParaRPr lang="en-GB" sz="4800" kern="0">
                <a:solidFill>
                  <a:prstClr val="black"/>
                </a:solidFill>
                <a:latin typeface="Verdana"/>
                <a:ea typeface="Verdana" panose="020B0604030504040204" pitchFamily="34" charset="0"/>
                <a:cs typeface="Verdana" panose="020B0604030504040204" pitchFamily="34" charset="0"/>
              </a:endParaRPr>
            </a:p>
          </p:txBody>
        </p:sp>
        <p:sp>
          <p:nvSpPr>
            <p:cNvPr id="212" name="Oval 578">
              <a:extLst>
                <a:ext uri="{FF2B5EF4-FFF2-40B4-BE49-F238E27FC236}">
                  <a16:creationId xmlns:a16="http://schemas.microsoft.com/office/drawing/2014/main" id="{12AF603C-D04D-4EA6-8825-CEFCE5724369}"/>
                </a:ext>
              </a:extLst>
            </p:cNvPr>
            <p:cNvSpPr>
              <a:spLocks noChangeArrowheads="1"/>
            </p:cNvSpPr>
            <p:nvPr/>
          </p:nvSpPr>
          <p:spPr bwMode="auto">
            <a:xfrm>
              <a:off x="4164708" y="4017835"/>
              <a:ext cx="124681" cy="1244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625519">
                <a:defRPr/>
              </a:pPr>
              <a:endParaRPr lang="en-GB" sz="4800" kern="0">
                <a:solidFill>
                  <a:prstClr val="black"/>
                </a:solidFill>
                <a:latin typeface="Verdana"/>
                <a:ea typeface="Verdana" panose="020B0604030504040204" pitchFamily="34" charset="0"/>
                <a:cs typeface="Verdana" panose="020B0604030504040204" pitchFamily="34" charset="0"/>
              </a:endParaRPr>
            </a:p>
          </p:txBody>
        </p:sp>
        <p:sp>
          <p:nvSpPr>
            <p:cNvPr id="213" name="Freeform 579">
              <a:extLst>
                <a:ext uri="{FF2B5EF4-FFF2-40B4-BE49-F238E27FC236}">
                  <a16:creationId xmlns:a16="http://schemas.microsoft.com/office/drawing/2014/main" id="{9F31722D-7C1B-4336-90DF-0F9CDAB2AD9B}"/>
                </a:ext>
              </a:extLst>
            </p:cNvPr>
            <p:cNvSpPr>
              <a:spLocks noEditPoints="1"/>
            </p:cNvSpPr>
            <p:nvPr/>
          </p:nvSpPr>
          <p:spPr bwMode="auto">
            <a:xfrm>
              <a:off x="4116268" y="4147737"/>
              <a:ext cx="221682" cy="240499"/>
            </a:xfrm>
            <a:custGeom>
              <a:avLst/>
              <a:gdLst>
                <a:gd name="T0" fmla="*/ 443 w 772"/>
                <a:gd name="T1" fmla="*/ 0 h 837"/>
                <a:gd name="T2" fmla="*/ 329 w 772"/>
                <a:gd name="T3" fmla="*/ 0 h 837"/>
                <a:gd name="T4" fmla="*/ 0 w 772"/>
                <a:gd name="T5" fmla="*/ 330 h 837"/>
                <a:gd name="T6" fmla="*/ 0 w 772"/>
                <a:gd name="T7" fmla="*/ 668 h 837"/>
                <a:gd name="T8" fmla="*/ 772 w 772"/>
                <a:gd name="T9" fmla="*/ 671 h 837"/>
                <a:gd name="T10" fmla="*/ 772 w 772"/>
                <a:gd name="T11" fmla="*/ 330 h 837"/>
                <a:gd name="T12" fmla="*/ 443 w 772"/>
                <a:gd name="T13" fmla="*/ 0 h 837"/>
                <a:gd name="T14" fmla="*/ 420 w 772"/>
                <a:gd name="T15" fmla="*/ 567 h 837"/>
                <a:gd name="T16" fmla="*/ 412 w 772"/>
                <a:gd name="T17" fmla="*/ 573 h 837"/>
                <a:gd name="T18" fmla="*/ 360 w 772"/>
                <a:gd name="T19" fmla="*/ 573 h 837"/>
                <a:gd name="T20" fmla="*/ 352 w 772"/>
                <a:gd name="T21" fmla="*/ 567 h 837"/>
                <a:gd name="T22" fmla="*/ 328 w 772"/>
                <a:gd name="T23" fmla="*/ 512 h 837"/>
                <a:gd name="T24" fmla="*/ 342 w 772"/>
                <a:gd name="T25" fmla="*/ 231 h 837"/>
                <a:gd name="T26" fmla="*/ 385 w 772"/>
                <a:gd name="T27" fmla="*/ 200 h 837"/>
                <a:gd name="T28" fmla="*/ 429 w 772"/>
                <a:gd name="T29" fmla="*/ 231 h 837"/>
                <a:gd name="T30" fmla="*/ 445 w 772"/>
                <a:gd name="T31" fmla="*/ 512 h 837"/>
                <a:gd name="T32" fmla="*/ 420 w 772"/>
                <a:gd name="T33" fmla="*/ 567 h 837"/>
                <a:gd name="T34" fmla="*/ 455 w 772"/>
                <a:gd name="T35" fmla="*/ 78 h 837"/>
                <a:gd name="T36" fmla="*/ 434 w 772"/>
                <a:gd name="T37" fmla="*/ 137 h 837"/>
                <a:gd name="T38" fmla="*/ 391 w 772"/>
                <a:gd name="T39" fmla="*/ 160 h 837"/>
                <a:gd name="T40" fmla="*/ 381 w 772"/>
                <a:gd name="T41" fmla="*/ 160 h 837"/>
                <a:gd name="T42" fmla="*/ 338 w 772"/>
                <a:gd name="T43" fmla="*/ 137 h 837"/>
                <a:gd name="T44" fmla="*/ 317 w 772"/>
                <a:gd name="T45" fmla="*/ 78 h 837"/>
                <a:gd name="T46" fmla="*/ 342 w 772"/>
                <a:gd name="T47" fmla="*/ 55 h 837"/>
                <a:gd name="T48" fmla="*/ 431 w 772"/>
                <a:gd name="T49" fmla="*/ 55 h 837"/>
                <a:gd name="T50" fmla="*/ 455 w 772"/>
                <a:gd name="T51" fmla="*/ 78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72" h="837">
                  <a:moveTo>
                    <a:pt x="443" y="0"/>
                  </a:moveTo>
                  <a:cubicBezTo>
                    <a:pt x="329" y="0"/>
                    <a:pt x="329" y="0"/>
                    <a:pt x="329" y="0"/>
                  </a:cubicBezTo>
                  <a:cubicBezTo>
                    <a:pt x="147" y="0"/>
                    <a:pt x="0" y="148"/>
                    <a:pt x="0" y="330"/>
                  </a:cubicBezTo>
                  <a:cubicBezTo>
                    <a:pt x="0" y="668"/>
                    <a:pt x="0" y="668"/>
                    <a:pt x="0" y="668"/>
                  </a:cubicBezTo>
                  <a:cubicBezTo>
                    <a:pt x="222" y="835"/>
                    <a:pt x="536" y="837"/>
                    <a:pt x="772" y="671"/>
                  </a:cubicBezTo>
                  <a:cubicBezTo>
                    <a:pt x="772" y="330"/>
                    <a:pt x="772" y="330"/>
                    <a:pt x="772" y="330"/>
                  </a:cubicBezTo>
                  <a:cubicBezTo>
                    <a:pt x="772" y="148"/>
                    <a:pt x="624" y="0"/>
                    <a:pt x="443" y="0"/>
                  </a:cubicBezTo>
                  <a:close/>
                  <a:moveTo>
                    <a:pt x="420" y="567"/>
                  </a:moveTo>
                  <a:cubicBezTo>
                    <a:pt x="412" y="573"/>
                    <a:pt x="412" y="573"/>
                    <a:pt x="412" y="573"/>
                  </a:cubicBezTo>
                  <a:cubicBezTo>
                    <a:pt x="398" y="587"/>
                    <a:pt x="375" y="587"/>
                    <a:pt x="360" y="573"/>
                  </a:cubicBezTo>
                  <a:cubicBezTo>
                    <a:pt x="352" y="567"/>
                    <a:pt x="352" y="567"/>
                    <a:pt x="352" y="567"/>
                  </a:cubicBezTo>
                  <a:cubicBezTo>
                    <a:pt x="338" y="553"/>
                    <a:pt x="327" y="528"/>
                    <a:pt x="328" y="512"/>
                  </a:cubicBezTo>
                  <a:cubicBezTo>
                    <a:pt x="342" y="231"/>
                    <a:pt x="342" y="231"/>
                    <a:pt x="342" y="231"/>
                  </a:cubicBezTo>
                  <a:cubicBezTo>
                    <a:pt x="343" y="214"/>
                    <a:pt x="362" y="200"/>
                    <a:pt x="385" y="200"/>
                  </a:cubicBezTo>
                  <a:cubicBezTo>
                    <a:pt x="408" y="200"/>
                    <a:pt x="427" y="214"/>
                    <a:pt x="429" y="231"/>
                  </a:cubicBezTo>
                  <a:cubicBezTo>
                    <a:pt x="445" y="512"/>
                    <a:pt x="445" y="512"/>
                    <a:pt x="445" y="512"/>
                  </a:cubicBezTo>
                  <a:cubicBezTo>
                    <a:pt x="445" y="528"/>
                    <a:pt x="434" y="553"/>
                    <a:pt x="420" y="567"/>
                  </a:cubicBezTo>
                  <a:close/>
                  <a:moveTo>
                    <a:pt x="455" y="78"/>
                  </a:moveTo>
                  <a:cubicBezTo>
                    <a:pt x="434" y="137"/>
                    <a:pt x="434" y="137"/>
                    <a:pt x="434" y="137"/>
                  </a:cubicBezTo>
                  <a:cubicBezTo>
                    <a:pt x="429" y="150"/>
                    <a:pt x="410" y="160"/>
                    <a:pt x="391" y="160"/>
                  </a:cubicBezTo>
                  <a:cubicBezTo>
                    <a:pt x="381" y="160"/>
                    <a:pt x="381" y="160"/>
                    <a:pt x="381" y="160"/>
                  </a:cubicBezTo>
                  <a:cubicBezTo>
                    <a:pt x="362" y="160"/>
                    <a:pt x="343" y="150"/>
                    <a:pt x="338" y="137"/>
                  </a:cubicBezTo>
                  <a:cubicBezTo>
                    <a:pt x="317" y="78"/>
                    <a:pt x="317" y="78"/>
                    <a:pt x="317" y="78"/>
                  </a:cubicBezTo>
                  <a:cubicBezTo>
                    <a:pt x="312" y="66"/>
                    <a:pt x="323" y="55"/>
                    <a:pt x="342" y="55"/>
                  </a:cubicBezTo>
                  <a:cubicBezTo>
                    <a:pt x="431" y="55"/>
                    <a:pt x="431" y="55"/>
                    <a:pt x="431" y="55"/>
                  </a:cubicBezTo>
                  <a:cubicBezTo>
                    <a:pt x="449" y="55"/>
                    <a:pt x="460" y="66"/>
                    <a:pt x="45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625519">
                <a:defRPr/>
              </a:pPr>
              <a:endParaRPr lang="en-GB" sz="4800" kern="0">
                <a:solidFill>
                  <a:prstClr val="black"/>
                </a:solidFill>
                <a:latin typeface="Verdana"/>
                <a:ea typeface="Verdana" panose="020B0604030504040204" pitchFamily="34" charset="0"/>
                <a:cs typeface="Verdana" panose="020B0604030504040204" pitchFamily="34" charset="0"/>
              </a:endParaRPr>
            </a:p>
          </p:txBody>
        </p:sp>
        <p:sp>
          <p:nvSpPr>
            <p:cNvPr id="214" name="Freeform 580">
              <a:extLst>
                <a:ext uri="{FF2B5EF4-FFF2-40B4-BE49-F238E27FC236}">
                  <a16:creationId xmlns:a16="http://schemas.microsoft.com/office/drawing/2014/main" id="{09890F9C-3BFD-487A-A3B9-9720ED29F91B}"/>
                </a:ext>
              </a:extLst>
            </p:cNvPr>
            <p:cNvSpPr>
              <a:spLocks noEditPoints="1"/>
            </p:cNvSpPr>
            <p:nvPr/>
          </p:nvSpPr>
          <p:spPr bwMode="auto">
            <a:xfrm>
              <a:off x="3957109" y="4087035"/>
              <a:ext cx="213912" cy="234793"/>
            </a:xfrm>
            <a:custGeom>
              <a:avLst/>
              <a:gdLst>
                <a:gd name="T0" fmla="*/ 745 w 745"/>
                <a:gd name="T1" fmla="*/ 198 h 817"/>
                <a:gd name="T2" fmla="*/ 443 w 745"/>
                <a:gd name="T3" fmla="*/ 0 h 817"/>
                <a:gd name="T4" fmla="*/ 329 w 745"/>
                <a:gd name="T5" fmla="*/ 0 h 817"/>
                <a:gd name="T6" fmla="*/ 0 w 745"/>
                <a:gd name="T7" fmla="*/ 330 h 817"/>
                <a:gd name="T8" fmla="*/ 0 w 745"/>
                <a:gd name="T9" fmla="*/ 668 h 817"/>
                <a:gd name="T10" fmla="*/ 514 w 745"/>
                <a:gd name="T11" fmla="*/ 781 h 817"/>
                <a:gd name="T12" fmla="*/ 514 w 745"/>
                <a:gd name="T13" fmla="*/ 541 h 817"/>
                <a:gd name="T14" fmla="*/ 745 w 745"/>
                <a:gd name="T15" fmla="*/ 198 h 817"/>
                <a:gd name="T16" fmla="*/ 420 w 745"/>
                <a:gd name="T17" fmla="*/ 567 h 817"/>
                <a:gd name="T18" fmla="*/ 412 w 745"/>
                <a:gd name="T19" fmla="*/ 573 h 817"/>
                <a:gd name="T20" fmla="*/ 360 w 745"/>
                <a:gd name="T21" fmla="*/ 573 h 817"/>
                <a:gd name="T22" fmla="*/ 352 w 745"/>
                <a:gd name="T23" fmla="*/ 567 h 817"/>
                <a:gd name="T24" fmla="*/ 328 w 745"/>
                <a:gd name="T25" fmla="*/ 512 h 817"/>
                <a:gd name="T26" fmla="*/ 342 w 745"/>
                <a:gd name="T27" fmla="*/ 231 h 817"/>
                <a:gd name="T28" fmla="*/ 385 w 745"/>
                <a:gd name="T29" fmla="*/ 200 h 817"/>
                <a:gd name="T30" fmla="*/ 429 w 745"/>
                <a:gd name="T31" fmla="*/ 231 h 817"/>
                <a:gd name="T32" fmla="*/ 445 w 745"/>
                <a:gd name="T33" fmla="*/ 512 h 817"/>
                <a:gd name="T34" fmla="*/ 420 w 745"/>
                <a:gd name="T35" fmla="*/ 567 h 817"/>
                <a:gd name="T36" fmla="*/ 455 w 745"/>
                <a:gd name="T37" fmla="*/ 78 h 817"/>
                <a:gd name="T38" fmla="*/ 434 w 745"/>
                <a:gd name="T39" fmla="*/ 137 h 817"/>
                <a:gd name="T40" fmla="*/ 391 w 745"/>
                <a:gd name="T41" fmla="*/ 160 h 817"/>
                <a:gd name="T42" fmla="*/ 381 w 745"/>
                <a:gd name="T43" fmla="*/ 160 h 817"/>
                <a:gd name="T44" fmla="*/ 338 w 745"/>
                <a:gd name="T45" fmla="*/ 137 h 817"/>
                <a:gd name="T46" fmla="*/ 317 w 745"/>
                <a:gd name="T47" fmla="*/ 78 h 817"/>
                <a:gd name="T48" fmla="*/ 342 w 745"/>
                <a:gd name="T49" fmla="*/ 55 h 817"/>
                <a:gd name="T50" fmla="*/ 431 w 745"/>
                <a:gd name="T51" fmla="*/ 55 h 817"/>
                <a:gd name="T52" fmla="*/ 455 w 745"/>
                <a:gd name="T53" fmla="*/ 78 h 8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45" h="817">
                  <a:moveTo>
                    <a:pt x="745" y="198"/>
                  </a:moveTo>
                  <a:cubicBezTo>
                    <a:pt x="694" y="82"/>
                    <a:pt x="578" y="0"/>
                    <a:pt x="443" y="0"/>
                  </a:cubicBezTo>
                  <a:cubicBezTo>
                    <a:pt x="329" y="0"/>
                    <a:pt x="329" y="0"/>
                    <a:pt x="329" y="0"/>
                  </a:cubicBezTo>
                  <a:cubicBezTo>
                    <a:pt x="147" y="0"/>
                    <a:pt x="0" y="148"/>
                    <a:pt x="0" y="330"/>
                  </a:cubicBezTo>
                  <a:cubicBezTo>
                    <a:pt x="0" y="668"/>
                    <a:pt x="0" y="668"/>
                    <a:pt x="0" y="668"/>
                  </a:cubicBezTo>
                  <a:cubicBezTo>
                    <a:pt x="147" y="779"/>
                    <a:pt x="335" y="817"/>
                    <a:pt x="514" y="781"/>
                  </a:cubicBezTo>
                  <a:cubicBezTo>
                    <a:pt x="514" y="541"/>
                    <a:pt x="514" y="541"/>
                    <a:pt x="514" y="541"/>
                  </a:cubicBezTo>
                  <a:cubicBezTo>
                    <a:pt x="514" y="386"/>
                    <a:pt x="610" y="253"/>
                    <a:pt x="745" y="198"/>
                  </a:cubicBezTo>
                  <a:close/>
                  <a:moveTo>
                    <a:pt x="420" y="567"/>
                  </a:moveTo>
                  <a:cubicBezTo>
                    <a:pt x="412" y="573"/>
                    <a:pt x="412" y="573"/>
                    <a:pt x="412" y="573"/>
                  </a:cubicBezTo>
                  <a:cubicBezTo>
                    <a:pt x="398" y="587"/>
                    <a:pt x="375" y="587"/>
                    <a:pt x="360" y="573"/>
                  </a:cubicBezTo>
                  <a:cubicBezTo>
                    <a:pt x="352" y="567"/>
                    <a:pt x="352" y="567"/>
                    <a:pt x="352" y="567"/>
                  </a:cubicBezTo>
                  <a:cubicBezTo>
                    <a:pt x="338" y="553"/>
                    <a:pt x="327" y="528"/>
                    <a:pt x="328" y="512"/>
                  </a:cubicBezTo>
                  <a:cubicBezTo>
                    <a:pt x="342" y="231"/>
                    <a:pt x="342" y="231"/>
                    <a:pt x="342" y="231"/>
                  </a:cubicBezTo>
                  <a:cubicBezTo>
                    <a:pt x="343" y="214"/>
                    <a:pt x="362" y="200"/>
                    <a:pt x="385" y="200"/>
                  </a:cubicBezTo>
                  <a:cubicBezTo>
                    <a:pt x="408" y="200"/>
                    <a:pt x="427" y="214"/>
                    <a:pt x="429" y="231"/>
                  </a:cubicBezTo>
                  <a:cubicBezTo>
                    <a:pt x="445" y="512"/>
                    <a:pt x="445" y="512"/>
                    <a:pt x="445" y="512"/>
                  </a:cubicBezTo>
                  <a:cubicBezTo>
                    <a:pt x="445" y="528"/>
                    <a:pt x="434" y="553"/>
                    <a:pt x="420" y="567"/>
                  </a:cubicBezTo>
                  <a:close/>
                  <a:moveTo>
                    <a:pt x="455" y="78"/>
                  </a:moveTo>
                  <a:cubicBezTo>
                    <a:pt x="434" y="137"/>
                    <a:pt x="434" y="137"/>
                    <a:pt x="434" y="137"/>
                  </a:cubicBezTo>
                  <a:cubicBezTo>
                    <a:pt x="429" y="150"/>
                    <a:pt x="410" y="160"/>
                    <a:pt x="391" y="160"/>
                  </a:cubicBezTo>
                  <a:cubicBezTo>
                    <a:pt x="381" y="160"/>
                    <a:pt x="381" y="160"/>
                    <a:pt x="381" y="160"/>
                  </a:cubicBezTo>
                  <a:cubicBezTo>
                    <a:pt x="362" y="160"/>
                    <a:pt x="343" y="150"/>
                    <a:pt x="338" y="137"/>
                  </a:cubicBezTo>
                  <a:cubicBezTo>
                    <a:pt x="317" y="78"/>
                    <a:pt x="317" y="78"/>
                    <a:pt x="317" y="78"/>
                  </a:cubicBezTo>
                  <a:cubicBezTo>
                    <a:pt x="312" y="66"/>
                    <a:pt x="323" y="55"/>
                    <a:pt x="342" y="55"/>
                  </a:cubicBezTo>
                  <a:cubicBezTo>
                    <a:pt x="431" y="55"/>
                    <a:pt x="431" y="55"/>
                    <a:pt x="431" y="55"/>
                  </a:cubicBezTo>
                  <a:cubicBezTo>
                    <a:pt x="449" y="55"/>
                    <a:pt x="460" y="66"/>
                    <a:pt x="45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625519">
                <a:defRPr/>
              </a:pPr>
              <a:endParaRPr lang="en-GB" sz="4800" kern="0">
                <a:solidFill>
                  <a:prstClr val="black"/>
                </a:solidFill>
                <a:latin typeface="Verdana"/>
                <a:ea typeface="Verdana" panose="020B0604030504040204" pitchFamily="34" charset="0"/>
                <a:cs typeface="Verdana" panose="020B0604030504040204" pitchFamily="34" charset="0"/>
              </a:endParaRPr>
            </a:p>
          </p:txBody>
        </p:sp>
        <p:sp>
          <p:nvSpPr>
            <p:cNvPr id="215" name="Freeform 581">
              <a:extLst>
                <a:ext uri="{FF2B5EF4-FFF2-40B4-BE49-F238E27FC236}">
                  <a16:creationId xmlns:a16="http://schemas.microsoft.com/office/drawing/2014/main" id="{D36BF15E-1D67-40FD-95E0-DBFE1DC31AE5}"/>
                </a:ext>
              </a:extLst>
            </p:cNvPr>
            <p:cNvSpPr>
              <a:spLocks noEditPoints="1"/>
            </p:cNvSpPr>
            <p:nvPr/>
          </p:nvSpPr>
          <p:spPr bwMode="auto">
            <a:xfrm>
              <a:off x="4283076" y="4087035"/>
              <a:ext cx="214033" cy="234551"/>
            </a:xfrm>
            <a:custGeom>
              <a:avLst/>
              <a:gdLst>
                <a:gd name="T0" fmla="*/ 416 w 745"/>
                <a:gd name="T1" fmla="*/ 0 h 816"/>
                <a:gd name="T2" fmla="*/ 302 w 745"/>
                <a:gd name="T3" fmla="*/ 0 h 816"/>
                <a:gd name="T4" fmla="*/ 0 w 745"/>
                <a:gd name="T5" fmla="*/ 198 h 816"/>
                <a:gd name="T6" fmla="*/ 231 w 745"/>
                <a:gd name="T7" fmla="*/ 541 h 816"/>
                <a:gd name="T8" fmla="*/ 231 w 745"/>
                <a:gd name="T9" fmla="*/ 782 h 816"/>
                <a:gd name="T10" fmla="*/ 745 w 745"/>
                <a:gd name="T11" fmla="*/ 670 h 816"/>
                <a:gd name="T12" fmla="*/ 745 w 745"/>
                <a:gd name="T13" fmla="*/ 330 h 816"/>
                <a:gd name="T14" fmla="*/ 416 w 745"/>
                <a:gd name="T15" fmla="*/ 0 h 816"/>
                <a:gd name="T16" fmla="*/ 393 w 745"/>
                <a:gd name="T17" fmla="*/ 567 h 816"/>
                <a:gd name="T18" fmla="*/ 385 w 745"/>
                <a:gd name="T19" fmla="*/ 573 h 816"/>
                <a:gd name="T20" fmla="*/ 333 w 745"/>
                <a:gd name="T21" fmla="*/ 573 h 816"/>
                <a:gd name="T22" fmla="*/ 325 w 745"/>
                <a:gd name="T23" fmla="*/ 567 h 816"/>
                <a:gd name="T24" fmla="*/ 301 w 745"/>
                <a:gd name="T25" fmla="*/ 512 h 816"/>
                <a:gd name="T26" fmla="*/ 315 w 745"/>
                <a:gd name="T27" fmla="*/ 231 h 816"/>
                <a:gd name="T28" fmla="*/ 358 w 745"/>
                <a:gd name="T29" fmla="*/ 200 h 816"/>
                <a:gd name="T30" fmla="*/ 402 w 745"/>
                <a:gd name="T31" fmla="*/ 231 h 816"/>
                <a:gd name="T32" fmla="*/ 418 w 745"/>
                <a:gd name="T33" fmla="*/ 512 h 816"/>
                <a:gd name="T34" fmla="*/ 393 w 745"/>
                <a:gd name="T35" fmla="*/ 567 h 816"/>
                <a:gd name="T36" fmla="*/ 428 w 745"/>
                <a:gd name="T37" fmla="*/ 78 h 816"/>
                <a:gd name="T38" fmla="*/ 407 w 745"/>
                <a:gd name="T39" fmla="*/ 137 h 816"/>
                <a:gd name="T40" fmla="*/ 364 w 745"/>
                <a:gd name="T41" fmla="*/ 160 h 816"/>
                <a:gd name="T42" fmla="*/ 354 w 745"/>
                <a:gd name="T43" fmla="*/ 160 h 816"/>
                <a:gd name="T44" fmla="*/ 311 w 745"/>
                <a:gd name="T45" fmla="*/ 137 h 816"/>
                <a:gd name="T46" fmla="*/ 290 w 745"/>
                <a:gd name="T47" fmla="*/ 78 h 816"/>
                <a:gd name="T48" fmla="*/ 315 w 745"/>
                <a:gd name="T49" fmla="*/ 55 h 816"/>
                <a:gd name="T50" fmla="*/ 404 w 745"/>
                <a:gd name="T51" fmla="*/ 55 h 816"/>
                <a:gd name="T52" fmla="*/ 428 w 745"/>
                <a:gd name="T53" fmla="*/ 78 h 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45" h="816">
                  <a:moveTo>
                    <a:pt x="416" y="0"/>
                  </a:moveTo>
                  <a:cubicBezTo>
                    <a:pt x="302" y="0"/>
                    <a:pt x="302" y="0"/>
                    <a:pt x="302" y="0"/>
                  </a:cubicBezTo>
                  <a:cubicBezTo>
                    <a:pt x="167" y="0"/>
                    <a:pt x="51" y="82"/>
                    <a:pt x="0" y="198"/>
                  </a:cubicBezTo>
                  <a:cubicBezTo>
                    <a:pt x="136" y="253"/>
                    <a:pt x="231" y="386"/>
                    <a:pt x="231" y="541"/>
                  </a:cubicBezTo>
                  <a:cubicBezTo>
                    <a:pt x="231" y="782"/>
                    <a:pt x="231" y="782"/>
                    <a:pt x="231" y="782"/>
                  </a:cubicBezTo>
                  <a:cubicBezTo>
                    <a:pt x="404" y="816"/>
                    <a:pt x="591" y="779"/>
                    <a:pt x="745" y="670"/>
                  </a:cubicBezTo>
                  <a:cubicBezTo>
                    <a:pt x="745" y="330"/>
                    <a:pt x="745" y="330"/>
                    <a:pt x="745" y="330"/>
                  </a:cubicBezTo>
                  <a:cubicBezTo>
                    <a:pt x="745" y="148"/>
                    <a:pt x="597" y="0"/>
                    <a:pt x="416" y="0"/>
                  </a:cubicBezTo>
                  <a:close/>
                  <a:moveTo>
                    <a:pt x="393" y="567"/>
                  </a:moveTo>
                  <a:cubicBezTo>
                    <a:pt x="385" y="573"/>
                    <a:pt x="385" y="573"/>
                    <a:pt x="385" y="573"/>
                  </a:cubicBezTo>
                  <a:cubicBezTo>
                    <a:pt x="371" y="587"/>
                    <a:pt x="348" y="587"/>
                    <a:pt x="333" y="573"/>
                  </a:cubicBezTo>
                  <a:cubicBezTo>
                    <a:pt x="325" y="567"/>
                    <a:pt x="325" y="567"/>
                    <a:pt x="325" y="567"/>
                  </a:cubicBezTo>
                  <a:cubicBezTo>
                    <a:pt x="311" y="553"/>
                    <a:pt x="300" y="528"/>
                    <a:pt x="301" y="512"/>
                  </a:cubicBezTo>
                  <a:cubicBezTo>
                    <a:pt x="315" y="231"/>
                    <a:pt x="315" y="231"/>
                    <a:pt x="315" y="231"/>
                  </a:cubicBezTo>
                  <a:cubicBezTo>
                    <a:pt x="316" y="214"/>
                    <a:pt x="335" y="200"/>
                    <a:pt x="358" y="200"/>
                  </a:cubicBezTo>
                  <a:cubicBezTo>
                    <a:pt x="381" y="200"/>
                    <a:pt x="400" y="214"/>
                    <a:pt x="402" y="231"/>
                  </a:cubicBezTo>
                  <a:cubicBezTo>
                    <a:pt x="418" y="512"/>
                    <a:pt x="418" y="512"/>
                    <a:pt x="418" y="512"/>
                  </a:cubicBezTo>
                  <a:cubicBezTo>
                    <a:pt x="418" y="528"/>
                    <a:pt x="407" y="553"/>
                    <a:pt x="393" y="567"/>
                  </a:cubicBezTo>
                  <a:close/>
                  <a:moveTo>
                    <a:pt x="428" y="78"/>
                  </a:moveTo>
                  <a:cubicBezTo>
                    <a:pt x="407" y="137"/>
                    <a:pt x="407" y="137"/>
                    <a:pt x="407" y="137"/>
                  </a:cubicBezTo>
                  <a:cubicBezTo>
                    <a:pt x="402" y="150"/>
                    <a:pt x="383" y="160"/>
                    <a:pt x="364" y="160"/>
                  </a:cubicBezTo>
                  <a:cubicBezTo>
                    <a:pt x="354" y="160"/>
                    <a:pt x="354" y="160"/>
                    <a:pt x="354" y="160"/>
                  </a:cubicBezTo>
                  <a:cubicBezTo>
                    <a:pt x="335" y="160"/>
                    <a:pt x="316" y="150"/>
                    <a:pt x="311" y="137"/>
                  </a:cubicBezTo>
                  <a:cubicBezTo>
                    <a:pt x="290" y="78"/>
                    <a:pt x="290" y="78"/>
                    <a:pt x="290" y="78"/>
                  </a:cubicBezTo>
                  <a:cubicBezTo>
                    <a:pt x="285" y="66"/>
                    <a:pt x="296" y="55"/>
                    <a:pt x="315" y="55"/>
                  </a:cubicBezTo>
                  <a:cubicBezTo>
                    <a:pt x="404" y="55"/>
                    <a:pt x="404" y="55"/>
                    <a:pt x="404" y="55"/>
                  </a:cubicBezTo>
                  <a:cubicBezTo>
                    <a:pt x="422" y="55"/>
                    <a:pt x="433" y="66"/>
                    <a:pt x="428"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625519">
                <a:defRPr/>
              </a:pPr>
              <a:endParaRPr lang="en-GB" sz="4800" kern="0">
                <a:solidFill>
                  <a:prstClr val="black"/>
                </a:solidFill>
                <a:latin typeface="Verdana"/>
                <a:ea typeface="Verdana" panose="020B0604030504040204" pitchFamily="34" charset="0"/>
                <a:cs typeface="Verdana" panose="020B0604030504040204" pitchFamily="34" charset="0"/>
              </a:endParaRPr>
            </a:p>
          </p:txBody>
        </p:sp>
      </p:grpSp>
      <p:sp>
        <p:nvSpPr>
          <p:cNvPr id="146" name="4-Point Star 76">
            <a:extLst>
              <a:ext uri="{FF2B5EF4-FFF2-40B4-BE49-F238E27FC236}">
                <a16:creationId xmlns:a16="http://schemas.microsoft.com/office/drawing/2014/main" id="{05FD48A4-434B-4C7E-90EE-3FEFE1EF478F}"/>
              </a:ext>
            </a:extLst>
          </p:cNvPr>
          <p:cNvSpPr/>
          <p:nvPr/>
        </p:nvSpPr>
        <p:spPr>
          <a:xfrm>
            <a:off x="2081089" y="2771281"/>
            <a:ext cx="272984" cy="260721"/>
          </a:xfrm>
          <a:prstGeom prst="star4">
            <a:avLst/>
          </a:prstGeom>
          <a:solidFill>
            <a:srgbClr val="0066A1"/>
          </a:solidFill>
          <a:ln w="25400" cap="flat" cmpd="sng" algn="ctr">
            <a:noFill/>
            <a:prstDash val="solid"/>
          </a:ln>
          <a:effectLst/>
        </p:spPr>
        <p:txBody>
          <a:bodyPr rtlCol="0" anchor="ctr"/>
          <a:lstStyle/>
          <a:p>
            <a:pPr algn="ctr" defTabSz="1625519">
              <a:defRPr/>
            </a:pPr>
            <a:endParaRPr lang="en-IN" sz="3200" kern="0">
              <a:solidFill>
                <a:prstClr val="white"/>
              </a:solidFill>
              <a:latin typeface="Verdana"/>
            </a:endParaRPr>
          </a:p>
        </p:txBody>
      </p:sp>
    </p:spTree>
    <p:extLst>
      <p:ext uri="{BB962C8B-B14F-4D97-AF65-F5344CB8AC3E}">
        <p14:creationId xmlns:p14="http://schemas.microsoft.com/office/powerpoint/2010/main" val="360313965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B1A81EF-79DC-48E2-9A33-67592BAFC372}"/>
              </a:ext>
            </a:extLst>
          </p:cNvPr>
          <p:cNvSpPr>
            <a:spLocks noGrp="1"/>
          </p:cNvSpPr>
          <p:nvPr>
            <p:ph type="title"/>
          </p:nvPr>
        </p:nvSpPr>
        <p:spPr/>
        <p:txBody>
          <a:bodyPr/>
          <a:lstStyle/>
          <a:p>
            <a:r>
              <a:rPr lang="en-US"/>
              <a:t>Key Assumptions</a:t>
            </a:r>
            <a:endParaRPr lang="en-GB"/>
          </a:p>
        </p:txBody>
      </p:sp>
      <p:grpSp>
        <p:nvGrpSpPr>
          <p:cNvPr id="7" name="Group 6">
            <a:extLst>
              <a:ext uri="{FF2B5EF4-FFF2-40B4-BE49-F238E27FC236}">
                <a16:creationId xmlns:a16="http://schemas.microsoft.com/office/drawing/2014/main" id="{1E66BC84-F424-4CC5-B772-E257D08D0624}"/>
              </a:ext>
            </a:extLst>
          </p:cNvPr>
          <p:cNvGrpSpPr/>
          <p:nvPr/>
        </p:nvGrpSpPr>
        <p:grpSpPr>
          <a:xfrm>
            <a:off x="303548" y="1139996"/>
            <a:ext cx="11436095" cy="4701245"/>
            <a:chOff x="736600" y="1139997"/>
            <a:chExt cx="8208405" cy="4349552"/>
          </a:xfrm>
        </p:grpSpPr>
        <p:sp>
          <p:nvSpPr>
            <p:cNvPr id="8" name="Rectangle: Top Corners Rounded 7">
              <a:extLst>
                <a:ext uri="{FF2B5EF4-FFF2-40B4-BE49-F238E27FC236}">
                  <a16:creationId xmlns:a16="http://schemas.microsoft.com/office/drawing/2014/main" id="{8F2B9783-F525-4D4A-8FDA-2B2AB39215CE}"/>
                </a:ext>
              </a:extLst>
            </p:cNvPr>
            <p:cNvSpPr/>
            <p:nvPr/>
          </p:nvSpPr>
          <p:spPr>
            <a:xfrm>
              <a:off x="736600" y="1496452"/>
              <a:ext cx="2619129" cy="3993097"/>
            </a:xfrm>
            <a:prstGeom prst="round2SameRect">
              <a:avLst>
                <a:gd name="adj1" fmla="val 1739"/>
                <a:gd name="adj2" fmla="val 4197"/>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360000" rIns="91440" bIns="45720" rtlCol="0" anchor="t"/>
            <a:lstStyle/>
            <a:p>
              <a:pPr marL="177800" indent="-177800">
                <a:spcBef>
                  <a:spcPts val="600"/>
                </a:spcBef>
                <a:spcAft>
                  <a:spcPts val="300"/>
                </a:spcAft>
                <a:buFont typeface="Wingdings" panose="05000000000000000000" pitchFamily="2" charset="2"/>
                <a:buChar char="§"/>
              </a:pPr>
              <a:r>
                <a:rPr lang="en-US" sz="1000" dirty="0" err="1">
                  <a:solidFill>
                    <a:srgbClr val="000000"/>
                  </a:solidFill>
                  <a:latin typeface="+mj-lt"/>
                </a:rPr>
                <a:t>Approx</a:t>
              </a:r>
              <a:r>
                <a:rPr lang="en-US" sz="1000" dirty="0">
                  <a:solidFill>
                    <a:srgbClr val="000000"/>
                  </a:solidFill>
                  <a:latin typeface="+mj-lt"/>
                </a:rPr>
                <a:t> 200 tables are to be migrated from SLX to MPS</a:t>
              </a:r>
            </a:p>
            <a:p>
              <a:pPr marL="177800" indent="-177800">
                <a:spcBef>
                  <a:spcPts val="600"/>
                </a:spcBef>
                <a:spcAft>
                  <a:spcPts val="300"/>
                </a:spcAft>
                <a:buFont typeface="Wingdings" panose="05000000000000000000" pitchFamily="2" charset="2"/>
                <a:buChar char="§"/>
              </a:pPr>
              <a:r>
                <a:rPr lang="en-US" sz="1000" dirty="0">
                  <a:solidFill>
                    <a:srgbClr val="000000"/>
                  </a:solidFill>
                  <a:latin typeface="+mj-lt"/>
                </a:rPr>
                <a:t>Assuming there are 100 stored procedures, 100 views, 50 triggers, 70 sequences and 600 business rules with below complexities:</a:t>
              </a:r>
            </a:p>
            <a:p>
              <a:pPr marL="177800" indent="-177800">
                <a:spcBef>
                  <a:spcPts val="600"/>
                </a:spcBef>
                <a:spcAft>
                  <a:spcPts val="300"/>
                </a:spcAft>
                <a:buFont typeface="Wingdings" panose="05000000000000000000" pitchFamily="2" charset="2"/>
                <a:buChar char="§"/>
              </a:pPr>
              <a:r>
                <a:rPr lang="en-US" sz="1000" dirty="0">
                  <a:solidFill>
                    <a:srgbClr val="000000"/>
                  </a:solidFill>
                  <a:latin typeface="+mj-lt"/>
                </a:rPr>
                <a:t>Effort estimation may be revised post analysis phase </a:t>
              </a:r>
            </a:p>
            <a:p>
              <a:pPr marL="177800" indent="-177800">
                <a:spcBef>
                  <a:spcPts val="600"/>
                </a:spcBef>
                <a:spcAft>
                  <a:spcPts val="300"/>
                </a:spcAft>
                <a:buFont typeface="Wingdings" panose="05000000000000000000" pitchFamily="2" charset="2"/>
                <a:buChar char="§"/>
              </a:pPr>
              <a:r>
                <a:rPr lang="en-US" sz="1000" dirty="0">
                  <a:solidFill>
                    <a:srgbClr val="000000"/>
                  </a:solidFill>
                  <a:latin typeface="+mj-lt"/>
                </a:rPr>
                <a:t>Data Validation tool will be used for validating data on SQL staging server</a:t>
              </a:r>
            </a:p>
            <a:p>
              <a:pPr marL="177800" indent="-177800">
                <a:spcBef>
                  <a:spcPts val="600"/>
                </a:spcBef>
                <a:spcAft>
                  <a:spcPts val="300"/>
                </a:spcAft>
                <a:buFont typeface="Wingdings" panose="05000000000000000000" pitchFamily="2" charset="2"/>
                <a:buChar char="§"/>
              </a:pPr>
              <a:r>
                <a:rPr lang="en-US" sz="1000" dirty="0">
                  <a:solidFill>
                    <a:srgbClr val="000000"/>
                  </a:solidFill>
                  <a:latin typeface="+mj-lt"/>
                </a:rPr>
                <a:t>Any license, Software and environment setup costs will be borne  by client</a:t>
              </a:r>
            </a:p>
            <a:p>
              <a:pPr marL="177800" indent="-177800">
                <a:spcBef>
                  <a:spcPts val="600"/>
                </a:spcBef>
                <a:spcAft>
                  <a:spcPts val="300"/>
                </a:spcAft>
                <a:buFont typeface="Wingdings" panose="05000000000000000000" pitchFamily="2" charset="2"/>
                <a:buChar char="§"/>
              </a:pPr>
              <a:r>
                <a:rPr lang="en-US" sz="1000" dirty="0">
                  <a:solidFill>
                    <a:srgbClr val="000000"/>
                  </a:solidFill>
                  <a:latin typeface="+mj-lt"/>
                </a:rPr>
                <a:t>All the accesses to the respective environments will be provided to ATOS team by client in the analysis phases itself.</a:t>
              </a:r>
            </a:p>
          </p:txBody>
        </p:sp>
        <p:sp>
          <p:nvSpPr>
            <p:cNvPr id="10" name="Speech Bubble: Rectangle with Corners Rounded 9">
              <a:extLst>
                <a:ext uri="{FF2B5EF4-FFF2-40B4-BE49-F238E27FC236}">
                  <a16:creationId xmlns:a16="http://schemas.microsoft.com/office/drawing/2014/main" id="{ED68A44E-5CB5-43A9-BBB4-F5095E6B2811}"/>
                </a:ext>
              </a:extLst>
            </p:cNvPr>
            <p:cNvSpPr/>
            <p:nvPr/>
          </p:nvSpPr>
          <p:spPr>
            <a:xfrm>
              <a:off x="736600" y="1139997"/>
              <a:ext cx="2619129" cy="511003"/>
            </a:xfrm>
            <a:prstGeom prst="wedgeRoundRectCallout">
              <a:avLst>
                <a:gd name="adj1" fmla="val -20833"/>
                <a:gd name="adj2" fmla="val 68470"/>
                <a:gd name="adj3" fmla="val 16667"/>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a:latin typeface="+mj-lt"/>
                </a:rPr>
                <a:t>Data Migrations</a:t>
              </a:r>
            </a:p>
          </p:txBody>
        </p:sp>
        <p:sp>
          <p:nvSpPr>
            <p:cNvPr id="11" name="Rectangle: Top Corners Rounded 10">
              <a:extLst>
                <a:ext uri="{FF2B5EF4-FFF2-40B4-BE49-F238E27FC236}">
                  <a16:creationId xmlns:a16="http://schemas.microsoft.com/office/drawing/2014/main" id="{6726C4BB-BAAC-403F-81F2-70E5A89A0AB3}"/>
                </a:ext>
              </a:extLst>
            </p:cNvPr>
            <p:cNvSpPr/>
            <p:nvPr/>
          </p:nvSpPr>
          <p:spPr>
            <a:xfrm>
              <a:off x="3531238" y="1496452"/>
              <a:ext cx="2619129" cy="3993097"/>
            </a:xfrm>
            <a:prstGeom prst="round2SameRect">
              <a:avLst>
                <a:gd name="adj1" fmla="val 1739"/>
                <a:gd name="adj2" fmla="val 4197"/>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360000" rtlCol="0" anchor="t"/>
            <a:lstStyle/>
            <a:p>
              <a:pPr marL="177800" indent="-177800">
                <a:spcBef>
                  <a:spcPts val="600"/>
                </a:spcBef>
                <a:spcAft>
                  <a:spcPts val="300"/>
                </a:spcAft>
                <a:buFont typeface="Wingdings" panose="05000000000000000000" pitchFamily="2" charset="2"/>
                <a:buChar char="§"/>
              </a:pPr>
              <a:r>
                <a:rPr lang="en-US" sz="1000">
                  <a:solidFill>
                    <a:srgbClr val="000000"/>
                  </a:solidFill>
                  <a:latin typeface="+mj-lt"/>
                </a:rPr>
                <a:t>Existing SLX test cases covering the new features &amp; enhancements would be made available for Baseline/parallel testing.</a:t>
              </a:r>
            </a:p>
            <a:p>
              <a:pPr marL="177800" indent="-177800">
                <a:spcBef>
                  <a:spcPts val="600"/>
                </a:spcBef>
                <a:spcAft>
                  <a:spcPts val="300"/>
                </a:spcAft>
                <a:buFont typeface="Wingdings" panose="05000000000000000000" pitchFamily="2" charset="2"/>
                <a:buChar char="§"/>
              </a:pPr>
              <a:r>
                <a:rPr lang="en-US" sz="1000">
                  <a:solidFill>
                    <a:srgbClr val="000000"/>
                  </a:solidFill>
                  <a:latin typeface="+mj-lt"/>
                </a:rPr>
                <a:t>Existing Manulife tool stack for Test Management, Test Automation &amp; Performance testing would be made available to Atos.</a:t>
              </a:r>
            </a:p>
            <a:p>
              <a:pPr marL="177800" indent="-177800">
                <a:spcBef>
                  <a:spcPts val="600"/>
                </a:spcBef>
                <a:spcAft>
                  <a:spcPts val="300"/>
                </a:spcAft>
                <a:buFont typeface="Wingdings" panose="05000000000000000000" pitchFamily="2" charset="2"/>
                <a:buChar char="§"/>
              </a:pPr>
              <a:r>
                <a:rPr lang="en-US" sz="1000">
                  <a:solidFill>
                    <a:srgbClr val="000000"/>
                  </a:solidFill>
                  <a:latin typeface="+mj-lt"/>
                </a:rPr>
                <a:t>Any license, additional tools, Software and environment setup costs will be borne  by Manulife</a:t>
              </a:r>
            </a:p>
            <a:p>
              <a:pPr marL="177800" indent="-177800">
                <a:spcBef>
                  <a:spcPts val="600"/>
                </a:spcBef>
                <a:spcAft>
                  <a:spcPts val="300"/>
                </a:spcAft>
                <a:buFont typeface="Wingdings" panose="05000000000000000000" pitchFamily="2" charset="2"/>
                <a:buChar char="§"/>
              </a:pPr>
              <a:r>
                <a:rPr lang="en-US" sz="1000">
                  <a:solidFill>
                    <a:srgbClr val="000000"/>
                  </a:solidFill>
                  <a:latin typeface="+mj-lt"/>
                </a:rPr>
                <a:t>Test Automation has been considered for building automated regression suite. </a:t>
              </a:r>
            </a:p>
            <a:p>
              <a:pPr marL="177800" indent="-177800">
                <a:spcBef>
                  <a:spcPts val="600"/>
                </a:spcBef>
                <a:spcAft>
                  <a:spcPts val="300"/>
                </a:spcAft>
                <a:buFont typeface="Wingdings" panose="05000000000000000000" pitchFamily="2" charset="2"/>
                <a:buChar char="§"/>
              </a:pPr>
              <a:r>
                <a:rPr lang="en-US" sz="1000">
                  <a:solidFill>
                    <a:srgbClr val="000000"/>
                  </a:solidFill>
                  <a:latin typeface="+mj-lt"/>
                </a:rPr>
                <a:t>Existing manual &amp; automated MPS test scenarios to be leveraged for regression testing</a:t>
              </a:r>
            </a:p>
            <a:p>
              <a:pPr marL="177800" indent="-177800">
                <a:spcBef>
                  <a:spcPts val="600"/>
                </a:spcBef>
                <a:spcAft>
                  <a:spcPts val="300"/>
                </a:spcAft>
                <a:buFont typeface="Wingdings" panose="05000000000000000000" pitchFamily="2" charset="2"/>
                <a:buChar char="§"/>
              </a:pPr>
              <a:r>
                <a:rPr lang="en-US" sz="1000">
                  <a:solidFill>
                    <a:srgbClr val="000000"/>
                  </a:solidFill>
                  <a:latin typeface="+mj-lt"/>
                </a:rPr>
                <a:t>Atos Data Validator or other third-party commercial tools such as query surge, Tosca Data Integrity will be leveraged for data validation based on feasibility. </a:t>
              </a:r>
            </a:p>
            <a:p>
              <a:pPr marL="177800" indent="-177800">
                <a:spcBef>
                  <a:spcPts val="600"/>
                </a:spcBef>
                <a:spcAft>
                  <a:spcPts val="300"/>
                </a:spcAft>
                <a:buFont typeface="Wingdings" panose="05000000000000000000" pitchFamily="2" charset="2"/>
                <a:buChar char="§"/>
              </a:pPr>
              <a:r>
                <a:rPr lang="en-US" sz="1000">
                  <a:solidFill>
                    <a:srgbClr val="000000"/>
                  </a:solidFill>
                  <a:latin typeface="+mj-lt"/>
                </a:rPr>
                <a:t>Support required from Manulife to define the high-volume test scenarios/transactions for Performance testing.</a:t>
              </a:r>
            </a:p>
          </p:txBody>
        </p:sp>
        <p:sp>
          <p:nvSpPr>
            <p:cNvPr id="12" name="Speech Bubble: Rectangle with Corners Rounded 11">
              <a:extLst>
                <a:ext uri="{FF2B5EF4-FFF2-40B4-BE49-F238E27FC236}">
                  <a16:creationId xmlns:a16="http://schemas.microsoft.com/office/drawing/2014/main" id="{220E8EF4-0C3B-4160-979A-FA1371306269}"/>
                </a:ext>
              </a:extLst>
            </p:cNvPr>
            <p:cNvSpPr/>
            <p:nvPr/>
          </p:nvSpPr>
          <p:spPr>
            <a:xfrm>
              <a:off x="3531238" y="1139997"/>
              <a:ext cx="2619129" cy="511003"/>
            </a:xfrm>
            <a:prstGeom prst="wedgeRoundRectCallout">
              <a:avLst>
                <a:gd name="adj1" fmla="val -20833"/>
                <a:gd name="adj2" fmla="val 68470"/>
                <a:gd name="adj3" fmla="val 16667"/>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a:latin typeface="+mj-lt"/>
                </a:rPr>
                <a:t>Testing</a:t>
              </a:r>
            </a:p>
          </p:txBody>
        </p:sp>
        <p:sp>
          <p:nvSpPr>
            <p:cNvPr id="13" name="Rectangle: Top Corners Rounded 12">
              <a:extLst>
                <a:ext uri="{FF2B5EF4-FFF2-40B4-BE49-F238E27FC236}">
                  <a16:creationId xmlns:a16="http://schemas.microsoft.com/office/drawing/2014/main" id="{D4D63A21-70B3-4EE0-A0FC-27B243A11E05}"/>
                </a:ext>
              </a:extLst>
            </p:cNvPr>
            <p:cNvSpPr/>
            <p:nvPr/>
          </p:nvSpPr>
          <p:spPr>
            <a:xfrm>
              <a:off x="6325876" y="1496452"/>
              <a:ext cx="2619129" cy="3993097"/>
            </a:xfrm>
            <a:prstGeom prst="round2SameRect">
              <a:avLst>
                <a:gd name="adj1" fmla="val 1739"/>
                <a:gd name="adj2" fmla="val 4197"/>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360000" rIns="91440" bIns="45720" rtlCol="0" anchor="t"/>
            <a:lstStyle/>
            <a:p>
              <a:pPr marL="177800" indent="-177800">
                <a:spcBef>
                  <a:spcPts val="600"/>
                </a:spcBef>
                <a:spcAft>
                  <a:spcPts val="300"/>
                </a:spcAft>
                <a:buFont typeface="Wingdings" panose="05000000000000000000" pitchFamily="2" charset="2"/>
                <a:buChar char="§"/>
              </a:pPr>
              <a:r>
                <a:rPr lang="en-US" sz="1000" dirty="0">
                  <a:solidFill>
                    <a:srgbClr val="000000"/>
                  </a:solidFill>
                  <a:latin typeface="+mj-lt"/>
                </a:rPr>
                <a:t>45 functional requirements(24 new features and 21 enhancements) and Customization(Large Clients)</a:t>
              </a:r>
            </a:p>
            <a:p>
              <a:pPr marL="177800" indent="-177800">
                <a:spcBef>
                  <a:spcPts val="600"/>
                </a:spcBef>
                <a:spcAft>
                  <a:spcPts val="300"/>
                </a:spcAft>
                <a:buFont typeface="Wingdings" panose="05000000000000000000" pitchFamily="2" charset="2"/>
                <a:buChar char="§"/>
              </a:pPr>
              <a:r>
                <a:rPr lang="en-US" sz="1000" dirty="0">
                  <a:solidFill>
                    <a:srgbClr val="000000"/>
                  </a:solidFill>
                  <a:latin typeface="+mj-lt"/>
                </a:rPr>
                <a:t>Web Enabled Application - Java Technology </a:t>
              </a:r>
            </a:p>
            <a:p>
              <a:pPr marL="177800" indent="-177800">
                <a:spcBef>
                  <a:spcPts val="600"/>
                </a:spcBef>
                <a:spcAft>
                  <a:spcPts val="300"/>
                </a:spcAft>
                <a:buFont typeface="Wingdings" panose="05000000000000000000" pitchFamily="2" charset="2"/>
                <a:buChar char="§"/>
              </a:pPr>
              <a:r>
                <a:rPr lang="en-US" sz="1000" dirty="0">
                  <a:solidFill>
                    <a:srgbClr val="000000"/>
                  </a:solidFill>
                  <a:latin typeface="+mj-lt"/>
                </a:rPr>
                <a:t>Development/Testing environments and support staff will be provided by Manulife</a:t>
              </a:r>
            </a:p>
            <a:p>
              <a:pPr marL="177800" indent="-177800">
                <a:spcBef>
                  <a:spcPts val="600"/>
                </a:spcBef>
                <a:spcAft>
                  <a:spcPts val="300"/>
                </a:spcAft>
                <a:buFont typeface="Wingdings" panose="05000000000000000000" pitchFamily="2" charset="2"/>
                <a:buChar char="§"/>
              </a:pPr>
              <a:r>
                <a:rPr lang="en-US" sz="1000" dirty="0">
                  <a:solidFill>
                    <a:srgbClr val="000000"/>
                  </a:solidFill>
                  <a:latin typeface="+mj-lt"/>
                </a:rPr>
                <a:t>Application DBA support will be provided by Manulife</a:t>
              </a:r>
            </a:p>
            <a:p>
              <a:pPr marL="177800" indent="-177800">
                <a:spcBef>
                  <a:spcPts val="600"/>
                </a:spcBef>
                <a:spcAft>
                  <a:spcPts val="300"/>
                </a:spcAft>
                <a:buFont typeface="Wingdings" panose="05000000000000000000" pitchFamily="2" charset="2"/>
                <a:buChar char="§"/>
              </a:pPr>
              <a:r>
                <a:rPr lang="en-US" sz="1000" dirty="0">
                  <a:solidFill>
                    <a:srgbClr val="000000"/>
                  </a:solidFill>
                  <a:latin typeface="+mj-lt"/>
                </a:rPr>
                <a:t>Application solution architect or SME will be assigned by Manulife for 5-10% capacity</a:t>
              </a:r>
            </a:p>
          </p:txBody>
        </p:sp>
        <p:sp>
          <p:nvSpPr>
            <p:cNvPr id="14" name="Speech Bubble: Rectangle with Corners Rounded 13">
              <a:extLst>
                <a:ext uri="{FF2B5EF4-FFF2-40B4-BE49-F238E27FC236}">
                  <a16:creationId xmlns:a16="http://schemas.microsoft.com/office/drawing/2014/main" id="{FAAF042F-CB05-4792-987E-2D938785D1C1}"/>
                </a:ext>
              </a:extLst>
            </p:cNvPr>
            <p:cNvSpPr/>
            <p:nvPr/>
          </p:nvSpPr>
          <p:spPr>
            <a:xfrm>
              <a:off x="6325876" y="1139997"/>
              <a:ext cx="2619129" cy="511003"/>
            </a:xfrm>
            <a:prstGeom prst="wedgeRoundRectCallout">
              <a:avLst>
                <a:gd name="adj1" fmla="val -20833"/>
                <a:gd name="adj2" fmla="val 68470"/>
                <a:gd name="adj3" fmla="val 16667"/>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a:latin typeface="+mj-lt"/>
                </a:rPr>
                <a:t>Enhancements and Customizations</a:t>
              </a:r>
            </a:p>
          </p:txBody>
        </p:sp>
      </p:grpSp>
    </p:spTree>
    <p:extLst>
      <p:ext uri="{BB962C8B-B14F-4D97-AF65-F5344CB8AC3E}">
        <p14:creationId xmlns:p14="http://schemas.microsoft.com/office/powerpoint/2010/main" val="342829077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A31A1F5-8E44-4FE4-A8B5-699863FACF17}"/>
              </a:ext>
            </a:extLst>
          </p:cNvPr>
          <p:cNvSpPr>
            <a:spLocks noGrp="1"/>
          </p:cNvSpPr>
          <p:nvPr>
            <p:ph type="title"/>
          </p:nvPr>
        </p:nvSpPr>
        <p:spPr/>
        <p:txBody>
          <a:bodyPr/>
          <a:lstStyle/>
          <a:p>
            <a:r>
              <a:rPr lang="en-US"/>
              <a:t>Typical Migration Risks and Mitigation Strategy</a:t>
            </a:r>
            <a:endParaRPr lang="en-GB"/>
          </a:p>
        </p:txBody>
      </p:sp>
      <p:graphicFrame>
        <p:nvGraphicFramePr>
          <p:cNvPr id="4" name="Table 3">
            <a:extLst>
              <a:ext uri="{FF2B5EF4-FFF2-40B4-BE49-F238E27FC236}">
                <a16:creationId xmlns:a16="http://schemas.microsoft.com/office/drawing/2014/main" id="{4F30E4FC-EF05-4D90-BAA1-1BBCBECE9D99}"/>
              </a:ext>
            </a:extLst>
          </p:cNvPr>
          <p:cNvGraphicFramePr>
            <a:graphicFrameLocks noGrp="1"/>
          </p:cNvGraphicFramePr>
          <p:nvPr>
            <p:extLst>
              <p:ext uri="{D42A27DB-BD31-4B8C-83A1-F6EECF244321}">
                <p14:modId xmlns:p14="http://schemas.microsoft.com/office/powerpoint/2010/main" val="1535124592"/>
              </p:ext>
            </p:extLst>
          </p:nvPr>
        </p:nvGraphicFramePr>
        <p:xfrm>
          <a:off x="556846" y="869461"/>
          <a:ext cx="10767636" cy="5177384"/>
        </p:xfrm>
        <a:graphic>
          <a:graphicData uri="http://schemas.openxmlformats.org/drawingml/2006/table">
            <a:tbl>
              <a:tblPr firstRow="1" bandRow="1">
                <a:tableStyleId>{5C22544A-7EE6-4342-B048-85BDC9FD1C3A}</a:tableStyleId>
              </a:tblPr>
              <a:tblGrid>
                <a:gridCol w="2741922">
                  <a:extLst>
                    <a:ext uri="{9D8B030D-6E8A-4147-A177-3AD203B41FA5}">
                      <a16:colId xmlns:a16="http://schemas.microsoft.com/office/drawing/2014/main" val="868909717"/>
                    </a:ext>
                  </a:extLst>
                </a:gridCol>
                <a:gridCol w="8025714">
                  <a:extLst>
                    <a:ext uri="{9D8B030D-6E8A-4147-A177-3AD203B41FA5}">
                      <a16:colId xmlns:a16="http://schemas.microsoft.com/office/drawing/2014/main" val="2277027136"/>
                    </a:ext>
                  </a:extLst>
                </a:gridCol>
              </a:tblGrid>
              <a:tr h="359672">
                <a:tc>
                  <a:txBody>
                    <a:bodyPr/>
                    <a:lstStyle/>
                    <a:p>
                      <a:pPr marL="0" algn="ctr" rtl="0" eaLnBrk="1" latinLnBrk="0" hangingPunct="1">
                        <a:spcBef>
                          <a:spcPts val="0"/>
                        </a:spcBef>
                        <a:spcAft>
                          <a:spcPts val="0"/>
                        </a:spcAft>
                      </a:pPr>
                      <a:r>
                        <a:rPr lang="en-US" sz="1400" kern="1200">
                          <a:effectLst/>
                        </a:rPr>
                        <a:t>Migration Risks</a:t>
                      </a:r>
                      <a:endParaRPr lang="en-US">
                        <a:effectLst/>
                      </a:endParaRPr>
                    </a:p>
                  </a:txBody>
                  <a:tcPr marL="0" marR="0" marT="0" marB="0"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pPr marL="0" algn="ctr" rtl="0" eaLnBrk="1" latinLnBrk="0" hangingPunct="1">
                        <a:spcBef>
                          <a:spcPts val="0"/>
                        </a:spcBef>
                        <a:spcAft>
                          <a:spcPts val="0"/>
                        </a:spcAft>
                      </a:pPr>
                      <a:r>
                        <a:rPr lang="en-US" sz="1400" kern="1200">
                          <a:effectLst/>
                        </a:rPr>
                        <a:t>Atos mitigation strategy</a:t>
                      </a:r>
                      <a:endParaRPr lang="en-US">
                        <a:effectLst/>
                      </a:endParaRPr>
                    </a:p>
                  </a:txBody>
                  <a:tcPr marL="0" marR="0" marT="0" marB="0" anchor="ct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1348441885"/>
                  </a:ext>
                </a:extLst>
              </a:tr>
              <a:tr h="672019">
                <a:tc>
                  <a:txBody>
                    <a:bodyPr/>
                    <a:lstStyle/>
                    <a:p>
                      <a:pPr marL="274320" marR="0" indent="0" algn="l" rtl="0" eaLnBrk="1" fontAlgn="auto" latinLnBrk="0" hangingPunct="1">
                        <a:spcBef>
                          <a:spcPts val="0"/>
                        </a:spcBef>
                        <a:spcAft>
                          <a:spcPts val="0"/>
                        </a:spcAft>
                      </a:pPr>
                      <a:r>
                        <a:rPr lang="en-CA" sz="1100" b="1" kern="1200">
                          <a:effectLst/>
                        </a:rPr>
                        <a:t>Project Execution\Planning</a:t>
                      </a:r>
                      <a:endParaRPr lang="en-CA" sz="1100" b="1">
                        <a:effectLst/>
                      </a:endParaRPr>
                    </a:p>
                  </a:txBody>
                  <a:tcPr marL="0" marR="0" marT="0" marB="0" anchor="ct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tc>
                  <a:txBody>
                    <a:bodyPr/>
                    <a:lstStyle/>
                    <a:p>
                      <a:pPr marL="468630" marR="0" indent="-285750" algn="l" rtl="0" eaLnBrk="1" fontAlgn="auto" latinLnBrk="0" hangingPunct="1">
                        <a:spcBef>
                          <a:spcPts val="0"/>
                        </a:spcBef>
                        <a:spcAft>
                          <a:spcPts val="0"/>
                        </a:spcAft>
                        <a:buClrTx/>
                        <a:buSzPts val="1400"/>
                        <a:buFont typeface="Arial"/>
                        <a:buChar char="•"/>
                      </a:pPr>
                      <a:r>
                        <a:rPr lang="en-CA" sz="1100" b="0" kern="1200">
                          <a:effectLst/>
                        </a:rPr>
                        <a:t>Ensure right stakeholders\decision makers\SMEs are involved throughout the project cycle.</a:t>
                      </a:r>
                    </a:p>
                    <a:p>
                      <a:pPr marL="468630" marR="0" indent="-285750" algn="l" rtl="0" eaLnBrk="1" fontAlgn="auto" latinLnBrk="0" hangingPunct="1">
                        <a:spcBef>
                          <a:spcPts val="0"/>
                        </a:spcBef>
                        <a:spcAft>
                          <a:spcPts val="0"/>
                        </a:spcAft>
                        <a:buClrTx/>
                        <a:buSzPts val="1400"/>
                        <a:buFont typeface="Arial"/>
                        <a:buChar char="•"/>
                      </a:pPr>
                      <a:r>
                        <a:rPr lang="en-CA" sz="1100" b="0" kern="1200">
                          <a:effectLst/>
                        </a:rPr>
                        <a:t>Avoid overlapping of core team between different streams.</a:t>
                      </a:r>
                      <a:endParaRPr lang="en-CA" sz="1100" b="0">
                        <a:effectLst/>
                      </a:endParaRPr>
                    </a:p>
                  </a:txBody>
                  <a:tcPr marL="0" marR="0" marT="0" marB="0" anchor="ct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extLst>
                  <a:ext uri="{0D108BD9-81ED-4DB2-BD59-A6C34878D82A}">
                    <a16:rowId xmlns:a16="http://schemas.microsoft.com/office/drawing/2014/main" val="1749425682"/>
                  </a:ext>
                </a:extLst>
              </a:tr>
              <a:tr h="672019">
                <a:tc>
                  <a:txBody>
                    <a:bodyPr/>
                    <a:lstStyle/>
                    <a:p>
                      <a:pPr marL="274320" marR="0" indent="0" algn="l" rtl="0" eaLnBrk="1" fontAlgn="auto" latinLnBrk="0" hangingPunct="1">
                        <a:spcBef>
                          <a:spcPts val="0"/>
                        </a:spcBef>
                        <a:spcAft>
                          <a:spcPts val="0"/>
                        </a:spcAft>
                      </a:pPr>
                      <a:r>
                        <a:rPr lang="en-CA" sz="1100" b="1" kern="1200">
                          <a:effectLst/>
                        </a:rPr>
                        <a:t>Interfaces and Vendors</a:t>
                      </a:r>
                      <a:endParaRPr lang="en-CA" sz="1100" b="1">
                        <a:effectLst/>
                      </a:endParaRPr>
                    </a:p>
                  </a:txBody>
                  <a:tcPr marL="0" marR="0" marT="0" marB="0" anchor="ct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tc>
                  <a:txBody>
                    <a:bodyPr/>
                    <a:lstStyle/>
                    <a:p>
                      <a:pPr marL="468630" marR="0" indent="-285750" algn="l" defTabSz="1219170" rtl="0" eaLnBrk="1" fontAlgn="auto" latinLnBrk="0" hangingPunct="1">
                        <a:spcBef>
                          <a:spcPts val="0"/>
                        </a:spcBef>
                        <a:spcAft>
                          <a:spcPts val="0"/>
                        </a:spcAft>
                        <a:buClrTx/>
                        <a:buSzPts val="1400"/>
                        <a:buFont typeface="Arial"/>
                        <a:buChar char="•"/>
                      </a:pPr>
                      <a:r>
                        <a:rPr lang="en-CA" sz="1100" b="0" kern="1200">
                          <a:solidFill>
                            <a:schemeClr val="dk1"/>
                          </a:solidFill>
                          <a:effectLst/>
                          <a:latin typeface="+mn-lt"/>
                          <a:ea typeface="+mn-ea"/>
                          <a:cs typeface="+mn-cs"/>
                        </a:rPr>
                        <a:t>Up/down stream Interface dependencies should be identified and discussed.</a:t>
                      </a:r>
                    </a:p>
                    <a:p>
                      <a:pPr marL="468630" marR="0" indent="-285750" algn="l" defTabSz="1219170" rtl="0" eaLnBrk="1" fontAlgn="auto" latinLnBrk="0" hangingPunct="1">
                        <a:spcBef>
                          <a:spcPts val="0"/>
                        </a:spcBef>
                        <a:spcAft>
                          <a:spcPts val="0"/>
                        </a:spcAft>
                        <a:buClrTx/>
                        <a:buSzPts val="1400"/>
                        <a:buFont typeface="Arial"/>
                        <a:buChar char="•"/>
                      </a:pPr>
                      <a:r>
                        <a:rPr lang="en-CA" sz="1100" b="0" kern="1200">
                          <a:solidFill>
                            <a:schemeClr val="dk1"/>
                          </a:solidFill>
                          <a:effectLst/>
                          <a:latin typeface="+mn-lt"/>
                          <a:ea typeface="+mn-ea"/>
                          <a:cs typeface="+mn-cs"/>
                        </a:rPr>
                        <a:t>Aligning with Vendor on timelines and any changes happening on the Interface.</a:t>
                      </a:r>
                    </a:p>
                  </a:txBody>
                  <a:tcPr marL="0" marR="0" marT="0" marB="0" anchor="ct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extLst>
                  <a:ext uri="{0D108BD9-81ED-4DB2-BD59-A6C34878D82A}">
                    <a16:rowId xmlns:a16="http://schemas.microsoft.com/office/drawing/2014/main" val="2768893072"/>
                  </a:ext>
                </a:extLst>
              </a:tr>
              <a:tr h="406997">
                <a:tc>
                  <a:txBody>
                    <a:bodyPr/>
                    <a:lstStyle/>
                    <a:p>
                      <a:pPr marL="274320" algn="l" rtl="0" eaLnBrk="1" latinLnBrk="0" hangingPunct="1">
                        <a:spcBef>
                          <a:spcPts val="0"/>
                        </a:spcBef>
                        <a:spcAft>
                          <a:spcPts val="0"/>
                        </a:spcAft>
                      </a:pPr>
                      <a:r>
                        <a:rPr lang="en-IN" sz="1100" b="1" kern="1200">
                          <a:effectLst/>
                        </a:rPr>
                        <a:t>Gap in conversion scope </a:t>
                      </a:r>
                      <a:endParaRPr lang="en-IN" sz="1100" b="1">
                        <a:effectLst/>
                      </a:endParaRPr>
                    </a:p>
                  </a:txBody>
                  <a:tcPr marL="0" marR="0" marT="0" marB="0" anchor="ct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tc>
                  <a:txBody>
                    <a:bodyPr/>
                    <a:lstStyle/>
                    <a:p>
                      <a:pPr marL="182880" marR="0" indent="0" algn="l" rtl="0" eaLnBrk="1" fontAlgn="auto" latinLnBrk="0" hangingPunct="1">
                        <a:spcBef>
                          <a:spcPts val="0"/>
                        </a:spcBef>
                        <a:spcAft>
                          <a:spcPts val="0"/>
                        </a:spcAft>
                        <a:buClrTx/>
                        <a:buSzPts val="1400"/>
                        <a:buNone/>
                      </a:pPr>
                      <a:r>
                        <a:rPr lang="en-IN" sz="1100" b="0" kern="1200">
                          <a:solidFill>
                            <a:schemeClr val="dk1"/>
                          </a:solidFill>
                          <a:effectLst/>
                          <a:latin typeface="+mn-lt"/>
                          <a:ea typeface="+mn-ea"/>
                          <a:cs typeface="+mn-cs"/>
                        </a:rPr>
                        <a:t>Due diligence phase will do the analysis of the SLX and MPS systems.</a:t>
                      </a:r>
                    </a:p>
                  </a:txBody>
                  <a:tcPr marL="0" marR="0" marT="0" marB="0" anchor="ct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extLst>
                  <a:ext uri="{0D108BD9-81ED-4DB2-BD59-A6C34878D82A}">
                    <a16:rowId xmlns:a16="http://schemas.microsoft.com/office/drawing/2014/main" val="1943811057"/>
                  </a:ext>
                </a:extLst>
              </a:tr>
              <a:tr h="397532">
                <a:tc>
                  <a:txBody>
                    <a:bodyPr/>
                    <a:lstStyle/>
                    <a:p>
                      <a:pPr marL="274320" algn="l" rtl="0" eaLnBrk="1" latinLnBrk="0" hangingPunct="1">
                        <a:spcBef>
                          <a:spcPts val="0"/>
                        </a:spcBef>
                        <a:spcAft>
                          <a:spcPts val="0"/>
                        </a:spcAft>
                      </a:pPr>
                      <a:r>
                        <a:rPr lang="en-IN" sz="1100" b="1" kern="1200">
                          <a:effectLst/>
                        </a:rPr>
                        <a:t>Data Migration execution </a:t>
                      </a:r>
                      <a:endParaRPr lang="en-IN" sz="1100" b="1">
                        <a:effectLst/>
                      </a:endParaRPr>
                    </a:p>
                  </a:txBody>
                  <a:tcPr marL="0" marR="0" marT="0" marB="0" anchor="ct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tc>
                  <a:txBody>
                    <a:bodyPr/>
                    <a:lstStyle/>
                    <a:p>
                      <a:pPr marL="182880" marR="0" indent="0" algn="l" defTabSz="1219170" rtl="0" eaLnBrk="1" fontAlgn="auto" latinLnBrk="0" hangingPunct="1">
                        <a:spcBef>
                          <a:spcPts val="0"/>
                        </a:spcBef>
                        <a:spcAft>
                          <a:spcPts val="0"/>
                        </a:spcAft>
                        <a:buClrTx/>
                        <a:buSzPts val="1400"/>
                        <a:buNone/>
                      </a:pPr>
                      <a:r>
                        <a:rPr lang="en-CA" sz="1100" b="0" kern="1200">
                          <a:solidFill>
                            <a:schemeClr val="dk1"/>
                          </a:solidFill>
                          <a:effectLst/>
                          <a:latin typeface="+mn-lt"/>
                          <a:ea typeface="+mn-ea"/>
                          <a:cs typeface="+mn-cs"/>
                        </a:rPr>
                        <a:t>Tracking overall execution elapsed time as data volume increases (before Production deployment).</a:t>
                      </a:r>
                    </a:p>
                  </a:txBody>
                  <a:tcPr marL="0" marR="0" marT="0" marB="0" anchor="ct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extLst>
                  <a:ext uri="{0D108BD9-81ED-4DB2-BD59-A6C34878D82A}">
                    <a16:rowId xmlns:a16="http://schemas.microsoft.com/office/drawing/2014/main" val="1064554136"/>
                  </a:ext>
                </a:extLst>
              </a:tr>
              <a:tr h="406997">
                <a:tc>
                  <a:txBody>
                    <a:bodyPr/>
                    <a:lstStyle/>
                    <a:p>
                      <a:pPr marL="274320" algn="l" rtl="0" eaLnBrk="1" latinLnBrk="0" hangingPunct="1">
                        <a:spcBef>
                          <a:spcPts val="0"/>
                        </a:spcBef>
                        <a:spcAft>
                          <a:spcPts val="0"/>
                        </a:spcAft>
                      </a:pPr>
                      <a:r>
                        <a:rPr lang="en-IN" sz="1100" b="1" kern="1200">
                          <a:effectLst/>
                        </a:rPr>
                        <a:t>Data Loss </a:t>
                      </a:r>
                      <a:endParaRPr lang="en-IN" sz="1100" b="1">
                        <a:effectLst/>
                      </a:endParaRPr>
                    </a:p>
                  </a:txBody>
                  <a:tcPr marL="0" marR="0" marT="0" marB="0" anchor="ct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tc>
                  <a:txBody>
                    <a:bodyPr/>
                    <a:lstStyle/>
                    <a:p>
                      <a:pPr marL="182880" marR="0" indent="0" algn="l" defTabSz="1219170" rtl="0" eaLnBrk="1" fontAlgn="auto" latinLnBrk="0" hangingPunct="1">
                        <a:spcBef>
                          <a:spcPts val="0"/>
                        </a:spcBef>
                        <a:spcAft>
                          <a:spcPts val="0"/>
                        </a:spcAft>
                        <a:buClrTx/>
                        <a:buSzPts val="1400"/>
                        <a:buNone/>
                      </a:pPr>
                      <a:r>
                        <a:rPr lang="en-IN" sz="1100" b="0" kern="1200">
                          <a:solidFill>
                            <a:schemeClr val="dk1"/>
                          </a:solidFill>
                          <a:effectLst/>
                          <a:latin typeface="+mn-lt"/>
                          <a:ea typeface="+mn-ea"/>
                          <a:cs typeface="+mn-cs"/>
                        </a:rPr>
                        <a:t>Data validation at each migration stage.</a:t>
                      </a:r>
                    </a:p>
                  </a:txBody>
                  <a:tcPr marL="0" marR="0" marT="0" marB="0" anchor="ct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extLst>
                  <a:ext uri="{0D108BD9-81ED-4DB2-BD59-A6C34878D82A}">
                    <a16:rowId xmlns:a16="http://schemas.microsoft.com/office/drawing/2014/main" val="1579786571"/>
                  </a:ext>
                </a:extLst>
              </a:tr>
              <a:tr h="397532">
                <a:tc>
                  <a:txBody>
                    <a:bodyPr/>
                    <a:lstStyle/>
                    <a:p>
                      <a:pPr marL="274320" algn="l" rtl="0" eaLnBrk="1" latinLnBrk="0" hangingPunct="1">
                        <a:spcBef>
                          <a:spcPts val="0"/>
                        </a:spcBef>
                        <a:spcAft>
                          <a:spcPts val="0"/>
                        </a:spcAft>
                      </a:pPr>
                      <a:r>
                        <a:rPr lang="en-IN" sz="1100" b="1" kern="1200">
                          <a:effectLst/>
                        </a:rPr>
                        <a:t>Data Corruption </a:t>
                      </a:r>
                      <a:endParaRPr lang="en-IN" sz="1100" b="1">
                        <a:effectLst/>
                      </a:endParaRPr>
                    </a:p>
                  </a:txBody>
                  <a:tcPr marL="0" marR="0" marT="0" marB="0" anchor="ct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tc>
                  <a:txBody>
                    <a:bodyPr/>
                    <a:lstStyle/>
                    <a:p>
                      <a:pPr marL="182880" marR="0" indent="0" algn="l" defTabSz="1219170" rtl="0" eaLnBrk="1" fontAlgn="auto" latinLnBrk="0" hangingPunct="1">
                        <a:spcBef>
                          <a:spcPts val="0"/>
                        </a:spcBef>
                        <a:spcAft>
                          <a:spcPts val="0"/>
                        </a:spcAft>
                        <a:buClrTx/>
                        <a:buSzPts val="1400"/>
                        <a:buNone/>
                      </a:pPr>
                      <a:r>
                        <a:rPr lang="en-IN" sz="1100" b="0" kern="1200">
                          <a:solidFill>
                            <a:schemeClr val="dk1"/>
                          </a:solidFill>
                          <a:effectLst/>
                          <a:latin typeface="+mn-lt"/>
                          <a:ea typeface="+mn-ea"/>
                          <a:cs typeface="+mn-cs"/>
                        </a:rPr>
                        <a:t>SLX (Informatica) business rules vs MPS application capabilities</a:t>
                      </a:r>
                    </a:p>
                  </a:txBody>
                  <a:tcPr marL="0" marR="0" marT="0" marB="0" anchor="ct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extLst>
                  <a:ext uri="{0D108BD9-81ED-4DB2-BD59-A6C34878D82A}">
                    <a16:rowId xmlns:a16="http://schemas.microsoft.com/office/drawing/2014/main" val="2129849380"/>
                  </a:ext>
                </a:extLst>
              </a:tr>
              <a:tr h="397532">
                <a:tc>
                  <a:txBody>
                    <a:bodyPr/>
                    <a:lstStyle/>
                    <a:p>
                      <a:pPr marL="274320" algn="l" rtl="0" eaLnBrk="1" latinLnBrk="0" hangingPunct="1">
                        <a:spcBef>
                          <a:spcPts val="0"/>
                        </a:spcBef>
                        <a:spcAft>
                          <a:spcPts val="0"/>
                        </a:spcAft>
                      </a:pPr>
                      <a:r>
                        <a:rPr lang="en-IN" sz="1100" b="1" kern="1200">
                          <a:effectLst/>
                        </a:rPr>
                        <a:t>Semantics </a:t>
                      </a:r>
                      <a:endParaRPr lang="en-IN" sz="1100" b="1">
                        <a:effectLst/>
                      </a:endParaRPr>
                    </a:p>
                  </a:txBody>
                  <a:tcPr marL="0" marR="0" marT="0" marB="0" anchor="ct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tc>
                  <a:txBody>
                    <a:bodyPr/>
                    <a:lstStyle/>
                    <a:p>
                      <a:pPr marL="182880" marR="0" indent="0" algn="l" defTabSz="1219170" rtl="0" eaLnBrk="1" fontAlgn="auto" latinLnBrk="0" hangingPunct="1">
                        <a:spcBef>
                          <a:spcPts val="0"/>
                        </a:spcBef>
                        <a:spcAft>
                          <a:spcPts val="0"/>
                        </a:spcAft>
                        <a:buClrTx/>
                        <a:buSzPts val="1400"/>
                        <a:buNone/>
                      </a:pPr>
                      <a:r>
                        <a:rPr lang="en-IN" sz="1100" b="0" kern="1200">
                          <a:solidFill>
                            <a:schemeClr val="dk1"/>
                          </a:solidFill>
                          <a:effectLst/>
                          <a:latin typeface="+mn-lt"/>
                          <a:ea typeface="+mn-ea"/>
                          <a:cs typeface="+mn-cs"/>
                        </a:rPr>
                        <a:t>Testing of schema mapping from SLX to MPS</a:t>
                      </a:r>
                    </a:p>
                  </a:txBody>
                  <a:tcPr marL="0" marR="0" marT="0" marB="0" anchor="ct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extLst>
                  <a:ext uri="{0D108BD9-81ED-4DB2-BD59-A6C34878D82A}">
                    <a16:rowId xmlns:a16="http://schemas.microsoft.com/office/drawing/2014/main" val="398312753"/>
                  </a:ext>
                </a:extLst>
              </a:tr>
              <a:tr h="397532">
                <a:tc>
                  <a:txBody>
                    <a:bodyPr/>
                    <a:lstStyle/>
                    <a:p>
                      <a:pPr marL="274320" algn="l" rtl="0" eaLnBrk="1" latinLnBrk="0" hangingPunct="1">
                        <a:spcBef>
                          <a:spcPts val="0"/>
                        </a:spcBef>
                        <a:spcAft>
                          <a:spcPts val="0"/>
                        </a:spcAft>
                      </a:pPr>
                      <a:r>
                        <a:rPr lang="en-IN" sz="1100" b="1" kern="1200">
                          <a:effectLst/>
                        </a:rPr>
                        <a:t>Application Stability</a:t>
                      </a:r>
                      <a:endParaRPr lang="en-IN" sz="1100" b="1">
                        <a:effectLst/>
                      </a:endParaRPr>
                    </a:p>
                  </a:txBody>
                  <a:tcPr marL="0" marR="0" marT="0" marB="0" anchor="ct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tc>
                  <a:txBody>
                    <a:bodyPr/>
                    <a:lstStyle/>
                    <a:p>
                      <a:pPr marL="182880" marR="0" indent="0" algn="l" defTabSz="1219170" rtl="0" eaLnBrk="1" fontAlgn="auto" latinLnBrk="0" hangingPunct="1">
                        <a:spcBef>
                          <a:spcPts val="0"/>
                        </a:spcBef>
                        <a:spcAft>
                          <a:spcPts val="0"/>
                        </a:spcAft>
                        <a:buClrTx/>
                        <a:buSzPts val="1400"/>
                        <a:buNone/>
                      </a:pPr>
                      <a:r>
                        <a:rPr lang="en-IN" sz="1100" b="0" kern="1200">
                          <a:solidFill>
                            <a:schemeClr val="dk1"/>
                          </a:solidFill>
                          <a:effectLst/>
                          <a:latin typeface="+mn-lt"/>
                          <a:ea typeface="+mn-ea"/>
                          <a:cs typeface="+mn-cs"/>
                        </a:rPr>
                        <a:t>Application functional, regression and performance testing</a:t>
                      </a:r>
                    </a:p>
                  </a:txBody>
                  <a:tcPr marL="0" marR="0" marT="0" marB="0" anchor="ct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extLst>
                  <a:ext uri="{0D108BD9-81ED-4DB2-BD59-A6C34878D82A}">
                    <a16:rowId xmlns:a16="http://schemas.microsoft.com/office/drawing/2014/main" val="2320168161"/>
                  </a:ext>
                </a:extLst>
              </a:tr>
              <a:tr h="662555">
                <a:tc>
                  <a:txBody>
                    <a:bodyPr/>
                    <a:lstStyle/>
                    <a:p>
                      <a:pPr marL="274320" marR="0" indent="0" algn="l" rtl="0" eaLnBrk="1" fontAlgn="auto" latinLnBrk="0" hangingPunct="1">
                        <a:spcBef>
                          <a:spcPts val="0"/>
                        </a:spcBef>
                        <a:spcAft>
                          <a:spcPts val="0"/>
                        </a:spcAft>
                      </a:pPr>
                      <a:r>
                        <a:rPr lang="en-CA" sz="1100" b="1" kern="1200">
                          <a:effectLst/>
                        </a:rPr>
                        <a:t>Data Validation\Review</a:t>
                      </a:r>
                      <a:endParaRPr lang="en-CA" sz="1100" b="1">
                        <a:effectLst/>
                      </a:endParaRPr>
                    </a:p>
                  </a:txBody>
                  <a:tcPr marL="0" marR="0" marT="0" marB="0" anchor="ct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tc>
                  <a:txBody>
                    <a:bodyPr/>
                    <a:lstStyle/>
                    <a:p>
                      <a:pPr marL="468630" marR="0" indent="-285750" algn="l" defTabSz="1219170" rtl="0" eaLnBrk="1" fontAlgn="auto" latinLnBrk="0" hangingPunct="1">
                        <a:spcBef>
                          <a:spcPts val="0"/>
                        </a:spcBef>
                        <a:spcAft>
                          <a:spcPts val="0"/>
                        </a:spcAft>
                        <a:buClrTx/>
                        <a:buSzPts val="1400"/>
                        <a:buFont typeface="Arial"/>
                        <a:buChar char="•"/>
                      </a:pPr>
                      <a:r>
                        <a:rPr lang="en-CA" sz="1100" b="0" kern="1200">
                          <a:solidFill>
                            <a:schemeClr val="dk1"/>
                          </a:solidFill>
                          <a:effectLst/>
                          <a:latin typeface="+mn-lt"/>
                          <a:ea typeface="+mn-ea"/>
                          <a:cs typeface="+mn-cs"/>
                        </a:rPr>
                        <a:t>Plan frequent data review with Business to identify requirement gaps.</a:t>
                      </a:r>
                    </a:p>
                    <a:p>
                      <a:pPr marL="468630" marR="0" indent="-285750" algn="l" rtl="0" eaLnBrk="1" fontAlgn="auto" latinLnBrk="0" hangingPunct="1">
                        <a:spcBef>
                          <a:spcPts val="0"/>
                        </a:spcBef>
                        <a:spcAft>
                          <a:spcPts val="0"/>
                        </a:spcAft>
                        <a:buClrTx/>
                        <a:buSzPts val="1400"/>
                        <a:buFont typeface="Arial"/>
                        <a:buChar char="•"/>
                      </a:pPr>
                      <a:r>
                        <a:rPr lang="en-CA" sz="1100" b="0" kern="1200">
                          <a:solidFill>
                            <a:schemeClr val="dk1"/>
                          </a:solidFill>
                          <a:effectLst/>
                          <a:latin typeface="+mn-lt"/>
                          <a:ea typeface="+mn-ea"/>
                          <a:cs typeface="+mn-cs"/>
                        </a:rPr>
                        <a:t>Using Prod like setup with migrated data to for Business Validations.</a:t>
                      </a:r>
                    </a:p>
                  </a:txBody>
                  <a:tcPr marL="0" marR="0" marT="0" marB="0" anchor="ct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extLst>
                  <a:ext uri="{0D108BD9-81ED-4DB2-BD59-A6C34878D82A}">
                    <a16:rowId xmlns:a16="http://schemas.microsoft.com/office/drawing/2014/main" val="3899363287"/>
                  </a:ext>
                </a:extLst>
              </a:tr>
              <a:tr h="406997">
                <a:tc>
                  <a:txBody>
                    <a:bodyPr/>
                    <a:lstStyle/>
                    <a:p>
                      <a:pPr marL="274320" algn="l" rtl="0" eaLnBrk="1" latinLnBrk="0" hangingPunct="1">
                        <a:spcBef>
                          <a:spcPts val="0"/>
                        </a:spcBef>
                        <a:spcAft>
                          <a:spcPts val="0"/>
                        </a:spcAft>
                      </a:pPr>
                      <a:r>
                        <a:rPr lang="en-IN" sz="1100" b="1" kern="1200">
                          <a:effectLst/>
                        </a:rPr>
                        <a:t>BIT and BAT testing</a:t>
                      </a:r>
                      <a:endParaRPr lang="en-IN" sz="1100" b="1">
                        <a:effectLst/>
                      </a:endParaRPr>
                    </a:p>
                  </a:txBody>
                  <a:tcPr marL="0" marR="0" marT="0" marB="0" anchor="ct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tc>
                  <a:txBody>
                    <a:bodyPr/>
                    <a:lstStyle/>
                    <a:p>
                      <a:pPr marL="182880" indent="0" algn="l" rtl="0" eaLnBrk="1" latinLnBrk="0" hangingPunct="1">
                        <a:spcBef>
                          <a:spcPts val="0"/>
                        </a:spcBef>
                        <a:spcAft>
                          <a:spcPts val="0"/>
                        </a:spcAft>
                      </a:pPr>
                      <a:r>
                        <a:rPr lang="en-CA" sz="1100" b="0" kern="1200">
                          <a:solidFill>
                            <a:schemeClr val="dk1"/>
                          </a:solidFill>
                          <a:effectLst/>
                          <a:latin typeface="+mn-lt"/>
                          <a:ea typeface="+mn-ea"/>
                          <a:cs typeface="+mn-cs"/>
                        </a:rPr>
                        <a:t>Ensure right stakeholders\Business involved in creating test plan and perform testing. </a:t>
                      </a:r>
                    </a:p>
                  </a:txBody>
                  <a:tcPr marL="0" marR="0" marT="0" marB="0" anchor="ct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extLst>
                  <a:ext uri="{0D108BD9-81ED-4DB2-BD59-A6C34878D82A}">
                    <a16:rowId xmlns:a16="http://schemas.microsoft.com/office/drawing/2014/main" val="3723091289"/>
                  </a:ext>
                </a:extLst>
              </a:tr>
            </a:tbl>
          </a:graphicData>
        </a:graphic>
      </p:graphicFrame>
    </p:spTree>
    <p:extLst>
      <p:ext uri="{BB962C8B-B14F-4D97-AF65-F5344CB8AC3E}">
        <p14:creationId xmlns:p14="http://schemas.microsoft.com/office/powerpoint/2010/main" val="151780108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2B0C265-C0D6-4AA7-AB19-C35989296CF2}"/>
              </a:ext>
            </a:extLst>
          </p:cNvPr>
          <p:cNvSpPr>
            <a:spLocks noGrp="1"/>
          </p:cNvSpPr>
          <p:nvPr>
            <p:ph type="body" sz="quarter" idx="10"/>
          </p:nvPr>
        </p:nvSpPr>
        <p:spPr/>
        <p:txBody>
          <a:bodyPr/>
          <a:lstStyle/>
          <a:p>
            <a:r>
              <a:rPr lang="en-US"/>
              <a:t>Indicative Profiles</a:t>
            </a:r>
            <a:endParaRPr lang="en-GB"/>
          </a:p>
        </p:txBody>
      </p:sp>
      <p:sp>
        <p:nvSpPr>
          <p:cNvPr id="4" name="Text Placeholder 3">
            <a:extLst>
              <a:ext uri="{FF2B5EF4-FFF2-40B4-BE49-F238E27FC236}">
                <a16:creationId xmlns:a16="http://schemas.microsoft.com/office/drawing/2014/main" id="{BA2B729A-9A89-440B-90FF-289B99ECF5AE}"/>
              </a:ext>
            </a:extLst>
          </p:cNvPr>
          <p:cNvSpPr>
            <a:spLocks noGrp="1"/>
          </p:cNvSpPr>
          <p:nvPr>
            <p:ph type="body" sz="quarter" idx="16"/>
          </p:nvPr>
        </p:nvSpPr>
        <p:spPr>
          <a:xfrm>
            <a:off x="435577" y="2537691"/>
            <a:ext cx="681277" cy="569387"/>
          </a:xfrm>
        </p:spPr>
        <p:txBody>
          <a:bodyPr vert="horz" wrap="none" lIns="0" tIns="0" rIns="0" bIns="0" rtlCol="0" anchor="t">
            <a:spAutoFit/>
          </a:bodyPr>
          <a:lstStyle/>
          <a:p>
            <a:r>
              <a:rPr lang="en-GB" sz="3700">
                <a:ea typeface="Verdana"/>
              </a:rPr>
              <a:t>06.</a:t>
            </a:r>
            <a:endParaRPr lang="en-GB"/>
          </a:p>
        </p:txBody>
      </p:sp>
    </p:spTree>
    <p:extLst>
      <p:ext uri="{BB962C8B-B14F-4D97-AF65-F5344CB8AC3E}">
        <p14:creationId xmlns:p14="http://schemas.microsoft.com/office/powerpoint/2010/main" val="265973460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43E4E80-C82E-4053-8C92-15BBEFF6C91A}"/>
              </a:ext>
            </a:extLst>
          </p:cNvPr>
          <p:cNvSpPr>
            <a:spLocks noGrp="1"/>
          </p:cNvSpPr>
          <p:nvPr>
            <p:ph type="title"/>
          </p:nvPr>
        </p:nvSpPr>
        <p:spPr/>
        <p:txBody>
          <a:bodyPr/>
          <a:lstStyle/>
          <a:p>
            <a:r>
              <a:rPr lang="en-US"/>
              <a:t>Indicative Profiles</a:t>
            </a:r>
            <a:endParaRPr lang="en-GB"/>
          </a:p>
        </p:txBody>
      </p:sp>
      <p:graphicFrame>
        <p:nvGraphicFramePr>
          <p:cNvPr id="4" name="Table 3">
            <a:extLst>
              <a:ext uri="{FF2B5EF4-FFF2-40B4-BE49-F238E27FC236}">
                <a16:creationId xmlns:a16="http://schemas.microsoft.com/office/drawing/2014/main" id="{78DC7FCD-034B-4AB9-905F-9B017E25053D}"/>
              </a:ext>
            </a:extLst>
          </p:cNvPr>
          <p:cNvGraphicFramePr>
            <a:graphicFrameLocks noGrp="1"/>
          </p:cNvGraphicFramePr>
          <p:nvPr>
            <p:extLst>
              <p:ext uri="{D42A27DB-BD31-4B8C-83A1-F6EECF244321}">
                <p14:modId xmlns:p14="http://schemas.microsoft.com/office/powerpoint/2010/main" val="337911722"/>
              </p:ext>
            </p:extLst>
          </p:nvPr>
        </p:nvGraphicFramePr>
        <p:xfrm>
          <a:off x="454631" y="1434381"/>
          <a:ext cx="11285013" cy="4459385"/>
        </p:xfrm>
        <a:graphic>
          <a:graphicData uri="http://schemas.openxmlformats.org/drawingml/2006/table">
            <a:tbl>
              <a:tblPr firstRow="1" bandRow="1">
                <a:tableStyleId>{5C22544A-7EE6-4342-B048-85BDC9FD1C3A}</a:tableStyleId>
              </a:tblPr>
              <a:tblGrid>
                <a:gridCol w="2231460">
                  <a:extLst>
                    <a:ext uri="{9D8B030D-6E8A-4147-A177-3AD203B41FA5}">
                      <a16:colId xmlns:a16="http://schemas.microsoft.com/office/drawing/2014/main" val="2438193139"/>
                    </a:ext>
                  </a:extLst>
                </a:gridCol>
                <a:gridCol w="9053553">
                  <a:extLst>
                    <a:ext uri="{9D8B030D-6E8A-4147-A177-3AD203B41FA5}">
                      <a16:colId xmlns:a16="http://schemas.microsoft.com/office/drawing/2014/main" val="1555917905"/>
                    </a:ext>
                  </a:extLst>
                </a:gridCol>
              </a:tblGrid>
              <a:tr h="320843">
                <a:tc>
                  <a:txBody>
                    <a:bodyPr/>
                    <a:lstStyle/>
                    <a:p>
                      <a:pPr algn="ctr"/>
                      <a:r>
                        <a:rPr lang="en-GB" sz="1600"/>
                        <a:t>Name / Role</a:t>
                      </a:r>
                    </a:p>
                  </a:txBody>
                  <a:tcPr anchor="ctr">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tc>
                  <a:txBody>
                    <a:bodyPr/>
                    <a:lstStyle/>
                    <a:p>
                      <a:pPr algn="ctr"/>
                      <a:r>
                        <a:rPr lang="en-GB" sz="1600"/>
                        <a:t>Experience</a:t>
                      </a:r>
                      <a:r>
                        <a:rPr lang="en-GB" sz="1600" baseline="0"/>
                        <a:t> Description</a:t>
                      </a:r>
                      <a:endParaRPr lang="en-GB" sz="1600"/>
                    </a:p>
                  </a:txBody>
                  <a:tcPr anchor="ctr">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611266063"/>
                  </a:ext>
                </a:extLst>
              </a:tr>
              <a:tr h="2333405">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a:t>Name: Avinash </a:t>
                      </a:r>
                      <a:r>
                        <a:rPr lang="en-GB" sz="1400" b="1" err="1"/>
                        <a:t>Bodkhe</a:t>
                      </a:r>
                      <a:endParaRPr lang="en-GB" sz="1400" b="1"/>
                    </a:p>
                    <a:p>
                      <a:endParaRPr lang="en-GB" sz="1400" b="1"/>
                    </a:p>
                    <a:p>
                      <a:endParaRPr lang="en-GB" sz="1400" b="1"/>
                    </a:p>
                    <a:p>
                      <a:r>
                        <a:rPr lang="en-GB" sz="1400" b="1"/>
                        <a:t>Role: Program Manager</a:t>
                      </a:r>
                    </a:p>
                  </a:txBody>
                  <a:tcPr anchor="ctr">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solidFill>
                      <a:schemeClr val="bg1"/>
                    </a:solidFill>
                  </a:tcPr>
                </a:tc>
                <a:tc>
                  <a:txBody>
                    <a:bodyPr/>
                    <a:lstStyle/>
                    <a:p>
                      <a:pPr marL="171450" indent="-171450" algn="just">
                        <a:spcBef>
                          <a:spcPts val="300"/>
                        </a:spcBef>
                        <a:spcAft>
                          <a:spcPts val="0"/>
                        </a:spcAft>
                        <a:buFontTx/>
                        <a:buChar char="-"/>
                      </a:pPr>
                      <a:r>
                        <a:rPr lang="en-US" sz="1100"/>
                        <a:t>Senior leader with 19+ years of experience in fast-paced IT &amp; ITSM Environment. Motivated agile leader with strong organizational &amp; prioritization abilities. Has managed portfolio of ~USD12M in earlier assignment.</a:t>
                      </a:r>
                    </a:p>
                    <a:p>
                      <a:pPr marL="171450" indent="-171450" algn="just">
                        <a:spcBef>
                          <a:spcPts val="300"/>
                        </a:spcBef>
                        <a:spcAft>
                          <a:spcPts val="0"/>
                        </a:spcAft>
                        <a:buFontTx/>
                        <a:buChar char="-"/>
                      </a:pPr>
                      <a:r>
                        <a:rPr lang="en-US" sz="1100"/>
                        <a:t>Areas of expertise include Client Engagement Management, Sales Cycle Management, Team, Capacity &amp; Escalation Management, Project Planning &amp; Execution, Risk &amp; Software Delivery Management.</a:t>
                      </a:r>
                    </a:p>
                    <a:p>
                      <a:pPr marL="171450" indent="-171450" algn="just">
                        <a:spcBef>
                          <a:spcPts val="300"/>
                        </a:spcBef>
                        <a:spcAft>
                          <a:spcPts val="0"/>
                        </a:spcAft>
                        <a:buFontTx/>
                        <a:buChar char="-"/>
                      </a:pPr>
                      <a:r>
                        <a:rPr lang="en-US" sz="1100"/>
                        <a:t>Hands-on experience on all phases of the implementation lifecycle (SDLC) from strategy to support, managing end-to-end deliverables spanning into various IT domains &amp; client engagements.</a:t>
                      </a:r>
                    </a:p>
                    <a:p>
                      <a:pPr marL="171450" indent="-171450" algn="just">
                        <a:spcBef>
                          <a:spcPts val="300"/>
                        </a:spcBef>
                        <a:spcAft>
                          <a:spcPts val="0"/>
                        </a:spcAft>
                        <a:buFontTx/>
                        <a:buChar char="-"/>
                      </a:pPr>
                      <a:r>
                        <a:rPr lang="en-US" sz="1100"/>
                        <a:t>Proficient on client engagement to understand their organization goals, business vision, strategies, pain areas, issues &amp; procurement needs. Partnered with various product vendors to bring right solutions to the client.</a:t>
                      </a:r>
                    </a:p>
                    <a:p>
                      <a:pPr marL="171450" indent="-171450" algn="just">
                        <a:spcBef>
                          <a:spcPts val="300"/>
                        </a:spcBef>
                        <a:spcAft>
                          <a:spcPts val="0"/>
                        </a:spcAft>
                        <a:buFontTx/>
                        <a:buChar char="-"/>
                      </a:pPr>
                      <a:r>
                        <a:rPr lang="en-US" sz="1100"/>
                        <a:t>Managed multiple fixed price and T&amp;M, multicultural initiatives &amp; engagements with focus on Delivery Excellence, CSAT, SLA/OLA Management &amp; Resource Utilization.</a:t>
                      </a:r>
                    </a:p>
                    <a:p>
                      <a:pPr marL="171450" indent="-171450" algn="just">
                        <a:spcBef>
                          <a:spcPts val="300"/>
                        </a:spcBef>
                        <a:spcAft>
                          <a:spcPts val="0"/>
                        </a:spcAft>
                        <a:buFontTx/>
                        <a:buChar char="-"/>
                      </a:pPr>
                      <a:r>
                        <a:rPr lang="en-US" sz="1100"/>
                        <a:t>Expertise into </a:t>
                      </a:r>
                      <a:r>
                        <a:rPr lang="en-US" sz="1100" err="1"/>
                        <a:t>SAFe</a:t>
                      </a:r>
                      <a:r>
                        <a:rPr lang="en-US" sz="1100"/>
                        <a:t> Agile, Scrum, ITIL &amp; waterfall methodologies</a:t>
                      </a:r>
                    </a:p>
                  </a:txBody>
                  <a:tcPr anchor="ctr">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33786260"/>
                  </a:ext>
                </a:extLst>
              </a:tr>
              <a:tr h="1654062">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a:t>Name: </a:t>
                      </a:r>
                      <a:r>
                        <a:rPr lang="en-GB" sz="1400" b="1" err="1"/>
                        <a:t>Joydeep</a:t>
                      </a:r>
                      <a:r>
                        <a:rPr lang="en-GB" sz="1400" b="1"/>
                        <a:t> Ghosh</a:t>
                      </a:r>
                    </a:p>
                    <a:p>
                      <a:endParaRPr lang="en-GB" sz="1400" b="1"/>
                    </a:p>
                    <a:p>
                      <a:r>
                        <a:rPr lang="en-GB" sz="1400" b="1"/>
                        <a:t>Role: Scrum Master</a:t>
                      </a:r>
                    </a:p>
                  </a:txBody>
                  <a:tcPr anchor="ctr">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bg1"/>
                    </a:solidFill>
                  </a:tcPr>
                </a:tc>
                <a:tc>
                  <a:txBody>
                    <a:bodyPr/>
                    <a:lstStyle/>
                    <a:p>
                      <a:pPr marL="171450" indent="-171450" algn="just">
                        <a:spcBef>
                          <a:spcPts val="300"/>
                        </a:spcBef>
                        <a:spcAft>
                          <a:spcPts val="0"/>
                        </a:spcAft>
                        <a:buFontTx/>
                        <a:buChar char="-"/>
                      </a:pPr>
                      <a:r>
                        <a:rPr lang="en-US" sz="1100"/>
                        <a:t>16+ years of experience in various roles, possessing high degree of expertise in consultancy, development, application management, project management, implementation and support.</a:t>
                      </a:r>
                    </a:p>
                    <a:p>
                      <a:pPr marL="171450" indent="-171450" algn="just">
                        <a:spcBef>
                          <a:spcPts val="300"/>
                        </a:spcBef>
                        <a:spcAft>
                          <a:spcPts val="0"/>
                        </a:spcAft>
                        <a:buFontTx/>
                        <a:buChar char="-"/>
                      </a:pPr>
                      <a:r>
                        <a:rPr lang="en-US" sz="1100"/>
                        <a:t>Experienced in requirement analysis, Testing, Implementation and proven leadership in development and support projects.</a:t>
                      </a:r>
                    </a:p>
                    <a:p>
                      <a:pPr marL="171450" indent="-171450" algn="just">
                        <a:spcBef>
                          <a:spcPts val="300"/>
                        </a:spcBef>
                        <a:spcAft>
                          <a:spcPts val="0"/>
                        </a:spcAft>
                        <a:buFontTx/>
                        <a:buChar char="-"/>
                      </a:pPr>
                      <a:r>
                        <a:rPr lang="en-US" sz="1100"/>
                        <a:t>Experienced in large scale scaled agile implementations using </a:t>
                      </a:r>
                      <a:r>
                        <a:rPr lang="en-US" sz="1100" err="1"/>
                        <a:t>SAFe</a:t>
                      </a:r>
                      <a:r>
                        <a:rPr lang="en-US" sz="1100"/>
                        <a:t>, expertise in Scrum </a:t>
                      </a:r>
                      <a:r>
                        <a:rPr lang="en-US" sz="1100" err="1"/>
                        <a:t>KanBan</a:t>
                      </a:r>
                      <a:r>
                        <a:rPr lang="en-US" sz="1100"/>
                        <a:t>.</a:t>
                      </a:r>
                    </a:p>
                    <a:p>
                      <a:pPr marL="171450" indent="-171450" algn="just">
                        <a:spcBef>
                          <a:spcPts val="300"/>
                        </a:spcBef>
                        <a:spcAft>
                          <a:spcPts val="0"/>
                        </a:spcAft>
                        <a:buFontTx/>
                        <a:buChar char="-"/>
                      </a:pPr>
                      <a:r>
                        <a:rPr lang="en-US" sz="1100"/>
                        <a:t>Hands-on experience in Project Management Activities, Stakeholder management, Management Reporting, </a:t>
                      </a:r>
                    </a:p>
                    <a:p>
                      <a:pPr marL="171450" indent="-171450" algn="just">
                        <a:spcBef>
                          <a:spcPts val="300"/>
                        </a:spcBef>
                        <a:spcAft>
                          <a:spcPts val="0"/>
                        </a:spcAft>
                        <a:buFontTx/>
                        <a:buChar char="-"/>
                      </a:pPr>
                      <a:r>
                        <a:rPr lang="en-US" sz="1100"/>
                        <a:t>Co-ordination with different support groups / organizations to solve issues, Manage escalations, Task Allocation, Monitoring, Team handling</a:t>
                      </a:r>
                    </a:p>
                    <a:p>
                      <a:pPr marL="171450" indent="-171450" algn="just">
                        <a:spcBef>
                          <a:spcPts val="300"/>
                        </a:spcBef>
                        <a:spcAft>
                          <a:spcPts val="0"/>
                        </a:spcAft>
                        <a:buFontTx/>
                        <a:buChar char="-"/>
                      </a:pPr>
                      <a:r>
                        <a:rPr lang="en-US" sz="1100"/>
                        <a:t>Skills – Certified Scrum Master (CSM), PRINCE2 Practitioner Certified, ITIL Foundation V3, Oracle Certified Professional (OCP), JAVA Microservices, REST API,, Elastic Search, AGM, CI/CD and CT, Oracle PL/SQL 12c, Advanced PL/SQL,UNIX, Cloud</a:t>
                      </a:r>
                    </a:p>
                  </a:txBody>
                  <a:tcPr anchor="ctr">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bg1"/>
                    </a:solidFill>
                  </a:tcPr>
                </a:tc>
                <a:extLst>
                  <a:ext uri="{0D108BD9-81ED-4DB2-BD59-A6C34878D82A}">
                    <a16:rowId xmlns:a16="http://schemas.microsoft.com/office/drawing/2014/main" val="1259206566"/>
                  </a:ext>
                </a:extLst>
              </a:tr>
            </a:tbl>
          </a:graphicData>
        </a:graphic>
      </p:graphicFrame>
    </p:spTree>
    <p:extLst>
      <p:ext uri="{BB962C8B-B14F-4D97-AF65-F5344CB8AC3E}">
        <p14:creationId xmlns:p14="http://schemas.microsoft.com/office/powerpoint/2010/main" val="300098706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2D40866-4155-4A75-BC5C-E4556926E5FD}"/>
              </a:ext>
            </a:extLst>
          </p:cNvPr>
          <p:cNvSpPr>
            <a:spLocks noGrp="1"/>
          </p:cNvSpPr>
          <p:nvPr>
            <p:ph type="title"/>
          </p:nvPr>
        </p:nvSpPr>
        <p:spPr/>
        <p:txBody>
          <a:bodyPr/>
          <a:lstStyle/>
          <a:p>
            <a:r>
              <a:rPr lang="en-US"/>
              <a:t>Indicative Profiles</a:t>
            </a:r>
            <a:endParaRPr lang="en-GB"/>
          </a:p>
        </p:txBody>
      </p:sp>
      <p:graphicFrame>
        <p:nvGraphicFramePr>
          <p:cNvPr id="4" name="Table 3">
            <a:extLst>
              <a:ext uri="{FF2B5EF4-FFF2-40B4-BE49-F238E27FC236}">
                <a16:creationId xmlns:a16="http://schemas.microsoft.com/office/drawing/2014/main" id="{78DC7FCD-034B-4AB9-905F-9B017E25053D}"/>
              </a:ext>
            </a:extLst>
          </p:cNvPr>
          <p:cNvGraphicFramePr>
            <a:graphicFrameLocks noGrp="1"/>
          </p:cNvGraphicFramePr>
          <p:nvPr>
            <p:extLst>
              <p:ext uri="{D42A27DB-BD31-4B8C-83A1-F6EECF244321}">
                <p14:modId xmlns:p14="http://schemas.microsoft.com/office/powerpoint/2010/main" val="668469530"/>
              </p:ext>
            </p:extLst>
          </p:nvPr>
        </p:nvGraphicFramePr>
        <p:xfrm>
          <a:off x="454631" y="1434380"/>
          <a:ext cx="11498020" cy="4606656"/>
        </p:xfrm>
        <a:graphic>
          <a:graphicData uri="http://schemas.openxmlformats.org/drawingml/2006/table">
            <a:tbl>
              <a:tblPr firstRow="1" bandRow="1">
                <a:tableStyleId>{5C22544A-7EE6-4342-B048-85BDC9FD1C3A}</a:tableStyleId>
              </a:tblPr>
              <a:tblGrid>
                <a:gridCol w="2273579">
                  <a:extLst>
                    <a:ext uri="{9D8B030D-6E8A-4147-A177-3AD203B41FA5}">
                      <a16:colId xmlns:a16="http://schemas.microsoft.com/office/drawing/2014/main" val="2438193139"/>
                    </a:ext>
                  </a:extLst>
                </a:gridCol>
                <a:gridCol w="9224441">
                  <a:extLst>
                    <a:ext uri="{9D8B030D-6E8A-4147-A177-3AD203B41FA5}">
                      <a16:colId xmlns:a16="http://schemas.microsoft.com/office/drawing/2014/main" val="1555917905"/>
                    </a:ext>
                  </a:extLst>
                </a:gridCol>
              </a:tblGrid>
              <a:tr h="412574">
                <a:tc>
                  <a:txBody>
                    <a:bodyPr/>
                    <a:lstStyle/>
                    <a:p>
                      <a:pPr algn="ctr"/>
                      <a:r>
                        <a:rPr lang="en-GB" sz="1600"/>
                        <a:t>Name / Role</a:t>
                      </a:r>
                    </a:p>
                  </a:txBody>
                  <a:tcPr anchor="ctr">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600"/>
                        <a:t>Experience</a:t>
                      </a:r>
                      <a:r>
                        <a:rPr lang="en-GB" sz="1600" baseline="0"/>
                        <a:t> Description</a:t>
                      </a:r>
                      <a:endParaRPr lang="en-GB" sz="1600"/>
                    </a:p>
                  </a:txBody>
                  <a:tcPr anchor="ctr">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11266063"/>
                  </a:ext>
                </a:extLst>
              </a:tr>
              <a:tr h="2158699">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a:t>Name: Esha Jha</a:t>
                      </a:r>
                    </a:p>
                    <a:p>
                      <a:endParaRPr lang="en-GB" sz="1400" b="1"/>
                    </a:p>
                    <a:p>
                      <a:endParaRPr lang="en-GB" sz="1400" b="1"/>
                    </a:p>
                    <a:p>
                      <a:r>
                        <a:rPr lang="en-GB" sz="1400" b="1"/>
                        <a:t>Role: Data Architect</a:t>
                      </a:r>
                    </a:p>
                  </a:txBody>
                  <a:tcPr anchor="ctr">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just">
                        <a:spcBef>
                          <a:spcPts val="300"/>
                        </a:spcBef>
                        <a:spcAft>
                          <a:spcPts val="300"/>
                        </a:spcAft>
                        <a:buFontTx/>
                        <a:buChar char="-"/>
                      </a:pPr>
                      <a:r>
                        <a:rPr lang="en-US" sz="1100"/>
                        <a:t>16+ years of experience in Data warehousing and BI field with skills in Data Warehouse Architecture, Data Modeling, Data Governance, ETL Design and data Migration and Reporting, project management activities such as project costing and resourcing, presales and POCs/due diligence </a:t>
                      </a:r>
                    </a:p>
                    <a:p>
                      <a:pPr marL="171450" indent="-171450" algn="just">
                        <a:spcBef>
                          <a:spcPts val="300"/>
                        </a:spcBef>
                        <a:spcAft>
                          <a:spcPts val="300"/>
                        </a:spcAft>
                        <a:buFontTx/>
                        <a:buChar char="-"/>
                      </a:pPr>
                      <a:r>
                        <a:rPr lang="en-US" sz="1100"/>
                        <a:t>Experience of Implementing models in Enterprise Data Warehouse environment&amp; Dimensional Modeling for both structures and semi-structured type of data</a:t>
                      </a:r>
                    </a:p>
                    <a:p>
                      <a:pPr marL="171450" marR="0" lvl="0" indent="-171450" algn="just" defTabSz="1219170" rtl="0" eaLnBrk="1" fontAlgn="auto" latinLnBrk="0" hangingPunct="1">
                        <a:lnSpc>
                          <a:spcPct val="100000"/>
                        </a:lnSpc>
                        <a:spcBef>
                          <a:spcPts val="300"/>
                        </a:spcBef>
                        <a:spcAft>
                          <a:spcPts val="300"/>
                        </a:spcAft>
                        <a:buClrTx/>
                        <a:buSzTx/>
                        <a:buFontTx/>
                        <a:buChar char="-"/>
                        <a:tabLst/>
                        <a:defRPr/>
                      </a:pPr>
                      <a:r>
                        <a:rPr lang="en-US" sz="1100"/>
                        <a:t>Experience in Azure cloud Data Migration </a:t>
                      </a:r>
                      <a:r>
                        <a:rPr lang="en-US" sz="1100" err="1"/>
                        <a:t>activity;Experience</a:t>
                      </a:r>
                      <a:r>
                        <a:rPr lang="en-US" sz="1100"/>
                        <a:t> on Agile&amp; Waterfall Methodology</a:t>
                      </a:r>
                    </a:p>
                    <a:p>
                      <a:pPr marL="171450" indent="-171450" algn="just">
                        <a:spcBef>
                          <a:spcPts val="300"/>
                        </a:spcBef>
                        <a:spcAft>
                          <a:spcPts val="300"/>
                        </a:spcAft>
                        <a:buFontTx/>
                        <a:buChar char="-"/>
                      </a:pPr>
                      <a:r>
                        <a:rPr lang="en-US" sz="1100"/>
                        <a:t>Experience in Designing and implementing Data lake for structured and semi structured data for </a:t>
                      </a:r>
                      <a:r>
                        <a:rPr lang="en-US" sz="1100" err="1"/>
                        <a:t>penta</a:t>
                      </a:r>
                      <a:r>
                        <a:rPr lang="en-US" sz="1100"/>
                        <a:t> bytes of record.</a:t>
                      </a:r>
                    </a:p>
                    <a:p>
                      <a:pPr marL="171450" indent="-171450" algn="just">
                        <a:spcBef>
                          <a:spcPts val="300"/>
                        </a:spcBef>
                        <a:spcAft>
                          <a:spcPts val="300"/>
                        </a:spcAft>
                        <a:buFontTx/>
                        <a:buChar char="-"/>
                      </a:pPr>
                      <a:r>
                        <a:rPr lang="en-US" sz="1100"/>
                        <a:t>Certified Scrum Master from Scrum Alliance; Azure Data Fundamentals (DP 900) certified</a:t>
                      </a:r>
                    </a:p>
                    <a:p>
                      <a:pPr marL="171450" indent="-171450" algn="just">
                        <a:spcBef>
                          <a:spcPts val="300"/>
                        </a:spcBef>
                        <a:spcAft>
                          <a:spcPts val="300"/>
                        </a:spcAft>
                        <a:buFontTx/>
                        <a:buChar char="-"/>
                      </a:pPr>
                      <a:r>
                        <a:rPr lang="en-US" sz="1100"/>
                        <a:t>Technical skills: Oracle CDH ,Siebel CDH , Oracle, SQL Server , Redbrick, DB2 BLU, ERWIN, VISIO, </a:t>
                      </a:r>
                      <a:r>
                        <a:rPr lang="en-US" sz="1100" err="1"/>
                        <a:t>ERStudio</a:t>
                      </a:r>
                      <a:r>
                        <a:rPr lang="en-US" sz="1100"/>
                        <a:t>, Informatica, SSIS, </a:t>
                      </a:r>
                      <a:r>
                        <a:rPr lang="en-US" sz="1100" err="1"/>
                        <a:t>Datastage</a:t>
                      </a:r>
                      <a:r>
                        <a:rPr lang="en-US" sz="1100"/>
                        <a:t>, Informatica IDQ, Cognos, SSIS, Business Objects 6.0, </a:t>
                      </a:r>
                      <a:r>
                        <a:rPr lang="en-US" sz="1100" err="1"/>
                        <a:t>Tableau,Power</a:t>
                      </a:r>
                      <a:r>
                        <a:rPr lang="en-US" sz="1100"/>
                        <a:t> BI</a:t>
                      </a:r>
                    </a:p>
                  </a:txBody>
                  <a:tcPr anchor="ctr">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33786260"/>
                  </a:ext>
                </a:extLst>
              </a:tr>
              <a:tr h="2035383">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a:t>Name:  Piruthvi Mathaiyan</a:t>
                      </a:r>
                    </a:p>
                    <a:p>
                      <a:endParaRPr lang="en-GB" sz="1400" b="1"/>
                    </a:p>
                    <a:p>
                      <a:r>
                        <a:rPr lang="en-GB" sz="1400" b="1"/>
                        <a:t>Role: Data Consultant</a:t>
                      </a:r>
                    </a:p>
                  </a:txBody>
                  <a:tcPr anchor="ctr">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just">
                        <a:spcBef>
                          <a:spcPts val="300"/>
                        </a:spcBef>
                        <a:spcAft>
                          <a:spcPts val="300"/>
                        </a:spcAft>
                        <a:buFontTx/>
                        <a:buChar char="-"/>
                      </a:pPr>
                      <a:r>
                        <a:rPr lang="en-US" sz="1100"/>
                        <a:t>7+ years of experience in Administering, managing configuring Database’s across Oracle and </a:t>
                      </a:r>
                      <a:r>
                        <a:rPr lang="en-US" sz="1100" err="1"/>
                        <a:t>MsSQL</a:t>
                      </a:r>
                      <a:r>
                        <a:rPr lang="en-US" sz="1100"/>
                        <a:t> server with oracle RDBMS as primary</a:t>
                      </a:r>
                    </a:p>
                    <a:p>
                      <a:pPr marL="171450" indent="-171450" algn="just">
                        <a:spcBef>
                          <a:spcPts val="300"/>
                        </a:spcBef>
                        <a:spcAft>
                          <a:spcPts val="300"/>
                        </a:spcAft>
                        <a:buFontTx/>
                        <a:buChar char="-"/>
                      </a:pPr>
                      <a:r>
                        <a:rPr lang="en-US" sz="1100"/>
                        <a:t>Installation and configuration of Oracle 9i, 10g, 11g in UNIX / LINUX and Windows environment. </a:t>
                      </a:r>
                    </a:p>
                    <a:p>
                      <a:pPr marL="171450" indent="-171450" algn="just">
                        <a:spcBef>
                          <a:spcPts val="300"/>
                        </a:spcBef>
                        <a:spcAft>
                          <a:spcPts val="300"/>
                        </a:spcAft>
                        <a:buFontTx/>
                        <a:buChar char="-"/>
                      </a:pPr>
                      <a:r>
                        <a:rPr lang="en-US" sz="1100"/>
                        <a:t>Understanding with SQL, PL/SQL coding, stored procedures, triggers, functions, packages,</a:t>
                      </a:r>
                    </a:p>
                    <a:p>
                      <a:pPr marL="171450" indent="-171450" algn="just">
                        <a:spcBef>
                          <a:spcPts val="300"/>
                        </a:spcBef>
                        <a:spcAft>
                          <a:spcPts val="300"/>
                        </a:spcAft>
                        <a:buFontTx/>
                        <a:buChar char="-"/>
                      </a:pPr>
                      <a:r>
                        <a:rPr lang="en-US" sz="1100"/>
                        <a:t>Management of schemas, objects &amp; partitioning the tables &amp; indexes in Oracle/MSSQL/MySQL</a:t>
                      </a:r>
                    </a:p>
                    <a:p>
                      <a:pPr marL="171450" indent="-171450" algn="just">
                        <a:spcBef>
                          <a:spcPts val="300"/>
                        </a:spcBef>
                        <a:spcAft>
                          <a:spcPts val="300"/>
                        </a:spcAft>
                        <a:buFontTx/>
                        <a:buChar char="-"/>
                      </a:pPr>
                      <a:r>
                        <a:rPr lang="en-US" sz="1100"/>
                        <a:t>Knowledge of Data transfer between SQL Server and Oracle.</a:t>
                      </a:r>
                    </a:p>
                    <a:p>
                      <a:pPr marL="171450" indent="-171450" algn="just">
                        <a:spcBef>
                          <a:spcPts val="300"/>
                        </a:spcBef>
                        <a:spcAft>
                          <a:spcPts val="300"/>
                        </a:spcAft>
                        <a:buFontTx/>
                        <a:buChar char="-"/>
                      </a:pPr>
                      <a:r>
                        <a:rPr lang="en-US" sz="1100"/>
                        <a:t>Expert in handling DDL/DML on all objects for Oracle and MS SQL</a:t>
                      </a:r>
                    </a:p>
                    <a:p>
                      <a:pPr marL="171450" indent="-171450" algn="just">
                        <a:spcBef>
                          <a:spcPts val="300"/>
                        </a:spcBef>
                        <a:spcAft>
                          <a:spcPts val="300"/>
                        </a:spcAft>
                        <a:buFontTx/>
                        <a:buChar char="-"/>
                      </a:pPr>
                      <a:r>
                        <a:rPr lang="en-US" sz="1100"/>
                        <a:t>Participated in large data migration programs for Insurance and Financial Services customers</a:t>
                      </a:r>
                    </a:p>
                  </a:txBody>
                  <a:tcPr anchor="ctr">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59206566"/>
                  </a:ext>
                </a:extLst>
              </a:tr>
            </a:tbl>
          </a:graphicData>
        </a:graphic>
      </p:graphicFrame>
    </p:spTree>
    <p:extLst>
      <p:ext uri="{BB962C8B-B14F-4D97-AF65-F5344CB8AC3E}">
        <p14:creationId xmlns:p14="http://schemas.microsoft.com/office/powerpoint/2010/main" val="271854279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199FF7-4DAC-4FDE-A39C-83A5DF03B145}"/>
              </a:ext>
            </a:extLst>
          </p:cNvPr>
          <p:cNvSpPr>
            <a:spLocks noGrp="1"/>
          </p:cNvSpPr>
          <p:nvPr>
            <p:ph type="title"/>
          </p:nvPr>
        </p:nvSpPr>
        <p:spPr/>
        <p:txBody>
          <a:bodyPr/>
          <a:lstStyle/>
          <a:p>
            <a:r>
              <a:rPr lang="en-US"/>
              <a:t>Indicative Profiles</a:t>
            </a:r>
            <a:endParaRPr lang="en-GB"/>
          </a:p>
        </p:txBody>
      </p:sp>
      <p:graphicFrame>
        <p:nvGraphicFramePr>
          <p:cNvPr id="4" name="Table 3">
            <a:extLst>
              <a:ext uri="{FF2B5EF4-FFF2-40B4-BE49-F238E27FC236}">
                <a16:creationId xmlns:a16="http://schemas.microsoft.com/office/drawing/2014/main" id="{78DC7FCD-034B-4AB9-905F-9B017E25053D}"/>
              </a:ext>
            </a:extLst>
          </p:cNvPr>
          <p:cNvGraphicFramePr>
            <a:graphicFrameLocks noGrp="1"/>
          </p:cNvGraphicFramePr>
          <p:nvPr>
            <p:extLst>
              <p:ext uri="{D42A27DB-BD31-4B8C-83A1-F6EECF244321}">
                <p14:modId xmlns:p14="http://schemas.microsoft.com/office/powerpoint/2010/main" val="4274140414"/>
              </p:ext>
            </p:extLst>
          </p:nvPr>
        </p:nvGraphicFramePr>
        <p:xfrm>
          <a:off x="454631" y="1434380"/>
          <a:ext cx="11498020" cy="4441763"/>
        </p:xfrm>
        <a:graphic>
          <a:graphicData uri="http://schemas.openxmlformats.org/drawingml/2006/table">
            <a:tbl>
              <a:tblPr firstRow="1" bandRow="1">
                <a:tableStyleId>{5C22544A-7EE6-4342-B048-85BDC9FD1C3A}</a:tableStyleId>
              </a:tblPr>
              <a:tblGrid>
                <a:gridCol w="2273579">
                  <a:extLst>
                    <a:ext uri="{9D8B030D-6E8A-4147-A177-3AD203B41FA5}">
                      <a16:colId xmlns:a16="http://schemas.microsoft.com/office/drawing/2014/main" val="2438193139"/>
                    </a:ext>
                  </a:extLst>
                </a:gridCol>
                <a:gridCol w="9224441">
                  <a:extLst>
                    <a:ext uri="{9D8B030D-6E8A-4147-A177-3AD203B41FA5}">
                      <a16:colId xmlns:a16="http://schemas.microsoft.com/office/drawing/2014/main" val="1555917905"/>
                    </a:ext>
                  </a:extLst>
                </a:gridCol>
              </a:tblGrid>
              <a:tr h="393214">
                <a:tc>
                  <a:txBody>
                    <a:bodyPr/>
                    <a:lstStyle/>
                    <a:p>
                      <a:pPr algn="ctr"/>
                      <a:r>
                        <a:rPr lang="en-GB" sz="1600"/>
                        <a:t>Name / Role</a:t>
                      </a:r>
                    </a:p>
                  </a:txBody>
                  <a:tcPr anchor="ctr">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tc>
                  <a:txBody>
                    <a:bodyPr/>
                    <a:lstStyle/>
                    <a:p>
                      <a:pPr algn="ctr"/>
                      <a:r>
                        <a:rPr lang="en-GB" sz="1600"/>
                        <a:t>Experience</a:t>
                      </a:r>
                      <a:r>
                        <a:rPr lang="en-GB" sz="1600" baseline="0"/>
                        <a:t> Description</a:t>
                      </a:r>
                      <a:endParaRPr lang="en-GB" sz="1600"/>
                    </a:p>
                  </a:txBody>
                  <a:tcPr anchor="ctr">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611266063"/>
                  </a:ext>
                </a:extLst>
              </a:tr>
              <a:tr h="2108678">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a:t>Name: </a:t>
                      </a:r>
                      <a:r>
                        <a:rPr lang="en-GB" sz="1400" b="1" err="1"/>
                        <a:t>Devjyoti</a:t>
                      </a:r>
                      <a:r>
                        <a:rPr lang="en-GB" sz="1400" b="1"/>
                        <a:t> Pal</a:t>
                      </a:r>
                    </a:p>
                    <a:p>
                      <a:endParaRPr lang="en-GB" sz="1400" b="1"/>
                    </a:p>
                    <a:p>
                      <a:endParaRPr lang="en-GB" sz="1400" b="1"/>
                    </a:p>
                    <a:p>
                      <a:r>
                        <a:rPr lang="en-GB" sz="1400" b="1"/>
                        <a:t>Role: Project Lead</a:t>
                      </a:r>
                    </a:p>
                  </a:txBody>
                  <a:tcPr anchor="ctr">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solidFill>
                      <a:schemeClr val="bg1"/>
                    </a:solidFill>
                  </a:tcPr>
                </a:tc>
                <a:tc>
                  <a:txBody>
                    <a:bodyPr/>
                    <a:lstStyle/>
                    <a:p>
                      <a:pPr marL="171450" indent="-171450" algn="just">
                        <a:spcBef>
                          <a:spcPts val="300"/>
                        </a:spcBef>
                        <a:spcAft>
                          <a:spcPts val="300"/>
                        </a:spcAft>
                        <a:buFontTx/>
                        <a:buChar char="-"/>
                      </a:pPr>
                      <a:r>
                        <a:rPr lang="en-US" sz="1100"/>
                        <a:t>Total 10+ years of experience in IT consulting and Project Management</a:t>
                      </a:r>
                    </a:p>
                    <a:p>
                      <a:pPr marL="171450" indent="-171450" algn="just">
                        <a:spcBef>
                          <a:spcPts val="300"/>
                        </a:spcBef>
                        <a:spcAft>
                          <a:spcPts val="300"/>
                        </a:spcAft>
                        <a:buFontTx/>
                        <a:buChar char="-"/>
                      </a:pPr>
                      <a:r>
                        <a:rPr lang="en-US" sz="1100"/>
                        <a:t>Successfully managed project using waterfall and agile methodology resulting in high customer satisfaction.</a:t>
                      </a:r>
                    </a:p>
                    <a:p>
                      <a:pPr marL="171450" marR="0" lvl="0" indent="-171450" algn="just" defTabSz="1219170" rtl="0" eaLnBrk="1" fontAlgn="auto" latinLnBrk="0" hangingPunct="1">
                        <a:lnSpc>
                          <a:spcPct val="100000"/>
                        </a:lnSpc>
                        <a:spcBef>
                          <a:spcPts val="300"/>
                        </a:spcBef>
                        <a:spcAft>
                          <a:spcPts val="300"/>
                        </a:spcAft>
                        <a:buClrTx/>
                        <a:buSzTx/>
                        <a:buFontTx/>
                        <a:buChar char="-"/>
                        <a:tabLst/>
                        <a:defRPr/>
                      </a:pPr>
                      <a:r>
                        <a:rPr lang="en-US" sz="1100"/>
                        <a:t>Experience in Insurance domain , including managing large number of policy details and their current status.</a:t>
                      </a:r>
                    </a:p>
                    <a:p>
                      <a:pPr marL="171450" indent="-171450" algn="just">
                        <a:spcBef>
                          <a:spcPts val="300"/>
                        </a:spcBef>
                        <a:spcAft>
                          <a:spcPts val="300"/>
                        </a:spcAft>
                        <a:buFontTx/>
                        <a:buChar char="-"/>
                      </a:pPr>
                      <a:r>
                        <a:rPr lang="en-US" sz="1100"/>
                        <a:t>Experience in BFSI domain including working in core banking(KYC &amp; APF) for a globally present international bank.</a:t>
                      </a:r>
                    </a:p>
                    <a:p>
                      <a:pPr marL="171450" indent="-171450" algn="just">
                        <a:spcBef>
                          <a:spcPts val="300"/>
                        </a:spcBef>
                        <a:spcAft>
                          <a:spcPts val="300"/>
                        </a:spcAft>
                        <a:buFontTx/>
                        <a:buChar char="-"/>
                      </a:pPr>
                      <a:r>
                        <a:rPr lang="en-US" sz="1100"/>
                        <a:t>Experience in working with Java &amp; J2EE based technology &amp; framework.</a:t>
                      </a:r>
                    </a:p>
                    <a:p>
                      <a:pPr marL="171450" indent="-171450" algn="just">
                        <a:spcBef>
                          <a:spcPts val="300"/>
                        </a:spcBef>
                        <a:spcAft>
                          <a:spcPts val="300"/>
                        </a:spcAft>
                        <a:buFontTx/>
                        <a:buChar char="-"/>
                      </a:pPr>
                      <a:r>
                        <a:rPr lang="en-US" sz="1100"/>
                        <a:t>Responsible for capturing, aggregating and transforming vast amount of data into meaningful report.</a:t>
                      </a:r>
                    </a:p>
                    <a:p>
                      <a:pPr marL="171450" indent="-171450" algn="just">
                        <a:spcBef>
                          <a:spcPts val="300"/>
                        </a:spcBef>
                        <a:spcAft>
                          <a:spcPts val="300"/>
                        </a:spcAft>
                        <a:buFontTx/>
                        <a:buChar char="-"/>
                      </a:pPr>
                      <a:r>
                        <a:rPr lang="en-US" sz="1100"/>
                        <a:t>Technology skills : Java 8, Spring MVC, Spring Boot, Cucumber, Docker, Jenkins, GWT, </a:t>
                      </a:r>
                      <a:r>
                        <a:rPr lang="en-US" sz="1100" err="1"/>
                        <a:t>LifeRay</a:t>
                      </a:r>
                      <a:r>
                        <a:rPr lang="en-US" sz="1100"/>
                        <a:t> CMS, </a:t>
                      </a:r>
                      <a:r>
                        <a:rPr lang="en-US" sz="1100" err="1"/>
                        <a:t>Thymeleaf</a:t>
                      </a:r>
                      <a:r>
                        <a:rPr lang="en-US" sz="1100"/>
                        <a:t>, Hibernate, Struts, BPM, JPA, Maven, Pearl, JIRA, MySQL, GIT, </a:t>
                      </a:r>
                      <a:r>
                        <a:rPr lang="en-US" sz="1100" err="1"/>
                        <a:t>Jboss</a:t>
                      </a:r>
                      <a:r>
                        <a:rPr lang="en-US" sz="1100"/>
                        <a:t>, Tomcat</a:t>
                      </a:r>
                    </a:p>
                  </a:txBody>
                  <a:tcPr anchor="ctr">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33786260"/>
                  </a:ext>
                </a:extLst>
              </a:tr>
              <a:tr h="1939871">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a:t>Name: Raja </a:t>
                      </a:r>
                      <a:r>
                        <a:rPr lang="en-GB" sz="1400" b="1" err="1"/>
                        <a:t>Palai</a:t>
                      </a:r>
                      <a:endParaRPr lang="en-GB" sz="1400" b="1"/>
                    </a:p>
                    <a:p>
                      <a:endParaRPr lang="en-GB" sz="1400" b="1"/>
                    </a:p>
                    <a:p>
                      <a:r>
                        <a:rPr lang="en-GB" sz="1400" b="1"/>
                        <a:t>Role: Java Developer</a:t>
                      </a:r>
                    </a:p>
                  </a:txBody>
                  <a:tcPr anchor="ctr">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bg1"/>
                    </a:solidFill>
                  </a:tcPr>
                </a:tc>
                <a:tc>
                  <a:txBody>
                    <a:bodyPr/>
                    <a:lstStyle/>
                    <a:p>
                      <a:pPr marL="171450" indent="-171450" algn="just">
                        <a:spcBef>
                          <a:spcPts val="300"/>
                        </a:spcBef>
                        <a:spcAft>
                          <a:spcPts val="300"/>
                        </a:spcAft>
                        <a:buFontTx/>
                        <a:buChar char="-"/>
                      </a:pPr>
                      <a:r>
                        <a:rPr lang="en-US" sz="1100"/>
                        <a:t>Proficient in Java related technologies with 3.2 years of hands-on software implementation experience and a good mix of technical, management expertise. Adept at converting monolithic application to microservice</a:t>
                      </a:r>
                    </a:p>
                    <a:p>
                      <a:pPr marL="171450" indent="-171450" algn="just">
                        <a:spcBef>
                          <a:spcPts val="300"/>
                        </a:spcBef>
                        <a:spcAft>
                          <a:spcPts val="300"/>
                        </a:spcAft>
                        <a:buFontTx/>
                        <a:buChar char="-"/>
                      </a:pPr>
                      <a:r>
                        <a:rPr lang="en-US" sz="1100"/>
                        <a:t>For a large auto manufacturer, collaborated with the design team of 8 to develop high-quality software for Java/Spring Boot/Microservice applications Transformed monolithic app to microservices using Spring Boot</a:t>
                      </a:r>
                    </a:p>
                    <a:p>
                      <a:pPr marL="171450" indent="-171450" algn="just">
                        <a:spcBef>
                          <a:spcPts val="300"/>
                        </a:spcBef>
                        <a:spcAft>
                          <a:spcPts val="300"/>
                        </a:spcAft>
                        <a:buFontTx/>
                        <a:buChar char="-"/>
                      </a:pPr>
                      <a:r>
                        <a:rPr lang="en-US" sz="1100"/>
                        <a:t>Technology skills : Java, Rest </a:t>
                      </a:r>
                      <a:r>
                        <a:rPr lang="en-US" sz="1100" err="1"/>
                        <a:t>Api</a:t>
                      </a:r>
                      <a:r>
                        <a:rPr lang="en-US" sz="1100"/>
                        <a:t>, Spring (Spring boot), My SQL, Slf4j, ELK stack, Maven, Gradle, Jenkins, JIRA, SonarQube, Swagger, Insomnia, Postman, Tomcat, Junit, Mockito, Git, Eclipse, STS</a:t>
                      </a:r>
                    </a:p>
                    <a:p>
                      <a:pPr marL="171450" indent="-171450" algn="just">
                        <a:spcBef>
                          <a:spcPts val="300"/>
                        </a:spcBef>
                        <a:spcAft>
                          <a:spcPts val="300"/>
                        </a:spcAft>
                        <a:buFontTx/>
                        <a:buChar char="-"/>
                      </a:pPr>
                      <a:r>
                        <a:rPr lang="en-US" sz="1100"/>
                        <a:t>Experience in working with multiple development methodologies such as Waterfall, Agile</a:t>
                      </a:r>
                    </a:p>
                    <a:p>
                      <a:pPr marL="171450" indent="-171450" algn="just">
                        <a:spcBef>
                          <a:spcPts val="300"/>
                        </a:spcBef>
                        <a:spcAft>
                          <a:spcPts val="300"/>
                        </a:spcAft>
                        <a:buFontTx/>
                        <a:buChar char="-"/>
                      </a:pPr>
                      <a:r>
                        <a:rPr lang="en-US" sz="1100"/>
                        <a:t>Experience in application deployment in servers such as Apache Tomcat, J boss and IBM Web App Sphere </a:t>
                      </a:r>
                    </a:p>
                  </a:txBody>
                  <a:tcPr anchor="ctr">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bg1"/>
                    </a:solidFill>
                  </a:tcPr>
                </a:tc>
                <a:extLst>
                  <a:ext uri="{0D108BD9-81ED-4DB2-BD59-A6C34878D82A}">
                    <a16:rowId xmlns:a16="http://schemas.microsoft.com/office/drawing/2014/main" val="1259206566"/>
                  </a:ext>
                </a:extLst>
              </a:tr>
            </a:tbl>
          </a:graphicData>
        </a:graphic>
      </p:graphicFrame>
    </p:spTree>
    <p:extLst>
      <p:ext uri="{BB962C8B-B14F-4D97-AF65-F5344CB8AC3E}">
        <p14:creationId xmlns:p14="http://schemas.microsoft.com/office/powerpoint/2010/main" val="128285780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78DC7FCD-034B-4AB9-905F-9B017E25053D}"/>
              </a:ext>
            </a:extLst>
          </p:cNvPr>
          <p:cNvGraphicFramePr>
            <a:graphicFrameLocks noGrp="1"/>
          </p:cNvGraphicFramePr>
          <p:nvPr>
            <p:extLst>
              <p:ext uri="{D42A27DB-BD31-4B8C-83A1-F6EECF244321}">
                <p14:modId xmlns:p14="http://schemas.microsoft.com/office/powerpoint/2010/main" val="4070045889"/>
              </p:ext>
            </p:extLst>
          </p:nvPr>
        </p:nvGraphicFramePr>
        <p:xfrm>
          <a:off x="454631" y="1434380"/>
          <a:ext cx="11498020" cy="4226156"/>
        </p:xfrm>
        <a:graphic>
          <a:graphicData uri="http://schemas.openxmlformats.org/drawingml/2006/table">
            <a:tbl>
              <a:tblPr firstRow="1" bandRow="1">
                <a:tableStyleId>{5C22544A-7EE6-4342-B048-85BDC9FD1C3A}</a:tableStyleId>
              </a:tblPr>
              <a:tblGrid>
                <a:gridCol w="2273579">
                  <a:extLst>
                    <a:ext uri="{9D8B030D-6E8A-4147-A177-3AD203B41FA5}">
                      <a16:colId xmlns:a16="http://schemas.microsoft.com/office/drawing/2014/main" val="2438193139"/>
                    </a:ext>
                  </a:extLst>
                </a:gridCol>
                <a:gridCol w="9224441">
                  <a:extLst>
                    <a:ext uri="{9D8B030D-6E8A-4147-A177-3AD203B41FA5}">
                      <a16:colId xmlns:a16="http://schemas.microsoft.com/office/drawing/2014/main" val="1555917905"/>
                    </a:ext>
                  </a:extLst>
                </a:gridCol>
              </a:tblGrid>
              <a:tr h="393214">
                <a:tc>
                  <a:txBody>
                    <a:bodyPr/>
                    <a:lstStyle/>
                    <a:p>
                      <a:pPr algn="ctr"/>
                      <a:r>
                        <a:rPr lang="en-GB" sz="1600"/>
                        <a:t>Name / Role</a:t>
                      </a:r>
                    </a:p>
                  </a:txBody>
                  <a:tcPr anchor="ctr">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600"/>
                        <a:t>Experience</a:t>
                      </a:r>
                      <a:r>
                        <a:rPr lang="en-GB" sz="1600" baseline="0"/>
                        <a:t> Description</a:t>
                      </a:r>
                      <a:endParaRPr lang="en-GB" sz="1600"/>
                    </a:p>
                  </a:txBody>
                  <a:tcPr anchor="ctr">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11266063"/>
                  </a:ext>
                </a:extLst>
              </a:tr>
              <a:tr h="1440262">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a:t>Name: Rohit </a:t>
                      </a:r>
                      <a:r>
                        <a:rPr lang="en-GB" sz="1400" b="1" err="1"/>
                        <a:t>Vadje</a:t>
                      </a:r>
                      <a:endParaRPr lang="en-GB" sz="1400" b="1"/>
                    </a:p>
                    <a:p>
                      <a:endParaRPr lang="en-GB" sz="1400" b="1"/>
                    </a:p>
                    <a:p>
                      <a:endParaRPr lang="en-GB" sz="1400" b="1"/>
                    </a:p>
                    <a:p>
                      <a:r>
                        <a:rPr lang="en-GB" sz="1400" b="1"/>
                        <a:t>Role: Developer</a:t>
                      </a:r>
                    </a:p>
                  </a:txBody>
                  <a:tcPr anchor="ctr">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just">
                        <a:spcBef>
                          <a:spcPts val="300"/>
                        </a:spcBef>
                        <a:spcAft>
                          <a:spcPts val="300"/>
                        </a:spcAft>
                        <a:buFontTx/>
                        <a:buChar char="-"/>
                      </a:pPr>
                      <a:r>
                        <a:rPr lang="en-US" sz="1100"/>
                        <a:t> 5+ years of experience in </a:t>
                      </a:r>
                      <a:r>
                        <a:rPr lang="en-US" sz="1100" err="1"/>
                        <a:t>Fullstack</a:t>
                      </a:r>
                      <a:r>
                        <a:rPr lang="en-US" sz="1100"/>
                        <a:t> Development, Analysis, Maintenance of applications. Strong understanding of Development, Implementation, and Knowledge of various technologies like Java, Spring, Hibernate, REST, Maven, Git, Angular, Oracle, Node.js, HTML, CSS, JavaScript, Bootstrap.</a:t>
                      </a:r>
                    </a:p>
                    <a:p>
                      <a:pPr marL="171450" indent="-171450" algn="just">
                        <a:spcBef>
                          <a:spcPts val="300"/>
                        </a:spcBef>
                        <a:spcAft>
                          <a:spcPts val="300"/>
                        </a:spcAft>
                        <a:buFontTx/>
                        <a:buChar char="-"/>
                      </a:pPr>
                      <a:r>
                        <a:rPr lang="en-US" sz="1100"/>
                        <a:t>Experience in working in Insurance and Financial services domain</a:t>
                      </a:r>
                    </a:p>
                  </a:txBody>
                  <a:tcPr anchor="ctr">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33786260"/>
                  </a:ext>
                </a:extLst>
              </a:tr>
              <a:tr h="1939871">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a:t>Name: </a:t>
                      </a:r>
                      <a:r>
                        <a:rPr lang="en-GB" sz="1400" b="1" err="1"/>
                        <a:t>Indraneel</a:t>
                      </a:r>
                      <a:r>
                        <a:rPr lang="en-GB" sz="1400" b="1"/>
                        <a:t> Roy</a:t>
                      </a:r>
                    </a:p>
                    <a:p>
                      <a:endParaRPr lang="en-GB" sz="1400" b="1"/>
                    </a:p>
                    <a:p>
                      <a:r>
                        <a:rPr lang="en-GB" sz="1400" b="1"/>
                        <a:t>Role: Business Analyst</a:t>
                      </a:r>
                    </a:p>
                  </a:txBody>
                  <a:tcPr anchor="ctr">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just">
                        <a:spcBef>
                          <a:spcPts val="300"/>
                        </a:spcBef>
                        <a:spcAft>
                          <a:spcPts val="300"/>
                        </a:spcAft>
                        <a:buFontTx/>
                        <a:buChar char="-"/>
                      </a:pPr>
                      <a:r>
                        <a:rPr lang="en-US" sz="1100"/>
                        <a:t>24 years of experience in the IT industry having strong global engineering leadership and execution skills with focus on Innovation Collaboration and Delivery.</a:t>
                      </a:r>
                    </a:p>
                    <a:p>
                      <a:pPr marL="171450" indent="-171450" algn="just">
                        <a:spcBef>
                          <a:spcPts val="300"/>
                        </a:spcBef>
                        <a:spcAft>
                          <a:spcPts val="300"/>
                        </a:spcAft>
                        <a:buFontTx/>
                        <a:buChar char="-"/>
                      </a:pPr>
                      <a:r>
                        <a:rPr lang="en-US" sz="1100"/>
                        <a:t>Have good experience in ITIL Service Delivery Management with a thorough knowledge of Incident, Problem, Change and Release Management. </a:t>
                      </a:r>
                    </a:p>
                    <a:p>
                      <a:pPr marL="171450" indent="-171450" algn="just">
                        <a:spcBef>
                          <a:spcPts val="300"/>
                        </a:spcBef>
                        <a:spcAft>
                          <a:spcPts val="300"/>
                        </a:spcAft>
                        <a:buFontTx/>
                        <a:buChar char="-"/>
                      </a:pPr>
                      <a:r>
                        <a:rPr lang="en-US" sz="1100"/>
                        <a:t>Worked as Business Analyst, Technical Consultant, Project Manager, Test Lead, Senior Developer and Developer for Ministry of Transport UK and other global customers </a:t>
                      </a:r>
                    </a:p>
                    <a:p>
                      <a:pPr marL="171450" indent="-171450" algn="just">
                        <a:spcBef>
                          <a:spcPts val="300"/>
                        </a:spcBef>
                        <a:spcAft>
                          <a:spcPts val="300"/>
                        </a:spcAft>
                        <a:buFontTx/>
                        <a:buChar char="-"/>
                      </a:pPr>
                      <a:r>
                        <a:rPr lang="en-US" sz="1100"/>
                        <a:t>Has proficiency in project delivery &amp; management, technical management, customer interaction and people &amp; business management. </a:t>
                      </a:r>
                    </a:p>
                    <a:p>
                      <a:pPr marL="171450" indent="-171450" algn="just">
                        <a:spcBef>
                          <a:spcPts val="300"/>
                        </a:spcBef>
                        <a:spcAft>
                          <a:spcPts val="300"/>
                        </a:spcAft>
                        <a:buFontTx/>
                        <a:buChar char="-"/>
                      </a:pPr>
                      <a:r>
                        <a:rPr lang="en-US" sz="1100"/>
                        <a:t>Expertise in multiple test methodologies and types of testing such as Component, Unit, Integration, System and User acceptance test. \</a:t>
                      </a:r>
                    </a:p>
                    <a:p>
                      <a:pPr marL="171450" indent="-171450" algn="just">
                        <a:spcBef>
                          <a:spcPts val="300"/>
                        </a:spcBef>
                        <a:spcAft>
                          <a:spcPts val="300"/>
                        </a:spcAft>
                        <a:buFontTx/>
                        <a:buChar char="-"/>
                      </a:pPr>
                      <a:r>
                        <a:rPr lang="en-US" sz="1100"/>
                        <a:t>Technical expertise: Cobol, PL/SQL, AWK, C, C++, SESAM, XDB, DB2, VSAM, PVCS, Net Express, MS Office, UNIX, Windows 2000, NT and XP, BS2000, Hardware: SR2000(Mainframe), MAGNUM, HP-9000, AVIION II, PC-486, PENTIUM</a:t>
                      </a:r>
                    </a:p>
                    <a:p>
                      <a:pPr marL="171450" indent="-171450" algn="just">
                        <a:spcBef>
                          <a:spcPts val="300"/>
                        </a:spcBef>
                        <a:spcAft>
                          <a:spcPts val="300"/>
                        </a:spcAft>
                        <a:buFontTx/>
                        <a:buChar char="-"/>
                      </a:pPr>
                      <a:endParaRPr lang="en-US" sz="1100"/>
                    </a:p>
                  </a:txBody>
                  <a:tcPr anchor="ctr">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59206566"/>
                  </a:ext>
                </a:extLst>
              </a:tr>
            </a:tbl>
          </a:graphicData>
        </a:graphic>
      </p:graphicFrame>
      <p:sp>
        <p:nvSpPr>
          <p:cNvPr id="3" name="Title 2">
            <a:extLst>
              <a:ext uri="{FF2B5EF4-FFF2-40B4-BE49-F238E27FC236}">
                <a16:creationId xmlns:a16="http://schemas.microsoft.com/office/drawing/2014/main" id="{5BA24BF4-C26C-4D0D-A409-D66D3A94C7B8}"/>
              </a:ext>
            </a:extLst>
          </p:cNvPr>
          <p:cNvSpPr>
            <a:spLocks noGrp="1"/>
          </p:cNvSpPr>
          <p:nvPr>
            <p:ph type="title"/>
          </p:nvPr>
        </p:nvSpPr>
        <p:spPr/>
        <p:txBody>
          <a:bodyPr/>
          <a:lstStyle/>
          <a:p>
            <a:r>
              <a:rPr lang="en-US"/>
              <a:t>Indicative Profiles</a:t>
            </a:r>
            <a:endParaRPr lang="en-GB"/>
          </a:p>
        </p:txBody>
      </p:sp>
    </p:spTree>
    <p:extLst>
      <p:ext uri="{BB962C8B-B14F-4D97-AF65-F5344CB8AC3E}">
        <p14:creationId xmlns:p14="http://schemas.microsoft.com/office/powerpoint/2010/main" val="12895989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FAA4E43-20BE-4B5F-865E-0EC376423498}"/>
              </a:ext>
            </a:extLst>
          </p:cNvPr>
          <p:cNvSpPr>
            <a:spLocks noGrp="1"/>
          </p:cNvSpPr>
          <p:nvPr>
            <p:ph type="title"/>
          </p:nvPr>
        </p:nvSpPr>
        <p:spPr/>
        <p:txBody>
          <a:bodyPr/>
          <a:lstStyle/>
          <a:p>
            <a:r>
              <a:rPr lang="en-GB"/>
              <a:t>Atos Value Proposition</a:t>
            </a:r>
          </a:p>
        </p:txBody>
      </p:sp>
      <p:sp>
        <p:nvSpPr>
          <p:cNvPr id="2" name="Text Placeholder 1">
            <a:extLst>
              <a:ext uri="{FF2B5EF4-FFF2-40B4-BE49-F238E27FC236}">
                <a16:creationId xmlns:a16="http://schemas.microsoft.com/office/drawing/2014/main" id="{0A873016-D924-4DB1-899D-091067F0D32C}"/>
              </a:ext>
            </a:extLst>
          </p:cNvPr>
          <p:cNvSpPr>
            <a:spLocks noGrp="1"/>
          </p:cNvSpPr>
          <p:nvPr>
            <p:ph type="body" sz="quarter" idx="10"/>
          </p:nvPr>
        </p:nvSpPr>
        <p:spPr/>
        <p:txBody>
          <a:bodyPr/>
          <a:lstStyle/>
          <a:p>
            <a:r>
              <a:rPr lang="en-US"/>
              <a:t>Certainty; Domain Credentials; Program Flexibility; Tools</a:t>
            </a:r>
            <a:endParaRPr lang="en-IN"/>
          </a:p>
        </p:txBody>
      </p:sp>
      <p:sp>
        <p:nvSpPr>
          <p:cNvPr id="14" name="TextBox 13">
            <a:extLst>
              <a:ext uri="{FF2B5EF4-FFF2-40B4-BE49-F238E27FC236}">
                <a16:creationId xmlns:a16="http://schemas.microsoft.com/office/drawing/2014/main" id="{BFC228D4-E7B1-40D5-80C6-C18489A37551}"/>
              </a:ext>
            </a:extLst>
          </p:cNvPr>
          <p:cNvSpPr txBox="1"/>
          <p:nvPr/>
        </p:nvSpPr>
        <p:spPr>
          <a:xfrm>
            <a:off x="7447386" y="1139567"/>
            <a:ext cx="4260773" cy="1862048"/>
          </a:xfrm>
          <a:prstGeom prst="rect">
            <a:avLst/>
          </a:prstGeom>
          <a:noFill/>
        </p:spPr>
        <p:txBody>
          <a:bodyPr wrap="square" rtlCol="0" anchor="b" anchorCtr="0">
            <a:spAutoFit/>
          </a:bodyPr>
          <a:lstStyle/>
          <a:p>
            <a:pPr algn="just" defTabSz="685663">
              <a:defRPr/>
            </a:pPr>
            <a:r>
              <a:rPr lang="en-US" b="1" u="sng">
                <a:solidFill>
                  <a:srgbClr val="FF5269"/>
                </a:solidFill>
                <a:latin typeface="+mj-lt"/>
              </a:rPr>
              <a:t>Resource Readiness</a:t>
            </a:r>
          </a:p>
          <a:p>
            <a:pPr marL="0" marR="0" lvl="0" indent="0" algn="l" defTabSz="685663"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0066A1"/>
              </a:solidFill>
              <a:effectLst/>
              <a:uLnTx/>
              <a:uFillTx/>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prstClr val="black"/>
                </a:solidFill>
                <a:effectLst/>
                <a:uLnTx/>
                <a:uFillTx/>
                <a:ea typeface="+mn-ea"/>
                <a:cs typeface="+mn-cs"/>
              </a:rPr>
              <a:t>Senior Program Managers </a:t>
            </a:r>
            <a:r>
              <a:rPr kumimoji="0" lang="en-US" sz="1200" b="0" i="0" u="none" strike="noStrike" kern="1200" cap="none" spc="0" normalizeH="0" baseline="0" noProof="0">
                <a:ln>
                  <a:noFill/>
                </a:ln>
                <a:solidFill>
                  <a:prstClr val="black"/>
                </a:solidFill>
                <a:effectLst/>
                <a:uLnTx/>
                <a:uFillTx/>
                <a:ea typeface="+mn-ea"/>
                <a:cs typeface="+mn-cs"/>
              </a:rPr>
              <a:t>to spearhead the overall SLX migration program;</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prstClr val="black"/>
                </a:solidFill>
                <a:effectLst/>
                <a:uLnTx/>
                <a:uFillTx/>
                <a:ea typeface="+mn-ea"/>
                <a:cs typeface="+mn-cs"/>
              </a:rPr>
              <a:t>Certified expertise </a:t>
            </a:r>
            <a:r>
              <a:rPr kumimoji="0" lang="en-US" sz="1200" b="0" i="0" u="none" strike="noStrike" kern="1200" cap="none" spc="0" normalizeH="0" baseline="0" noProof="0">
                <a:ln>
                  <a:noFill/>
                </a:ln>
                <a:solidFill>
                  <a:prstClr val="black"/>
                </a:solidFill>
                <a:effectLst/>
                <a:uLnTx/>
                <a:uFillTx/>
                <a:ea typeface="+mn-ea"/>
                <a:cs typeface="+mn-cs"/>
              </a:rPr>
              <a:t>on life and pensions domain;</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prstClr val="black"/>
                </a:solidFill>
                <a:effectLst/>
                <a:uLnTx/>
                <a:uFillTx/>
                <a:ea typeface="+mn-ea"/>
                <a:cs typeface="+mn-cs"/>
              </a:rPr>
              <a:t>Skilled Data migration experts </a:t>
            </a:r>
            <a:r>
              <a:rPr kumimoji="0" lang="en-US" sz="1200" b="0" i="0" u="none" strike="noStrike" kern="1200" cap="none" spc="0" normalizeH="0" baseline="0" noProof="0">
                <a:ln>
                  <a:noFill/>
                </a:ln>
                <a:solidFill>
                  <a:prstClr val="black"/>
                </a:solidFill>
                <a:effectLst/>
                <a:uLnTx/>
                <a:uFillTx/>
                <a:ea typeface="+mn-ea"/>
                <a:cs typeface="+mn-cs"/>
              </a:rPr>
              <a:t>across different levels available for immediate deployment in US and India </a:t>
            </a:r>
          </a:p>
          <a:p>
            <a:pPr marL="0" marR="0" lvl="0" indent="0" algn="l" defTabSz="685663"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0066A1"/>
              </a:solidFill>
              <a:effectLst/>
              <a:uLnTx/>
              <a:uFillTx/>
              <a:ea typeface="+mn-ea"/>
              <a:cs typeface="+mn-cs"/>
            </a:endParaRPr>
          </a:p>
        </p:txBody>
      </p:sp>
      <p:sp>
        <p:nvSpPr>
          <p:cNvPr id="15" name="TextBox 14">
            <a:extLst>
              <a:ext uri="{FF2B5EF4-FFF2-40B4-BE49-F238E27FC236}">
                <a16:creationId xmlns:a16="http://schemas.microsoft.com/office/drawing/2014/main" id="{D9C0BF71-2142-4902-BF49-C638FA834571}"/>
              </a:ext>
            </a:extLst>
          </p:cNvPr>
          <p:cNvSpPr txBox="1"/>
          <p:nvPr/>
        </p:nvSpPr>
        <p:spPr>
          <a:xfrm>
            <a:off x="362005" y="1139567"/>
            <a:ext cx="4713465" cy="1708160"/>
          </a:xfrm>
          <a:prstGeom prst="rect">
            <a:avLst/>
          </a:prstGeom>
          <a:noFill/>
        </p:spPr>
        <p:txBody>
          <a:bodyPr wrap="square" rtlCol="0" anchor="b" anchorCtr="0">
            <a:spAutoFit/>
          </a:bodyPr>
          <a:lstStyle/>
          <a:p>
            <a:pPr marL="0" marR="0" lvl="0" indent="0" algn="just" defTabSz="685663" rtl="0" eaLnBrk="1" fontAlgn="auto" latinLnBrk="0" hangingPunct="1">
              <a:lnSpc>
                <a:spcPct val="100000"/>
              </a:lnSpc>
              <a:spcBef>
                <a:spcPts val="0"/>
              </a:spcBef>
              <a:spcAft>
                <a:spcPts val="0"/>
              </a:spcAft>
              <a:buClrTx/>
              <a:buSzTx/>
              <a:buFontTx/>
              <a:buNone/>
              <a:tabLst/>
              <a:defRPr/>
            </a:pPr>
            <a:r>
              <a:rPr kumimoji="0" lang="en-US" b="1" i="0" u="sng" strike="noStrike" kern="1200" cap="none" spc="0" normalizeH="0" baseline="0" noProof="0">
                <a:ln>
                  <a:noFill/>
                </a:ln>
                <a:solidFill>
                  <a:srgbClr val="A626AA"/>
                </a:solidFill>
                <a:effectLst/>
                <a:uLnTx/>
                <a:uFillTx/>
                <a:latin typeface="+mj-lt"/>
                <a:ea typeface="+mn-ea"/>
                <a:cs typeface="+mn-cs"/>
              </a:rPr>
              <a:t>We understand Manulife’s business</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ea typeface="+mn-ea"/>
                <a:cs typeface="+mn-cs"/>
              </a:rPr>
              <a:t>15+ years of engagement with Manulife</a:t>
            </a:r>
            <a:r>
              <a:rPr kumimoji="0" lang="en-US" sz="1200" b="0" i="0" u="none" strike="noStrike" kern="1200" cap="none" spc="0" normalizeH="0" baseline="0" noProof="0">
                <a:ln>
                  <a:noFill/>
                </a:ln>
                <a:solidFill>
                  <a:prstClr val="black"/>
                </a:solidFill>
                <a:effectLst/>
                <a:uLnTx/>
                <a:uFillTx/>
                <a:ea typeface="+mn-ea"/>
                <a:cs typeface="+mn-cs"/>
              </a:rPr>
              <a:t>; </a:t>
            </a:r>
            <a:r>
              <a:rPr kumimoji="0" lang="en-US" sz="1200" b="1" i="0" u="none" strike="noStrike" kern="1200" cap="none" spc="0" normalizeH="0" baseline="0" noProof="0">
                <a:ln>
                  <a:noFill/>
                </a:ln>
                <a:solidFill>
                  <a:prstClr val="black"/>
                </a:solidFill>
                <a:effectLst/>
                <a:uLnTx/>
                <a:uFillTx/>
                <a:ea typeface="+mn-ea"/>
                <a:cs typeface="+mn-cs"/>
              </a:rPr>
              <a:t>In depth understanding </a:t>
            </a:r>
            <a:r>
              <a:rPr kumimoji="0" lang="en-US" sz="1200" b="0" i="0" u="none" strike="noStrike" kern="1200" cap="none" spc="0" normalizeH="0" baseline="0" noProof="0">
                <a:ln>
                  <a:noFill/>
                </a:ln>
                <a:solidFill>
                  <a:prstClr val="black"/>
                </a:solidFill>
                <a:effectLst/>
                <a:uLnTx/>
                <a:uFillTx/>
                <a:ea typeface="+mn-ea"/>
                <a:cs typeface="+mn-cs"/>
              </a:rPr>
              <a:t>of Manulife’s retirement business and processes;</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ea typeface="+mn-ea"/>
                <a:cs typeface="+mn-cs"/>
              </a:rPr>
              <a:t>Proven system and data migration </a:t>
            </a:r>
            <a:r>
              <a:rPr kumimoji="0" lang="en-US" sz="1200" b="0" i="0" u="none" strike="noStrike" kern="1200" cap="none" spc="0" normalizeH="0" baseline="0" noProof="0">
                <a:ln>
                  <a:noFill/>
                </a:ln>
                <a:solidFill>
                  <a:prstClr val="black"/>
                </a:solidFill>
                <a:effectLst/>
                <a:uLnTx/>
                <a:uFillTx/>
                <a:ea typeface="+mn-ea"/>
                <a:cs typeface="+mn-cs"/>
              </a:rPr>
              <a:t>of cross platform/ technologies in life &amp; retirement areas</a:t>
            </a:r>
          </a:p>
          <a:p>
            <a:pPr marL="0" marR="0" lvl="0" indent="0" algn="l" defTabSz="914400" rtl="0" eaLnBrk="1" fontAlgn="auto" latinLnBrk="0" hangingPunct="1">
              <a:lnSpc>
                <a:spcPct val="100000"/>
              </a:lnSpc>
              <a:spcBef>
                <a:spcPts val="600"/>
              </a:spcBef>
              <a:spcAft>
                <a:spcPts val="0"/>
              </a:spcAft>
              <a:buClrTx/>
              <a:buSzTx/>
              <a:buFontTx/>
              <a:buNone/>
              <a:tabLst/>
              <a:defRPr/>
            </a:pPr>
            <a:r>
              <a:rPr lang="en-US" sz="1200">
                <a:solidFill>
                  <a:prstClr val="black"/>
                </a:solidFill>
              </a:rPr>
              <a:t>Experience in </a:t>
            </a:r>
            <a:r>
              <a:rPr lang="en-US" sz="1200" b="1">
                <a:solidFill>
                  <a:prstClr val="black"/>
                </a:solidFill>
              </a:rPr>
              <a:t>Policy Admin consolidation, Lift and Shift Pensions Portfolio operations </a:t>
            </a:r>
            <a:r>
              <a:rPr lang="en-US" sz="1200">
                <a:solidFill>
                  <a:prstClr val="black"/>
                </a:solidFill>
              </a:rPr>
              <a:t>at Global Insurers</a:t>
            </a:r>
            <a:r>
              <a:rPr kumimoji="0" lang="en-US" sz="1200" b="0" i="0" u="none" strike="noStrike" kern="1200" cap="none" spc="0" normalizeH="0" baseline="0" noProof="0">
                <a:ln>
                  <a:noFill/>
                </a:ln>
                <a:solidFill>
                  <a:prstClr val="black"/>
                </a:solidFill>
                <a:effectLst/>
                <a:uLnTx/>
                <a:uFillTx/>
                <a:ea typeface="+mn-ea"/>
                <a:cs typeface="+mn-cs"/>
              </a:rPr>
              <a:t>  </a:t>
            </a:r>
          </a:p>
        </p:txBody>
      </p:sp>
      <p:sp>
        <p:nvSpPr>
          <p:cNvPr id="16" name="Subtitle 2">
            <a:extLst>
              <a:ext uri="{FF2B5EF4-FFF2-40B4-BE49-F238E27FC236}">
                <a16:creationId xmlns:a16="http://schemas.microsoft.com/office/drawing/2014/main" id="{83A500A5-B05E-40EC-A7DE-3A4823433BC8}"/>
              </a:ext>
            </a:extLst>
          </p:cNvPr>
          <p:cNvSpPr txBox="1">
            <a:spLocks/>
          </p:cNvSpPr>
          <p:nvPr/>
        </p:nvSpPr>
        <p:spPr>
          <a:xfrm>
            <a:off x="362006" y="4526965"/>
            <a:ext cx="5348754" cy="1669431"/>
          </a:xfrm>
          <a:prstGeom prst="rect">
            <a:avLst/>
          </a:prstGeom>
        </p:spPr>
        <p:txBody>
          <a:bodyPr vert="horz" wrap="square" lIns="34290" tIns="17145" rIns="34290" bIns="17145"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just" defTabSz="685663">
              <a:lnSpc>
                <a:spcPct val="100000"/>
              </a:lnSpc>
              <a:spcBef>
                <a:spcPts val="0"/>
              </a:spcBef>
              <a:defRPr/>
            </a:pPr>
            <a:r>
              <a:rPr lang="en-US" sz="1800" b="1" u="sng">
                <a:solidFill>
                  <a:srgbClr val="1359B4"/>
                </a:solidFill>
                <a:latin typeface="+mj-lt"/>
                <a:cs typeface="+mn-cs"/>
              </a:rPr>
              <a:t>Mitigate Risks , Program flexibility</a:t>
            </a:r>
          </a:p>
          <a:p>
            <a:pPr marL="0" marR="0" lvl="0" indent="0" algn="just" defTabSz="407864" rtl="0" eaLnBrk="1" fontAlgn="auto" latinLnBrk="0" hangingPunct="1">
              <a:lnSpc>
                <a:spcPts val="1313"/>
              </a:lnSpc>
              <a:spcBef>
                <a:spcPct val="20000"/>
              </a:spcBef>
              <a:spcAft>
                <a:spcPts val="0"/>
              </a:spcAft>
              <a:buClrTx/>
              <a:buSzTx/>
              <a:buFont typeface="Arial"/>
              <a:buNone/>
              <a:tabLst/>
              <a:defRPr/>
            </a:pPr>
            <a:endParaRPr kumimoji="0" lang="en-US" sz="1400" b="0" i="0" u="none" strike="noStrike" kern="1200" cap="none" spc="0" normalizeH="0" baseline="0" noProof="0">
              <a:ln>
                <a:noFill/>
              </a:ln>
              <a:solidFill>
                <a:srgbClr val="0066A1"/>
              </a:solidFill>
              <a:effectLst/>
              <a:uLnTx/>
              <a:uFillTx/>
              <a:latin typeface="+mn-lt"/>
              <a:ea typeface="+mn-ea"/>
              <a:cs typeface="Open Sans Light"/>
            </a:endParaRPr>
          </a:p>
          <a:p>
            <a:pPr marL="0" marR="0" lvl="0" indent="0" algn="l" defTabSz="407864" rtl="0" eaLnBrk="1" fontAlgn="auto" latinLnBrk="0" hangingPunct="1">
              <a:lnSpc>
                <a:spcPts val="1313"/>
              </a:lnSpc>
              <a:spcBef>
                <a:spcPct val="20000"/>
              </a:spcBef>
              <a:spcAft>
                <a:spcPts val="0"/>
              </a:spcAft>
              <a:buClrTx/>
              <a:buSzTx/>
              <a:buFont typeface="Arial"/>
              <a:buNone/>
              <a:tabLst/>
              <a:defRPr/>
            </a:pPr>
            <a:r>
              <a:rPr kumimoji="0" lang="en-US" sz="1200" b="1" i="0" u="none" strike="noStrike" kern="1200" cap="none" spc="0" normalizeH="0" baseline="0" noProof="0">
                <a:ln>
                  <a:noFill/>
                </a:ln>
                <a:solidFill>
                  <a:prstClr val="black"/>
                </a:solidFill>
                <a:effectLst/>
                <a:uLnTx/>
                <a:uFillTx/>
                <a:latin typeface="+mn-lt"/>
                <a:ea typeface="Lato Light" panose="020F0502020204030203" pitchFamily="34" charset="0"/>
                <a:cs typeface="Mukta ExtraLight" panose="020B0000000000000000" pitchFamily="34" charset="77"/>
              </a:rPr>
              <a:t>Ready to use Templates &amp; Checklists;</a:t>
            </a:r>
          </a:p>
          <a:p>
            <a:pPr marL="0" marR="0" lvl="0" indent="0" algn="l" defTabSz="407864" rtl="0" eaLnBrk="1" fontAlgn="auto" latinLnBrk="0" hangingPunct="1">
              <a:lnSpc>
                <a:spcPts val="1313"/>
              </a:lnSpc>
              <a:spcBef>
                <a:spcPct val="20000"/>
              </a:spcBef>
              <a:spcAft>
                <a:spcPts val="0"/>
              </a:spcAft>
              <a:buClrTx/>
              <a:buSzTx/>
              <a:buFont typeface="Arial"/>
              <a:buNone/>
              <a:tabLst/>
              <a:defRPr/>
            </a:pPr>
            <a:r>
              <a:rPr kumimoji="0" lang="en-US" sz="1200" b="0" i="0" u="none" strike="noStrike" kern="1200" cap="none" spc="0" normalizeH="0" baseline="0" noProof="0">
                <a:ln>
                  <a:noFill/>
                </a:ln>
                <a:solidFill>
                  <a:prstClr val="black"/>
                </a:solidFill>
                <a:effectLst/>
                <a:uLnTx/>
                <a:uFillTx/>
                <a:latin typeface="+mn-lt"/>
                <a:ea typeface="Lato Light" panose="020F0502020204030203" pitchFamily="34" charset="0"/>
                <a:cs typeface="Mukta ExtraLight" panose="020B0000000000000000" pitchFamily="34" charset="77"/>
              </a:rPr>
              <a:t>Atos Lessons learnt to </a:t>
            </a:r>
            <a:r>
              <a:rPr kumimoji="0" lang="en-US" sz="1200" b="1" i="0" u="none" strike="noStrike" kern="1200" cap="none" spc="0" normalizeH="0" baseline="0" noProof="0">
                <a:ln>
                  <a:noFill/>
                </a:ln>
                <a:solidFill>
                  <a:prstClr val="black"/>
                </a:solidFill>
                <a:effectLst/>
                <a:uLnTx/>
                <a:uFillTx/>
                <a:latin typeface="+mn-lt"/>
                <a:ea typeface="Lato Light" panose="020F0502020204030203" pitchFamily="34" charset="0"/>
                <a:cs typeface="Mukta ExtraLight" panose="020B0000000000000000" pitchFamily="34" charset="77"/>
              </a:rPr>
              <a:t>bring in efficiency, certainty and to speed up execution;</a:t>
            </a:r>
          </a:p>
          <a:p>
            <a:pPr marL="0" marR="0" lvl="0" indent="0" algn="l" defTabSz="407864" rtl="0" eaLnBrk="1" fontAlgn="auto" latinLnBrk="0" hangingPunct="1">
              <a:lnSpc>
                <a:spcPts val="1313"/>
              </a:lnSpc>
              <a:spcBef>
                <a:spcPct val="20000"/>
              </a:spcBef>
              <a:spcAft>
                <a:spcPts val="0"/>
              </a:spcAft>
              <a:buClrTx/>
              <a:buSzTx/>
              <a:buFont typeface="Arial"/>
              <a:buNone/>
              <a:tabLst/>
              <a:defRPr/>
            </a:pPr>
            <a:r>
              <a:rPr kumimoji="0" lang="en-US" sz="1200" b="0" i="0" u="none" strike="noStrike" kern="1200" cap="none" spc="0" normalizeH="0" baseline="0" noProof="0">
                <a:ln>
                  <a:noFill/>
                </a:ln>
                <a:solidFill>
                  <a:prstClr val="black"/>
                </a:solidFill>
                <a:effectLst/>
                <a:uLnTx/>
                <a:uFillTx/>
                <a:latin typeface="+mn-lt"/>
                <a:ea typeface="Lato Light" panose="020F0502020204030203" pitchFamily="34" charset="0"/>
                <a:cs typeface="Mukta ExtraLight" panose="020B0000000000000000" pitchFamily="34" charset="77"/>
              </a:rPr>
              <a:t>Atos understands </a:t>
            </a:r>
            <a:r>
              <a:rPr kumimoji="0" lang="en-US" sz="1200" b="1" i="0" u="none" strike="noStrike" kern="1200" cap="none" spc="0" normalizeH="0" baseline="0" noProof="0">
                <a:ln>
                  <a:noFill/>
                </a:ln>
                <a:solidFill>
                  <a:prstClr val="black"/>
                </a:solidFill>
                <a:effectLst/>
                <a:uLnTx/>
                <a:uFillTx/>
                <a:latin typeface="+mn-lt"/>
                <a:ea typeface="Lato Light" panose="020F0502020204030203" pitchFamily="34" charset="0"/>
                <a:cs typeface="Mukta ExtraLight" panose="020B0000000000000000" pitchFamily="34" charset="77"/>
              </a:rPr>
              <a:t>potential risks </a:t>
            </a:r>
            <a:r>
              <a:rPr kumimoji="0" lang="en-US" sz="1200" b="0" i="0" u="none" strike="noStrike" kern="1200" cap="none" spc="0" normalizeH="0" baseline="0" noProof="0">
                <a:ln>
                  <a:noFill/>
                </a:ln>
                <a:solidFill>
                  <a:prstClr val="black"/>
                </a:solidFill>
                <a:effectLst/>
                <a:uLnTx/>
                <a:uFillTx/>
                <a:latin typeface="+mn-lt"/>
                <a:ea typeface="Lato Light" panose="020F0502020204030203" pitchFamily="34" charset="0"/>
                <a:cs typeface="Mukta ExtraLight" panose="020B0000000000000000" pitchFamily="34" charset="77"/>
              </a:rPr>
              <a:t>and have </a:t>
            </a:r>
            <a:r>
              <a:rPr kumimoji="0" lang="en-US" sz="1200" b="1" i="0" u="none" strike="noStrike" kern="1200" cap="none" spc="0" normalizeH="0" baseline="0" noProof="0">
                <a:ln>
                  <a:noFill/>
                </a:ln>
                <a:solidFill>
                  <a:prstClr val="black"/>
                </a:solidFill>
                <a:effectLst/>
                <a:uLnTx/>
                <a:uFillTx/>
                <a:latin typeface="+mn-lt"/>
                <a:ea typeface="Lato Light" panose="020F0502020204030203" pitchFamily="34" charset="0"/>
                <a:cs typeface="Mukta ExtraLight" panose="020B0000000000000000" pitchFamily="34" charset="77"/>
              </a:rPr>
              <a:t>mitigation strategy </a:t>
            </a:r>
          </a:p>
          <a:p>
            <a:pPr marL="0" marR="0" lvl="0" indent="0" algn="l" defTabSz="407864" rtl="0" eaLnBrk="1" fontAlgn="auto" latinLnBrk="0" hangingPunct="1">
              <a:lnSpc>
                <a:spcPts val="1313"/>
              </a:lnSpc>
              <a:spcBef>
                <a:spcPct val="20000"/>
              </a:spcBef>
              <a:spcAft>
                <a:spcPts val="0"/>
              </a:spcAft>
              <a:buClrTx/>
              <a:buSzTx/>
              <a:buFont typeface="Arial"/>
              <a:buNone/>
              <a:tabLst/>
              <a:defRPr/>
            </a:pPr>
            <a:r>
              <a:rPr lang="en-US" sz="1200" b="1">
                <a:solidFill>
                  <a:prstClr val="black"/>
                </a:solidFill>
                <a:latin typeface="+mn-lt"/>
                <a:ea typeface="Lato Light" panose="020F0502020204030203" pitchFamily="34" charset="0"/>
                <a:cs typeface="Mukta ExtraLight" panose="020B0000000000000000" pitchFamily="34" charset="77"/>
              </a:rPr>
              <a:t>Program flexibility </a:t>
            </a:r>
            <a:r>
              <a:rPr lang="en-US" sz="1200">
                <a:solidFill>
                  <a:prstClr val="black"/>
                </a:solidFill>
                <a:latin typeface="+mn-lt"/>
                <a:ea typeface="Lato Light" panose="020F0502020204030203" pitchFamily="34" charset="0"/>
                <a:cs typeface="Mukta ExtraLight" panose="020B0000000000000000" pitchFamily="34" charset="77"/>
              </a:rPr>
              <a:t>to align with Manulife; Be on the journey together with understanding of pros and cons as choices</a:t>
            </a:r>
            <a:endParaRPr kumimoji="0" lang="en-US" sz="1200" i="0" u="none" strike="noStrike" kern="1200" cap="none" spc="0" normalizeH="0" baseline="0" noProof="0">
              <a:ln>
                <a:noFill/>
              </a:ln>
              <a:solidFill>
                <a:prstClr val="black"/>
              </a:solidFill>
              <a:effectLst/>
              <a:uLnTx/>
              <a:uFillTx/>
              <a:latin typeface="+mn-lt"/>
              <a:ea typeface="Lato Light" panose="020F0502020204030203" pitchFamily="34" charset="0"/>
              <a:cs typeface="Mukta ExtraLight" panose="020B0000000000000000" pitchFamily="34" charset="77"/>
            </a:endParaRPr>
          </a:p>
        </p:txBody>
      </p:sp>
      <p:sp>
        <p:nvSpPr>
          <p:cNvPr id="18" name="Subtitle 2">
            <a:extLst>
              <a:ext uri="{FF2B5EF4-FFF2-40B4-BE49-F238E27FC236}">
                <a16:creationId xmlns:a16="http://schemas.microsoft.com/office/drawing/2014/main" id="{385655AD-4F5C-47E0-B458-7473A843DFEA}"/>
              </a:ext>
            </a:extLst>
          </p:cNvPr>
          <p:cNvSpPr txBox="1">
            <a:spLocks/>
          </p:cNvSpPr>
          <p:nvPr/>
        </p:nvSpPr>
        <p:spPr>
          <a:xfrm>
            <a:off x="7515384" y="4714750"/>
            <a:ext cx="4402842" cy="781496"/>
          </a:xfrm>
          <a:prstGeom prst="rect">
            <a:avLst/>
          </a:prstGeom>
        </p:spPr>
        <p:txBody>
          <a:bodyPr vert="horz" wrap="square" lIns="34290" tIns="17145" rIns="34290" bIns="17145"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407864" rtl="0" eaLnBrk="1" fontAlgn="auto" latinLnBrk="0" hangingPunct="1">
              <a:lnSpc>
                <a:spcPts val="1313"/>
              </a:lnSpc>
              <a:spcBef>
                <a:spcPct val="20000"/>
              </a:spcBef>
              <a:spcAft>
                <a:spcPts val="0"/>
              </a:spcAft>
              <a:buClrTx/>
              <a:buSzTx/>
              <a:buFont typeface="Arial"/>
              <a:buNone/>
              <a:tabLst/>
              <a:defRPr/>
            </a:pPr>
            <a:r>
              <a:rPr lang="en-US" sz="1800" b="1" u="sng">
                <a:solidFill>
                  <a:srgbClr val="3F9C35"/>
                </a:solidFill>
                <a:latin typeface="+mj-lt"/>
                <a:cs typeface="+mn-cs"/>
              </a:rPr>
              <a:t>Accelerators</a:t>
            </a:r>
            <a:r>
              <a:rPr kumimoji="0" lang="en-US" sz="1400" b="1" i="0" u="none" strike="noStrike" kern="1200" cap="none" spc="0" normalizeH="0" baseline="0" noProof="0">
                <a:ln>
                  <a:noFill/>
                </a:ln>
                <a:solidFill>
                  <a:srgbClr val="3F9C35"/>
                </a:solidFill>
                <a:effectLst/>
                <a:uLnTx/>
                <a:uFillTx/>
                <a:latin typeface="+mj-lt"/>
                <a:ea typeface="+mn-ea"/>
                <a:cs typeface="Open Sans Light"/>
              </a:rPr>
              <a:t> </a:t>
            </a:r>
            <a:endParaRPr lang="en-US" sz="1400" b="1">
              <a:solidFill>
                <a:srgbClr val="3F9C35"/>
              </a:solidFill>
              <a:latin typeface="+mj-lt"/>
            </a:endParaRPr>
          </a:p>
          <a:p>
            <a:pPr marL="0" marR="0" lvl="0" indent="0" algn="l" defTabSz="407864" rtl="0" eaLnBrk="1" fontAlgn="auto" latinLnBrk="0" hangingPunct="1">
              <a:lnSpc>
                <a:spcPts val="1313"/>
              </a:lnSpc>
              <a:spcBef>
                <a:spcPct val="20000"/>
              </a:spcBef>
              <a:spcAft>
                <a:spcPts val="0"/>
              </a:spcAft>
              <a:buClrTx/>
              <a:buSzTx/>
              <a:buFont typeface="Arial"/>
              <a:buNone/>
              <a:tabLst/>
              <a:defRPr/>
            </a:pPr>
            <a:endParaRPr kumimoji="0" lang="en-US" sz="1400" b="1" i="0" u="none" strike="noStrike" kern="1200" cap="none" spc="0" normalizeH="0" baseline="0" noProof="0">
              <a:ln>
                <a:noFill/>
              </a:ln>
              <a:solidFill>
                <a:srgbClr val="FF0000"/>
              </a:solidFill>
              <a:effectLst/>
              <a:uLnTx/>
              <a:uFillTx/>
              <a:latin typeface="+mn-lt"/>
              <a:ea typeface="Lato Light" panose="020F0502020204030203" pitchFamily="34" charset="0"/>
              <a:cs typeface="Mukta ExtraLight" panose="020B0000000000000000" pitchFamily="34" charset="77"/>
            </a:endParaRPr>
          </a:p>
          <a:p>
            <a:pPr marL="0" marR="0" lvl="0" indent="0" algn="l" defTabSz="407864" rtl="0" eaLnBrk="1" fontAlgn="auto" latinLnBrk="0" hangingPunct="1">
              <a:lnSpc>
                <a:spcPts val="1313"/>
              </a:lnSpc>
              <a:spcBef>
                <a:spcPct val="20000"/>
              </a:spcBef>
              <a:spcAft>
                <a:spcPts val="0"/>
              </a:spcAft>
              <a:buClrTx/>
              <a:buSzTx/>
              <a:buFont typeface="Arial"/>
              <a:buNone/>
              <a:tabLst/>
              <a:defRPr/>
            </a:pPr>
            <a:r>
              <a:rPr kumimoji="0" lang="en-US" sz="1200" b="1" i="0" u="none" strike="noStrike" kern="1200" cap="none" spc="0" normalizeH="0" baseline="0" noProof="0">
                <a:ln>
                  <a:noFill/>
                </a:ln>
                <a:solidFill>
                  <a:prstClr val="black"/>
                </a:solidFill>
                <a:effectLst/>
                <a:uLnTx/>
                <a:uFillTx/>
                <a:latin typeface="+mn-lt"/>
                <a:ea typeface="Lato Light" panose="020F0502020204030203" pitchFamily="34" charset="0"/>
                <a:cs typeface="Mukta ExtraLight" panose="020B0000000000000000" pitchFamily="34" charset="77"/>
              </a:rPr>
              <a:t>Atos accelerators (Data Validator, Data Modernization Toolkit)</a:t>
            </a:r>
            <a:r>
              <a:rPr kumimoji="0" lang="en-US" sz="1200" b="0" i="0" u="none" strike="noStrike" kern="1200" cap="none" spc="0" normalizeH="0" baseline="0" noProof="0">
                <a:ln>
                  <a:noFill/>
                </a:ln>
                <a:solidFill>
                  <a:prstClr val="black"/>
                </a:solidFill>
                <a:effectLst/>
                <a:uLnTx/>
                <a:uFillTx/>
                <a:latin typeface="+mn-lt"/>
                <a:ea typeface="Lato Light" panose="020F0502020204030203" pitchFamily="34" charset="0"/>
                <a:cs typeface="Mukta ExtraLight" panose="020B0000000000000000" pitchFamily="34" charset="77"/>
              </a:rPr>
              <a:t> for </a:t>
            </a:r>
            <a:r>
              <a:rPr kumimoji="0" lang="en-US" sz="1200" b="1" i="0" u="none" strike="noStrike" kern="1200" cap="none" spc="0" normalizeH="0" baseline="0" noProof="0">
                <a:ln>
                  <a:noFill/>
                </a:ln>
                <a:solidFill>
                  <a:prstClr val="black"/>
                </a:solidFill>
                <a:effectLst/>
                <a:uLnTx/>
                <a:uFillTx/>
                <a:latin typeface="+mn-lt"/>
                <a:ea typeface="Lato Light" panose="020F0502020204030203" pitchFamily="34" charset="0"/>
                <a:cs typeface="Mukta ExtraLight" panose="020B0000000000000000" pitchFamily="34" charset="77"/>
              </a:rPr>
              <a:t>accurate and risk-free data migration, process automation</a:t>
            </a:r>
            <a:r>
              <a:rPr kumimoji="0" lang="en-US" sz="1200" b="0" i="0" u="none" strike="noStrike" kern="1200" cap="none" spc="0" normalizeH="0" baseline="0" noProof="0">
                <a:ln>
                  <a:noFill/>
                </a:ln>
                <a:solidFill>
                  <a:prstClr val="black"/>
                </a:solidFill>
                <a:effectLst/>
                <a:uLnTx/>
                <a:uFillTx/>
                <a:latin typeface="+mn-lt"/>
                <a:ea typeface="Lato Light" panose="020F0502020204030203" pitchFamily="34" charset="0"/>
                <a:cs typeface="Mukta ExtraLight" panose="020B0000000000000000" pitchFamily="34" charset="77"/>
              </a:rPr>
              <a:t> </a:t>
            </a:r>
          </a:p>
        </p:txBody>
      </p:sp>
      <p:sp>
        <p:nvSpPr>
          <p:cNvPr id="19" name="TextBox 18">
            <a:extLst>
              <a:ext uri="{FF2B5EF4-FFF2-40B4-BE49-F238E27FC236}">
                <a16:creationId xmlns:a16="http://schemas.microsoft.com/office/drawing/2014/main" id="{7864008C-216F-4826-9330-0E7C516824A9}"/>
              </a:ext>
            </a:extLst>
          </p:cNvPr>
          <p:cNvSpPr txBox="1"/>
          <p:nvPr/>
        </p:nvSpPr>
        <p:spPr>
          <a:xfrm>
            <a:off x="143286" y="3348001"/>
            <a:ext cx="4452518"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1" u="sng" strike="noStrike" kern="1200" cap="none" spc="0" normalizeH="0" baseline="0" noProof="0">
                <a:ln>
                  <a:noFill/>
                </a:ln>
                <a:solidFill>
                  <a:srgbClr val="FA6119"/>
                </a:solidFill>
                <a:effectLst/>
                <a:uLnTx/>
                <a:uFillTx/>
                <a:latin typeface="+mj-lt"/>
                <a:ea typeface="+mn-ea"/>
                <a:cs typeface="+mn-cs"/>
              </a:rPr>
              <a:t>Risk mitigation through governance and program management</a:t>
            </a:r>
          </a:p>
        </p:txBody>
      </p:sp>
      <p:sp>
        <p:nvSpPr>
          <p:cNvPr id="20" name="TextBox 19">
            <a:extLst>
              <a:ext uri="{FF2B5EF4-FFF2-40B4-BE49-F238E27FC236}">
                <a16:creationId xmlns:a16="http://schemas.microsoft.com/office/drawing/2014/main" id="{71E0D573-81FC-40A3-9A91-AA02DFE43DE5}"/>
              </a:ext>
            </a:extLst>
          </p:cNvPr>
          <p:cNvSpPr txBox="1"/>
          <p:nvPr/>
        </p:nvSpPr>
        <p:spPr>
          <a:xfrm>
            <a:off x="7422593" y="3348001"/>
            <a:ext cx="4435789"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1" u="sng" strike="noStrike" kern="1200" cap="none" spc="0" normalizeH="0" baseline="0" noProof="0">
                <a:ln>
                  <a:noFill/>
                </a:ln>
                <a:solidFill>
                  <a:srgbClr val="FA6119"/>
                </a:solidFill>
                <a:effectLst/>
                <a:uLnTx/>
                <a:uFillTx/>
                <a:latin typeface="+mj-lt"/>
                <a:ea typeface="+mn-ea"/>
                <a:cs typeface="+mn-cs"/>
              </a:rPr>
              <a:t>Efficiency and certainty </a:t>
            </a:r>
            <a:r>
              <a:rPr kumimoji="0" lang="en-IN" sz="2000" b="1" i="1" u="sng" strike="noStrike" kern="1200" cap="none" spc="0" normalizeH="0" baseline="0" noProof="0">
                <a:ln>
                  <a:noFill/>
                </a:ln>
                <a:solidFill>
                  <a:srgbClr val="FA6119"/>
                </a:solidFill>
                <a:effectLst/>
                <a:uLnTx/>
                <a:uFillTx/>
                <a:latin typeface="+mj-lt"/>
                <a:ea typeface="+mn-ea"/>
                <a:cs typeface="+mn-cs"/>
              </a:rPr>
              <a:t>in migration process </a:t>
            </a:r>
            <a:r>
              <a:rPr kumimoji="0" lang="en-US" sz="2000" b="1" i="1" u="sng" strike="noStrike" kern="1200" cap="none" spc="0" normalizeH="0" baseline="0" noProof="0">
                <a:ln>
                  <a:noFill/>
                </a:ln>
                <a:solidFill>
                  <a:srgbClr val="FA6119"/>
                </a:solidFill>
                <a:effectLst/>
                <a:uLnTx/>
                <a:uFillTx/>
                <a:latin typeface="+mj-lt"/>
                <a:ea typeface="+mn-ea"/>
                <a:cs typeface="+mn-cs"/>
              </a:rPr>
              <a:t>with proven best practices</a:t>
            </a:r>
          </a:p>
        </p:txBody>
      </p:sp>
      <p:grpSp>
        <p:nvGrpSpPr>
          <p:cNvPr id="4" name="Group 3">
            <a:extLst>
              <a:ext uri="{FF2B5EF4-FFF2-40B4-BE49-F238E27FC236}">
                <a16:creationId xmlns:a16="http://schemas.microsoft.com/office/drawing/2014/main" id="{1ECF277C-9DD0-4660-B52F-9DE03BD979DA}"/>
              </a:ext>
            </a:extLst>
          </p:cNvPr>
          <p:cNvGrpSpPr/>
          <p:nvPr/>
        </p:nvGrpSpPr>
        <p:grpSpPr>
          <a:xfrm>
            <a:off x="4706666" y="2396723"/>
            <a:ext cx="2629857" cy="2581246"/>
            <a:chOff x="3468737" y="1417873"/>
            <a:chExt cx="4660552" cy="4610068"/>
          </a:xfrm>
        </p:grpSpPr>
        <p:sp>
          <p:nvSpPr>
            <p:cNvPr id="6" name="Freeform 80">
              <a:extLst>
                <a:ext uri="{FF2B5EF4-FFF2-40B4-BE49-F238E27FC236}">
                  <a16:creationId xmlns:a16="http://schemas.microsoft.com/office/drawing/2014/main" id="{1465662B-0E19-42D5-ADF3-40CFF880A17D}"/>
                </a:ext>
              </a:extLst>
            </p:cNvPr>
            <p:cNvSpPr/>
            <p:nvPr/>
          </p:nvSpPr>
          <p:spPr>
            <a:xfrm rot="5400000">
              <a:off x="5673533" y="1941557"/>
              <a:ext cx="2717532" cy="2193981"/>
            </a:xfrm>
            <a:custGeom>
              <a:avLst/>
              <a:gdLst>
                <a:gd name="connsiteX0" fmla="*/ 4443713 w 6084927"/>
                <a:gd name="connsiteY0" fmla="*/ 4079819 h 4853633"/>
                <a:gd name="connsiteX1" fmla="*/ 4443713 w 6084927"/>
                <a:gd name="connsiteY1" fmla="*/ 0 h 4853633"/>
                <a:gd name="connsiteX2" fmla="*/ 6084927 w 6084927"/>
                <a:gd name="connsiteY2" fmla="*/ 2039910 h 4853633"/>
                <a:gd name="connsiteX3" fmla="*/ 0 w 6084927"/>
                <a:gd name="connsiteY3" fmla="*/ 4816737 h 4853633"/>
                <a:gd name="connsiteX4" fmla="*/ 8488 w 6084927"/>
                <a:gd name="connsiteY4" fmla="*/ 4702750 h 4853633"/>
                <a:gd name="connsiteX5" fmla="*/ 4338710 w 6084927"/>
                <a:gd name="connsiteY5" fmla="*/ 574816 h 4853633"/>
                <a:gd name="connsiteX6" fmla="*/ 4443712 w 6084927"/>
                <a:gd name="connsiteY6" fmla="*/ 572161 h 4853633"/>
                <a:gd name="connsiteX7" fmla="*/ 4443712 w 6084927"/>
                <a:gd name="connsiteY7" fmla="*/ 3513727 h 4853633"/>
                <a:gd name="connsiteX8" fmla="*/ 4406101 w 6084927"/>
                <a:gd name="connsiteY8" fmla="*/ 3515627 h 4853633"/>
                <a:gd name="connsiteX9" fmla="*/ 2954035 w 6084927"/>
                <a:gd name="connsiteY9" fmla="*/ 4845028 h 4853633"/>
                <a:gd name="connsiteX10" fmla="*/ 2952776 w 6084927"/>
                <a:gd name="connsiteY10" fmla="*/ 4853633 h 4853633"/>
                <a:gd name="connsiteX11" fmla="*/ 1453459 w 6084927"/>
                <a:gd name="connsiteY11" fmla="*/ 3647353 h 4853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84927" h="4853633">
                  <a:moveTo>
                    <a:pt x="4443713" y="4079819"/>
                  </a:moveTo>
                  <a:lnTo>
                    <a:pt x="4443713" y="0"/>
                  </a:lnTo>
                  <a:lnTo>
                    <a:pt x="6084927" y="2039910"/>
                  </a:lnTo>
                  <a:close/>
                  <a:moveTo>
                    <a:pt x="0" y="4816737"/>
                  </a:moveTo>
                  <a:lnTo>
                    <a:pt x="8488" y="4702750"/>
                  </a:lnTo>
                  <a:cubicBezTo>
                    <a:pt x="229182" y="2459185"/>
                    <a:pt x="2065764" y="690032"/>
                    <a:pt x="4338710" y="574816"/>
                  </a:cubicBezTo>
                  <a:lnTo>
                    <a:pt x="4443712" y="572161"/>
                  </a:lnTo>
                  <a:lnTo>
                    <a:pt x="4443712" y="3513727"/>
                  </a:lnTo>
                  <a:lnTo>
                    <a:pt x="4406101" y="3515627"/>
                  </a:lnTo>
                  <a:cubicBezTo>
                    <a:pt x="3677933" y="3589575"/>
                    <a:pt x="3089712" y="4136909"/>
                    <a:pt x="2954035" y="4845028"/>
                  </a:cubicBezTo>
                  <a:lnTo>
                    <a:pt x="2952776" y="4853633"/>
                  </a:lnTo>
                  <a:lnTo>
                    <a:pt x="1453459" y="3647353"/>
                  </a:lnTo>
                  <a:close/>
                </a:path>
              </a:pathLst>
            </a:custGeom>
            <a:solidFill>
              <a:schemeClr val="accent3"/>
            </a:solidFill>
            <a:ln w="12700" cap="flat" cmpd="sng" algn="ctr">
              <a:noFill/>
              <a:prstDash val="solid"/>
              <a:miter lim="800000"/>
            </a:ln>
            <a:effectLst/>
          </p:spPr>
          <p:txBody>
            <a:bodyPr rtlCol="0" anchor="ctr"/>
            <a:lstStyle/>
            <a:p>
              <a:pPr marL="0" marR="0" lvl="0" indent="0" algn="ctr" defTabSz="6856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Verdana"/>
                <a:ea typeface="+mn-ea"/>
                <a:cs typeface="+mn-cs"/>
              </a:endParaRPr>
            </a:p>
          </p:txBody>
        </p:sp>
        <p:sp>
          <p:nvSpPr>
            <p:cNvPr id="7" name="Freeform 77">
              <a:extLst>
                <a:ext uri="{FF2B5EF4-FFF2-40B4-BE49-F238E27FC236}">
                  <a16:creationId xmlns:a16="http://schemas.microsoft.com/office/drawing/2014/main" id="{9BECEFA5-B8F3-413C-81BA-1A4D19DA8143}"/>
                </a:ext>
              </a:extLst>
            </p:cNvPr>
            <p:cNvSpPr/>
            <p:nvPr/>
          </p:nvSpPr>
          <p:spPr>
            <a:xfrm rot="5400000">
              <a:off x="4021162" y="1126627"/>
              <a:ext cx="2168174" cy="2750665"/>
            </a:xfrm>
            <a:custGeom>
              <a:avLst/>
              <a:gdLst>
                <a:gd name="connsiteX0" fmla="*/ 576010 w 4854841"/>
                <a:gd name="connsiteY0" fmla="*/ 1641215 h 6085158"/>
                <a:gd name="connsiteX1" fmla="*/ 3517577 w 4854841"/>
                <a:gd name="connsiteY1" fmla="*/ 1641215 h 6085158"/>
                <a:gd name="connsiteX2" fmla="*/ 3519477 w 4854841"/>
                <a:gd name="connsiteY2" fmla="*/ 1678825 h 6085158"/>
                <a:gd name="connsiteX3" fmla="*/ 4848877 w 4854841"/>
                <a:gd name="connsiteY3" fmla="*/ 3130891 h 6085158"/>
                <a:gd name="connsiteX4" fmla="*/ 4854841 w 4854841"/>
                <a:gd name="connsiteY4" fmla="*/ 3131763 h 6085158"/>
                <a:gd name="connsiteX5" fmla="*/ 3651200 w 4854841"/>
                <a:gd name="connsiteY5" fmla="*/ 4627801 h 6085158"/>
                <a:gd name="connsiteX6" fmla="*/ 4823720 w 4854841"/>
                <a:gd name="connsiteY6" fmla="*/ 6085158 h 6085158"/>
                <a:gd name="connsiteX7" fmla="*/ 4706599 w 4854841"/>
                <a:gd name="connsiteY7" fmla="*/ 6076438 h 6085158"/>
                <a:gd name="connsiteX8" fmla="*/ 578665 w 4854841"/>
                <a:gd name="connsiteY8" fmla="*/ 1746216 h 6085158"/>
                <a:gd name="connsiteX9" fmla="*/ 0 w 4854841"/>
                <a:gd name="connsiteY9" fmla="*/ 1641214 h 6085158"/>
                <a:gd name="connsiteX10" fmla="*/ 2039910 w 4854841"/>
                <a:gd name="connsiteY10" fmla="*/ 0 h 6085158"/>
                <a:gd name="connsiteX11" fmla="*/ 4079818 w 4854841"/>
                <a:gd name="connsiteY11" fmla="*/ 1641214 h 6085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54841" h="6085158">
                  <a:moveTo>
                    <a:pt x="576010" y="1641215"/>
                  </a:moveTo>
                  <a:lnTo>
                    <a:pt x="3517577" y="1641215"/>
                  </a:lnTo>
                  <a:lnTo>
                    <a:pt x="3519477" y="1678825"/>
                  </a:lnTo>
                  <a:cubicBezTo>
                    <a:pt x="3593425" y="2406993"/>
                    <a:pt x="4140758" y="2995213"/>
                    <a:pt x="4848877" y="3130891"/>
                  </a:cubicBezTo>
                  <a:lnTo>
                    <a:pt x="4854841" y="3131763"/>
                  </a:lnTo>
                  <a:lnTo>
                    <a:pt x="3651200" y="4627801"/>
                  </a:lnTo>
                  <a:lnTo>
                    <a:pt x="4823720" y="6085158"/>
                  </a:lnTo>
                  <a:lnTo>
                    <a:pt x="4706599" y="6076438"/>
                  </a:lnTo>
                  <a:cubicBezTo>
                    <a:pt x="2463034" y="5855743"/>
                    <a:pt x="693881" y="4019161"/>
                    <a:pt x="578665" y="1746216"/>
                  </a:cubicBezTo>
                  <a:close/>
                  <a:moveTo>
                    <a:pt x="0" y="1641214"/>
                  </a:moveTo>
                  <a:lnTo>
                    <a:pt x="2039910" y="0"/>
                  </a:lnTo>
                  <a:lnTo>
                    <a:pt x="4079818" y="1641214"/>
                  </a:lnTo>
                  <a:close/>
                </a:path>
              </a:pathLst>
            </a:custGeom>
            <a:solidFill>
              <a:srgbClr val="A626AA"/>
            </a:solidFill>
            <a:ln w="12700" cap="flat" cmpd="sng" algn="ctr">
              <a:noFill/>
              <a:prstDash val="solid"/>
              <a:miter lim="800000"/>
            </a:ln>
            <a:effectLst/>
          </p:spPr>
          <p:txBody>
            <a:bodyPr rtlCol="0" anchor="ctr"/>
            <a:lstStyle/>
            <a:p>
              <a:pPr marL="0" marR="0" lvl="0" indent="0" algn="ctr" defTabSz="6856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Verdana"/>
                <a:ea typeface="+mn-ea"/>
                <a:cs typeface="+mn-cs"/>
              </a:endParaRPr>
            </a:p>
          </p:txBody>
        </p:sp>
        <p:sp>
          <p:nvSpPr>
            <p:cNvPr id="8" name="Freeform 78">
              <a:extLst>
                <a:ext uri="{FF2B5EF4-FFF2-40B4-BE49-F238E27FC236}">
                  <a16:creationId xmlns:a16="http://schemas.microsoft.com/office/drawing/2014/main" id="{13DB3E35-BDFA-451C-A298-BFEC924C8F8F}"/>
                </a:ext>
              </a:extLst>
            </p:cNvPr>
            <p:cNvSpPr/>
            <p:nvPr/>
          </p:nvSpPr>
          <p:spPr>
            <a:xfrm rot="5400000">
              <a:off x="3207085" y="3311608"/>
              <a:ext cx="2717776" cy="2194472"/>
            </a:xfrm>
            <a:custGeom>
              <a:avLst/>
              <a:gdLst>
                <a:gd name="connsiteX0" fmla="*/ 1641214 w 6085474"/>
                <a:gd name="connsiteY0" fmla="*/ 4282378 h 4854721"/>
                <a:gd name="connsiteX1" fmla="*/ 1641215 w 6085474"/>
                <a:gd name="connsiteY1" fmla="*/ 1340812 h 4854721"/>
                <a:gd name="connsiteX2" fmla="*/ 1678826 w 6085474"/>
                <a:gd name="connsiteY2" fmla="*/ 1338912 h 4854721"/>
                <a:gd name="connsiteX3" fmla="*/ 3130892 w 6085474"/>
                <a:gd name="connsiteY3" fmla="*/ 9511 h 4854721"/>
                <a:gd name="connsiteX4" fmla="*/ 3132283 w 6085474"/>
                <a:gd name="connsiteY4" fmla="*/ 0 h 4854721"/>
                <a:gd name="connsiteX5" fmla="*/ 4627802 w 6085474"/>
                <a:gd name="connsiteY5" fmla="*/ 1203224 h 4854721"/>
                <a:gd name="connsiteX6" fmla="*/ 6085474 w 6085474"/>
                <a:gd name="connsiteY6" fmla="*/ 30450 h 4854721"/>
                <a:gd name="connsiteX7" fmla="*/ 6076439 w 6085474"/>
                <a:gd name="connsiteY7" fmla="*/ 151789 h 4854721"/>
                <a:gd name="connsiteX8" fmla="*/ 1746217 w 6085474"/>
                <a:gd name="connsiteY8" fmla="*/ 4279723 h 4854721"/>
                <a:gd name="connsiteX9" fmla="*/ 0 w 6085474"/>
                <a:gd name="connsiteY9" fmla="*/ 2814812 h 4854721"/>
                <a:gd name="connsiteX10" fmla="*/ 1641214 w 6085474"/>
                <a:gd name="connsiteY10" fmla="*/ 774903 h 4854721"/>
                <a:gd name="connsiteX11" fmla="*/ 1641214 w 6085474"/>
                <a:gd name="connsiteY11" fmla="*/ 4282378 h 4854721"/>
                <a:gd name="connsiteX12" fmla="*/ 1641214 w 6085474"/>
                <a:gd name="connsiteY12" fmla="*/ 4854721 h 4854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85474" h="4854721">
                  <a:moveTo>
                    <a:pt x="1641214" y="4282378"/>
                  </a:moveTo>
                  <a:lnTo>
                    <a:pt x="1641215" y="1340812"/>
                  </a:lnTo>
                  <a:lnTo>
                    <a:pt x="1678826" y="1338912"/>
                  </a:lnTo>
                  <a:cubicBezTo>
                    <a:pt x="2406993" y="1264963"/>
                    <a:pt x="2995214" y="717630"/>
                    <a:pt x="3130892" y="9511"/>
                  </a:cubicBezTo>
                  <a:lnTo>
                    <a:pt x="3132283" y="0"/>
                  </a:lnTo>
                  <a:lnTo>
                    <a:pt x="4627802" y="1203224"/>
                  </a:lnTo>
                  <a:lnTo>
                    <a:pt x="6085474" y="30450"/>
                  </a:lnTo>
                  <a:lnTo>
                    <a:pt x="6076439" y="151789"/>
                  </a:lnTo>
                  <a:cubicBezTo>
                    <a:pt x="5855745" y="2395354"/>
                    <a:pt x="4019161" y="4164506"/>
                    <a:pt x="1746217" y="4279723"/>
                  </a:cubicBezTo>
                  <a:close/>
                  <a:moveTo>
                    <a:pt x="0" y="2814812"/>
                  </a:moveTo>
                  <a:lnTo>
                    <a:pt x="1641214" y="774903"/>
                  </a:lnTo>
                  <a:lnTo>
                    <a:pt x="1641214" y="4282378"/>
                  </a:lnTo>
                  <a:lnTo>
                    <a:pt x="1641214" y="4854721"/>
                  </a:lnTo>
                  <a:close/>
                </a:path>
              </a:pathLst>
            </a:custGeom>
            <a:solidFill>
              <a:srgbClr val="1359B4"/>
            </a:solidFill>
            <a:ln w="12700" cap="flat" cmpd="sng" algn="ctr">
              <a:noFill/>
              <a:prstDash val="solid"/>
              <a:miter lim="800000"/>
            </a:ln>
            <a:effectLst/>
          </p:spPr>
          <p:txBody>
            <a:bodyPr rtlCol="0" anchor="ctr"/>
            <a:lstStyle/>
            <a:p>
              <a:pPr marL="0" marR="0" lvl="0" indent="0" algn="ctr" defTabSz="6856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Verdana"/>
                <a:ea typeface="+mn-ea"/>
                <a:cs typeface="+mn-cs"/>
              </a:endParaRPr>
            </a:p>
          </p:txBody>
        </p:sp>
        <p:sp>
          <p:nvSpPr>
            <p:cNvPr id="9" name="Freeform 79">
              <a:extLst>
                <a:ext uri="{FF2B5EF4-FFF2-40B4-BE49-F238E27FC236}">
                  <a16:creationId xmlns:a16="http://schemas.microsoft.com/office/drawing/2014/main" id="{C9EB10D5-E6C6-41EB-B286-CC094916CC52}"/>
                </a:ext>
              </a:extLst>
            </p:cNvPr>
            <p:cNvSpPr/>
            <p:nvPr/>
          </p:nvSpPr>
          <p:spPr>
            <a:xfrm rot="5400000">
              <a:off x="5399512" y="3570263"/>
              <a:ext cx="2166476" cy="2748880"/>
            </a:xfrm>
            <a:custGeom>
              <a:avLst/>
              <a:gdLst>
                <a:gd name="connsiteX0" fmla="*/ 0 w 4851038"/>
                <a:gd name="connsiteY0" fmla="*/ 2953426 h 6081207"/>
                <a:gd name="connsiteX1" fmla="*/ 1203508 w 4851038"/>
                <a:gd name="connsiteY1" fmla="*/ 1457554 h 6081207"/>
                <a:gd name="connsiteX2" fmla="*/ 30830 w 4851038"/>
                <a:gd name="connsiteY2" fmla="*/ 0 h 6081207"/>
                <a:gd name="connsiteX3" fmla="*/ 148106 w 4851038"/>
                <a:gd name="connsiteY3" fmla="*/ 8732 h 6081207"/>
                <a:gd name="connsiteX4" fmla="*/ 4276040 w 4851038"/>
                <a:gd name="connsiteY4" fmla="*/ 4338954 h 6081207"/>
                <a:gd name="connsiteX5" fmla="*/ 4278596 w 4851038"/>
                <a:gd name="connsiteY5" fmla="*/ 4439993 h 6081207"/>
                <a:gd name="connsiteX6" fmla="*/ 4851038 w 4851038"/>
                <a:gd name="connsiteY6" fmla="*/ 4439993 h 6081207"/>
                <a:gd name="connsiteX7" fmla="*/ 2811130 w 4851038"/>
                <a:gd name="connsiteY7" fmla="*/ 6081207 h 6081207"/>
                <a:gd name="connsiteX8" fmla="*/ 771222 w 4851038"/>
                <a:gd name="connsiteY8" fmla="*/ 4439993 h 6081207"/>
                <a:gd name="connsiteX9" fmla="*/ 1336928 w 4851038"/>
                <a:gd name="connsiteY9" fmla="*/ 4439993 h 6081207"/>
                <a:gd name="connsiteX10" fmla="*/ 1335228 w 4851038"/>
                <a:gd name="connsiteY10" fmla="*/ 4406346 h 6081207"/>
                <a:gd name="connsiteX11" fmla="*/ 5829 w 4851038"/>
                <a:gd name="connsiteY11" fmla="*/ 2954279 h 6081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51038" h="6081207">
                  <a:moveTo>
                    <a:pt x="0" y="2953426"/>
                  </a:moveTo>
                  <a:lnTo>
                    <a:pt x="1203508" y="1457554"/>
                  </a:lnTo>
                  <a:lnTo>
                    <a:pt x="30830" y="0"/>
                  </a:lnTo>
                  <a:lnTo>
                    <a:pt x="148106" y="8732"/>
                  </a:lnTo>
                  <a:cubicBezTo>
                    <a:pt x="2391672" y="229427"/>
                    <a:pt x="4160825" y="2066009"/>
                    <a:pt x="4276040" y="4338954"/>
                  </a:cubicBezTo>
                  <a:lnTo>
                    <a:pt x="4278596" y="4439993"/>
                  </a:lnTo>
                  <a:lnTo>
                    <a:pt x="4851038" y="4439993"/>
                  </a:lnTo>
                  <a:lnTo>
                    <a:pt x="2811130" y="6081207"/>
                  </a:lnTo>
                  <a:lnTo>
                    <a:pt x="771222" y="4439993"/>
                  </a:lnTo>
                  <a:lnTo>
                    <a:pt x="1336928" y="4439993"/>
                  </a:lnTo>
                  <a:lnTo>
                    <a:pt x="1335228" y="4406346"/>
                  </a:lnTo>
                  <a:cubicBezTo>
                    <a:pt x="1261280" y="3678178"/>
                    <a:pt x="713947" y="3089956"/>
                    <a:pt x="5829" y="2954279"/>
                  </a:cubicBezTo>
                  <a:close/>
                </a:path>
              </a:pathLst>
            </a:custGeom>
            <a:solidFill>
              <a:srgbClr val="3F9C35"/>
            </a:solidFill>
            <a:ln w="12700" cap="flat" cmpd="sng" algn="ctr">
              <a:noFill/>
              <a:prstDash val="solid"/>
              <a:miter lim="800000"/>
            </a:ln>
            <a:effectLst/>
          </p:spPr>
          <p:txBody>
            <a:bodyPr rtlCol="0" anchor="ctr"/>
            <a:lstStyle/>
            <a:p>
              <a:pPr marL="0" marR="0" lvl="0" indent="0" algn="ctr" defTabSz="6856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Verdana"/>
                <a:ea typeface="+mn-ea"/>
                <a:cs typeface="+mn-cs"/>
              </a:endParaRPr>
            </a:p>
          </p:txBody>
        </p:sp>
        <p:sp>
          <p:nvSpPr>
            <p:cNvPr id="10" name="TextBox 9">
              <a:extLst>
                <a:ext uri="{FF2B5EF4-FFF2-40B4-BE49-F238E27FC236}">
                  <a16:creationId xmlns:a16="http://schemas.microsoft.com/office/drawing/2014/main" id="{DDA314CD-395D-4F91-8DD9-2A1630CBE3EE}"/>
                </a:ext>
              </a:extLst>
            </p:cNvPr>
            <p:cNvSpPr txBox="1"/>
            <p:nvPr/>
          </p:nvSpPr>
          <p:spPr>
            <a:xfrm>
              <a:off x="5662055" y="2177698"/>
              <a:ext cx="454471" cy="302397"/>
            </a:xfrm>
            <a:prstGeom prst="rect">
              <a:avLst/>
            </a:prstGeom>
            <a:noFill/>
          </p:spPr>
          <p:txBody>
            <a:bodyPr wrap="none" rtlCol="0" anchor="ctr" anchorCtr="0">
              <a:spAutoFit/>
            </a:bodyPr>
            <a:lstStyle/>
            <a:p>
              <a:pPr marL="0" marR="0" lvl="0" indent="0" algn="ctr" defTabSz="685663"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Verdana"/>
                  <a:ea typeface="League Spartan" charset="0"/>
                  <a:cs typeface="Poppins" pitchFamily="2" charset="77"/>
                </a:rPr>
                <a:t>02</a:t>
              </a:r>
            </a:p>
          </p:txBody>
        </p:sp>
        <p:sp>
          <p:nvSpPr>
            <p:cNvPr id="11" name="TextBox 10">
              <a:extLst>
                <a:ext uri="{FF2B5EF4-FFF2-40B4-BE49-F238E27FC236}">
                  <a16:creationId xmlns:a16="http://schemas.microsoft.com/office/drawing/2014/main" id="{BDCB0BC3-C401-4397-BDBC-42EA68A31785}"/>
                </a:ext>
              </a:extLst>
            </p:cNvPr>
            <p:cNvSpPr txBox="1"/>
            <p:nvPr/>
          </p:nvSpPr>
          <p:spPr>
            <a:xfrm>
              <a:off x="5481221" y="4601079"/>
              <a:ext cx="454471" cy="302397"/>
            </a:xfrm>
            <a:prstGeom prst="rect">
              <a:avLst/>
            </a:prstGeom>
            <a:noFill/>
          </p:spPr>
          <p:txBody>
            <a:bodyPr wrap="none" rtlCol="0" anchor="ctr" anchorCtr="0">
              <a:spAutoFit/>
            </a:bodyPr>
            <a:lstStyle/>
            <a:p>
              <a:pPr marL="0" marR="0" lvl="0" indent="0" algn="ctr" defTabSz="685663"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Verdana"/>
                  <a:ea typeface="League Spartan" charset="0"/>
                  <a:cs typeface="Poppins" pitchFamily="2" charset="77"/>
                </a:rPr>
                <a:t>04</a:t>
              </a:r>
            </a:p>
          </p:txBody>
        </p:sp>
        <p:sp>
          <p:nvSpPr>
            <p:cNvPr id="12" name="TextBox 11">
              <a:extLst>
                <a:ext uri="{FF2B5EF4-FFF2-40B4-BE49-F238E27FC236}">
                  <a16:creationId xmlns:a16="http://schemas.microsoft.com/office/drawing/2014/main" id="{B47B3404-B7C4-404B-A12D-2C7E687B12FC}"/>
                </a:ext>
              </a:extLst>
            </p:cNvPr>
            <p:cNvSpPr txBox="1"/>
            <p:nvPr/>
          </p:nvSpPr>
          <p:spPr>
            <a:xfrm>
              <a:off x="6979955" y="3583595"/>
              <a:ext cx="454471" cy="302397"/>
            </a:xfrm>
            <a:prstGeom prst="rect">
              <a:avLst/>
            </a:prstGeom>
            <a:noFill/>
          </p:spPr>
          <p:txBody>
            <a:bodyPr wrap="none" rtlCol="0" anchor="ctr" anchorCtr="0">
              <a:spAutoFit/>
            </a:bodyPr>
            <a:lstStyle/>
            <a:p>
              <a:pPr marL="0" marR="0" lvl="0" indent="0" algn="ctr" defTabSz="685663"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Verdana"/>
                  <a:ea typeface="League Spartan" charset="0"/>
                  <a:cs typeface="Poppins" pitchFamily="2" charset="77"/>
                </a:rPr>
                <a:t>03</a:t>
              </a:r>
            </a:p>
          </p:txBody>
        </p:sp>
        <p:sp>
          <p:nvSpPr>
            <p:cNvPr id="13" name="TextBox 12">
              <a:extLst>
                <a:ext uri="{FF2B5EF4-FFF2-40B4-BE49-F238E27FC236}">
                  <a16:creationId xmlns:a16="http://schemas.microsoft.com/office/drawing/2014/main" id="{D4631E01-18E4-4B1C-88A0-5CC8119CA1FE}"/>
                </a:ext>
              </a:extLst>
            </p:cNvPr>
            <p:cNvSpPr txBox="1"/>
            <p:nvPr/>
          </p:nvSpPr>
          <p:spPr>
            <a:xfrm>
              <a:off x="4161446" y="3490582"/>
              <a:ext cx="454471" cy="302397"/>
            </a:xfrm>
            <a:prstGeom prst="rect">
              <a:avLst/>
            </a:prstGeom>
            <a:noFill/>
          </p:spPr>
          <p:txBody>
            <a:bodyPr wrap="none" rtlCol="0" anchor="ctr" anchorCtr="0">
              <a:spAutoFit/>
            </a:bodyPr>
            <a:lstStyle/>
            <a:p>
              <a:pPr marL="0" marR="0" lvl="0" indent="0" algn="ctr" defTabSz="685663"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Verdana"/>
                  <a:ea typeface="League Spartan" charset="0"/>
                  <a:cs typeface="Poppins" pitchFamily="2" charset="77"/>
                </a:rPr>
                <a:t>01</a:t>
              </a:r>
            </a:p>
          </p:txBody>
        </p:sp>
        <p:sp>
          <p:nvSpPr>
            <p:cNvPr id="17" name="Freeform 1025">
              <a:extLst>
                <a:ext uri="{FF2B5EF4-FFF2-40B4-BE49-F238E27FC236}">
                  <a16:creationId xmlns:a16="http://schemas.microsoft.com/office/drawing/2014/main" id="{B31152D5-601A-4289-9F71-549DCDA620F9}"/>
                </a:ext>
              </a:extLst>
            </p:cNvPr>
            <p:cNvSpPr>
              <a:spLocks noChangeAspect="1" noChangeArrowheads="1"/>
            </p:cNvSpPr>
            <p:nvPr/>
          </p:nvSpPr>
          <p:spPr bwMode="auto">
            <a:xfrm>
              <a:off x="4721709" y="2287582"/>
              <a:ext cx="572451" cy="565577"/>
            </a:xfrm>
            <a:custGeom>
              <a:avLst/>
              <a:gdLst>
                <a:gd name="T0" fmla="*/ 2479687 w 288771"/>
                <a:gd name="T1" fmla="*/ 4236112 h 290202"/>
                <a:gd name="T2" fmla="*/ 3229034 w 288771"/>
                <a:gd name="T3" fmla="*/ 4236112 h 290202"/>
                <a:gd name="T4" fmla="*/ 2854346 w 288771"/>
                <a:gd name="T5" fmla="*/ 3720588 h 290202"/>
                <a:gd name="T6" fmla="*/ 2854346 w 288771"/>
                <a:gd name="T7" fmla="*/ 4751613 h 290202"/>
                <a:gd name="T8" fmla="*/ 2854346 w 288771"/>
                <a:gd name="T9" fmla="*/ 3720588 h 290202"/>
                <a:gd name="T10" fmla="*/ 4162414 w 288771"/>
                <a:gd name="T11" fmla="*/ 3138851 h 290202"/>
                <a:gd name="T12" fmla="*/ 4068831 w 288771"/>
                <a:gd name="T13" fmla="*/ 3794167 h 290202"/>
                <a:gd name="T14" fmla="*/ 4450161 w 288771"/>
                <a:gd name="T15" fmla="*/ 3179379 h 290202"/>
                <a:gd name="T16" fmla="*/ 4119228 w 288771"/>
                <a:gd name="T17" fmla="*/ 2983458 h 290202"/>
                <a:gd name="T18" fmla="*/ 4795527 w 288771"/>
                <a:gd name="T19" fmla="*/ 3348273 h 290202"/>
                <a:gd name="T20" fmla="*/ 4406951 w 288771"/>
                <a:gd name="T21" fmla="*/ 3990023 h 290202"/>
                <a:gd name="T22" fmla="*/ 3982530 w 288771"/>
                <a:gd name="T23" fmla="*/ 3936047 h 290202"/>
                <a:gd name="T24" fmla="*/ 3781039 w 288771"/>
                <a:gd name="T25" fmla="*/ 3226665 h 290202"/>
                <a:gd name="T26" fmla="*/ 4263091 w 288771"/>
                <a:gd name="T27" fmla="*/ 1590318 h 290202"/>
                <a:gd name="T28" fmla="*/ 3932162 w 288771"/>
                <a:gd name="T29" fmla="*/ 2130786 h 290202"/>
                <a:gd name="T30" fmla="*/ 4450161 w 288771"/>
                <a:gd name="T31" fmla="*/ 2259137 h 290202"/>
                <a:gd name="T32" fmla="*/ 4263091 w 288771"/>
                <a:gd name="T33" fmla="*/ 1590318 h 290202"/>
                <a:gd name="T34" fmla="*/ 1135847 w 288771"/>
                <a:gd name="T35" fmla="*/ 1769443 h 290202"/>
                <a:gd name="T36" fmla="*/ 1270191 w 288771"/>
                <a:gd name="T37" fmla="*/ 2258124 h 290202"/>
                <a:gd name="T38" fmla="*/ 1779589 w 288771"/>
                <a:gd name="T39" fmla="*/ 2129167 h 290202"/>
                <a:gd name="T40" fmla="*/ 1461295 w 288771"/>
                <a:gd name="T41" fmla="*/ 1586177 h 290202"/>
                <a:gd name="T42" fmla="*/ 4745157 w 288771"/>
                <a:gd name="T43" fmla="*/ 1691653 h 290202"/>
                <a:gd name="T44" fmla="*/ 4543688 w 288771"/>
                <a:gd name="T45" fmla="*/ 2400988 h 290202"/>
                <a:gd name="T46" fmla="*/ 4119228 w 288771"/>
                <a:gd name="T47" fmla="*/ 2455054 h 290202"/>
                <a:gd name="T48" fmla="*/ 3723523 w 288771"/>
                <a:gd name="T49" fmla="*/ 1813281 h 290202"/>
                <a:gd name="T50" fmla="*/ 4406951 w 288771"/>
                <a:gd name="T51" fmla="*/ 1441710 h 290202"/>
                <a:gd name="T52" fmla="*/ 1730113 w 288771"/>
                <a:gd name="T53" fmla="*/ 1491178 h 290202"/>
                <a:gd name="T54" fmla="*/ 1602711 w 288771"/>
                <a:gd name="T55" fmla="*/ 2454964 h 290202"/>
                <a:gd name="T56" fmla="*/ 1192382 w 288771"/>
                <a:gd name="T57" fmla="*/ 2400652 h 290202"/>
                <a:gd name="T58" fmla="*/ 1318901 w 288771"/>
                <a:gd name="T59" fmla="*/ 1439415 h 290202"/>
                <a:gd name="T60" fmla="*/ 2479687 w 288771"/>
                <a:gd name="T61" fmla="*/ 1178907 h 290202"/>
                <a:gd name="T62" fmla="*/ 3229034 w 288771"/>
                <a:gd name="T63" fmla="*/ 1178907 h 290202"/>
                <a:gd name="T64" fmla="*/ 2854346 w 288771"/>
                <a:gd name="T65" fmla="*/ 666714 h 290202"/>
                <a:gd name="T66" fmla="*/ 2854346 w 288771"/>
                <a:gd name="T67" fmla="*/ 1697789 h 290202"/>
                <a:gd name="T68" fmla="*/ 2854346 w 288771"/>
                <a:gd name="T69" fmla="*/ 666714 h 290202"/>
                <a:gd name="T70" fmla="*/ 326357 w 288771"/>
                <a:gd name="T71" fmla="*/ 1862106 h 290202"/>
                <a:gd name="T72" fmla="*/ 305041 w 288771"/>
                <a:gd name="T73" fmla="*/ 2920052 h 290202"/>
                <a:gd name="T74" fmla="*/ 1318108 w 288771"/>
                <a:gd name="T75" fmla="*/ 2879605 h 290202"/>
                <a:gd name="T76" fmla="*/ 2005184 w 288771"/>
                <a:gd name="T77" fmla="*/ 3182851 h 290202"/>
                <a:gd name="T78" fmla="*/ 1495155 w 288771"/>
                <a:gd name="T79" fmla="*/ 4422756 h 290202"/>
                <a:gd name="T80" fmla="*/ 1608548 w 288771"/>
                <a:gd name="T81" fmla="*/ 4961800 h 290202"/>
                <a:gd name="T82" fmla="*/ 5377170 w 288771"/>
                <a:gd name="T83" fmla="*/ 3540009 h 290202"/>
                <a:gd name="T84" fmla="*/ 3322828 w 288771"/>
                <a:gd name="T85" fmla="*/ 204427 h 290202"/>
                <a:gd name="T86" fmla="*/ 5306340 w 288771"/>
                <a:gd name="T87" fmla="*/ 1336489 h 290202"/>
                <a:gd name="T88" fmla="*/ 2841121 w 288771"/>
                <a:gd name="T89" fmla="*/ 5420042 h 290202"/>
                <a:gd name="T90" fmla="*/ 1523479 w 288771"/>
                <a:gd name="T91" fmla="*/ 5110055 h 290202"/>
                <a:gd name="T92" fmla="*/ 1360590 w 288771"/>
                <a:gd name="T93" fmla="*/ 4321665 h 290202"/>
                <a:gd name="T94" fmla="*/ 1856409 w 288771"/>
                <a:gd name="T95" fmla="*/ 3263697 h 290202"/>
                <a:gd name="T96" fmla="*/ 637991 w 288771"/>
                <a:gd name="T97" fmla="*/ 3155899 h 290202"/>
                <a:gd name="T98" fmla="*/ 477 w 288771"/>
                <a:gd name="T99" fmla="*/ 2637034 h 290202"/>
                <a:gd name="T100" fmla="*/ 3351188 w 288771"/>
                <a:gd name="T101" fmla="*/ 42717 h 29020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88771" h="290202">
                  <a:moveTo>
                    <a:pt x="144742" y="208171"/>
                  </a:moveTo>
                  <a:cubicBezTo>
                    <a:pt x="134346" y="208171"/>
                    <a:pt x="125743" y="216416"/>
                    <a:pt x="125743" y="226812"/>
                  </a:cubicBezTo>
                  <a:cubicBezTo>
                    <a:pt x="125743" y="237207"/>
                    <a:pt x="134346" y="245810"/>
                    <a:pt x="144742" y="245810"/>
                  </a:cubicBezTo>
                  <a:cubicBezTo>
                    <a:pt x="155138" y="245810"/>
                    <a:pt x="163741" y="237207"/>
                    <a:pt x="163741" y="226812"/>
                  </a:cubicBezTo>
                  <a:cubicBezTo>
                    <a:pt x="163741" y="216416"/>
                    <a:pt x="155138" y="208171"/>
                    <a:pt x="144742" y="208171"/>
                  </a:cubicBezTo>
                  <a:close/>
                  <a:moveTo>
                    <a:pt x="144742" y="199209"/>
                  </a:moveTo>
                  <a:cubicBezTo>
                    <a:pt x="159798" y="199209"/>
                    <a:pt x="172344" y="211756"/>
                    <a:pt x="172344" y="226812"/>
                  </a:cubicBezTo>
                  <a:cubicBezTo>
                    <a:pt x="172344" y="242226"/>
                    <a:pt x="159798" y="254414"/>
                    <a:pt x="144742" y="254414"/>
                  </a:cubicBezTo>
                  <a:cubicBezTo>
                    <a:pt x="129328" y="254414"/>
                    <a:pt x="117140" y="242226"/>
                    <a:pt x="117140" y="226812"/>
                  </a:cubicBezTo>
                  <a:cubicBezTo>
                    <a:pt x="117140" y="211756"/>
                    <a:pt x="129328" y="199209"/>
                    <a:pt x="144742" y="199209"/>
                  </a:cubicBezTo>
                  <a:close/>
                  <a:moveTo>
                    <a:pt x="216177" y="167700"/>
                  </a:moveTo>
                  <a:cubicBezTo>
                    <a:pt x="214353" y="167700"/>
                    <a:pt x="212893" y="167700"/>
                    <a:pt x="211069" y="168062"/>
                  </a:cubicBezTo>
                  <a:cubicBezTo>
                    <a:pt x="206326" y="169509"/>
                    <a:pt x="201948" y="172764"/>
                    <a:pt x="199395" y="177105"/>
                  </a:cubicBezTo>
                  <a:cubicBezTo>
                    <a:pt x="193922" y="186148"/>
                    <a:pt x="197206" y="198084"/>
                    <a:pt x="206326" y="203148"/>
                  </a:cubicBezTo>
                  <a:cubicBezTo>
                    <a:pt x="215812" y="208573"/>
                    <a:pt x="227487" y="205318"/>
                    <a:pt x="232959" y="196275"/>
                  </a:cubicBezTo>
                  <a:cubicBezTo>
                    <a:pt x="238067" y="187233"/>
                    <a:pt x="235148" y="175296"/>
                    <a:pt x="225662" y="170232"/>
                  </a:cubicBezTo>
                  <a:cubicBezTo>
                    <a:pt x="222744" y="168424"/>
                    <a:pt x="219460" y="167700"/>
                    <a:pt x="216177" y="167700"/>
                  </a:cubicBezTo>
                  <a:close/>
                  <a:moveTo>
                    <a:pt x="208880" y="159743"/>
                  </a:moveTo>
                  <a:cubicBezTo>
                    <a:pt x="216177" y="157934"/>
                    <a:pt x="223473" y="158658"/>
                    <a:pt x="230405" y="162275"/>
                  </a:cubicBezTo>
                  <a:cubicBezTo>
                    <a:pt x="236607" y="166254"/>
                    <a:pt x="241350" y="172403"/>
                    <a:pt x="243174" y="179275"/>
                  </a:cubicBezTo>
                  <a:cubicBezTo>
                    <a:pt x="245363" y="186509"/>
                    <a:pt x="244269" y="194105"/>
                    <a:pt x="240621" y="200616"/>
                  </a:cubicBezTo>
                  <a:cubicBezTo>
                    <a:pt x="236607" y="207127"/>
                    <a:pt x="230770" y="211829"/>
                    <a:pt x="223473" y="213637"/>
                  </a:cubicBezTo>
                  <a:cubicBezTo>
                    <a:pt x="220920" y="214361"/>
                    <a:pt x="218366" y="214723"/>
                    <a:pt x="216177" y="214723"/>
                  </a:cubicBezTo>
                  <a:cubicBezTo>
                    <a:pt x="211069" y="214723"/>
                    <a:pt x="206326" y="213276"/>
                    <a:pt x="201948" y="210744"/>
                  </a:cubicBezTo>
                  <a:cubicBezTo>
                    <a:pt x="195381" y="207127"/>
                    <a:pt x="191003" y="200978"/>
                    <a:pt x="188814" y="193743"/>
                  </a:cubicBezTo>
                  <a:cubicBezTo>
                    <a:pt x="186990" y="186509"/>
                    <a:pt x="188085" y="179275"/>
                    <a:pt x="191733" y="172764"/>
                  </a:cubicBezTo>
                  <a:cubicBezTo>
                    <a:pt x="195381" y="166254"/>
                    <a:pt x="201584" y="161551"/>
                    <a:pt x="208880" y="159743"/>
                  </a:cubicBezTo>
                  <a:close/>
                  <a:moveTo>
                    <a:pt x="216177" y="85150"/>
                  </a:moveTo>
                  <a:cubicBezTo>
                    <a:pt x="212893" y="85150"/>
                    <a:pt x="209610" y="86236"/>
                    <a:pt x="206326" y="87682"/>
                  </a:cubicBezTo>
                  <a:cubicBezTo>
                    <a:pt x="197206" y="93108"/>
                    <a:pt x="193922" y="104683"/>
                    <a:pt x="199395" y="114087"/>
                  </a:cubicBezTo>
                  <a:cubicBezTo>
                    <a:pt x="201948" y="118428"/>
                    <a:pt x="206326" y="121683"/>
                    <a:pt x="211069" y="122768"/>
                  </a:cubicBezTo>
                  <a:cubicBezTo>
                    <a:pt x="216177" y="124215"/>
                    <a:pt x="221284" y="123492"/>
                    <a:pt x="225662" y="120960"/>
                  </a:cubicBezTo>
                  <a:cubicBezTo>
                    <a:pt x="235148" y="115534"/>
                    <a:pt x="238067" y="103959"/>
                    <a:pt x="232959" y="94917"/>
                  </a:cubicBezTo>
                  <a:cubicBezTo>
                    <a:pt x="229311" y="88767"/>
                    <a:pt x="222744" y="85150"/>
                    <a:pt x="216177" y="85150"/>
                  </a:cubicBezTo>
                  <a:close/>
                  <a:moveTo>
                    <a:pt x="74098" y="84928"/>
                  </a:moveTo>
                  <a:cubicBezTo>
                    <a:pt x="67641" y="84928"/>
                    <a:pt x="61183" y="88562"/>
                    <a:pt x="57596" y="94740"/>
                  </a:cubicBezTo>
                  <a:cubicBezTo>
                    <a:pt x="55084" y="99101"/>
                    <a:pt x="54367" y="104189"/>
                    <a:pt x="55802" y="109276"/>
                  </a:cubicBezTo>
                  <a:cubicBezTo>
                    <a:pt x="57237" y="114001"/>
                    <a:pt x="60466" y="118362"/>
                    <a:pt x="64412" y="120905"/>
                  </a:cubicBezTo>
                  <a:cubicBezTo>
                    <a:pt x="69076" y="123449"/>
                    <a:pt x="74098" y="124176"/>
                    <a:pt x="79121" y="122722"/>
                  </a:cubicBezTo>
                  <a:cubicBezTo>
                    <a:pt x="83785" y="121632"/>
                    <a:pt x="87731" y="118362"/>
                    <a:pt x="90242" y="114001"/>
                  </a:cubicBezTo>
                  <a:cubicBezTo>
                    <a:pt x="95624" y="104552"/>
                    <a:pt x="92754" y="92923"/>
                    <a:pt x="83426" y="87472"/>
                  </a:cubicBezTo>
                  <a:cubicBezTo>
                    <a:pt x="80556" y="86019"/>
                    <a:pt x="77327" y="84928"/>
                    <a:pt x="74098" y="84928"/>
                  </a:cubicBezTo>
                  <a:close/>
                  <a:moveTo>
                    <a:pt x="223473" y="77193"/>
                  </a:moveTo>
                  <a:cubicBezTo>
                    <a:pt x="230770" y="79363"/>
                    <a:pt x="236607" y="84065"/>
                    <a:pt x="240621" y="90576"/>
                  </a:cubicBezTo>
                  <a:cubicBezTo>
                    <a:pt x="244269" y="97087"/>
                    <a:pt x="245363" y="104321"/>
                    <a:pt x="243174" y="111555"/>
                  </a:cubicBezTo>
                  <a:cubicBezTo>
                    <a:pt x="241350" y="118789"/>
                    <a:pt x="236607" y="124577"/>
                    <a:pt x="230405" y="128555"/>
                  </a:cubicBezTo>
                  <a:cubicBezTo>
                    <a:pt x="226027" y="131087"/>
                    <a:pt x="220920" y="132173"/>
                    <a:pt x="216177" y="132173"/>
                  </a:cubicBezTo>
                  <a:cubicBezTo>
                    <a:pt x="213623" y="132173"/>
                    <a:pt x="211069" y="131811"/>
                    <a:pt x="208880" y="131449"/>
                  </a:cubicBezTo>
                  <a:cubicBezTo>
                    <a:pt x="201584" y="129279"/>
                    <a:pt x="195381" y="124577"/>
                    <a:pt x="191733" y="118428"/>
                  </a:cubicBezTo>
                  <a:cubicBezTo>
                    <a:pt x="188085" y="111917"/>
                    <a:pt x="186990" y="104321"/>
                    <a:pt x="188814" y="97087"/>
                  </a:cubicBezTo>
                  <a:cubicBezTo>
                    <a:pt x="191003" y="89853"/>
                    <a:pt x="195381" y="84065"/>
                    <a:pt x="201948" y="80086"/>
                  </a:cubicBezTo>
                  <a:cubicBezTo>
                    <a:pt x="208515" y="76469"/>
                    <a:pt x="216177" y="75384"/>
                    <a:pt x="223473" y="77193"/>
                  </a:cubicBezTo>
                  <a:close/>
                  <a:moveTo>
                    <a:pt x="66878" y="77070"/>
                  </a:moveTo>
                  <a:cubicBezTo>
                    <a:pt x="73740" y="75207"/>
                    <a:pt x="81274" y="76025"/>
                    <a:pt x="87731" y="79841"/>
                  </a:cubicBezTo>
                  <a:cubicBezTo>
                    <a:pt x="101005" y="87472"/>
                    <a:pt x="105669" y="104916"/>
                    <a:pt x="98135" y="118362"/>
                  </a:cubicBezTo>
                  <a:cubicBezTo>
                    <a:pt x="94548" y="124539"/>
                    <a:pt x="88449" y="129264"/>
                    <a:pt x="81274" y="131444"/>
                  </a:cubicBezTo>
                  <a:cubicBezTo>
                    <a:pt x="78762" y="131807"/>
                    <a:pt x="76610" y="132171"/>
                    <a:pt x="74098" y="132171"/>
                  </a:cubicBezTo>
                  <a:cubicBezTo>
                    <a:pt x="69076" y="132171"/>
                    <a:pt x="64412" y="131081"/>
                    <a:pt x="60466" y="128537"/>
                  </a:cubicBezTo>
                  <a:cubicBezTo>
                    <a:pt x="46833" y="120542"/>
                    <a:pt x="42528" y="103462"/>
                    <a:pt x="50062" y="90379"/>
                  </a:cubicBezTo>
                  <a:cubicBezTo>
                    <a:pt x="53829" y="83475"/>
                    <a:pt x="60017" y="78932"/>
                    <a:pt x="66878" y="77070"/>
                  </a:cubicBezTo>
                  <a:close/>
                  <a:moveTo>
                    <a:pt x="144742" y="44245"/>
                  </a:moveTo>
                  <a:cubicBezTo>
                    <a:pt x="134346" y="44245"/>
                    <a:pt x="125743" y="52793"/>
                    <a:pt x="125743" y="63122"/>
                  </a:cubicBezTo>
                  <a:cubicBezTo>
                    <a:pt x="125743" y="73450"/>
                    <a:pt x="134346" y="81999"/>
                    <a:pt x="144742" y="81999"/>
                  </a:cubicBezTo>
                  <a:cubicBezTo>
                    <a:pt x="155138" y="81999"/>
                    <a:pt x="163741" y="73450"/>
                    <a:pt x="163741" y="63122"/>
                  </a:cubicBezTo>
                  <a:cubicBezTo>
                    <a:pt x="163741" y="52793"/>
                    <a:pt x="155138" y="44245"/>
                    <a:pt x="144742" y="44245"/>
                  </a:cubicBezTo>
                  <a:close/>
                  <a:moveTo>
                    <a:pt x="144742" y="35697"/>
                  </a:moveTo>
                  <a:cubicBezTo>
                    <a:pt x="159798" y="35697"/>
                    <a:pt x="172344" y="48163"/>
                    <a:pt x="172344" y="63122"/>
                  </a:cubicBezTo>
                  <a:cubicBezTo>
                    <a:pt x="172344" y="78437"/>
                    <a:pt x="159798" y="90903"/>
                    <a:pt x="144742" y="90903"/>
                  </a:cubicBezTo>
                  <a:cubicBezTo>
                    <a:pt x="129328" y="90903"/>
                    <a:pt x="117140" y="78437"/>
                    <a:pt x="117140" y="63122"/>
                  </a:cubicBezTo>
                  <a:cubicBezTo>
                    <a:pt x="117140" y="48163"/>
                    <a:pt x="129328" y="35697"/>
                    <a:pt x="144742" y="35697"/>
                  </a:cubicBezTo>
                  <a:close/>
                  <a:moveTo>
                    <a:pt x="168496" y="10946"/>
                  </a:moveTo>
                  <a:cubicBezTo>
                    <a:pt x="103478" y="-600"/>
                    <a:pt x="38101" y="37284"/>
                    <a:pt x="16548" y="99702"/>
                  </a:cubicBezTo>
                  <a:cubicBezTo>
                    <a:pt x="11878" y="113412"/>
                    <a:pt x="9364" y="127483"/>
                    <a:pt x="9004" y="141554"/>
                  </a:cubicBezTo>
                  <a:cubicBezTo>
                    <a:pt x="8645" y="146966"/>
                    <a:pt x="10800" y="152378"/>
                    <a:pt x="15470" y="156347"/>
                  </a:cubicBezTo>
                  <a:cubicBezTo>
                    <a:pt x="19422" y="159955"/>
                    <a:pt x="25528" y="161398"/>
                    <a:pt x="30916" y="160315"/>
                  </a:cubicBezTo>
                  <a:lnTo>
                    <a:pt x="66838" y="154182"/>
                  </a:lnTo>
                  <a:cubicBezTo>
                    <a:pt x="68634" y="153821"/>
                    <a:pt x="70789" y="153821"/>
                    <a:pt x="72585" y="153821"/>
                  </a:cubicBezTo>
                  <a:cubicBezTo>
                    <a:pt x="84440" y="153821"/>
                    <a:pt x="95216" y="159955"/>
                    <a:pt x="101682" y="170418"/>
                  </a:cubicBezTo>
                  <a:cubicBezTo>
                    <a:pt x="108507" y="182685"/>
                    <a:pt x="107429" y="197838"/>
                    <a:pt x="98808" y="208662"/>
                  </a:cubicBezTo>
                  <a:lnTo>
                    <a:pt x="75818" y="236804"/>
                  </a:lnTo>
                  <a:cubicBezTo>
                    <a:pt x="72226" y="241494"/>
                    <a:pt x="70789" y="247267"/>
                    <a:pt x="71867" y="253040"/>
                  </a:cubicBezTo>
                  <a:cubicBezTo>
                    <a:pt x="72945" y="258452"/>
                    <a:pt x="76537" y="263142"/>
                    <a:pt x="81566" y="265668"/>
                  </a:cubicBezTo>
                  <a:cubicBezTo>
                    <a:pt x="93779" y="272523"/>
                    <a:pt x="107429" y="277213"/>
                    <a:pt x="121439" y="279378"/>
                  </a:cubicBezTo>
                  <a:cubicBezTo>
                    <a:pt x="186098" y="290923"/>
                    <a:pt x="251116" y="252318"/>
                    <a:pt x="272669" y="189540"/>
                  </a:cubicBezTo>
                  <a:cubicBezTo>
                    <a:pt x="285601" y="151656"/>
                    <a:pt x="281290" y="110526"/>
                    <a:pt x="261174" y="76250"/>
                  </a:cubicBezTo>
                  <a:cubicBezTo>
                    <a:pt x="241417" y="41974"/>
                    <a:pt x="207292" y="18162"/>
                    <a:pt x="168496" y="10946"/>
                  </a:cubicBezTo>
                  <a:close/>
                  <a:moveTo>
                    <a:pt x="169933" y="2287"/>
                  </a:moveTo>
                  <a:cubicBezTo>
                    <a:pt x="211602" y="9863"/>
                    <a:pt x="247524" y="35119"/>
                    <a:pt x="269077" y="71559"/>
                  </a:cubicBezTo>
                  <a:cubicBezTo>
                    <a:pt x="290270" y="108000"/>
                    <a:pt x="294581" y="152378"/>
                    <a:pt x="280931" y="192426"/>
                  </a:cubicBezTo>
                  <a:cubicBezTo>
                    <a:pt x="260815" y="251236"/>
                    <a:pt x="204777" y="290202"/>
                    <a:pt x="144069" y="290202"/>
                  </a:cubicBezTo>
                  <a:cubicBezTo>
                    <a:pt x="136167" y="290202"/>
                    <a:pt x="127905" y="289480"/>
                    <a:pt x="119643" y="288037"/>
                  </a:cubicBezTo>
                  <a:cubicBezTo>
                    <a:pt x="104915" y="285512"/>
                    <a:pt x="90546" y="280460"/>
                    <a:pt x="77255" y="273605"/>
                  </a:cubicBezTo>
                  <a:cubicBezTo>
                    <a:pt x="70071" y="269997"/>
                    <a:pt x="65042" y="263142"/>
                    <a:pt x="63246" y="254844"/>
                  </a:cubicBezTo>
                  <a:cubicBezTo>
                    <a:pt x="61450" y="246546"/>
                    <a:pt x="63605" y="237887"/>
                    <a:pt x="68993" y="231392"/>
                  </a:cubicBezTo>
                  <a:lnTo>
                    <a:pt x="91983" y="203250"/>
                  </a:lnTo>
                  <a:cubicBezTo>
                    <a:pt x="99886" y="193148"/>
                    <a:pt x="98090" y="181963"/>
                    <a:pt x="94138" y="174747"/>
                  </a:cubicBezTo>
                  <a:cubicBezTo>
                    <a:pt x="89828" y="167531"/>
                    <a:pt x="80847" y="160676"/>
                    <a:pt x="68275" y="163202"/>
                  </a:cubicBezTo>
                  <a:lnTo>
                    <a:pt x="32353" y="168975"/>
                  </a:lnTo>
                  <a:cubicBezTo>
                    <a:pt x="24091" y="170779"/>
                    <a:pt x="16189" y="168253"/>
                    <a:pt x="9364" y="162841"/>
                  </a:cubicBezTo>
                  <a:cubicBezTo>
                    <a:pt x="3257" y="157429"/>
                    <a:pt x="-335" y="149492"/>
                    <a:pt x="24" y="141193"/>
                  </a:cubicBezTo>
                  <a:cubicBezTo>
                    <a:pt x="383" y="126040"/>
                    <a:pt x="2898" y="111247"/>
                    <a:pt x="8286" y="96815"/>
                  </a:cubicBezTo>
                  <a:cubicBezTo>
                    <a:pt x="31276" y="30429"/>
                    <a:pt x="100604" y="-10341"/>
                    <a:pt x="169933" y="2287"/>
                  </a:cubicBezTo>
                  <a:close/>
                </a:path>
              </a:pathLst>
            </a:custGeom>
            <a:solidFill>
              <a:srgbClr val="FFFFFF"/>
            </a:solidFill>
            <a:ln>
              <a:noFill/>
            </a:ln>
            <a:effectLst/>
          </p:spPr>
          <p:txBody>
            <a:bodyPr anchor="ctr"/>
            <a:lstStyle/>
            <a:p>
              <a:pPr marL="0" marR="0" lvl="0" indent="0" algn="l" defTabSz="6856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AAAAAA"/>
                </a:solidFill>
                <a:effectLst/>
                <a:uLnTx/>
                <a:uFillTx/>
                <a:latin typeface="Verdana"/>
                <a:ea typeface="+mn-ea"/>
                <a:cs typeface="+mn-cs"/>
              </a:endParaRPr>
            </a:p>
          </p:txBody>
        </p:sp>
        <p:grpSp>
          <p:nvGrpSpPr>
            <p:cNvPr id="21" name="Groupe 381">
              <a:extLst>
                <a:ext uri="{FF2B5EF4-FFF2-40B4-BE49-F238E27FC236}">
                  <a16:creationId xmlns:a16="http://schemas.microsoft.com/office/drawing/2014/main" id="{B8497537-4982-4DAA-A3E9-348D487C32BD}"/>
                </a:ext>
              </a:extLst>
            </p:cNvPr>
            <p:cNvGrpSpPr/>
            <p:nvPr/>
          </p:nvGrpSpPr>
          <p:grpSpPr>
            <a:xfrm>
              <a:off x="6240101" y="4533776"/>
              <a:ext cx="713191" cy="452567"/>
              <a:chOff x="2444750" y="3516313"/>
              <a:chExt cx="390525" cy="250825"/>
            </a:xfrm>
          </p:grpSpPr>
          <p:sp>
            <p:nvSpPr>
              <p:cNvPr id="22" name="Freeform 465">
                <a:extLst>
                  <a:ext uri="{FF2B5EF4-FFF2-40B4-BE49-F238E27FC236}">
                    <a16:creationId xmlns:a16="http://schemas.microsoft.com/office/drawing/2014/main" id="{95DCC07C-4253-44C7-9D70-CB1FDD273628}"/>
                  </a:ext>
                </a:extLst>
              </p:cNvPr>
              <p:cNvSpPr>
                <a:spLocks/>
              </p:cNvSpPr>
              <p:nvPr/>
            </p:nvSpPr>
            <p:spPr bwMode="auto">
              <a:xfrm>
                <a:off x="2468563" y="3536950"/>
                <a:ext cx="347663" cy="230188"/>
              </a:xfrm>
              <a:custGeom>
                <a:avLst/>
                <a:gdLst/>
                <a:ahLst/>
                <a:cxnLst>
                  <a:cxn ang="0">
                    <a:pos x="110" y="88"/>
                  </a:cxn>
                  <a:cxn ang="0">
                    <a:pos x="77" y="66"/>
                  </a:cxn>
                  <a:cxn ang="0">
                    <a:pos x="65" y="69"/>
                  </a:cxn>
                  <a:cxn ang="0">
                    <a:pos x="41" y="40"/>
                  </a:cxn>
                  <a:cxn ang="0">
                    <a:pos x="55" y="74"/>
                  </a:cxn>
                  <a:cxn ang="0">
                    <a:pos x="48" y="82"/>
                  </a:cxn>
                  <a:cxn ang="0">
                    <a:pos x="41" y="102"/>
                  </a:cxn>
                  <a:cxn ang="0">
                    <a:pos x="6" y="102"/>
                  </a:cxn>
                  <a:cxn ang="0">
                    <a:pos x="6" y="49"/>
                  </a:cxn>
                  <a:cxn ang="0">
                    <a:pos x="41" y="9"/>
                  </a:cxn>
                  <a:cxn ang="0">
                    <a:pos x="77" y="0"/>
                  </a:cxn>
                  <a:cxn ang="0">
                    <a:pos x="113" y="9"/>
                  </a:cxn>
                  <a:cxn ang="0">
                    <a:pos x="148" y="49"/>
                  </a:cxn>
                  <a:cxn ang="0">
                    <a:pos x="148" y="102"/>
                  </a:cxn>
                  <a:cxn ang="0">
                    <a:pos x="60" y="102"/>
                  </a:cxn>
                  <a:cxn ang="0">
                    <a:pos x="60" y="89"/>
                  </a:cxn>
                  <a:cxn ang="0">
                    <a:pos x="97" y="89"/>
                  </a:cxn>
                  <a:cxn ang="0">
                    <a:pos x="97" y="94"/>
                  </a:cxn>
                </a:cxnLst>
                <a:rect l="0" t="0" r="r" b="b"/>
                <a:pathLst>
                  <a:path w="154" h="102">
                    <a:moveTo>
                      <a:pt x="110" y="88"/>
                    </a:moveTo>
                    <a:cubicBezTo>
                      <a:pt x="106" y="78"/>
                      <a:pt x="91" y="66"/>
                      <a:pt x="77" y="66"/>
                    </a:cubicBezTo>
                    <a:cubicBezTo>
                      <a:pt x="72" y="67"/>
                      <a:pt x="70" y="67"/>
                      <a:pt x="65" y="69"/>
                    </a:cubicBezTo>
                    <a:cubicBezTo>
                      <a:pt x="56" y="59"/>
                      <a:pt x="49" y="50"/>
                      <a:pt x="41" y="40"/>
                    </a:cubicBezTo>
                    <a:cubicBezTo>
                      <a:pt x="47" y="55"/>
                      <a:pt x="53" y="67"/>
                      <a:pt x="55" y="74"/>
                    </a:cubicBezTo>
                    <a:cubicBezTo>
                      <a:pt x="52" y="78"/>
                      <a:pt x="50" y="78"/>
                      <a:pt x="48" y="82"/>
                    </a:cubicBezTo>
                    <a:cubicBezTo>
                      <a:pt x="46" y="85"/>
                      <a:pt x="42" y="93"/>
                      <a:pt x="41" y="102"/>
                    </a:cubicBezTo>
                    <a:cubicBezTo>
                      <a:pt x="6" y="102"/>
                      <a:pt x="6" y="102"/>
                      <a:pt x="6" y="102"/>
                    </a:cubicBezTo>
                    <a:cubicBezTo>
                      <a:pt x="1" y="84"/>
                      <a:pt x="0" y="66"/>
                      <a:pt x="6" y="49"/>
                    </a:cubicBezTo>
                    <a:cubicBezTo>
                      <a:pt x="13" y="33"/>
                      <a:pt x="25" y="18"/>
                      <a:pt x="41" y="9"/>
                    </a:cubicBezTo>
                    <a:cubicBezTo>
                      <a:pt x="53" y="3"/>
                      <a:pt x="63" y="0"/>
                      <a:pt x="77" y="0"/>
                    </a:cubicBezTo>
                    <a:cubicBezTo>
                      <a:pt x="90" y="0"/>
                      <a:pt x="104" y="4"/>
                      <a:pt x="113" y="9"/>
                    </a:cubicBezTo>
                    <a:cubicBezTo>
                      <a:pt x="121" y="14"/>
                      <a:pt x="140" y="28"/>
                      <a:pt x="148" y="49"/>
                    </a:cubicBezTo>
                    <a:cubicBezTo>
                      <a:pt x="154" y="66"/>
                      <a:pt x="153" y="86"/>
                      <a:pt x="148" y="102"/>
                    </a:cubicBezTo>
                    <a:cubicBezTo>
                      <a:pt x="60" y="102"/>
                      <a:pt x="60" y="102"/>
                      <a:pt x="60" y="102"/>
                    </a:cubicBezTo>
                    <a:cubicBezTo>
                      <a:pt x="60" y="89"/>
                      <a:pt x="60" y="89"/>
                      <a:pt x="60" y="89"/>
                    </a:cubicBezTo>
                    <a:cubicBezTo>
                      <a:pt x="97" y="89"/>
                      <a:pt x="97" y="89"/>
                      <a:pt x="97" y="89"/>
                    </a:cubicBezTo>
                    <a:cubicBezTo>
                      <a:pt x="97" y="94"/>
                      <a:pt x="97" y="94"/>
                      <a:pt x="97" y="94"/>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264A"/>
                  </a:solidFill>
                  <a:effectLst/>
                  <a:uLnTx/>
                  <a:uFillTx/>
                  <a:latin typeface="Verdana"/>
                  <a:ea typeface="+mn-ea"/>
                  <a:cs typeface="+mn-cs"/>
                </a:endParaRPr>
              </a:p>
            </p:txBody>
          </p:sp>
          <p:sp>
            <p:nvSpPr>
              <p:cNvPr id="23" name="Freeform 466">
                <a:extLst>
                  <a:ext uri="{FF2B5EF4-FFF2-40B4-BE49-F238E27FC236}">
                    <a16:creationId xmlns:a16="http://schemas.microsoft.com/office/drawing/2014/main" id="{5A034473-A873-4905-81D0-C9C8D5705233}"/>
                  </a:ext>
                </a:extLst>
              </p:cNvPr>
              <p:cNvSpPr>
                <a:spLocks/>
              </p:cNvSpPr>
              <p:nvPr/>
            </p:nvSpPr>
            <p:spPr bwMode="auto">
              <a:xfrm>
                <a:off x="2517775" y="3552825"/>
                <a:ext cx="268288" cy="146050"/>
              </a:xfrm>
              <a:custGeom>
                <a:avLst/>
                <a:gdLst/>
                <a:ahLst/>
                <a:cxnLst>
                  <a:cxn ang="0">
                    <a:pos x="10" y="28"/>
                  </a:cxn>
                  <a:cxn ang="0">
                    <a:pos x="0" y="41"/>
                  </a:cxn>
                  <a:cxn ang="0">
                    <a:pos x="18" y="14"/>
                  </a:cxn>
                  <a:cxn ang="0">
                    <a:pos x="72" y="6"/>
                  </a:cxn>
                  <a:cxn ang="0">
                    <a:pos x="114" y="50"/>
                  </a:cxn>
                  <a:cxn ang="0">
                    <a:pos x="119" y="50"/>
                  </a:cxn>
                  <a:cxn ang="0">
                    <a:pos x="105" y="65"/>
                  </a:cxn>
                  <a:cxn ang="0">
                    <a:pos x="86" y="52"/>
                  </a:cxn>
                  <a:cxn ang="0">
                    <a:pos x="91" y="51"/>
                  </a:cxn>
                  <a:cxn ang="0">
                    <a:pos x="76" y="25"/>
                  </a:cxn>
                  <a:cxn ang="0">
                    <a:pos x="44" y="13"/>
                  </a:cxn>
                  <a:cxn ang="0">
                    <a:pos x="15" y="24"/>
                  </a:cxn>
                </a:cxnLst>
                <a:rect l="0" t="0" r="r" b="b"/>
                <a:pathLst>
                  <a:path w="119" h="65">
                    <a:moveTo>
                      <a:pt x="10" y="28"/>
                    </a:moveTo>
                    <a:cubicBezTo>
                      <a:pt x="0" y="41"/>
                      <a:pt x="0" y="41"/>
                      <a:pt x="0" y="41"/>
                    </a:cubicBezTo>
                    <a:cubicBezTo>
                      <a:pt x="5" y="27"/>
                      <a:pt x="9" y="21"/>
                      <a:pt x="18" y="14"/>
                    </a:cubicBezTo>
                    <a:cubicBezTo>
                      <a:pt x="32" y="3"/>
                      <a:pt x="57" y="0"/>
                      <a:pt x="72" y="6"/>
                    </a:cubicBezTo>
                    <a:cubicBezTo>
                      <a:pt x="87" y="11"/>
                      <a:pt x="107" y="22"/>
                      <a:pt x="114" y="50"/>
                    </a:cubicBezTo>
                    <a:cubicBezTo>
                      <a:pt x="116" y="50"/>
                      <a:pt x="117" y="50"/>
                      <a:pt x="119" y="50"/>
                    </a:cubicBezTo>
                    <a:cubicBezTo>
                      <a:pt x="105" y="65"/>
                      <a:pt x="105" y="65"/>
                      <a:pt x="105" y="65"/>
                    </a:cubicBezTo>
                    <a:cubicBezTo>
                      <a:pt x="86" y="52"/>
                      <a:pt x="86" y="52"/>
                      <a:pt x="86" y="52"/>
                    </a:cubicBezTo>
                    <a:cubicBezTo>
                      <a:pt x="91" y="51"/>
                      <a:pt x="91" y="51"/>
                      <a:pt x="91" y="51"/>
                    </a:cubicBezTo>
                    <a:cubicBezTo>
                      <a:pt x="88" y="41"/>
                      <a:pt x="80" y="30"/>
                      <a:pt x="76" y="25"/>
                    </a:cubicBezTo>
                    <a:cubicBezTo>
                      <a:pt x="69" y="19"/>
                      <a:pt x="58" y="13"/>
                      <a:pt x="44" y="13"/>
                    </a:cubicBezTo>
                    <a:cubicBezTo>
                      <a:pt x="34" y="14"/>
                      <a:pt x="24" y="17"/>
                      <a:pt x="15" y="24"/>
                    </a:cubicBezTo>
                  </a:path>
                </a:pathLst>
              </a:custGeom>
              <a:solidFill>
                <a:schemeClr val="bg1"/>
              </a:solid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264A"/>
                  </a:solidFill>
                  <a:effectLst/>
                  <a:uLnTx/>
                  <a:uFillTx/>
                  <a:latin typeface="Verdana"/>
                  <a:ea typeface="+mn-ea"/>
                  <a:cs typeface="+mn-cs"/>
                </a:endParaRPr>
              </a:p>
            </p:txBody>
          </p:sp>
          <p:sp>
            <p:nvSpPr>
              <p:cNvPr id="24" name="Freeform 467">
                <a:extLst>
                  <a:ext uri="{FF2B5EF4-FFF2-40B4-BE49-F238E27FC236}">
                    <a16:creationId xmlns:a16="http://schemas.microsoft.com/office/drawing/2014/main" id="{72EEE66D-A04C-4BEB-9AFD-EB89BE2B301B}"/>
                  </a:ext>
                </a:extLst>
              </p:cNvPr>
              <p:cNvSpPr>
                <a:spLocks/>
              </p:cNvSpPr>
              <p:nvPr/>
            </p:nvSpPr>
            <p:spPr bwMode="auto">
              <a:xfrm>
                <a:off x="2444750" y="3516313"/>
                <a:ext cx="390525" cy="250825"/>
              </a:xfrm>
              <a:custGeom>
                <a:avLst/>
                <a:gdLst/>
                <a:ahLst/>
                <a:cxnLst>
                  <a:cxn ang="0">
                    <a:pos x="7" y="111"/>
                  </a:cxn>
                  <a:cxn ang="0">
                    <a:pos x="7" y="53"/>
                  </a:cxn>
                  <a:cxn ang="0">
                    <a:pos x="47" y="10"/>
                  </a:cxn>
                  <a:cxn ang="0">
                    <a:pos x="87" y="0"/>
                  </a:cxn>
                  <a:cxn ang="0">
                    <a:pos x="128" y="10"/>
                  </a:cxn>
                  <a:cxn ang="0">
                    <a:pos x="167" y="53"/>
                  </a:cxn>
                  <a:cxn ang="0">
                    <a:pos x="167" y="111"/>
                  </a:cxn>
                </a:cxnLst>
                <a:rect l="0" t="0" r="r" b="b"/>
                <a:pathLst>
                  <a:path w="174" h="111">
                    <a:moveTo>
                      <a:pt x="7" y="111"/>
                    </a:moveTo>
                    <a:cubicBezTo>
                      <a:pt x="1" y="92"/>
                      <a:pt x="0" y="72"/>
                      <a:pt x="7" y="53"/>
                    </a:cubicBezTo>
                    <a:cubicBezTo>
                      <a:pt x="14" y="36"/>
                      <a:pt x="28" y="20"/>
                      <a:pt x="47" y="10"/>
                    </a:cubicBezTo>
                    <a:cubicBezTo>
                      <a:pt x="60" y="3"/>
                      <a:pt x="71" y="0"/>
                      <a:pt x="87" y="0"/>
                    </a:cubicBezTo>
                    <a:cubicBezTo>
                      <a:pt x="101" y="0"/>
                      <a:pt x="118" y="4"/>
                      <a:pt x="128" y="10"/>
                    </a:cubicBezTo>
                    <a:cubicBezTo>
                      <a:pt x="137" y="15"/>
                      <a:pt x="158" y="30"/>
                      <a:pt x="167" y="53"/>
                    </a:cubicBezTo>
                    <a:cubicBezTo>
                      <a:pt x="174" y="72"/>
                      <a:pt x="173" y="93"/>
                      <a:pt x="167" y="111"/>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264A"/>
                  </a:solidFill>
                  <a:effectLst/>
                  <a:uLnTx/>
                  <a:uFillTx/>
                  <a:latin typeface="Verdana"/>
                  <a:ea typeface="+mn-ea"/>
                  <a:cs typeface="+mn-cs"/>
                </a:endParaRPr>
              </a:p>
            </p:txBody>
          </p:sp>
        </p:grpSp>
        <p:grpSp>
          <p:nvGrpSpPr>
            <p:cNvPr id="25" name="Groupe 656">
              <a:extLst>
                <a:ext uri="{FF2B5EF4-FFF2-40B4-BE49-F238E27FC236}">
                  <a16:creationId xmlns:a16="http://schemas.microsoft.com/office/drawing/2014/main" id="{8F753C12-4982-4278-9BFC-1CD7215F0BDC}"/>
                </a:ext>
              </a:extLst>
            </p:cNvPr>
            <p:cNvGrpSpPr/>
            <p:nvPr/>
          </p:nvGrpSpPr>
          <p:grpSpPr>
            <a:xfrm>
              <a:off x="4372485" y="4204394"/>
              <a:ext cx="583495" cy="472495"/>
              <a:chOff x="4795838" y="2000250"/>
              <a:chExt cx="404813" cy="331788"/>
            </a:xfrm>
          </p:grpSpPr>
          <p:sp>
            <p:nvSpPr>
              <p:cNvPr id="26" name="Freeform 299">
                <a:extLst>
                  <a:ext uri="{FF2B5EF4-FFF2-40B4-BE49-F238E27FC236}">
                    <a16:creationId xmlns:a16="http://schemas.microsoft.com/office/drawing/2014/main" id="{A06C0DC8-A54C-4A59-B3EA-76429E9065AD}"/>
                  </a:ext>
                </a:extLst>
              </p:cNvPr>
              <p:cNvSpPr>
                <a:spLocks/>
              </p:cNvSpPr>
              <p:nvPr/>
            </p:nvSpPr>
            <p:spPr bwMode="auto">
              <a:xfrm>
                <a:off x="4795838" y="2057400"/>
                <a:ext cx="215900" cy="274638"/>
              </a:xfrm>
              <a:custGeom>
                <a:avLst/>
                <a:gdLst/>
                <a:ahLst/>
                <a:cxnLst>
                  <a:cxn ang="0">
                    <a:pos x="84" y="142"/>
                  </a:cxn>
                  <a:cxn ang="0">
                    <a:pos x="4" y="142"/>
                  </a:cxn>
                  <a:cxn ang="0">
                    <a:pos x="0" y="138"/>
                  </a:cxn>
                  <a:cxn ang="0">
                    <a:pos x="0" y="4"/>
                  </a:cxn>
                  <a:cxn ang="0">
                    <a:pos x="4" y="0"/>
                  </a:cxn>
                  <a:cxn ang="0">
                    <a:pos x="107" y="0"/>
                  </a:cxn>
                  <a:cxn ang="0">
                    <a:pos x="111" y="4"/>
                  </a:cxn>
                  <a:cxn ang="0">
                    <a:pos x="111" y="112"/>
                  </a:cxn>
                  <a:cxn ang="0">
                    <a:pos x="84" y="142"/>
                  </a:cxn>
                </a:cxnLst>
                <a:rect l="0" t="0" r="r" b="b"/>
                <a:pathLst>
                  <a:path w="111" h="142">
                    <a:moveTo>
                      <a:pt x="84" y="142"/>
                    </a:moveTo>
                    <a:cubicBezTo>
                      <a:pt x="4" y="142"/>
                      <a:pt x="4" y="142"/>
                      <a:pt x="4" y="142"/>
                    </a:cubicBezTo>
                    <a:cubicBezTo>
                      <a:pt x="2" y="142"/>
                      <a:pt x="0" y="140"/>
                      <a:pt x="0" y="138"/>
                    </a:cubicBezTo>
                    <a:cubicBezTo>
                      <a:pt x="0" y="4"/>
                      <a:pt x="0" y="4"/>
                      <a:pt x="0" y="4"/>
                    </a:cubicBezTo>
                    <a:cubicBezTo>
                      <a:pt x="0" y="2"/>
                      <a:pt x="2" y="0"/>
                      <a:pt x="4" y="0"/>
                    </a:cubicBezTo>
                    <a:cubicBezTo>
                      <a:pt x="107" y="0"/>
                      <a:pt x="107" y="0"/>
                      <a:pt x="107" y="0"/>
                    </a:cubicBezTo>
                    <a:cubicBezTo>
                      <a:pt x="109" y="0"/>
                      <a:pt x="111" y="2"/>
                      <a:pt x="111" y="4"/>
                    </a:cubicBezTo>
                    <a:cubicBezTo>
                      <a:pt x="111" y="112"/>
                      <a:pt x="111" y="112"/>
                      <a:pt x="111" y="112"/>
                    </a:cubicBezTo>
                    <a:lnTo>
                      <a:pt x="84" y="142"/>
                    </a:lnTo>
                    <a:close/>
                  </a:path>
                </a:pathLst>
              </a:custGeom>
              <a:noFill/>
              <a:ln w="127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264A"/>
                  </a:solidFill>
                  <a:effectLst/>
                  <a:uLnTx/>
                  <a:uFillTx/>
                  <a:latin typeface="Verdana"/>
                  <a:ea typeface="+mn-ea"/>
                  <a:cs typeface="Arial" pitchFamily="34" charset="0"/>
                </a:endParaRPr>
              </a:p>
            </p:txBody>
          </p:sp>
          <p:sp>
            <p:nvSpPr>
              <p:cNvPr id="27" name="Freeform 300">
                <a:extLst>
                  <a:ext uri="{FF2B5EF4-FFF2-40B4-BE49-F238E27FC236}">
                    <a16:creationId xmlns:a16="http://schemas.microsoft.com/office/drawing/2014/main" id="{08EE25FC-8DF0-4285-850B-062FCC25E501}"/>
                  </a:ext>
                </a:extLst>
              </p:cNvPr>
              <p:cNvSpPr>
                <a:spLocks/>
              </p:cNvSpPr>
              <p:nvPr/>
            </p:nvSpPr>
            <p:spPr bwMode="auto">
              <a:xfrm>
                <a:off x="4862513" y="2243138"/>
                <a:ext cx="80963" cy="49213"/>
              </a:xfrm>
              <a:custGeom>
                <a:avLst/>
                <a:gdLst/>
                <a:ahLst/>
                <a:cxnLst>
                  <a:cxn ang="0">
                    <a:pos x="0" y="20"/>
                  </a:cxn>
                  <a:cxn ang="0">
                    <a:pos x="12" y="31"/>
                  </a:cxn>
                  <a:cxn ang="0">
                    <a:pos x="51" y="0"/>
                  </a:cxn>
                </a:cxnLst>
                <a:rect l="0" t="0" r="r" b="b"/>
                <a:pathLst>
                  <a:path w="51" h="31">
                    <a:moveTo>
                      <a:pt x="0" y="20"/>
                    </a:moveTo>
                    <a:lnTo>
                      <a:pt x="12" y="31"/>
                    </a:lnTo>
                    <a:lnTo>
                      <a:pt x="51" y="0"/>
                    </a:lnTo>
                  </a:path>
                </a:pathLst>
              </a:custGeom>
              <a:noFill/>
              <a:ln w="127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264A"/>
                  </a:solidFill>
                  <a:effectLst/>
                  <a:uLnTx/>
                  <a:uFillTx/>
                  <a:latin typeface="Verdana"/>
                  <a:ea typeface="+mn-ea"/>
                  <a:cs typeface="Arial" pitchFamily="34" charset="0"/>
                </a:endParaRPr>
              </a:p>
            </p:txBody>
          </p:sp>
          <p:sp>
            <p:nvSpPr>
              <p:cNvPr id="28" name="Line 301">
                <a:extLst>
                  <a:ext uri="{FF2B5EF4-FFF2-40B4-BE49-F238E27FC236}">
                    <a16:creationId xmlns:a16="http://schemas.microsoft.com/office/drawing/2014/main" id="{75AA8805-1DE3-4817-812E-F6D612ECC932}"/>
                  </a:ext>
                </a:extLst>
              </p:cNvPr>
              <p:cNvSpPr>
                <a:spLocks noChangeShapeType="1"/>
              </p:cNvSpPr>
              <p:nvPr/>
            </p:nvSpPr>
            <p:spPr bwMode="auto">
              <a:xfrm>
                <a:off x="4838701" y="2101850"/>
                <a:ext cx="115888" cy="1588"/>
              </a:xfrm>
              <a:prstGeom prst="line">
                <a:avLst/>
              </a:prstGeom>
              <a:noFill/>
              <a:ln w="127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264A"/>
                  </a:solidFill>
                  <a:effectLst/>
                  <a:uLnTx/>
                  <a:uFillTx/>
                  <a:latin typeface="Verdana"/>
                  <a:ea typeface="+mn-ea"/>
                  <a:cs typeface="Arial" pitchFamily="34" charset="0"/>
                </a:endParaRPr>
              </a:p>
            </p:txBody>
          </p:sp>
          <p:sp>
            <p:nvSpPr>
              <p:cNvPr id="29" name="Line 302">
                <a:extLst>
                  <a:ext uri="{FF2B5EF4-FFF2-40B4-BE49-F238E27FC236}">
                    <a16:creationId xmlns:a16="http://schemas.microsoft.com/office/drawing/2014/main" id="{B65F0578-6488-444F-AD96-7D171B4550B6}"/>
                  </a:ext>
                </a:extLst>
              </p:cNvPr>
              <p:cNvSpPr>
                <a:spLocks noChangeShapeType="1"/>
              </p:cNvSpPr>
              <p:nvPr/>
            </p:nvSpPr>
            <p:spPr bwMode="auto">
              <a:xfrm>
                <a:off x="4838701" y="2136775"/>
                <a:ext cx="115888" cy="1588"/>
              </a:xfrm>
              <a:prstGeom prst="line">
                <a:avLst/>
              </a:prstGeom>
              <a:noFill/>
              <a:ln w="127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264A"/>
                  </a:solidFill>
                  <a:effectLst/>
                  <a:uLnTx/>
                  <a:uFillTx/>
                  <a:latin typeface="Verdana"/>
                  <a:ea typeface="+mn-ea"/>
                  <a:cs typeface="Arial" pitchFamily="34" charset="0"/>
                </a:endParaRPr>
              </a:p>
            </p:txBody>
          </p:sp>
          <p:sp>
            <p:nvSpPr>
              <p:cNvPr id="30" name="Line 303">
                <a:extLst>
                  <a:ext uri="{FF2B5EF4-FFF2-40B4-BE49-F238E27FC236}">
                    <a16:creationId xmlns:a16="http://schemas.microsoft.com/office/drawing/2014/main" id="{4647C4B9-5D69-4E6C-BC39-F22D060B4638}"/>
                  </a:ext>
                </a:extLst>
              </p:cNvPr>
              <p:cNvSpPr>
                <a:spLocks noChangeShapeType="1"/>
              </p:cNvSpPr>
              <p:nvPr/>
            </p:nvSpPr>
            <p:spPr bwMode="auto">
              <a:xfrm>
                <a:off x="4838701" y="2173288"/>
                <a:ext cx="115888" cy="1588"/>
              </a:xfrm>
              <a:prstGeom prst="line">
                <a:avLst/>
              </a:prstGeom>
              <a:noFill/>
              <a:ln w="127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264A"/>
                  </a:solidFill>
                  <a:effectLst/>
                  <a:uLnTx/>
                  <a:uFillTx/>
                  <a:latin typeface="Verdana"/>
                  <a:ea typeface="+mn-ea"/>
                  <a:cs typeface="Arial" pitchFamily="34" charset="0"/>
                </a:endParaRPr>
              </a:p>
            </p:txBody>
          </p:sp>
          <p:sp>
            <p:nvSpPr>
              <p:cNvPr id="31" name="Line 304">
                <a:extLst>
                  <a:ext uri="{FF2B5EF4-FFF2-40B4-BE49-F238E27FC236}">
                    <a16:creationId xmlns:a16="http://schemas.microsoft.com/office/drawing/2014/main" id="{17508FC1-4545-492E-8E0C-D7A52472369D}"/>
                  </a:ext>
                </a:extLst>
              </p:cNvPr>
              <p:cNvSpPr>
                <a:spLocks noChangeShapeType="1"/>
              </p:cNvSpPr>
              <p:nvPr/>
            </p:nvSpPr>
            <p:spPr bwMode="auto">
              <a:xfrm>
                <a:off x="4838701" y="2214563"/>
                <a:ext cx="68263" cy="1588"/>
              </a:xfrm>
              <a:prstGeom prst="line">
                <a:avLst/>
              </a:prstGeom>
              <a:noFill/>
              <a:ln w="127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264A"/>
                  </a:solidFill>
                  <a:effectLst/>
                  <a:uLnTx/>
                  <a:uFillTx/>
                  <a:latin typeface="Verdana"/>
                  <a:ea typeface="+mn-ea"/>
                  <a:cs typeface="Arial" pitchFamily="34" charset="0"/>
                </a:endParaRPr>
              </a:p>
            </p:txBody>
          </p:sp>
          <p:sp>
            <p:nvSpPr>
              <p:cNvPr id="32" name="Freeform 305">
                <a:extLst>
                  <a:ext uri="{FF2B5EF4-FFF2-40B4-BE49-F238E27FC236}">
                    <a16:creationId xmlns:a16="http://schemas.microsoft.com/office/drawing/2014/main" id="{47CDF67E-764C-41BB-A614-408279AD60FA}"/>
                  </a:ext>
                </a:extLst>
              </p:cNvPr>
              <p:cNvSpPr>
                <a:spLocks/>
              </p:cNvSpPr>
              <p:nvPr/>
            </p:nvSpPr>
            <p:spPr bwMode="auto">
              <a:xfrm>
                <a:off x="4956176" y="2268538"/>
                <a:ext cx="49213" cy="57150"/>
              </a:xfrm>
              <a:custGeom>
                <a:avLst/>
                <a:gdLst/>
                <a:ahLst/>
                <a:cxnLst>
                  <a:cxn ang="0">
                    <a:pos x="0" y="36"/>
                  </a:cxn>
                  <a:cxn ang="0">
                    <a:pos x="0" y="0"/>
                  </a:cxn>
                  <a:cxn ang="0">
                    <a:pos x="31" y="0"/>
                  </a:cxn>
                </a:cxnLst>
                <a:rect l="0" t="0" r="r" b="b"/>
                <a:pathLst>
                  <a:path w="31" h="36">
                    <a:moveTo>
                      <a:pt x="0" y="36"/>
                    </a:moveTo>
                    <a:lnTo>
                      <a:pt x="0" y="0"/>
                    </a:lnTo>
                    <a:lnTo>
                      <a:pt x="31" y="0"/>
                    </a:lnTo>
                  </a:path>
                </a:pathLst>
              </a:custGeom>
              <a:noFill/>
              <a:ln w="127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264A"/>
                  </a:solidFill>
                  <a:effectLst/>
                  <a:uLnTx/>
                  <a:uFillTx/>
                  <a:latin typeface="Verdana"/>
                  <a:ea typeface="+mn-ea"/>
                  <a:cs typeface="Arial" pitchFamily="34" charset="0"/>
                </a:endParaRPr>
              </a:p>
            </p:txBody>
          </p:sp>
          <p:sp>
            <p:nvSpPr>
              <p:cNvPr id="33" name="Line 306">
                <a:extLst>
                  <a:ext uri="{FF2B5EF4-FFF2-40B4-BE49-F238E27FC236}">
                    <a16:creationId xmlns:a16="http://schemas.microsoft.com/office/drawing/2014/main" id="{29771BAD-F8B6-4A34-BF27-52E1751AC416}"/>
                  </a:ext>
                </a:extLst>
              </p:cNvPr>
              <p:cNvSpPr>
                <a:spLocks noChangeShapeType="1"/>
              </p:cNvSpPr>
              <p:nvPr/>
            </p:nvSpPr>
            <p:spPr bwMode="auto">
              <a:xfrm>
                <a:off x="4851401" y="2057400"/>
                <a:ext cx="103188" cy="1588"/>
              </a:xfrm>
              <a:prstGeom prst="line">
                <a:avLst/>
              </a:prstGeom>
              <a:noFill/>
              <a:ln w="127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264A"/>
                  </a:solidFill>
                  <a:effectLst/>
                  <a:uLnTx/>
                  <a:uFillTx/>
                  <a:latin typeface="Verdana"/>
                  <a:ea typeface="+mn-ea"/>
                  <a:cs typeface="Arial" pitchFamily="34" charset="0"/>
                </a:endParaRPr>
              </a:p>
            </p:txBody>
          </p:sp>
          <p:sp>
            <p:nvSpPr>
              <p:cNvPr id="34" name="Freeform 307">
                <a:extLst>
                  <a:ext uri="{FF2B5EF4-FFF2-40B4-BE49-F238E27FC236}">
                    <a16:creationId xmlns:a16="http://schemas.microsoft.com/office/drawing/2014/main" id="{B1F83DD9-3E7C-4CA7-B6C0-5EC347595247}"/>
                  </a:ext>
                </a:extLst>
              </p:cNvPr>
              <p:cNvSpPr>
                <a:spLocks/>
              </p:cNvSpPr>
              <p:nvPr/>
            </p:nvSpPr>
            <p:spPr bwMode="auto">
              <a:xfrm>
                <a:off x="5013326" y="2000250"/>
                <a:ext cx="187325" cy="274638"/>
              </a:xfrm>
              <a:custGeom>
                <a:avLst/>
                <a:gdLst/>
                <a:ahLst/>
                <a:cxnLst>
                  <a:cxn ang="0">
                    <a:pos x="97" y="141"/>
                  </a:cxn>
                  <a:cxn ang="0">
                    <a:pos x="56" y="60"/>
                  </a:cxn>
                  <a:cxn ang="0">
                    <a:pos x="70" y="32"/>
                  </a:cxn>
                  <a:cxn ang="0">
                    <a:pos x="45" y="0"/>
                  </a:cxn>
                  <a:cxn ang="0">
                    <a:pos x="19" y="32"/>
                  </a:cxn>
                  <a:cxn ang="0">
                    <a:pos x="33" y="60"/>
                  </a:cxn>
                  <a:cxn ang="0">
                    <a:pos x="0" y="93"/>
                  </a:cxn>
                </a:cxnLst>
                <a:rect l="0" t="0" r="r" b="b"/>
                <a:pathLst>
                  <a:path w="97" h="141">
                    <a:moveTo>
                      <a:pt x="97" y="141"/>
                    </a:moveTo>
                    <a:cubicBezTo>
                      <a:pt x="97" y="102"/>
                      <a:pt x="86" y="69"/>
                      <a:pt x="56" y="60"/>
                    </a:cubicBezTo>
                    <a:cubicBezTo>
                      <a:pt x="62" y="54"/>
                      <a:pt x="70" y="43"/>
                      <a:pt x="70" y="32"/>
                    </a:cubicBezTo>
                    <a:cubicBezTo>
                      <a:pt x="70" y="13"/>
                      <a:pt x="59" y="0"/>
                      <a:pt x="45" y="0"/>
                    </a:cubicBezTo>
                    <a:cubicBezTo>
                      <a:pt x="30" y="0"/>
                      <a:pt x="19" y="13"/>
                      <a:pt x="19" y="32"/>
                    </a:cubicBezTo>
                    <a:cubicBezTo>
                      <a:pt x="19" y="43"/>
                      <a:pt x="27" y="54"/>
                      <a:pt x="33" y="60"/>
                    </a:cubicBezTo>
                    <a:cubicBezTo>
                      <a:pt x="17" y="65"/>
                      <a:pt x="6" y="77"/>
                      <a:pt x="0" y="93"/>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264A"/>
                  </a:solidFill>
                  <a:effectLst/>
                  <a:uLnTx/>
                  <a:uFillTx/>
                  <a:latin typeface="Verdana"/>
                  <a:ea typeface="+mn-ea"/>
                  <a:cs typeface="Arial" pitchFamily="34" charset="0"/>
                </a:endParaRPr>
              </a:p>
            </p:txBody>
          </p:sp>
        </p:grpSp>
        <p:grpSp>
          <p:nvGrpSpPr>
            <p:cNvPr id="35" name="Groupe 650">
              <a:extLst>
                <a:ext uri="{FF2B5EF4-FFF2-40B4-BE49-F238E27FC236}">
                  <a16:creationId xmlns:a16="http://schemas.microsoft.com/office/drawing/2014/main" id="{432C6B07-00D4-4E90-8258-8D1E8FAB1553}"/>
                </a:ext>
              </a:extLst>
            </p:cNvPr>
            <p:cNvGrpSpPr>
              <a:grpSpLocks noChangeAspect="1"/>
            </p:cNvGrpSpPr>
            <p:nvPr/>
          </p:nvGrpSpPr>
          <p:grpSpPr>
            <a:xfrm>
              <a:off x="6685538" y="2529926"/>
              <a:ext cx="597060" cy="630107"/>
              <a:chOff x="1306513" y="1958975"/>
              <a:chExt cx="349251" cy="373063"/>
            </a:xfrm>
          </p:grpSpPr>
          <p:sp>
            <p:nvSpPr>
              <p:cNvPr id="36" name="Freeform 349">
                <a:extLst>
                  <a:ext uri="{FF2B5EF4-FFF2-40B4-BE49-F238E27FC236}">
                    <a16:creationId xmlns:a16="http://schemas.microsoft.com/office/drawing/2014/main" id="{69062856-467F-4F2B-8BD0-9356B6F1B790}"/>
                  </a:ext>
                </a:extLst>
              </p:cNvPr>
              <p:cNvSpPr>
                <a:spLocks/>
              </p:cNvSpPr>
              <p:nvPr/>
            </p:nvSpPr>
            <p:spPr bwMode="auto">
              <a:xfrm>
                <a:off x="1420813" y="1958975"/>
                <a:ext cx="125413" cy="127000"/>
              </a:xfrm>
              <a:custGeom>
                <a:avLst/>
                <a:gdLst/>
                <a:ahLst/>
                <a:cxnLst>
                  <a:cxn ang="0">
                    <a:pos x="65" y="66"/>
                  </a:cxn>
                  <a:cxn ang="0">
                    <a:pos x="41" y="50"/>
                  </a:cxn>
                  <a:cxn ang="0">
                    <a:pos x="54" y="26"/>
                  </a:cxn>
                  <a:cxn ang="0">
                    <a:pos x="32" y="0"/>
                  </a:cxn>
                  <a:cxn ang="0">
                    <a:pos x="9" y="26"/>
                  </a:cxn>
                  <a:cxn ang="0">
                    <a:pos x="22" y="50"/>
                  </a:cxn>
                  <a:cxn ang="0">
                    <a:pos x="0" y="65"/>
                  </a:cxn>
                </a:cxnLst>
                <a:rect l="0" t="0" r="r" b="b"/>
                <a:pathLst>
                  <a:path w="65" h="66">
                    <a:moveTo>
                      <a:pt x="65" y="66"/>
                    </a:moveTo>
                    <a:cubicBezTo>
                      <a:pt x="59" y="58"/>
                      <a:pt x="51" y="52"/>
                      <a:pt x="41" y="50"/>
                    </a:cubicBezTo>
                    <a:cubicBezTo>
                      <a:pt x="47" y="44"/>
                      <a:pt x="54" y="34"/>
                      <a:pt x="54" y="26"/>
                    </a:cubicBezTo>
                    <a:cubicBezTo>
                      <a:pt x="54" y="11"/>
                      <a:pt x="44" y="0"/>
                      <a:pt x="32" y="0"/>
                    </a:cubicBezTo>
                    <a:cubicBezTo>
                      <a:pt x="19" y="0"/>
                      <a:pt x="9" y="11"/>
                      <a:pt x="9" y="26"/>
                    </a:cubicBezTo>
                    <a:cubicBezTo>
                      <a:pt x="9" y="34"/>
                      <a:pt x="17" y="44"/>
                      <a:pt x="22" y="50"/>
                    </a:cubicBezTo>
                    <a:cubicBezTo>
                      <a:pt x="13" y="52"/>
                      <a:pt x="5" y="58"/>
                      <a:pt x="0" y="65"/>
                    </a:cubicBezTo>
                  </a:path>
                </a:pathLst>
              </a:custGeom>
              <a:noFill/>
              <a:ln w="1111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00264A"/>
                  </a:solidFill>
                  <a:effectLst/>
                  <a:uLnTx/>
                  <a:uFillTx/>
                  <a:latin typeface="Verdana"/>
                  <a:ea typeface="+mn-ea"/>
                  <a:cs typeface="+mn-cs"/>
                </a:endParaRPr>
              </a:p>
            </p:txBody>
          </p:sp>
          <p:sp>
            <p:nvSpPr>
              <p:cNvPr id="37" name="Freeform 350">
                <a:extLst>
                  <a:ext uri="{FF2B5EF4-FFF2-40B4-BE49-F238E27FC236}">
                    <a16:creationId xmlns:a16="http://schemas.microsoft.com/office/drawing/2014/main" id="{72549A9A-E300-4E1A-B836-E1D52AD14879}"/>
                  </a:ext>
                </a:extLst>
              </p:cNvPr>
              <p:cNvSpPr>
                <a:spLocks/>
              </p:cNvSpPr>
              <p:nvPr/>
            </p:nvSpPr>
            <p:spPr bwMode="auto">
              <a:xfrm>
                <a:off x="1306513" y="2079625"/>
                <a:ext cx="176213" cy="227013"/>
              </a:xfrm>
              <a:custGeom>
                <a:avLst/>
                <a:gdLst/>
                <a:ahLst/>
                <a:cxnLst>
                  <a:cxn ang="0">
                    <a:pos x="91" y="117"/>
                  </a:cxn>
                  <a:cxn ang="0">
                    <a:pos x="55" y="49"/>
                  </a:cxn>
                  <a:cxn ang="0">
                    <a:pos x="68" y="26"/>
                  </a:cxn>
                  <a:cxn ang="0">
                    <a:pos x="47" y="0"/>
                  </a:cxn>
                  <a:cxn ang="0">
                    <a:pos x="24" y="26"/>
                  </a:cxn>
                  <a:cxn ang="0">
                    <a:pos x="36" y="49"/>
                  </a:cxn>
                  <a:cxn ang="0">
                    <a:pos x="0" y="117"/>
                  </a:cxn>
                </a:cxnLst>
                <a:rect l="0" t="0" r="r" b="b"/>
                <a:pathLst>
                  <a:path w="91" h="117">
                    <a:moveTo>
                      <a:pt x="91" y="117"/>
                    </a:moveTo>
                    <a:cubicBezTo>
                      <a:pt x="91" y="84"/>
                      <a:pt x="83" y="56"/>
                      <a:pt x="55" y="49"/>
                    </a:cubicBezTo>
                    <a:cubicBezTo>
                      <a:pt x="61" y="44"/>
                      <a:pt x="68" y="34"/>
                      <a:pt x="68" y="26"/>
                    </a:cubicBezTo>
                    <a:cubicBezTo>
                      <a:pt x="68" y="11"/>
                      <a:pt x="58" y="0"/>
                      <a:pt x="47" y="0"/>
                    </a:cubicBezTo>
                    <a:cubicBezTo>
                      <a:pt x="34" y="0"/>
                      <a:pt x="24" y="11"/>
                      <a:pt x="24" y="26"/>
                    </a:cubicBezTo>
                    <a:cubicBezTo>
                      <a:pt x="24" y="34"/>
                      <a:pt x="31" y="44"/>
                      <a:pt x="36" y="49"/>
                    </a:cubicBezTo>
                    <a:cubicBezTo>
                      <a:pt x="11" y="56"/>
                      <a:pt x="0" y="84"/>
                      <a:pt x="0" y="117"/>
                    </a:cubicBezTo>
                  </a:path>
                </a:pathLst>
              </a:custGeom>
              <a:noFill/>
              <a:ln w="1111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00264A"/>
                  </a:solidFill>
                  <a:effectLst/>
                  <a:uLnTx/>
                  <a:uFillTx/>
                  <a:latin typeface="Verdana"/>
                  <a:ea typeface="+mn-ea"/>
                  <a:cs typeface="+mn-cs"/>
                </a:endParaRPr>
              </a:p>
            </p:txBody>
          </p:sp>
          <p:sp>
            <p:nvSpPr>
              <p:cNvPr id="38" name="Freeform 351">
                <a:extLst>
                  <a:ext uri="{FF2B5EF4-FFF2-40B4-BE49-F238E27FC236}">
                    <a16:creationId xmlns:a16="http://schemas.microsoft.com/office/drawing/2014/main" id="{941D502F-2370-4BD4-BEF8-F3DE80646AD4}"/>
                  </a:ext>
                </a:extLst>
              </p:cNvPr>
              <p:cNvSpPr>
                <a:spLocks/>
              </p:cNvSpPr>
              <p:nvPr/>
            </p:nvSpPr>
            <p:spPr bwMode="auto">
              <a:xfrm>
                <a:off x="1482726" y="2079625"/>
                <a:ext cx="173038" cy="227013"/>
              </a:xfrm>
              <a:custGeom>
                <a:avLst/>
                <a:gdLst/>
                <a:ahLst/>
                <a:cxnLst>
                  <a:cxn ang="0">
                    <a:pos x="89" y="117"/>
                  </a:cxn>
                  <a:cxn ang="0">
                    <a:pos x="55" y="49"/>
                  </a:cxn>
                  <a:cxn ang="0">
                    <a:pos x="66" y="26"/>
                  </a:cxn>
                  <a:cxn ang="0">
                    <a:pos x="45" y="0"/>
                  </a:cxn>
                  <a:cxn ang="0">
                    <a:pos x="22" y="26"/>
                  </a:cxn>
                  <a:cxn ang="0">
                    <a:pos x="35" y="49"/>
                  </a:cxn>
                  <a:cxn ang="0">
                    <a:pos x="0" y="117"/>
                  </a:cxn>
                </a:cxnLst>
                <a:rect l="0" t="0" r="r" b="b"/>
                <a:pathLst>
                  <a:path w="89" h="117">
                    <a:moveTo>
                      <a:pt x="89" y="117"/>
                    </a:moveTo>
                    <a:cubicBezTo>
                      <a:pt x="89" y="84"/>
                      <a:pt x="81" y="56"/>
                      <a:pt x="55" y="49"/>
                    </a:cubicBezTo>
                    <a:cubicBezTo>
                      <a:pt x="60" y="44"/>
                      <a:pt x="66" y="34"/>
                      <a:pt x="66" y="26"/>
                    </a:cubicBezTo>
                    <a:cubicBezTo>
                      <a:pt x="66" y="11"/>
                      <a:pt x="56" y="0"/>
                      <a:pt x="45" y="0"/>
                    </a:cubicBezTo>
                    <a:cubicBezTo>
                      <a:pt x="32" y="0"/>
                      <a:pt x="22" y="11"/>
                      <a:pt x="22" y="26"/>
                    </a:cubicBezTo>
                    <a:cubicBezTo>
                      <a:pt x="22" y="34"/>
                      <a:pt x="29" y="44"/>
                      <a:pt x="35" y="49"/>
                    </a:cubicBezTo>
                    <a:cubicBezTo>
                      <a:pt x="9" y="56"/>
                      <a:pt x="0" y="84"/>
                      <a:pt x="0" y="117"/>
                    </a:cubicBezTo>
                  </a:path>
                </a:pathLst>
              </a:custGeom>
              <a:noFill/>
              <a:ln w="1111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00264A"/>
                  </a:solidFill>
                  <a:effectLst/>
                  <a:uLnTx/>
                  <a:uFillTx/>
                  <a:latin typeface="Verdana"/>
                  <a:ea typeface="+mn-ea"/>
                  <a:cs typeface="+mn-cs"/>
                </a:endParaRPr>
              </a:p>
            </p:txBody>
          </p:sp>
          <p:sp>
            <p:nvSpPr>
              <p:cNvPr id="39" name="Freeform 352">
                <a:extLst>
                  <a:ext uri="{FF2B5EF4-FFF2-40B4-BE49-F238E27FC236}">
                    <a16:creationId xmlns:a16="http://schemas.microsoft.com/office/drawing/2014/main" id="{18308041-BA3A-4235-8A23-FFC78C4F7B01}"/>
                  </a:ext>
                </a:extLst>
              </p:cNvPr>
              <p:cNvSpPr>
                <a:spLocks/>
              </p:cNvSpPr>
              <p:nvPr/>
            </p:nvSpPr>
            <p:spPr bwMode="auto">
              <a:xfrm>
                <a:off x="1552576" y="2187575"/>
                <a:ext cx="41275" cy="144463"/>
              </a:xfrm>
              <a:custGeom>
                <a:avLst/>
                <a:gdLst/>
                <a:ahLst/>
                <a:cxnLst>
                  <a:cxn ang="0">
                    <a:pos x="11" y="75"/>
                  </a:cxn>
                  <a:cxn ang="0">
                    <a:pos x="0" y="64"/>
                  </a:cxn>
                  <a:cxn ang="0">
                    <a:pos x="8" y="7"/>
                  </a:cxn>
                  <a:cxn ang="0">
                    <a:pos x="5" y="0"/>
                  </a:cxn>
                  <a:cxn ang="0">
                    <a:pos x="16" y="0"/>
                  </a:cxn>
                  <a:cxn ang="0">
                    <a:pos x="13" y="7"/>
                  </a:cxn>
                  <a:cxn ang="0">
                    <a:pos x="21" y="64"/>
                  </a:cxn>
                  <a:cxn ang="0">
                    <a:pos x="16" y="70"/>
                  </a:cxn>
                </a:cxnLst>
                <a:rect l="0" t="0" r="r" b="b"/>
                <a:pathLst>
                  <a:path w="21" h="75">
                    <a:moveTo>
                      <a:pt x="11" y="75"/>
                    </a:moveTo>
                    <a:cubicBezTo>
                      <a:pt x="8" y="71"/>
                      <a:pt x="5" y="70"/>
                      <a:pt x="0" y="64"/>
                    </a:cubicBezTo>
                    <a:cubicBezTo>
                      <a:pt x="0" y="53"/>
                      <a:pt x="7" y="16"/>
                      <a:pt x="8" y="7"/>
                    </a:cubicBezTo>
                    <a:cubicBezTo>
                      <a:pt x="7" y="5"/>
                      <a:pt x="4" y="4"/>
                      <a:pt x="5" y="0"/>
                    </a:cubicBezTo>
                    <a:cubicBezTo>
                      <a:pt x="9" y="2"/>
                      <a:pt x="12" y="1"/>
                      <a:pt x="16" y="0"/>
                    </a:cubicBezTo>
                    <a:cubicBezTo>
                      <a:pt x="16" y="3"/>
                      <a:pt x="14" y="5"/>
                      <a:pt x="13" y="7"/>
                    </a:cubicBezTo>
                    <a:cubicBezTo>
                      <a:pt x="14" y="17"/>
                      <a:pt x="21" y="54"/>
                      <a:pt x="21" y="64"/>
                    </a:cubicBezTo>
                    <a:cubicBezTo>
                      <a:pt x="19" y="67"/>
                      <a:pt x="18" y="67"/>
                      <a:pt x="16" y="70"/>
                    </a:cubicBezTo>
                  </a:path>
                </a:pathLst>
              </a:custGeom>
              <a:noFill/>
              <a:ln w="1111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00264A"/>
                  </a:solidFill>
                  <a:effectLst/>
                  <a:uLnTx/>
                  <a:uFillTx/>
                  <a:latin typeface="Verdana"/>
                  <a:ea typeface="+mn-ea"/>
                  <a:cs typeface="+mn-cs"/>
                </a:endParaRPr>
              </a:p>
            </p:txBody>
          </p:sp>
          <p:sp>
            <p:nvSpPr>
              <p:cNvPr id="40" name="Freeform 353">
                <a:extLst>
                  <a:ext uri="{FF2B5EF4-FFF2-40B4-BE49-F238E27FC236}">
                    <a16:creationId xmlns:a16="http://schemas.microsoft.com/office/drawing/2014/main" id="{EFCA24A9-0AF9-446C-BBBA-B55A2A0D23BE}"/>
                  </a:ext>
                </a:extLst>
              </p:cNvPr>
              <p:cNvSpPr>
                <a:spLocks/>
              </p:cNvSpPr>
              <p:nvPr/>
            </p:nvSpPr>
            <p:spPr bwMode="auto">
              <a:xfrm>
                <a:off x="1376363" y="2187575"/>
                <a:ext cx="39688" cy="144463"/>
              </a:xfrm>
              <a:custGeom>
                <a:avLst/>
                <a:gdLst/>
                <a:ahLst/>
                <a:cxnLst>
                  <a:cxn ang="0">
                    <a:pos x="11" y="75"/>
                  </a:cxn>
                  <a:cxn ang="0">
                    <a:pos x="1" y="64"/>
                  </a:cxn>
                  <a:cxn ang="0">
                    <a:pos x="8" y="7"/>
                  </a:cxn>
                  <a:cxn ang="0">
                    <a:pos x="5" y="0"/>
                  </a:cxn>
                  <a:cxn ang="0">
                    <a:pos x="16" y="0"/>
                  </a:cxn>
                  <a:cxn ang="0">
                    <a:pos x="13" y="7"/>
                  </a:cxn>
                  <a:cxn ang="0">
                    <a:pos x="21" y="64"/>
                  </a:cxn>
                  <a:cxn ang="0">
                    <a:pos x="16" y="70"/>
                  </a:cxn>
                </a:cxnLst>
                <a:rect l="0" t="0" r="r" b="b"/>
                <a:pathLst>
                  <a:path w="21" h="75">
                    <a:moveTo>
                      <a:pt x="11" y="75"/>
                    </a:moveTo>
                    <a:cubicBezTo>
                      <a:pt x="8" y="71"/>
                      <a:pt x="5" y="70"/>
                      <a:pt x="1" y="64"/>
                    </a:cubicBezTo>
                    <a:cubicBezTo>
                      <a:pt x="0" y="53"/>
                      <a:pt x="7" y="16"/>
                      <a:pt x="8" y="7"/>
                    </a:cubicBezTo>
                    <a:cubicBezTo>
                      <a:pt x="7" y="5"/>
                      <a:pt x="5" y="4"/>
                      <a:pt x="5" y="0"/>
                    </a:cubicBezTo>
                    <a:cubicBezTo>
                      <a:pt x="9" y="2"/>
                      <a:pt x="12" y="1"/>
                      <a:pt x="16" y="0"/>
                    </a:cubicBezTo>
                    <a:cubicBezTo>
                      <a:pt x="17" y="3"/>
                      <a:pt x="14" y="5"/>
                      <a:pt x="13" y="7"/>
                    </a:cubicBezTo>
                    <a:cubicBezTo>
                      <a:pt x="14" y="17"/>
                      <a:pt x="21" y="54"/>
                      <a:pt x="21" y="64"/>
                    </a:cubicBezTo>
                    <a:cubicBezTo>
                      <a:pt x="20" y="67"/>
                      <a:pt x="19" y="67"/>
                      <a:pt x="16" y="70"/>
                    </a:cubicBezTo>
                  </a:path>
                </a:pathLst>
              </a:custGeom>
              <a:noFill/>
              <a:ln w="1111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00264A"/>
                  </a:solidFill>
                  <a:effectLst/>
                  <a:uLnTx/>
                  <a:uFillTx/>
                  <a:latin typeface="Verdana"/>
                  <a:ea typeface="+mn-ea"/>
                  <a:cs typeface="+mn-cs"/>
                </a:endParaRPr>
              </a:p>
            </p:txBody>
          </p:sp>
          <p:sp>
            <p:nvSpPr>
              <p:cNvPr id="41" name="Freeform 354">
                <a:extLst>
                  <a:ext uri="{FF2B5EF4-FFF2-40B4-BE49-F238E27FC236}">
                    <a16:creationId xmlns:a16="http://schemas.microsoft.com/office/drawing/2014/main" id="{325DD484-B08B-469C-937D-0EDB576172C8}"/>
                  </a:ext>
                </a:extLst>
              </p:cNvPr>
              <p:cNvSpPr>
                <a:spLocks/>
              </p:cNvSpPr>
              <p:nvPr/>
            </p:nvSpPr>
            <p:spPr bwMode="auto">
              <a:xfrm>
                <a:off x="1462088" y="2065338"/>
                <a:ext cx="39688" cy="142875"/>
              </a:xfrm>
              <a:custGeom>
                <a:avLst/>
                <a:gdLst/>
                <a:ahLst/>
                <a:cxnLst>
                  <a:cxn ang="0">
                    <a:pos x="11" y="74"/>
                  </a:cxn>
                  <a:cxn ang="0">
                    <a:pos x="0" y="64"/>
                  </a:cxn>
                  <a:cxn ang="0">
                    <a:pos x="8" y="7"/>
                  </a:cxn>
                  <a:cxn ang="0">
                    <a:pos x="5" y="0"/>
                  </a:cxn>
                  <a:cxn ang="0">
                    <a:pos x="16" y="0"/>
                  </a:cxn>
                  <a:cxn ang="0">
                    <a:pos x="13" y="7"/>
                  </a:cxn>
                  <a:cxn ang="0">
                    <a:pos x="21" y="64"/>
                  </a:cxn>
                  <a:cxn ang="0">
                    <a:pos x="16" y="70"/>
                  </a:cxn>
                </a:cxnLst>
                <a:rect l="0" t="0" r="r" b="b"/>
                <a:pathLst>
                  <a:path w="21" h="74">
                    <a:moveTo>
                      <a:pt x="11" y="74"/>
                    </a:moveTo>
                    <a:cubicBezTo>
                      <a:pt x="8" y="71"/>
                      <a:pt x="5" y="69"/>
                      <a:pt x="0" y="64"/>
                    </a:cubicBezTo>
                    <a:cubicBezTo>
                      <a:pt x="0" y="53"/>
                      <a:pt x="7" y="16"/>
                      <a:pt x="8" y="7"/>
                    </a:cubicBezTo>
                    <a:cubicBezTo>
                      <a:pt x="7" y="5"/>
                      <a:pt x="4" y="4"/>
                      <a:pt x="5" y="0"/>
                    </a:cubicBezTo>
                    <a:cubicBezTo>
                      <a:pt x="9" y="1"/>
                      <a:pt x="12" y="1"/>
                      <a:pt x="16" y="0"/>
                    </a:cubicBezTo>
                    <a:cubicBezTo>
                      <a:pt x="16" y="3"/>
                      <a:pt x="14" y="5"/>
                      <a:pt x="13" y="7"/>
                    </a:cubicBezTo>
                    <a:cubicBezTo>
                      <a:pt x="14" y="16"/>
                      <a:pt x="21" y="54"/>
                      <a:pt x="21" y="64"/>
                    </a:cubicBezTo>
                    <a:cubicBezTo>
                      <a:pt x="19" y="67"/>
                      <a:pt x="18" y="67"/>
                      <a:pt x="16" y="70"/>
                    </a:cubicBezTo>
                  </a:path>
                </a:pathLst>
              </a:custGeom>
              <a:noFill/>
              <a:ln w="1111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57756"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00264A"/>
                  </a:solidFill>
                  <a:effectLst/>
                  <a:uLnTx/>
                  <a:uFillTx/>
                  <a:latin typeface="Verdana"/>
                  <a:ea typeface="+mn-ea"/>
                  <a:cs typeface="+mn-cs"/>
                </a:endParaRPr>
              </a:p>
            </p:txBody>
          </p:sp>
        </p:grpSp>
      </p:grpSp>
    </p:spTree>
    <p:extLst>
      <p:ext uri="{BB962C8B-B14F-4D97-AF65-F5344CB8AC3E}">
        <p14:creationId xmlns:p14="http://schemas.microsoft.com/office/powerpoint/2010/main" val="217718062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78DC7FCD-034B-4AB9-905F-9B017E25053D}"/>
              </a:ext>
            </a:extLst>
          </p:cNvPr>
          <p:cNvGraphicFramePr>
            <a:graphicFrameLocks noGrp="1"/>
          </p:cNvGraphicFramePr>
          <p:nvPr>
            <p:extLst>
              <p:ext uri="{D42A27DB-BD31-4B8C-83A1-F6EECF244321}">
                <p14:modId xmlns:p14="http://schemas.microsoft.com/office/powerpoint/2010/main" val="898188589"/>
              </p:ext>
            </p:extLst>
          </p:nvPr>
        </p:nvGraphicFramePr>
        <p:xfrm>
          <a:off x="390432" y="1139997"/>
          <a:ext cx="11498020" cy="5045805"/>
        </p:xfrm>
        <a:graphic>
          <a:graphicData uri="http://schemas.openxmlformats.org/drawingml/2006/table">
            <a:tbl>
              <a:tblPr firstRow="1" bandRow="1">
                <a:tableStyleId>{5C22544A-7EE6-4342-B048-85BDC9FD1C3A}</a:tableStyleId>
              </a:tblPr>
              <a:tblGrid>
                <a:gridCol w="2273579">
                  <a:extLst>
                    <a:ext uri="{9D8B030D-6E8A-4147-A177-3AD203B41FA5}">
                      <a16:colId xmlns:a16="http://schemas.microsoft.com/office/drawing/2014/main" val="2438193139"/>
                    </a:ext>
                  </a:extLst>
                </a:gridCol>
                <a:gridCol w="9224441">
                  <a:extLst>
                    <a:ext uri="{9D8B030D-6E8A-4147-A177-3AD203B41FA5}">
                      <a16:colId xmlns:a16="http://schemas.microsoft.com/office/drawing/2014/main" val="1555917905"/>
                    </a:ext>
                  </a:extLst>
                </a:gridCol>
              </a:tblGrid>
              <a:tr h="393214">
                <a:tc>
                  <a:txBody>
                    <a:bodyPr/>
                    <a:lstStyle/>
                    <a:p>
                      <a:pPr algn="ctr"/>
                      <a:r>
                        <a:rPr lang="en-GB" sz="1600"/>
                        <a:t>Name / Role</a:t>
                      </a:r>
                    </a:p>
                  </a:txBody>
                  <a:tcPr anchor="ctr">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600"/>
                        <a:t>Experience</a:t>
                      </a:r>
                      <a:r>
                        <a:rPr lang="en-GB" sz="1600" baseline="0"/>
                        <a:t> Description</a:t>
                      </a:r>
                      <a:endParaRPr lang="en-GB" sz="1600"/>
                    </a:p>
                  </a:txBody>
                  <a:tcPr anchor="ctr">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11266063"/>
                  </a:ext>
                </a:extLst>
              </a:tr>
              <a:tr h="1440262">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a:t>Name: Rahul </a:t>
                      </a:r>
                      <a:r>
                        <a:rPr lang="en-GB" sz="1400" b="1" err="1"/>
                        <a:t>Anugrah</a:t>
                      </a:r>
                      <a:endParaRPr lang="en-GB" sz="1400" b="1"/>
                    </a:p>
                    <a:p>
                      <a:endParaRPr lang="en-GB" sz="1400" b="1"/>
                    </a:p>
                    <a:p>
                      <a:endParaRPr lang="en-GB" sz="1400" b="1"/>
                    </a:p>
                    <a:p>
                      <a:r>
                        <a:rPr lang="en-GB" sz="1400" b="1"/>
                        <a:t>Role: Business Analyst</a:t>
                      </a:r>
                    </a:p>
                  </a:txBody>
                  <a:tcPr anchor="ctr">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just">
                        <a:spcBef>
                          <a:spcPts val="300"/>
                        </a:spcBef>
                        <a:spcAft>
                          <a:spcPts val="300"/>
                        </a:spcAft>
                        <a:buFontTx/>
                        <a:buChar char="-"/>
                      </a:pPr>
                      <a:r>
                        <a:rPr lang="en-US" sz="1100"/>
                        <a:t>8+ Years of experience in Business Analyst, Software Testing of Client/Server and web-based applications for Life and Annuity services provider. </a:t>
                      </a:r>
                    </a:p>
                    <a:p>
                      <a:pPr marL="171450" indent="-171450" algn="just">
                        <a:spcBef>
                          <a:spcPts val="300"/>
                        </a:spcBef>
                        <a:spcAft>
                          <a:spcPts val="300"/>
                        </a:spcAft>
                        <a:buFontTx/>
                        <a:buChar char="-"/>
                      </a:pPr>
                      <a:r>
                        <a:rPr lang="en-US" sz="1100"/>
                        <a:t>Experience in Insurance industry and extensive knowledge of Life &amp; Annuity Business.</a:t>
                      </a:r>
                    </a:p>
                    <a:p>
                      <a:pPr marL="171450" indent="-171450" algn="just">
                        <a:spcBef>
                          <a:spcPts val="300"/>
                        </a:spcBef>
                        <a:spcAft>
                          <a:spcPts val="300"/>
                        </a:spcAft>
                        <a:buFontTx/>
                        <a:buChar char="-"/>
                      </a:pPr>
                      <a:r>
                        <a:rPr lang="en-US" sz="1100"/>
                        <a:t>Experience on Testing Methodologies like Agile and Waterfall Model.</a:t>
                      </a:r>
                    </a:p>
                    <a:p>
                      <a:pPr marL="171450" indent="-171450" algn="just">
                        <a:spcBef>
                          <a:spcPts val="300"/>
                        </a:spcBef>
                        <a:spcAft>
                          <a:spcPts val="300"/>
                        </a:spcAft>
                        <a:buFontTx/>
                        <a:buChar char="-"/>
                      </a:pPr>
                      <a:r>
                        <a:rPr lang="en-US" sz="1100"/>
                        <a:t>Good hands-on experience &amp; knowledge of FAST (Flexible Architecture Simplified Technology) Wealth Management Accelerator (</a:t>
                      </a:r>
                      <a:r>
                        <a:rPr lang="en-US" sz="1100" err="1"/>
                        <a:t>wmA</a:t>
                      </a:r>
                      <a:r>
                        <a:rPr lang="en-US" sz="1100"/>
                        <a:t>) &amp; Vantage One application.</a:t>
                      </a:r>
                    </a:p>
                    <a:p>
                      <a:pPr marL="171450" indent="-171450" algn="just">
                        <a:spcBef>
                          <a:spcPts val="300"/>
                        </a:spcBef>
                        <a:spcAft>
                          <a:spcPts val="300"/>
                        </a:spcAft>
                        <a:buFontTx/>
                        <a:buChar char="-"/>
                      </a:pPr>
                      <a:r>
                        <a:rPr lang="en-US" sz="1100"/>
                        <a:t>Expertise in designing and executing Functional Test cases. Expert in conducting System, Integration, User-Acceptance Testing, Black box testing</a:t>
                      </a:r>
                    </a:p>
                    <a:p>
                      <a:pPr marL="171450" indent="-171450" algn="just">
                        <a:spcBef>
                          <a:spcPts val="300"/>
                        </a:spcBef>
                        <a:spcAft>
                          <a:spcPts val="300"/>
                        </a:spcAft>
                        <a:buFontTx/>
                        <a:buChar char="-"/>
                      </a:pPr>
                      <a:r>
                        <a:rPr lang="en-US" sz="1100"/>
                        <a:t>Well-versed with all stages of Software Testing Life Cycle (STLC). AAPA 273 &amp; ISTQB certified.</a:t>
                      </a:r>
                    </a:p>
                    <a:p>
                      <a:pPr marL="171450" indent="-171450" algn="just">
                        <a:spcBef>
                          <a:spcPts val="300"/>
                        </a:spcBef>
                        <a:spcAft>
                          <a:spcPts val="300"/>
                        </a:spcAft>
                        <a:buFontTx/>
                        <a:buChar char="-"/>
                      </a:pPr>
                      <a:r>
                        <a:rPr lang="en-US" sz="1100"/>
                        <a:t>Certified Test Analyst and automation tester; </a:t>
                      </a:r>
                    </a:p>
                    <a:p>
                      <a:pPr marL="171450" indent="-171450" algn="just">
                        <a:spcBef>
                          <a:spcPts val="300"/>
                        </a:spcBef>
                        <a:spcAft>
                          <a:spcPts val="300"/>
                        </a:spcAft>
                        <a:buFontTx/>
                        <a:buChar char="-"/>
                      </a:pPr>
                      <a:r>
                        <a:rPr lang="en-US" sz="1100"/>
                        <a:t>Experience in Web-based Testing, Manual testing, UAT and Automation Testing.</a:t>
                      </a:r>
                    </a:p>
                    <a:p>
                      <a:pPr marL="171450" indent="-171450" algn="just">
                        <a:spcBef>
                          <a:spcPts val="300"/>
                        </a:spcBef>
                        <a:spcAft>
                          <a:spcPts val="300"/>
                        </a:spcAft>
                        <a:buFontTx/>
                        <a:buChar char="-"/>
                      </a:pPr>
                      <a:r>
                        <a:rPr lang="en-US" sz="1100"/>
                        <a:t>Experience working with tools like Quality center, HP ALM, JIRA &amp; Confluence.</a:t>
                      </a:r>
                    </a:p>
                  </a:txBody>
                  <a:tcPr anchor="ctr">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33786260"/>
                  </a:ext>
                </a:extLst>
              </a:tr>
              <a:tr h="1939871">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a:t>Name:  Jayesh Gangrade</a:t>
                      </a:r>
                    </a:p>
                    <a:p>
                      <a:endParaRPr lang="en-GB" sz="1400" b="1"/>
                    </a:p>
                    <a:p>
                      <a:r>
                        <a:rPr lang="en-GB" sz="1400" b="1"/>
                        <a:t>Role: Database Architect</a:t>
                      </a:r>
                    </a:p>
                  </a:txBody>
                  <a:tcPr anchor="ctr">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just">
                        <a:spcBef>
                          <a:spcPts val="300"/>
                        </a:spcBef>
                        <a:spcAft>
                          <a:spcPts val="300"/>
                        </a:spcAft>
                        <a:buFontTx/>
                        <a:buChar char="-"/>
                      </a:pPr>
                      <a:r>
                        <a:rPr lang="en-US" sz="1100"/>
                        <a:t>10+ Years of total IT experience And 8+ years of proven SQL Database Administration experience using Microsoft SQL Server 2000/2005/2008/2012/2014. </a:t>
                      </a:r>
                    </a:p>
                    <a:p>
                      <a:pPr marL="171450" indent="-171450" algn="just">
                        <a:spcBef>
                          <a:spcPts val="300"/>
                        </a:spcBef>
                        <a:spcAft>
                          <a:spcPts val="300"/>
                        </a:spcAft>
                        <a:buFontTx/>
                        <a:buChar char="-"/>
                      </a:pPr>
                      <a:r>
                        <a:rPr lang="en-US" sz="1100"/>
                        <a:t>Expert in Database Maintenance Activities like rebuilding/reorganizing indexes and update statistics, database refresh, checking database integrity and clean up history</a:t>
                      </a:r>
                    </a:p>
                    <a:p>
                      <a:pPr marL="171450" indent="-171450" algn="just">
                        <a:spcBef>
                          <a:spcPts val="300"/>
                        </a:spcBef>
                        <a:spcAft>
                          <a:spcPts val="300"/>
                        </a:spcAft>
                        <a:buFontTx/>
                        <a:buChar char="-"/>
                      </a:pPr>
                      <a:r>
                        <a:rPr lang="en-US" sz="1100"/>
                        <a:t>Worked with developers to tune the SQL queries using SQL Profiler.</a:t>
                      </a:r>
                    </a:p>
                    <a:p>
                      <a:pPr marL="171450" indent="-171450" algn="just">
                        <a:spcBef>
                          <a:spcPts val="300"/>
                        </a:spcBef>
                        <a:spcAft>
                          <a:spcPts val="300"/>
                        </a:spcAft>
                        <a:buFontTx/>
                        <a:buChar char="-"/>
                      </a:pPr>
                      <a:r>
                        <a:rPr lang="en-US" sz="1100"/>
                        <a:t>Exporting and importing tables, user and Database using Export / Import Utility.</a:t>
                      </a:r>
                    </a:p>
                    <a:p>
                      <a:pPr marL="171450" indent="-171450" algn="just">
                        <a:spcBef>
                          <a:spcPts val="300"/>
                        </a:spcBef>
                        <a:spcAft>
                          <a:spcPts val="300"/>
                        </a:spcAft>
                        <a:buFontTx/>
                        <a:buChar char="-"/>
                      </a:pPr>
                      <a:r>
                        <a:rPr lang="en-US" sz="1100"/>
                        <a:t>Knowledge of Log Shipping, Database Mirroring, Replication and Clustering. Deployment of SSIS packages, SSRS RDL files</a:t>
                      </a:r>
                    </a:p>
                    <a:p>
                      <a:pPr marL="171450" indent="-171450" algn="just">
                        <a:spcBef>
                          <a:spcPts val="300"/>
                        </a:spcBef>
                        <a:spcAft>
                          <a:spcPts val="300"/>
                        </a:spcAft>
                        <a:buFontTx/>
                        <a:buChar char="-"/>
                      </a:pPr>
                      <a:r>
                        <a:rPr lang="en-US" sz="1100"/>
                        <a:t>Participated in business requirements review meetings for large data migration programs</a:t>
                      </a:r>
                    </a:p>
                  </a:txBody>
                  <a:tcPr anchor="ctr">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59206566"/>
                  </a:ext>
                </a:extLst>
              </a:tr>
            </a:tbl>
          </a:graphicData>
        </a:graphic>
      </p:graphicFrame>
      <p:sp>
        <p:nvSpPr>
          <p:cNvPr id="3" name="Title 2">
            <a:extLst>
              <a:ext uri="{FF2B5EF4-FFF2-40B4-BE49-F238E27FC236}">
                <a16:creationId xmlns:a16="http://schemas.microsoft.com/office/drawing/2014/main" id="{68D16C54-87AA-4337-81F2-66B08E638D33}"/>
              </a:ext>
            </a:extLst>
          </p:cNvPr>
          <p:cNvSpPr>
            <a:spLocks noGrp="1"/>
          </p:cNvSpPr>
          <p:nvPr>
            <p:ph type="title"/>
          </p:nvPr>
        </p:nvSpPr>
        <p:spPr/>
        <p:txBody>
          <a:bodyPr/>
          <a:lstStyle/>
          <a:p>
            <a:r>
              <a:rPr lang="en-US"/>
              <a:t>Indicative Profiles</a:t>
            </a:r>
            <a:br>
              <a:rPr lang="en-IN"/>
            </a:br>
            <a:endParaRPr lang="en-GB"/>
          </a:p>
        </p:txBody>
      </p:sp>
    </p:spTree>
    <p:extLst>
      <p:ext uri="{BB962C8B-B14F-4D97-AF65-F5344CB8AC3E}">
        <p14:creationId xmlns:p14="http://schemas.microsoft.com/office/powerpoint/2010/main" val="32929163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78DC7FCD-034B-4AB9-905F-9B017E25053D}"/>
              </a:ext>
            </a:extLst>
          </p:cNvPr>
          <p:cNvGraphicFramePr>
            <a:graphicFrameLocks noGrp="1"/>
          </p:cNvGraphicFramePr>
          <p:nvPr>
            <p:extLst>
              <p:ext uri="{D42A27DB-BD31-4B8C-83A1-F6EECF244321}">
                <p14:modId xmlns:p14="http://schemas.microsoft.com/office/powerpoint/2010/main" val="3585056120"/>
              </p:ext>
            </p:extLst>
          </p:nvPr>
        </p:nvGraphicFramePr>
        <p:xfrm>
          <a:off x="454631" y="1434380"/>
          <a:ext cx="11498020" cy="4606656"/>
        </p:xfrm>
        <a:graphic>
          <a:graphicData uri="http://schemas.openxmlformats.org/drawingml/2006/table">
            <a:tbl>
              <a:tblPr firstRow="1" bandRow="1">
                <a:tableStyleId>{5C22544A-7EE6-4342-B048-85BDC9FD1C3A}</a:tableStyleId>
              </a:tblPr>
              <a:tblGrid>
                <a:gridCol w="2273579">
                  <a:extLst>
                    <a:ext uri="{9D8B030D-6E8A-4147-A177-3AD203B41FA5}">
                      <a16:colId xmlns:a16="http://schemas.microsoft.com/office/drawing/2014/main" val="2438193139"/>
                    </a:ext>
                  </a:extLst>
                </a:gridCol>
                <a:gridCol w="9224441">
                  <a:extLst>
                    <a:ext uri="{9D8B030D-6E8A-4147-A177-3AD203B41FA5}">
                      <a16:colId xmlns:a16="http://schemas.microsoft.com/office/drawing/2014/main" val="1555917905"/>
                    </a:ext>
                  </a:extLst>
                </a:gridCol>
              </a:tblGrid>
              <a:tr h="412574">
                <a:tc>
                  <a:txBody>
                    <a:bodyPr/>
                    <a:lstStyle/>
                    <a:p>
                      <a:pPr algn="ctr"/>
                      <a:r>
                        <a:rPr lang="en-GB" sz="1600"/>
                        <a:t>Name / Role</a:t>
                      </a:r>
                    </a:p>
                  </a:txBody>
                  <a:tcPr anchor="ctr">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600"/>
                        <a:t>Experience</a:t>
                      </a:r>
                      <a:r>
                        <a:rPr lang="en-GB" sz="1600" baseline="0"/>
                        <a:t> Description</a:t>
                      </a:r>
                      <a:endParaRPr lang="en-GB" sz="1600"/>
                    </a:p>
                  </a:txBody>
                  <a:tcPr anchor="ctr">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11266063"/>
                  </a:ext>
                </a:extLst>
              </a:tr>
              <a:tr h="2158699">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a:t>Name: Zubair Koltharkar</a:t>
                      </a:r>
                    </a:p>
                    <a:p>
                      <a:endParaRPr lang="en-GB" sz="1400" b="1"/>
                    </a:p>
                    <a:p>
                      <a:endParaRPr lang="en-GB" sz="1400" b="1"/>
                    </a:p>
                    <a:p>
                      <a:r>
                        <a:rPr lang="en-GB" sz="1400" b="1"/>
                        <a:t>Role: Data Architect</a:t>
                      </a:r>
                    </a:p>
                  </a:txBody>
                  <a:tcPr anchor="ctr">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just">
                        <a:spcBef>
                          <a:spcPts val="300"/>
                        </a:spcBef>
                        <a:spcAft>
                          <a:spcPts val="300"/>
                        </a:spcAft>
                        <a:buFontTx/>
                        <a:buChar char="-"/>
                      </a:pPr>
                      <a:r>
                        <a:rPr lang="en-US" sz="1100"/>
                        <a:t>12+ years of experience in Database administration ; Over 10 years of experience in Management consulting and execution working with CMM level 5 companies for US and UK based BNFS clients </a:t>
                      </a:r>
                    </a:p>
                    <a:p>
                      <a:pPr marL="171450" indent="-171450" algn="just">
                        <a:spcBef>
                          <a:spcPts val="300"/>
                        </a:spcBef>
                        <a:spcAft>
                          <a:spcPts val="300"/>
                        </a:spcAft>
                        <a:buFontTx/>
                        <a:buChar char="-"/>
                      </a:pPr>
                      <a:r>
                        <a:rPr lang="en-US" sz="1100"/>
                        <a:t>Strong Skills with Microsoft SQL Server with latest version</a:t>
                      </a:r>
                    </a:p>
                    <a:p>
                      <a:pPr marL="171450" indent="-171450" algn="just">
                        <a:spcBef>
                          <a:spcPts val="300"/>
                        </a:spcBef>
                        <a:spcAft>
                          <a:spcPts val="300"/>
                        </a:spcAft>
                        <a:buFontTx/>
                        <a:buChar char="-"/>
                      </a:pPr>
                      <a:r>
                        <a:rPr lang="en-US" sz="1100"/>
                        <a:t>Also worked on Markit EDM, SQL Server BI tools and </a:t>
                      </a:r>
                      <a:r>
                        <a:rPr lang="en-US" sz="1100" err="1"/>
                        <a:t>.net</a:t>
                      </a:r>
                      <a:r>
                        <a:rPr lang="en-US" sz="1100"/>
                        <a:t> application </a:t>
                      </a:r>
                    </a:p>
                    <a:p>
                      <a:pPr marL="171450" indent="-171450" algn="just">
                        <a:spcBef>
                          <a:spcPts val="300"/>
                        </a:spcBef>
                        <a:spcAft>
                          <a:spcPts val="300"/>
                        </a:spcAft>
                        <a:buFontTx/>
                        <a:buChar char="-"/>
                      </a:pPr>
                      <a:r>
                        <a:rPr lang="en-US" sz="1100"/>
                        <a:t>Worked on Ticketing tool – BMC Remedy, Service Now , Cherwell</a:t>
                      </a:r>
                    </a:p>
                    <a:p>
                      <a:pPr marL="171450" indent="-171450" algn="just">
                        <a:spcBef>
                          <a:spcPts val="300"/>
                        </a:spcBef>
                        <a:spcAft>
                          <a:spcPts val="300"/>
                        </a:spcAft>
                        <a:buFontTx/>
                        <a:buChar char="-"/>
                      </a:pPr>
                      <a:r>
                        <a:rPr lang="en-US" sz="1100"/>
                        <a:t>Contributed to a downgrade and upgrade projects, as a cost saving and performance improvement initiatives </a:t>
                      </a:r>
                    </a:p>
                    <a:p>
                      <a:pPr marL="171450" indent="-171450" algn="just">
                        <a:spcBef>
                          <a:spcPts val="300"/>
                        </a:spcBef>
                        <a:spcAft>
                          <a:spcPts val="300"/>
                        </a:spcAft>
                        <a:buFontTx/>
                        <a:buChar char="-"/>
                      </a:pPr>
                      <a:r>
                        <a:rPr lang="en-US" sz="1100"/>
                        <a:t>Automated various process to ease the server monitoring and automatic remediation which helps working on the issue proactively to avoid contingencies. e.g. Service alert, database status alert, space alert,</a:t>
                      </a:r>
                    </a:p>
                    <a:p>
                      <a:pPr marL="171450" indent="-171450" algn="just">
                        <a:spcBef>
                          <a:spcPts val="300"/>
                        </a:spcBef>
                        <a:spcAft>
                          <a:spcPts val="300"/>
                        </a:spcAft>
                        <a:buFontTx/>
                        <a:buChar char="-"/>
                      </a:pPr>
                      <a:endParaRPr lang="en-US" sz="1100"/>
                    </a:p>
                  </a:txBody>
                  <a:tcPr anchor="ctr">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33786260"/>
                  </a:ext>
                </a:extLst>
              </a:tr>
              <a:tr h="2035383">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a:t>Name: </a:t>
                      </a:r>
                      <a:r>
                        <a:rPr lang="en-GB" sz="1400" b="1" err="1"/>
                        <a:t>Malleswara</a:t>
                      </a:r>
                      <a:r>
                        <a:rPr lang="en-GB" sz="1400" b="1"/>
                        <a:t> Rao </a:t>
                      </a:r>
                      <a:r>
                        <a:rPr lang="en-GB" sz="1400" b="1" err="1"/>
                        <a:t>Vadlamudi</a:t>
                      </a:r>
                      <a:endParaRPr lang="en-GB" sz="1400" b="1"/>
                    </a:p>
                    <a:p>
                      <a:pPr marL="0" marR="0" lvl="0" indent="0" algn="l" defTabSz="1219170" rtl="0" eaLnBrk="1" fontAlgn="auto" latinLnBrk="0" hangingPunct="1">
                        <a:lnSpc>
                          <a:spcPct val="100000"/>
                        </a:lnSpc>
                        <a:spcBef>
                          <a:spcPts val="0"/>
                        </a:spcBef>
                        <a:spcAft>
                          <a:spcPts val="0"/>
                        </a:spcAft>
                        <a:buClrTx/>
                        <a:buSzTx/>
                        <a:buFontTx/>
                        <a:buNone/>
                        <a:tabLst/>
                        <a:defRPr/>
                      </a:pPr>
                      <a:endParaRPr lang="en-GB" sz="1400" b="1"/>
                    </a:p>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a:t>Test Manager</a:t>
                      </a:r>
                    </a:p>
                  </a:txBody>
                  <a:tcPr anchor="ctr">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just">
                        <a:spcBef>
                          <a:spcPts val="300"/>
                        </a:spcBef>
                        <a:spcAft>
                          <a:spcPts val="300"/>
                        </a:spcAft>
                        <a:buFontTx/>
                        <a:buChar char="-"/>
                      </a:pPr>
                      <a:r>
                        <a:rPr lang="en-US" sz="1100"/>
                        <a:t>13+ Years of experience in testing various financial services applications like Trading, pricing, Accounting and Reporting. </a:t>
                      </a:r>
                    </a:p>
                    <a:p>
                      <a:pPr marL="171450" indent="-171450" algn="just">
                        <a:spcBef>
                          <a:spcPts val="300"/>
                        </a:spcBef>
                        <a:spcAft>
                          <a:spcPts val="300"/>
                        </a:spcAft>
                        <a:buFontTx/>
                        <a:buChar char="-"/>
                      </a:pPr>
                      <a:r>
                        <a:rPr lang="en-US" sz="1100"/>
                        <a:t>Good knowledge on financial services domain.</a:t>
                      </a:r>
                    </a:p>
                    <a:p>
                      <a:pPr marL="171450" indent="-171450" algn="just">
                        <a:spcBef>
                          <a:spcPts val="300"/>
                        </a:spcBef>
                        <a:spcAft>
                          <a:spcPts val="300"/>
                        </a:spcAft>
                        <a:buFontTx/>
                        <a:buChar char="-"/>
                      </a:pPr>
                      <a:r>
                        <a:rPr lang="en-US" sz="1100"/>
                        <a:t>Experience in modernization of legacy systems to latest platforms.</a:t>
                      </a:r>
                    </a:p>
                    <a:p>
                      <a:pPr marL="171450" indent="-171450" algn="just">
                        <a:spcBef>
                          <a:spcPts val="300"/>
                        </a:spcBef>
                        <a:spcAft>
                          <a:spcPts val="300"/>
                        </a:spcAft>
                        <a:buFontTx/>
                        <a:buChar char="-"/>
                      </a:pPr>
                      <a:r>
                        <a:rPr lang="en-US" sz="1100"/>
                        <a:t>Expert in SQL &amp; ETL Testing </a:t>
                      </a:r>
                    </a:p>
                    <a:p>
                      <a:pPr marL="171450" indent="-171450" algn="just">
                        <a:spcBef>
                          <a:spcPts val="300"/>
                        </a:spcBef>
                        <a:spcAft>
                          <a:spcPts val="300"/>
                        </a:spcAft>
                        <a:buFontTx/>
                        <a:buChar char="-"/>
                      </a:pPr>
                      <a:r>
                        <a:rPr lang="en-US" sz="1100"/>
                        <a:t>Good Knowledge on Selenium with Java, Quality Center, ZIRA, Agile methodology</a:t>
                      </a:r>
                    </a:p>
                    <a:p>
                      <a:pPr marL="171450" indent="-171450" algn="just">
                        <a:spcBef>
                          <a:spcPts val="300"/>
                        </a:spcBef>
                        <a:spcAft>
                          <a:spcPts val="300"/>
                        </a:spcAft>
                        <a:buFontTx/>
                        <a:buChar char="-"/>
                      </a:pPr>
                      <a:r>
                        <a:rPr lang="en-US" sz="1100"/>
                        <a:t>Good knowledge in Data Quality, Data Profiling and Business Objects Reports Testing.</a:t>
                      </a:r>
                    </a:p>
                  </a:txBody>
                  <a:tcPr anchor="ctr">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59206566"/>
                  </a:ext>
                </a:extLst>
              </a:tr>
            </a:tbl>
          </a:graphicData>
        </a:graphic>
      </p:graphicFrame>
      <p:sp>
        <p:nvSpPr>
          <p:cNvPr id="3" name="Title 2">
            <a:extLst>
              <a:ext uri="{FF2B5EF4-FFF2-40B4-BE49-F238E27FC236}">
                <a16:creationId xmlns:a16="http://schemas.microsoft.com/office/drawing/2014/main" id="{241F8C12-20A1-4CAD-9A4E-6FCD7C638ECB}"/>
              </a:ext>
            </a:extLst>
          </p:cNvPr>
          <p:cNvSpPr>
            <a:spLocks noGrp="1"/>
          </p:cNvSpPr>
          <p:nvPr>
            <p:ph type="title"/>
          </p:nvPr>
        </p:nvSpPr>
        <p:spPr/>
        <p:txBody>
          <a:bodyPr/>
          <a:lstStyle/>
          <a:p>
            <a:r>
              <a:rPr lang="en-US"/>
              <a:t>Indicative Profiles</a:t>
            </a:r>
            <a:endParaRPr lang="en-GB"/>
          </a:p>
        </p:txBody>
      </p:sp>
    </p:spTree>
    <p:extLst>
      <p:ext uri="{BB962C8B-B14F-4D97-AF65-F5344CB8AC3E}">
        <p14:creationId xmlns:p14="http://schemas.microsoft.com/office/powerpoint/2010/main" val="373584820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23AAC83-F82F-4DEA-9AC2-5D3A1D65273C}"/>
              </a:ext>
            </a:extLst>
          </p:cNvPr>
          <p:cNvSpPr>
            <a:spLocks noGrp="1"/>
          </p:cNvSpPr>
          <p:nvPr>
            <p:ph type="body" sz="quarter" idx="10"/>
          </p:nvPr>
        </p:nvSpPr>
        <p:spPr/>
        <p:txBody>
          <a:bodyPr/>
          <a:lstStyle/>
          <a:p>
            <a:r>
              <a:rPr lang="en-US"/>
              <a:t>Atos Credentials</a:t>
            </a:r>
            <a:endParaRPr lang="en-GB"/>
          </a:p>
        </p:txBody>
      </p:sp>
      <p:sp>
        <p:nvSpPr>
          <p:cNvPr id="4" name="Text Placeholder 3">
            <a:extLst>
              <a:ext uri="{FF2B5EF4-FFF2-40B4-BE49-F238E27FC236}">
                <a16:creationId xmlns:a16="http://schemas.microsoft.com/office/drawing/2014/main" id="{A4D16EC2-DCB7-41D0-B973-45CC78208EE9}"/>
              </a:ext>
            </a:extLst>
          </p:cNvPr>
          <p:cNvSpPr>
            <a:spLocks noGrp="1"/>
          </p:cNvSpPr>
          <p:nvPr>
            <p:ph type="body" sz="quarter" idx="16"/>
          </p:nvPr>
        </p:nvSpPr>
        <p:spPr>
          <a:xfrm>
            <a:off x="435576" y="2537691"/>
            <a:ext cx="652423" cy="569387"/>
          </a:xfrm>
        </p:spPr>
        <p:txBody>
          <a:bodyPr vert="horz" wrap="none" lIns="0" tIns="0" rIns="0" bIns="0" rtlCol="0" anchor="t">
            <a:spAutoFit/>
          </a:bodyPr>
          <a:lstStyle/>
          <a:p>
            <a:r>
              <a:rPr lang="en-GB" sz="3700">
                <a:ea typeface="Verdana"/>
              </a:rPr>
              <a:t>07.</a:t>
            </a:r>
            <a:endParaRPr lang="en-GB"/>
          </a:p>
        </p:txBody>
      </p:sp>
    </p:spTree>
    <p:extLst>
      <p:ext uri="{BB962C8B-B14F-4D97-AF65-F5344CB8AC3E}">
        <p14:creationId xmlns:p14="http://schemas.microsoft.com/office/powerpoint/2010/main" val="391106505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22"/>
          <p:cNvSpPr>
            <a:spLocks noGrp="1"/>
          </p:cNvSpPr>
          <p:nvPr>
            <p:ph type="title"/>
          </p:nvPr>
        </p:nvSpPr>
        <p:spPr/>
        <p:txBody>
          <a:bodyPr>
            <a:normAutofit/>
          </a:bodyPr>
          <a:lstStyle/>
          <a:p>
            <a:r>
              <a:rPr lang="en-US"/>
              <a:t>Select Data Migration Experience Snapshot</a:t>
            </a:r>
          </a:p>
        </p:txBody>
      </p:sp>
      <p:graphicFrame>
        <p:nvGraphicFramePr>
          <p:cNvPr id="30" name="Table 29"/>
          <p:cNvGraphicFramePr>
            <a:graphicFrameLocks noGrp="1"/>
          </p:cNvGraphicFramePr>
          <p:nvPr>
            <p:extLst>
              <p:ext uri="{D42A27DB-BD31-4B8C-83A1-F6EECF244321}">
                <p14:modId xmlns:p14="http://schemas.microsoft.com/office/powerpoint/2010/main" val="3394223989"/>
              </p:ext>
            </p:extLst>
          </p:nvPr>
        </p:nvGraphicFramePr>
        <p:xfrm>
          <a:off x="303548" y="920637"/>
          <a:ext cx="11584904" cy="5241014"/>
        </p:xfrm>
        <a:graphic>
          <a:graphicData uri="http://schemas.openxmlformats.org/drawingml/2006/table">
            <a:tbl>
              <a:tblPr firstRow="1" bandRow="1">
                <a:tableStyleId>{FABFCF23-3B69-468F-B69F-88F6DE6A72F2}</a:tableStyleId>
              </a:tblPr>
              <a:tblGrid>
                <a:gridCol w="2411517">
                  <a:extLst>
                    <a:ext uri="{9D8B030D-6E8A-4147-A177-3AD203B41FA5}">
                      <a16:colId xmlns:a16="http://schemas.microsoft.com/office/drawing/2014/main" val="20000"/>
                    </a:ext>
                  </a:extLst>
                </a:gridCol>
                <a:gridCol w="5697415">
                  <a:extLst>
                    <a:ext uri="{9D8B030D-6E8A-4147-A177-3AD203B41FA5}">
                      <a16:colId xmlns:a16="http://schemas.microsoft.com/office/drawing/2014/main" val="20001"/>
                    </a:ext>
                  </a:extLst>
                </a:gridCol>
                <a:gridCol w="3475972">
                  <a:extLst>
                    <a:ext uri="{9D8B030D-6E8A-4147-A177-3AD203B41FA5}">
                      <a16:colId xmlns:a16="http://schemas.microsoft.com/office/drawing/2014/main" val="20003"/>
                    </a:ext>
                  </a:extLst>
                </a:gridCol>
              </a:tblGrid>
              <a:tr h="426094">
                <a:tc>
                  <a:txBody>
                    <a:bodyPr/>
                    <a:lstStyle/>
                    <a:p>
                      <a:pPr algn="ctr"/>
                      <a:r>
                        <a:rPr lang="en-US" sz="1400" kern="1200">
                          <a:solidFill>
                            <a:schemeClr val="bg1"/>
                          </a:solidFill>
                          <a:latin typeface="+mn-lt"/>
                        </a:rPr>
                        <a:t>Customer</a:t>
                      </a:r>
                      <a:endParaRPr lang="en-US" sz="1400">
                        <a:solidFill>
                          <a:schemeClr val="bg1"/>
                        </a:solidFill>
                        <a:latin typeface="+mn-lt"/>
                      </a:endParaRPr>
                    </a:p>
                  </a:txBody>
                  <a:tcPr marL="91442" marR="91442" marT="45716" marB="45716"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400" kern="1200">
                          <a:solidFill>
                            <a:schemeClr val="bg1"/>
                          </a:solidFill>
                          <a:latin typeface="+mn-lt"/>
                        </a:rPr>
                        <a:t>Atos Solution</a:t>
                      </a:r>
                      <a:endParaRPr lang="en-US" sz="1400">
                        <a:solidFill>
                          <a:schemeClr val="bg1"/>
                        </a:solidFill>
                        <a:latin typeface="+mn-lt"/>
                      </a:endParaRPr>
                    </a:p>
                  </a:txBody>
                  <a:tcPr marL="91442" marR="91442" marT="45716" marB="4571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400" kern="1200">
                          <a:solidFill>
                            <a:schemeClr val="bg1"/>
                          </a:solidFill>
                          <a:latin typeface="+mn-lt"/>
                        </a:rPr>
                        <a:t>Benefits Delivered</a:t>
                      </a:r>
                      <a:endParaRPr lang="en-US" sz="1400">
                        <a:solidFill>
                          <a:schemeClr val="bg1"/>
                        </a:solidFill>
                        <a:latin typeface="+mn-lt"/>
                      </a:endParaRPr>
                    </a:p>
                  </a:txBody>
                  <a:tcPr marL="91442" marR="91442" marT="45716" marB="45716"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766978">
                <a:tc>
                  <a:txBody>
                    <a:bodyPr/>
                    <a:lstStyle/>
                    <a:p>
                      <a:r>
                        <a:rPr lang="en-US" sz="1000" b="1">
                          <a:latin typeface="+mn-lt"/>
                        </a:rPr>
                        <a:t>Leading Life and Retirement Services Provider</a:t>
                      </a:r>
                    </a:p>
                  </a:txBody>
                  <a:tcPr marL="91442" marR="91442" marT="45716" marB="45716"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1" indent="-171450" algn="l" defTabSz="969963" rtl="0" eaLnBrk="0" fontAlgn="base" latinLnBrk="0" hangingPunct="0">
                        <a:lnSpc>
                          <a:spcPct val="100000"/>
                        </a:lnSpc>
                        <a:spcBef>
                          <a:spcPts val="0"/>
                        </a:spcBef>
                        <a:spcAft>
                          <a:spcPts val="0"/>
                        </a:spcAft>
                        <a:buClr>
                          <a:schemeClr val="accent1"/>
                        </a:buClr>
                        <a:buSzPct val="100000"/>
                        <a:buFont typeface="Wingdings" panose="05000000000000000000" pitchFamily="2" charset="2"/>
                        <a:buChar char="§"/>
                        <a:tabLst>
                          <a:tab pos="0" algn="l"/>
                        </a:tabLst>
                        <a:defRPr/>
                      </a:pPr>
                      <a:r>
                        <a:rPr lang="en-US" sz="1000" b="0">
                          <a:solidFill>
                            <a:srgbClr val="000000"/>
                          </a:solidFill>
                          <a:latin typeface="+mn-lt"/>
                        </a:rPr>
                        <a:t>30% faster time to market</a:t>
                      </a:r>
                    </a:p>
                    <a:p>
                      <a:pPr marL="228600" marR="0" lvl="1" indent="-171450" algn="l" defTabSz="969963" rtl="0" eaLnBrk="0" fontAlgn="base" latinLnBrk="0" hangingPunct="0">
                        <a:lnSpc>
                          <a:spcPct val="100000"/>
                        </a:lnSpc>
                        <a:spcBef>
                          <a:spcPts val="0"/>
                        </a:spcBef>
                        <a:spcAft>
                          <a:spcPts val="0"/>
                        </a:spcAft>
                        <a:buClr>
                          <a:schemeClr val="accent1"/>
                        </a:buClr>
                        <a:buSzPct val="100000"/>
                        <a:buFont typeface="Wingdings" panose="05000000000000000000" pitchFamily="2" charset="2"/>
                        <a:buChar char="§"/>
                        <a:tabLst>
                          <a:tab pos="0" algn="l"/>
                        </a:tabLst>
                        <a:defRPr/>
                      </a:pPr>
                      <a:r>
                        <a:rPr lang="en-US" sz="1000" b="0">
                          <a:solidFill>
                            <a:srgbClr val="000000"/>
                          </a:solidFill>
                          <a:latin typeface="+mn-lt"/>
                        </a:rPr>
                        <a:t>60% reduction in mainframe infrastructure costs</a:t>
                      </a:r>
                    </a:p>
                    <a:p>
                      <a:pPr marL="228600" marR="0" lvl="1" indent="-171450" algn="l" defTabSz="969963" rtl="0" eaLnBrk="0" fontAlgn="base" latinLnBrk="0" hangingPunct="0">
                        <a:lnSpc>
                          <a:spcPct val="100000"/>
                        </a:lnSpc>
                        <a:spcBef>
                          <a:spcPts val="0"/>
                        </a:spcBef>
                        <a:spcAft>
                          <a:spcPts val="0"/>
                        </a:spcAft>
                        <a:buClr>
                          <a:schemeClr val="accent1"/>
                        </a:buClr>
                        <a:buSzPct val="100000"/>
                        <a:buFont typeface="Wingdings" panose="05000000000000000000" pitchFamily="2" charset="2"/>
                        <a:buChar char="§"/>
                        <a:tabLst>
                          <a:tab pos="0" algn="l"/>
                        </a:tabLst>
                        <a:defRPr/>
                      </a:pPr>
                      <a:r>
                        <a:rPr lang="en-US" sz="1000" b="0">
                          <a:solidFill>
                            <a:srgbClr val="000000"/>
                          </a:solidFill>
                          <a:latin typeface="+mn-lt"/>
                        </a:rPr>
                        <a:t>25M CAD reduction in support cost over 5 years</a:t>
                      </a:r>
                      <a:endParaRPr lang="en-US" sz="1000" b="0">
                        <a:latin typeface="+mn-lt"/>
                      </a:endParaRPr>
                    </a:p>
                  </a:txBody>
                  <a:tcPr marL="91442" marR="91442" marT="45716" marB="45716"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1" indent="-171450" algn="l" defTabSz="969963" rtl="0" eaLnBrk="0" fontAlgn="base" latinLnBrk="0" hangingPunct="0">
                        <a:lnSpc>
                          <a:spcPct val="100000"/>
                        </a:lnSpc>
                        <a:spcBef>
                          <a:spcPts val="0"/>
                        </a:spcBef>
                        <a:spcAft>
                          <a:spcPts val="0"/>
                        </a:spcAft>
                        <a:buClr>
                          <a:schemeClr val="accent1"/>
                        </a:buClr>
                        <a:buSzPct val="100000"/>
                        <a:buFont typeface="Wingdings" panose="05000000000000000000" pitchFamily="2" charset="2"/>
                        <a:buChar char="§"/>
                        <a:tabLst>
                          <a:tab pos="0" algn="l"/>
                        </a:tabLst>
                        <a:defRPr/>
                      </a:pPr>
                      <a:r>
                        <a:rPr lang="en-US" sz="1000" b="1">
                          <a:solidFill>
                            <a:srgbClr val="000000"/>
                          </a:solidFill>
                          <a:latin typeface="+mn-lt"/>
                        </a:rPr>
                        <a:t>30% faster time to market</a:t>
                      </a:r>
                    </a:p>
                    <a:p>
                      <a:pPr marL="228600" marR="0" lvl="1" indent="-171450" algn="l" defTabSz="969963" rtl="0" eaLnBrk="0" fontAlgn="base" latinLnBrk="0" hangingPunct="0">
                        <a:lnSpc>
                          <a:spcPct val="100000"/>
                        </a:lnSpc>
                        <a:spcBef>
                          <a:spcPts val="0"/>
                        </a:spcBef>
                        <a:spcAft>
                          <a:spcPts val="0"/>
                        </a:spcAft>
                        <a:buClr>
                          <a:schemeClr val="accent1"/>
                        </a:buClr>
                        <a:buSzPct val="100000"/>
                        <a:buFont typeface="Wingdings" panose="05000000000000000000" pitchFamily="2" charset="2"/>
                        <a:buChar char="§"/>
                        <a:tabLst>
                          <a:tab pos="0" algn="l"/>
                        </a:tabLst>
                        <a:defRPr/>
                      </a:pPr>
                      <a:r>
                        <a:rPr lang="en-US" sz="1000" b="1">
                          <a:solidFill>
                            <a:srgbClr val="000000"/>
                          </a:solidFill>
                          <a:latin typeface="+mn-lt"/>
                        </a:rPr>
                        <a:t>60% reduction in mainframe infrastructure costs</a:t>
                      </a:r>
                    </a:p>
                    <a:p>
                      <a:pPr marL="228600" marR="0" lvl="1" indent="-171450" algn="l" defTabSz="969963" rtl="0" eaLnBrk="0" fontAlgn="base" latinLnBrk="0" hangingPunct="0">
                        <a:lnSpc>
                          <a:spcPct val="100000"/>
                        </a:lnSpc>
                        <a:spcBef>
                          <a:spcPts val="0"/>
                        </a:spcBef>
                        <a:spcAft>
                          <a:spcPts val="0"/>
                        </a:spcAft>
                        <a:buClr>
                          <a:schemeClr val="accent1"/>
                        </a:buClr>
                        <a:buSzPct val="100000"/>
                        <a:buFont typeface="Wingdings" panose="05000000000000000000" pitchFamily="2" charset="2"/>
                        <a:buChar char="§"/>
                        <a:tabLst>
                          <a:tab pos="0" algn="l"/>
                        </a:tabLst>
                        <a:defRPr/>
                      </a:pPr>
                      <a:r>
                        <a:rPr lang="en-US" sz="1000" b="1">
                          <a:solidFill>
                            <a:srgbClr val="000000"/>
                          </a:solidFill>
                          <a:latin typeface="+mn-lt"/>
                        </a:rPr>
                        <a:t>25M CAD reduction in support cost over 5 years</a:t>
                      </a:r>
                    </a:p>
                  </a:txBody>
                  <a:tcPr marL="91442" marR="91442" marT="45716" marB="45716"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66978">
                <a:tc>
                  <a:txBody>
                    <a:bodyPr/>
                    <a:lstStyle/>
                    <a:p>
                      <a:r>
                        <a:rPr lang="en-US" sz="1000" b="1">
                          <a:latin typeface="+mn-lt"/>
                        </a:rPr>
                        <a:t>US based Life Insurance &amp; Annuities Services Provider</a:t>
                      </a:r>
                    </a:p>
                  </a:txBody>
                  <a:tcPr marL="91442" marR="91442" marT="45716" marB="45716"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1" indent="-171450" algn="l" defTabSz="969963" rtl="0" eaLnBrk="0" fontAlgn="base" latinLnBrk="0" hangingPunct="0">
                        <a:lnSpc>
                          <a:spcPct val="100000"/>
                        </a:lnSpc>
                        <a:spcBef>
                          <a:spcPts val="0"/>
                        </a:spcBef>
                        <a:spcAft>
                          <a:spcPts val="0"/>
                        </a:spcAft>
                        <a:buClr>
                          <a:schemeClr val="accent1"/>
                        </a:buClr>
                        <a:buSzPct val="100000"/>
                        <a:buFont typeface="Wingdings" panose="05000000000000000000" pitchFamily="2" charset="2"/>
                        <a:buChar char="§"/>
                        <a:tabLst>
                          <a:tab pos="0" algn="l"/>
                        </a:tabLst>
                        <a:defRPr/>
                      </a:pPr>
                      <a:r>
                        <a:rPr lang="en-US" sz="1000" b="0" kern="1200">
                          <a:solidFill>
                            <a:srgbClr val="000000"/>
                          </a:solidFill>
                          <a:latin typeface="+mn-lt"/>
                          <a:ea typeface="+mn-ea"/>
                          <a:cs typeface="+mn-cs"/>
                        </a:rPr>
                        <a:t>Consolidation of three annuity payout policy administration systems (PAS) -  CSC RPS and two homegrown systems to CSC </a:t>
                      </a:r>
                      <a:r>
                        <a:rPr lang="en-US" sz="1000" b="0" kern="1200" err="1">
                          <a:solidFill>
                            <a:srgbClr val="000000"/>
                          </a:solidFill>
                          <a:latin typeface="+mn-lt"/>
                          <a:ea typeface="+mn-ea"/>
                          <a:cs typeface="+mn-cs"/>
                        </a:rPr>
                        <a:t>wmA</a:t>
                      </a:r>
                      <a:endParaRPr lang="en-US" sz="1000" b="0" kern="1200">
                        <a:solidFill>
                          <a:srgbClr val="000000"/>
                        </a:solidFill>
                        <a:latin typeface="+mn-lt"/>
                        <a:ea typeface="+mn-ea"/>
                        <a:cs typeface="+mn-cs"/>
                      </a:endParaRPr>
                    </a:p>
                  </a:txBody>
                  <a:tcPr marL="91442" marR="91442" marT="45716" marB="45716"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1" indent="-171450" algn="l" defTabSz="969963" rtl="0" eaLnBrk="0" fontAlgn="base" latinLnBrk="0" hangingPunct="0">
                        <a:lnSpc>
                          <a:spcPct val="100000"/>
                        </a:lnSpc>
                        <a:spcBef>
                          <a:spcPts val="0"/>
                        </a:spcBef>
                        <a:spcAft>
                          <a:spcPts val="0"/>
                        </a:spcAft>
                        <a:buClr>
                          <a:schemeClr val="accent1"/>
                        </a:buClr>
                        <a:buSzPct val="100000"/>
                        <a:buFont typeface="Wingdings" panose="05000000000000000000" pitchFamily="2" charset="2"/>
                        <a:buChar char="§"/>
                        <a:tabLst>
                          <a:tab pos="0" algn="l"/>
                        </a:tabLst>
                        <a:defRPr/>
                      </a:pPr>
                      <a:r>
                        <a:rPr lang="en-US" sz="1000" b="1" kern="1200">
                          <a:solidFill>
                            <a:schemeClr val="tx1"/>
                          </a:solidFill>
                          <a:latin typeface="+mn-lt"/>
                          <a:ea typeface="+mn-ea"/>
                          <a:cs typeface="+mn-cs"/>
                        </a:rPr>
                        <a:t>40% reduced TCO</a:t>
                      </a:r>
                    </a:p>
                    <a:p>
                      <a:pPr marL="228600" marR="0" lvl="1" indent="-171450" algn="l" defTabSz="969963" rtl="0" eaLnBrk="0" fontAlgn="base" latinLnBrk="0" hangingPunct="0">
                        <a:lnSpc>
                          <a:spcPct val="100000"/>
                        </a:lnSpc>
                        <a:spcBef>
                          <a:spcPts val="0"/>
                        </a:spcBef>
                        <a:spcAft>
                          <a:spcPts val="0"/>
                        </a:spcAft>
                        <a:buClr>
                          <a:schemeClr val="accent1"/>
                        </a:buClr>
                        <a:buSzPct val="100000"/>
                        <a:buFont typeface="Wingdings" panose="05000000000000000000" pitchFamily="2" charset="2"/>
                        <a:buChar char="§"/>
                        <a:tabLst>
                          <a:tab pos="0" algn="l"/>
                        </a:tabLst>
                        <a:defRPr/>
                      </a:pPr>
                      <a:r>
                        <a:rPr lang="en-US" sz="1000" b="1" kern="1200">
                          <a:solidFill>
                            <a:schemeClr val="tx1"/>
                          </a:solidFill>
                          <a:latin typeface="+mn-lt"/>
                          <a:ea typeface="+mn-ea"/>
                          <a:cs typeface="+mn-cs"/>
                        </a:rPr>
                        <a:t>15% lowered future cost of change</a:t>
                      </a:r>
                    </a:p>
                    <a:p>
                      <a:pPr marL="228600" marR="0" lvl="1" indent="-171450" algn="l" defTabSz="969963" rtl="0" eaLnBrk="0" fontAlgn="base" latinLnBrk="0" hangingPunct="0">
                        <a:lnSpc>
                          <a:spcPct val="100000"/>
                        </a:lnSpc>
                        <a:spcBef>
                          <a:spcPts val="0"/>
                        </a:spcBef>
                        <a:spcAft>
                          <a:spcPts val="0"/>
                        </a:spcAft>
                        <a:buClr>
                          <a:schemeClr val="accent1"/>
                        </a:buClr>
                        <a:buSzPct val="100000"/>
                        <a:buFont typeface="Wingdings" panose="05000000000000000000" pitchFamily="2" charset="2"/>
                        <a:buChar char="§"/>
                        <a:tabLst>
                          <a:tab pos="0" algn="l"/>
                        </a:tabLst>
                        <a:defRPr/>
                      </a:pPr>
                      <a:r>
                        <a:rPr lang="en-US" sz="1000" b="1" kern="1200">
                          <a:solidFill>
                            <a:schemeClr val="tx1"/>
                          </a:solidFill>
                          <a:latin typeface="+mn-lt"/>
                          <a:ea typeface="+mn-ea"/>
                          <a:cs typeface="+mn-cs"/>
                        </a:rPr>
                        <a:t>20% Improved operational efficiencies</a:t>
                      </a:r>
                      <a:endParaRPr lang="en-US" sz="1000" b="1">
                        <a:solidFill>
                          <a:srgbClr val="000000"/>
                        </a:solidFill>
                        <a:latin typeface="+mn-lt"/>
                      </a:endParaRPr>
                    </a:p>
                  </a:txBody>
                  <a:tcPr marL="91442" marR="91442" marT="45716" marB="45716"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766978">
                <a:tc>
                  <a:txBody>
                    <a:bodyPr/>
                    <a:lstStyle/>
                    <a:p>
                      <a:r>
                        <a:rPr lang="en-US" sz="1000" b="1">
                          <a:latin typeface="+mn-lt"/>
                        </a:rPr>
                        <a:t>Global life insurer</a:t>
                      </a:r>
                    </a:p>
                  </a:txBody>
                  <a:tcPr marL="91442" marR="91442" marT="45716" marB="45716"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1" indent="-171450" algn="l" defTabSz="969963" rtl="0" eaLnBrk="0" fontAlgn="base" latinLnBrk="0" hangingPunct="0">
                        <a:lnSpc>
                          <a:spcPct val="100000"/>
                        </a:lnSpc>
                        <a:spcBef>
                          <a:spcPts val="0"/>
                        </a:spcBef>
                        <a:spcAft>
                          <a:spcPts val="0"/>
                        </a:spcAft>
                        <a:buClr>
                          <a:schemeClr val="accent1"/>
                        </a:buClr>
                        <a:buSzPct val="100000"/>
                        <a:buFont typeface="Wingdings" panose="05000000000000000000" pitchFamily="2" charset="2"/>
                        <a:buChar char="§"/>
                        <a:tabLst>
                          <a:tab pos="0" algn="l"/>
                        </a:tabLst>
                        <a:defRPr/>
                      </a:pPr>
                      <a:r>
                        <a:rPr lang="en-US" sz="1000" b="0" kern="1200">
                          <a:solidFill>
                            <a:srgbClr val="000000"/>
                          </a:solidFill>
                          <a:latin typeface="+mn-lt"/>
                          <a:ea typeface="+mn-ea"/>
                          <a:cs typeface="+mn-cs"/>
                        </a:rPr>
                        <a:t>Migration of Closed book from legacy to modern Sapiens platform and providing </a:t>
                      </a:r>
                      <a:r>
                        <a:rPr lang="en-US" sz="1000" b="0" kern="1200" err="1">
                          <a:solidFill>
                            <a:srgbClr val="000000"/>
                          </a:solidFill>
                          <a:latin typeface="+mn-lt"/>
                          <a:ea typeface="+mn-ea"/>
                          <a:cs typeface="+mn-cs"/>
                        </a:rPr>
                        <a:t>BPaaS</a:t>
                      </a:r>
                      <a:r>
                        <a:rPr lang="en-US" sz="1000" b="0" kern="1200">
                          <a:solidFill>
                            <a:srgbClr val="000000"/>
                          </a:solidFill>
                          <a:latin typeface="+mn-lt"/>
                          <a:ea typeface="+mn-ea"/>
                          <a:cs typeface="+mn-cs"/>
                        </a:rPr>
                        <a:t> (business process as a service)</a:t>
                      </a:r>
                    </a:p>
                    <a:p>
                      <a:pPr marL="228600" marR="0" lvl="1" indent="-171450" algn="l" defTabSz="969963" rtl="0" eaLnBrk="0" fontAlgn="base" latinLnBrk="0" hangingPunct="0">
                        <a:lnSpc>
                          <a:spcPct val="100000"/>
                        </a:lnSpc>
                        <a:spcBef>
                          <a:spcPts val="0"/>
                        </a:spcBef>
                        <a:spcAft>
                          <a:spcPts val="0"/>
                        </a:spcAft>
                        <a:buClr>
                          <a:schemeClr val="accent1"/>
                        </a:buClr>
                        <a:buSzPct val="100000"/>
                        <a:buFont typeface="Wingdings" panose="05000000000000000000" pitchFamily="2" charset="2"/>
                        <a:buChar char="§"/>
                        <a:tabLst>
                          <a:tab pos="0" algn="l"/>
                        </a:tabLst>
                        <a:defRPr/>
                      </a:pPr>
                      <a:r>
                        <a:rPr lang="en-US" sz="1000" b="0" kern="1200">
                          <a:solidFill>
                            <a:srgbClr val="000000"/>
                          </a:solidFill>
                          <a:latin typeface="+mn-lt"/>
                          <a:ea typeface="+mn-ea"/>
                          <a:cs typeface="+mn-cs"/>
                        </a:rPr>
                        <a:t>Policy data (1.5M+) migration from legacy to Sapiens with automated tool</a:t>
                      </a:r>
                    </a:p>
                  </a:txBody>
                  <a:tcPr marL="91442" marR="91442" marT="45716" marB="45716"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1" indent="-171450" algn="l" defTabSz="969963" rtl="0" eaLnBrk="0" fontAlgn="base" latinLnBrk="0" hangingPunct="0">
                        <a:lnSpc>
                          <a:spcPct val="100000"/>
                        </a:lnSpc>
                        <a:spcBef>
                          <a:spcPts val="0"/>
                        </a:spcBef>
                        <a:spcAft>
                          <a:spcPts val="0"/>
                        </a:spcAft>
                        <a:buClr>
                          <a:schemeClr val="accent1"/>
                        </a:buClr>
                        <a:buSzPct val="100000"/>
                        <a:buFont typeface="Wingdings" panose="05000000000000000000" pitchFamily="2" charset="2"/>
                        <a:buChar char="§"/>
                        <a:tabLst>
                          <a:tab pos="0" algn="l"/>
                        </a:tabLst>
                        <a:defRPr/>
                      </a:pPr>
                      <a:r>
                        <a:rPr lang="en-US" sz="1000" b="1" kern="1200">
                          <a:solidFill>
                            <a:schemeClr val="tx1"/>
                          </a:solidFill>
                          <a:latin typeface="+mn-lt"/>
                          <a:ea typeface="+mn-ea"/>
                          <a:cs typeface="+mn-cs"/>
                        </a:rPr>
                        <a:t>78% FTE reduction over a 10 year period</a:t>
                      </a:r>
                    </a:p>
                    <a:p>
                      <a:pPr marL="228600" marR="0" lvl="1" indent="-171450" algn="l" defTabSz="969963" rtl="0" eaLnBrk="0" fontAlgn="base" latinLnBrk="0" hangingPunct="0">
                        <a:lnSpc>
                          <a:spcPct val="100000"/>
                        </a:lnSpc>
                        <a:spcBef>
                          <a:spcPts val="0"/>
                        </a:spcBef>
                        <a:spcAft>
                          <a:spcPts val="0"/>
                        </a:spcAft>
                        <a:buClr>
                          <a:schemeClr val="accent1"/>
                        </a:buClr>
                        <a:buSzPct val="100000"/>
                        <a:buFont typeface="Wingdings" panose="05000000000000000000" pitchFamily="2" charset="2"/>
                        <a:buChar char="§"/>
                        <a:tabLst>
                          <a:tab pos="0" algn="l"/>
                        </a:tabLst>
                        <a:defRPr/>
                      </a:pPr>
                      <a:r>
                        <a:rPr lang="en-US" sz="1000" b="1" kern="1200">
                          <a:solidFill>
                            <a:srgbClr val="000000"/>
                          </a:solidFill>
                          <a:latin typeface="+mn-lt"/>
                          <a:ea typeface="+mn-ea"/>
                          <a:cs typeface="+mn-cs"/>
                        </a:rPr>
                        <a:t>66% reduction in cost per policy after transformation </a:t>
                      </a:r>
                    </a:p>
                    <a:p>
                      <a:pPr marL="228600" marR="0" lvl="1" indent="-171450" algn="l" defTabSz="969963" rtl="0" eaLnBrk="0" fontAlgn="base" latinLnBrk="0" hangingPunct="0">
                        <a:lnSpc>
                          <a:spcPct val="100000"/>
                        </a:lnSpc>
                        <a:spcBef>
                          <a:spcPts val="0"/>
                        </a:spcBef>
                        <a:spcAft>
                          <a:spcPts val="0"/>
                        </a:spcAft>
                        <a:buClr>
                          <a:schemeClr val="accent1"/>
                        </a:buClr>
                        <a:buSzPct val="100000"/>
                        <a:buFont typeface="Wingdings" panose="05000000000000000000" pitchFamily="2" charset="2"/>
                        <a:buChar char="§"/>
                        <a:tabLst>
                          <a:tab pos="0" algn="l"/>
                        </a:tabLst>
                        <a:defRPr/>
                      </a:pPr>
                      <a:r>
                        <a:rPr lang="en-US" sz="1000" b="1" kern="1200">
                          <a:solidFill>
                            <a:srgbClr val="000000"/>
                          </a:solidFill>
                          <a:latin typeface="+mn-lt"/>
                          <a:ea typeface="+mn-ea"/>
                          <a:cs typeface="+mn-cs"/>
                        </a:rPr>
                        <a:t>Increased Net Promotor Score</a:t>
                      </a:r>
                    </a:p>
                  </a:txBody>
                  <a:tcPr marL="91442" marR="91442" marT="45716" marB="45716"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766978">
                <a:tc>
                  <a:txBody>
                    <a:bodyPr/>
                    <a:lstStyle/>
                    <a:p>
                      <a:r>
                        <a:rPr lang="en-US" sz="1000" b="1">
                          <a:latin typeface="+mn-lt"/>
                        </a:rPr>
                        <a:t>Leading Life and Annuity Services provider </a:t>
                      </a:r>
                    </a:p>
                  </a:txBody>
                  <a:tcPr marL="91442" marR="91442" marT="45716" marB="45716"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1" indent="-171450" algn="l" defTabSz="969963" rtl="0" eaLnBrk="0" fontAlgn="base" latinLnBrk="0" hangingPunct="0">
                        <a:lnSpc>
                          <a:spcPct val="100000"/>
                        </a:lnSpc>
                        <a:spcBef>
                          <a:spcPts val="0"/>
                        </a:spcBef>
                        <a:spcAft>
                          <a:spcPts val="0"/>
                        </a:spcAft>
                        <a:buClr>
                          <a:schemeClr val="accent1"/>
                        </a:buClr>
                        <a:buSzPct val="100000"/>
                        <a:buFont typeface="Wingdings" panose="05000000000000000000" pitchFamily="2" charset="2"/>
                        <a:buChar char="§"/>
                        <a:tabLst>
                          <a:tab pos="0" algn="l"/>
                        </a:tabLst>
                        <a:defRPr/>
                      </a:pPr>
                      <a:r>
                        <a:rPr lang="en-US" sz="1000" b="0" kern="1200">
                          <a:solidFill>
                            <a:srgbClr val="000000"/>
                          </a:solidFill>
                          <a:latin typeface="+mn-lt"/>
                          <a:ea typeface="+mn-ea"/>
                          <a:cs typeface="+mn-cs"/>
                        </a:rPr>
                        <a:t>Migration of Life and retirement products; 9 product lines; Approx. 550+ Plans; 70+ interfaces to enhance or build; In-force policies 2.36 Million</a:t>
                      </a:r>
                    </a:p>
                  </a:txBody>
                  <a:tcPr marL="91442" marR="91442" marT="45716" marB="45716"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1" indent="-171450" algn="l" defTabSz="969963" rtl="0" eaLnBrk="0" fontAlgn="base" latinLnBrk="0" hangingPunct="0">
                        <a:lnSpc>
                          <a:spcPct val="100000"/>
                        </a:lnSpc>
                        <a:spcBef>
                          <a:spcPts val="0"/>
                        </a:spcBef>
                        <a:spcAft>
                          <a:spcPts val="0"/>
                        </a:spcAft>
                        <a:buClr>
                          <a:schemeClr val="accent1"/>
                        </a:buClr>
                        <a:buSzPct val="100000"/>
                        <a:buFont typeface="Wingdings" panose="05000000000000000000" pitchFamily="2" charset="2"/>
                        <a:buChar char="§"/>
                        <a:tabLst>
                          <a:tab pos="0" algn="l"/>
                        </a:tabLst>
                        <a:defRPr/>
                      </a:pPr>
                      <a:r>
                        <a:rPr lang="en-US" sz="1000" b="1" kern="1200">
                          <a:solidFill>
                            <a:schemeClr val="tx1"/>
                          </a:solidFill>
                          <a:latin typeface="+mn-lt"/>
                          <a:ea typeface="+mn-ea"/>
                          <a:cs typeface="+mn-cs"/>
                        </a:rPr>
                        <a:t>75% Improvement in Speed to Market</a:t>
                      </a:r>
                    </a:p>
                    <a:p>
                      <a:pPr marL="228600" marR="0" lvl="1" indent="-171450" algn="l" defTabSz="969963" rtl="0" eaLnBrk="0" fontAlgn="base" latinLnBrk="0" hangingPunct="0">
                        <a:lnSpc>
                          <a:spcPct val="100000"/>
                        </a:lnSpc>
                        <a:spcBef>
                          <a:spcPts val="0"/>
                        </a:spcBef>
                        <a:spcAft>
                          <a:spcPts val="0"/>
                        </a:spcAft>
                        <a:buClr>
                          <a:schemeClr val="accent1"/>
                        </a:buClr>
                        <a:buSzPct val="100000"/>
                        <a:buFont typeface="Wingdings" panose="05000000000000000000" pitchFamily="2" charset="2"/>
                        <a:buChar char="§"/>
                        <a:tabLst>
                          <a:tab pos="0" algn="l"/>
                        </a:tabLst>
                        <a:defRPr/>
                      </a:pPr>
                      <a:r>
                        <a:rPr lang="en-US" sz="1000" b="1" kern="1200">
                          <a:solidFill>
                            <a:schemeClr val="tx1"/>
                          </a:solidFill>
                          <a:latin typeface="+mn-lt"/>
                          <a:ea typeface="+mn-ea"/>
                          <a:cs typeface="+mn-cs"/>
                        </a:rPr>
                        <a:t>5.8M policies migrated</a:t>
                      </a:r>
                    </a:p>
                    <a:p>
                      <a:pPr marL="228600" marR="0" lvl="1" indent="-171450" algn="l" defTabSz="969963" rtl="0" eaLnBrk="0" fontAlgn="base" latinLnBrk="0" hangingPunct="0">
                        <a:lnSpc>
                          <a:spcPct val="100000"/>
                        </a:lnSpc>
                        <a:spcBef>
                          <a:spcPts val="0"/>
                        </a:spcBef>
                        <a:spcAft>
                          <a:spcPts val="0"/>
                        </a:spcAft>
                        <a:buClr>
                          <a:schemeClr val="accent1"/>
                        </a:buClr>
                        <a:buSzPct val="100000"/>
                        <a:buFont typeface="Wingdings" panose="05000000000000000000" pitchFamily="2" charset="2"/>
                        <a:buChar char="§"/>
                        <a:tabLst>
                          <a:tab pos="0" algn="l"/>
                        </a:tabLst>
                        <a:defRPr/>
                      </a:pPr>
                      <a:r>
                        <a:rPr lang="en-US" sz="1000" b="1" kern="1200">
                          <a:solidFill>
                            <a:schemeClr val="tx1"/>
                          </a:solidFill>
                          <a:latin typeface="+mn-lt"/>
                          <a:ea typeface="+mn-ea"/>
                          <a:cs typeface="+mn-cs"/>
                        </a:rPr>
                        <a:t>150k Policies administered with New Platform</a:t>
                      </a:r>
                      <a:endParaRPr lang="en-US" sz="1000" b="0">
                        <a:latin typeface="Arial" pitchFamily="34" charset="0"/>
                      </a:endParaRPr>
                    </a:p>
                  </a:txBody>
                  <a:tcPr marL="91442" marR="91442" marT="45716" marB="45716"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766978">
                <a:tc>
                  <a:txBody>
                    <a:bodyPr/>
                    <a:lstStyle/>
                    <a:p>
                      <a:r>
                        <a:rPr lang="en-US" sz="1200" b="1">
                          <a:latin typeface="+mn-lt"/>
                        </a:rPr>
                        <a:t>UK based life insurer</a:t>
                      </a:r>
                    </a:p>
                  </a:txBody>
                  <a:tcPr marL="91442" marR="91442" marT="45716" marB="45716"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1" indent="-171450" algn="l" defTabSz="969963" rtl="0" eaLnBrk="0" fontAlgn="base" latinLnBrk="0" hangingPunct="0">
                        <a:lnSpc>
                          <a:spcPct val="100000"/>
                        </a:lnSpc>
                        <a:spcBef>
                          <a:spcPts val="0"/>
                        </a:spcBef>
                        <a:spcAft>
                          <a:spcPts val="0"/>
                        </a:spcAft>
                        <a:buClr>
                          <a:schemeClr val="accent1"/>
                        </a:buClr>
                        <a:buSzPct val="100000"/>
                        <a:buFont typeface="Wingdings" panose="05000000000000000000" pitchFamily="2" charset="2"/>
                        <a:buChar char="§"/>
                        <a:tabLst>
                          <a:tab pos="0" algn="l"/>
                        </a:tabLst>
                        <a:defRPr/>
                      </a:pPr>
                      <a:r>
                        <a:rPr lang="en-US" sz="1000" b="0" kern="1200" noProof="0">
                          <a:solidFill>
                            <a:srgbClr val="000000"/>
                          </a:solidFill>
                          <a:latin typeface="+mn-lt"/>
                          <a:ea typeface="+mn-ea"/>
                          <a:cs typeface="+mn-cs"/>
                        </a:rPr>
                        <a:t>Migration legacy applications and associated storage off the IBM mainframe and decommission within a period of 12 months</a:t>
                      </a:r>
                    </a:p>
                    <a:p>
                      <a:pPr marL="228600" marR="0" lvl="1" indent="-171450" algn="l" defTabSz="969963" rtl="0" eaLnBrk="0" fontAlgn="base" latinLnBrk="0" hangingPunct="0">
                        <a:lnSpc>
                          <a:spcPct val="100000"/>
                        </a:lnSpc>
                        <a:spcBef>
                          <a:spcPts val="0"/>
                        </a:spcBef>
                        <a:spcAft>
                          <a:spcPts val="0"/>
                        </a:spcAft>
                        <a:buClr>
                          <a:schemeClr val="accent1"/>
                        </a:buClr>
                        <a:buSzPct val="100000"/>
                        <a:buFont typeface="Wingdings" panose="05000000000000000000" pitchFamily="2" charset="2"/>
                        <a:buChar char="§"/>
                        <a:tabLst>
                          <a:tab pos="0" algn="l"/>
                        </a:tabLst>
                        <a:defRPr/>
                      </a:pPr>
                      <a:r>
                        <a:rPr lang="en-US" sz="1000" b="0" kern="1200" noProof="0">
                          <a:solidFill>
                            <a:srgbClr val="000000"/>
                          </a:solidFill>
                          <a:latin typeface="+mn-lt"/>
                          <a:ea typeface="+mn-ea"/>
                          <a:cs typeface="+mn-cs"/>
                        </a:rPr>
                        <a:t>Migrate legacy applications to Microfocus</a:t>
                      </a:r>
                    </a:p>
                  </a:txBody>
                  <a:tcPr marL="91442" marR="91442" marT="45716" marB="45716"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1" indent="-171450" algn="l" defTabSz="969963" rtl="0" eaLnBrk="0" fontAlgn="base" latinLnBrk="0" hangingPunct="0">
                        <a:lnSpc>
                          <a:spcPct val="100000"/>
                        </a:lnSpc>
                        <a:spcBef>
                          <a:spcPts val="0"/>
                        </a:spcBef>
                        <a:spcAft>
                          <a:spcPts val="0"/>
                        </a:spcAft>
                        <a:buClr>
                          <a:schemeClr val="accent1"/>
                        </a:buClr>
                        <a:buSzPct val="100000"/>
                        <a:buFont typeface="Wingdings" panose="05000000000000000000" pitchFamily="2" charset="2"/>
                        <a:buChar char="§"/>
                        <a:tabLst>
                          <a:tab pos="0" algn="l"/>
                        </a:tabLst>
                        <a:defRPr/>
                      </a:pPr>
                      <a:r>
                        <a:rPr lang="en-US" sz="1000" b="1" kern="1200">
                          <a:solidFill>
                            <a:schemeClr val="tx1"/>
                          </a:solidFill>
                          <a:latin typeface="+mn-lt"/>
                          <a:ea typeface="+mn-ea"/>
                          <a:cs typeface="+mn-cs"/>
                        </a:rPr>
                        <a:t>70% lower TCO</a:t>
                      </a:r>
                    </a:p>
                    <a:p>
                      <a:pPr marL="228600" marR="0" lvl="1" indent="-171450" algn="l" defTabSz="969963" rtl="0" eaLnBrk="0" fontAlgn="base" latinLnBrk="0" hangingPunct="0">
                        <a:lnSpc>
                          <a:spcPct val="100000"/>
                        </a:lnSpc>
                        <a:spcBef>
                          <a:spcPts val="0"/>
                        </a:spcBef>
                        <a:spcAft>
                          <a:spcPts val="0"/>
                        </a:spcAft>
                        <a:buClr>
                          <a:schemeClr val="accent1"/>
                        </a:buClr>
                        <a:buSzPct val="100000"/>
                        <a:buFont typeface="Wingdings" panose="05000000000000000000" pitchFamily="2" charset="2"/>
                        <a:buChar char="§"/>
                        <a:tabLst>
                          <a:tab pos="0" algn="l"/>
                        </a:tabLst>
                        <a:defRPr/>
                      </a:pPr>
                      <a:r>
                        <a:rPr lang="en-US" sz="1000" b="1" kern="1200">
                          <a:solidFill>
                            <a:schemeClr val="tx1"/>
                          </a:solidFill>
                          <a:latin typeface="+mn-lt"/>
                          <a:ea typeface="+mn-ea"/>
                          <a:cs typeface="+mn-cs"/>
                        </a:rPr>
                        <a:t>End-to-end ownership to platform &amp; infra design, App, data &amp; report migration, testing, warranty </a:t>
                      </a:r>
                      <a:endParaRPr lang="en-US" sz="1200" b="1" kern="1200">
                        <a:solidFill>
                          <a:srgbClr val="000000"/>
                        </a:solidFill>
                        <a:latin typeface="+mn-lt"/>
                        <a:ea typeface="+mn-ea"/>
                        <a:cs typeface="+mn-cs"/>
                      </a:endParaRPr>
                    </a:p>
                  </a:txBody>
                  <a:tcPr marL="91442" marR="91442" marT="45716" marB="45716"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980030">
                <a:tc>
                  <a:txBody>
                    <a:bodyPr/>
                    <a:lstStyle/>
                    <a:p>
                      <a:r>
                        <a:rPr lang="en-US" sz="1200" b="1">
                          <a:latin typeface="+mn-lt"/>
                        </a:rPr>
                        <a:t>NY based mutual life insurer</a:t>
                      </a:r>
                    </a:p>
                  </a:txBody>
                  <a:tcPr marL="91442" marR="91442" marT="45716" marB="45716"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1" indent="-171450" algn="l" defTabSz="969963" rtl="0" eaLnBrk="0" fontAlgn="base" latinLnBrk="0" hangingPunct="0">
                        <a:lnSpc>
                          <a:spcPct val="100000"/>
                        </a:lnSpc>
                        <a:spcBef>
                          <a:spcPts val="0"/>
                        </a:spcBef>
                        <a:spcAft>
                          <a:spcPts val="0"/>
                        </a:spcAft>
                        <a:buClr>
                          <a:schemeClr val="accent1"/>
                        </a:buClr>
                        <a:buSzPct val="100000"/>
                        <a:buFont typeface="Wingdings" panose="05000000000000000000" pitchFamily="2" charset="2"/>
                        <a:buChar char="§"/>
                        <a:tabLst>
                          <a:tab pos="0" algn="l"/>
                        </a:tabLst>
                        <a:defRPr/>
                      </a:pPr>
                      <a:r>
                        <a:rPr lang="en-US" sz="1000" b="0" kern="1200" noProof="0">
                          <a:solidFill>
                            <a:srgbClr val="000000"/>
                          </a:solidFill>
                          <a:latin typeface="+mn-lt"/>
                          <a:ea typeface="+mn-ea"/>
                          <a:cs typeface="+mn-cs"/>
                        </a:rPr>
                        <a:t>Automated legacy re-architecture to Java using </a:t>
                      </a:r>
                      <a:r>
                        <a:rPr lang="en-US" sz="1000" b="0" kern="1200" noProof="0" err="1">
                          <a:solidFill>
                            <a:srgbClr val="000000"/>
                          </a:solidFill>
                          <a:latin typeface="+mn-lt"/>
                          <a:ea typeface="+mn-ea"/>
                          <a:cs typeface="+mn-cs"/>
                        </a:rPr>
                        <a:t>Atos’</a:t>
                      </a:r>
                      <a:r>
                        <a:rPr lang="en-US" sz="1000" b="0" kern="1200" noProof="0">
                          <a:solidFill>
                            <a:srgbClr val="000000"/>
                          </a:solidFill>
                          <a:latin typeface="+mn-lt"/>
                          <a:ea typeface="+mn-ea"/>
                          <a:cs typeface="+mn-cs"/>
                        </a:rPr>
                        <a:t> Exit Legacy toolkit</a:t>
                      </a:r>
                    </a:p>
                    <a:p>
                      <a:pPr marL="228600" marR="0" lvl="1" indent="-171450" algn="l" defTabSz="969963" rtl="0" eaLnBrk="0" fontAlgn="base" latinLnBrk="0" hangingPunct="0">
                        <a:lnSpc>
                          <a:spcPct val="100000"/>
                        </a:lnSpc>
                        <a:spcBef>
                          <a:spcPts val="0"/>
                        </a:spcBef>
                        <a:spcAft>
                          <a:spcPts val="0"/>
                        </a:spcAft>
                        <a:buClr>
                          <a:schemeClr val="accent1"/>
                        </a:buClr>
                        <a:buSzPct val="100000"/>
                        <a:buFont typeface="Wingdings" panose="05000000000000000000" pitchFamily="2" charset="2"/>
                        <a:buChar char="§"/>
                        <a:tabLst>
                          <a:tab pos="0" algn="l"/>
                        </a:tabLst>
                        <a:defRPr/>
                      </a:pPr>
                      <a:r>
                        <a:rPr lang="en-US" sz="1000">
                          <a:solidFill>
                            <a:prstClr val="black"/>
                          </a:solidFill>
                        </a:rPr>
                        <a:t>Migrated ~1 Million LOC Mainframe Monolithic Cobol code and 55,000 forms </a:t>
                      </a:r>
                    </a:p>
                    <a:p>
                      <a:pPr marL="228600" marR="0" lvl="1" indent="-171450" algn="l" defTabSz="969963" rtl="0" eaLnBrk="0" fontAlgn="base" latinLnBrk="0" hangingPunct="0">
                        <a:lnSpc>
                          <a:spcPct val="100000"/>
                        </a:lnSpc>
                        <a:spcBef>
                          <a:spcPts val="0"/>
                        </a:spcBef>
                        <a:spcAft>
                          <a:spcPts val="0"/>
                        </a:spcAft>
                        <a:buClr>
                          <a:schemeClr val="accent1"/>
                        </a:buClr>
                        <a:buSzPct val="100000"/>
                        <a:buFont typeface="Wingdings" panose="05000000000000000000" pitchFamily="2" charset="2"/>
                        <a:buChar char="§"/>
                        <a:tabLst>
                          <a:tab pos="0" algn="l"/>
                        </a:tabLst>
                        <a:defRPr/>
                      </a:pPr>
                      <a:r>
                        <a:rPr lang="en-US" sz="1000" b="0" kern="1200" noProof="0">
                          <a:solidFill>
                            <a:srgbClr val="000000"/>
                          </a:solidFill>
                          <a:latin typeface="+mn-lt"/>
                          <a:ea typeface="+mn-ea"/>
                          <a:cs typeface="+mn-cs"/>
                        </a:rPr>
                        <a:t>End of life transition from </a:t>
                      </a:r>
                      <a:r>
                        <a:rPr lang="en-US" sz="1000" b="0" kern="1200" noProof="0" err="1">
                          <a:solidFill>
                            <a:srgbClr val="000000"/>
                          </a:solidFill>
                          <a:latin typeface="+mn-lt"/>
                          <a:ea typeface="+mn-ea"/>
                          <a:cs typeface="+mn-cs"/>
                        </a:rPr>
                        <a:t>DocuMerge</a:t>
                      </a:r>
                      <a:r>
                        <a:rPr lang="en-US" sz="1000" b="0" kern="1200" noProof="0">
                          <a:solidFill>
                            <a:srgbClr val="000000"/>
                          </a:solidFill>
                          <a:latin typeface="+mn-lt"/>
                          <a:ea typeface="+mn-ea"/>
                          <a:cs typeface="+mn-cs"/>
                        </a:rPr>
                        <a:t> to </a:t>
                      </a:r>
                      <a:r>
                        <a:rPr lang="en-US" sz="1000" b="0" kern="1200" noProof="0" err="1">
                          <a:solidFill>
                            <a:srgbClr val="000000"/>
                          </a:solidFill>
                          <a:latin typeface="+mn-lt"/>
                          <a:ea typeface="+mn-ea"/>
                          <a:cs typeface="+mn-cs"/>
                        </a:rPr>
                        <a:t>Extream</a:t>
                      </a:r>
                      <a:r>
                        <a:rPr lang="en-US" sz="1000" b="0" kern="1200" noProof="0">
                          <a:solidFill>
                            <a:srgbClr val="000000"/>
                          </a:solidFill>
                          <a:latin typeface="+mn-lt"/>
                          <a:ea typeface="+mn-ea"/>
                          <a:cs typeface="+mn-cs"/>
                        </a:rPr>
                        <a:t> </a:t>
                      </a:r>
                    </a:p>
                  </a:txBody>
                  <a:tcPr marL="91442" marR="91442" marT="45716" marB="45716"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1" indent="-171450" algn="l" defTabSz="969963" rtl="0" eaLnBrk="0" fontAlgn="base" latinLnBrk="0" hangingPunct="0">
                        <a:lnSpc>
                          <a:spcPct val="100000"/>
                        </a:lnSpc>
                        <a:spcBef>
                          <a:spcPts val="0"/>
                        </a:spcBef>
                        <a:spcAft>
                          <a:spcPts val="0"/>
                        </a:spcAft>
                        <a:buClr>
                          <a:schemeClr val="accent1"/>
                        </a:buClr>
                        <a:buSzPct val="100000"/>
                        <a:buFont typeface="Wingdings" panose="05000000000000000000" pitchFamily="2" charset="2"/>
                        <a:buChar char="§"/>
                        <a:tabLst>
                          <a:tab pos="0" algn="l"/>
                        </a:tabLst>
                        <a:defRPr/>
                      </a:pPr>
                      <a:r>
                        <a:rPr lang="en-US" sz="1000" b="1" kern="1200">
                          <a:solidFill>
                            <a:schemeClr val="tx1"/>
                          </a:solidFill>
                          <a:latin typeface="+mn-lt"/>
                          <a:ea typeface="+mn-ea"/>
                          <a:cs typeface="+mn-cs"/>
                        </a:rPr>
                        <a:t>80% automated conversion</a:t>
                      </a:r>
                    </a:p>
                    <a:p>
                      <a:pPr marL="228600" marR="0" lvl="1" indent="-171450" algn="l" defTabSz="969963" rtl="0" eaLnBrk="0" fontAlgn="base" latinLnBrk="0" hangingPunct="0">
                        <a:lnSpc>
                          <a:spcPct val="100000"/>
                        </a:lnSpc>
                        <a:spcBef>
                          <a:spcPts val="0"/>
                        </a:spcBef>
                        <a:spcAft>
                          <a:spcPts val="0"/>
                        </a:spcAft>
                        <a:buClr>
                          <a:schemeClr val="accent1"/>
                        </a:buClr>
                        <a:buSzPct val="100000"/>
                        <a:buFont typeface="Wingdings" panose="05000000000000000000" pitchFamily="2" charset="2"/>
                        <a:buChar char="§"/>
                        <a:tabLst>
                          <a:tab pos="0" algn="l"/>
                        </a:tabLst>
                        <a:defRPr/>
                      </a:pPr>
                      <a:r>
                        <a:rPr lang="en-US" sz="1000" b="1" kern="1200">
                          <a:solidFill>
                            <a:schemeClr val="tx1"/>
                          </a:solidFill>
                          <a:latin typeface="+mn-lt"/>
                          <a:ea typeface="+mn-ea"/>
                          <a:cs typeface="+mn-cs"/>
                        </a:rPr>
                        <a:t>50% migration effort reduction</a:t>
                      </a:r>
                    </a:p>
                    <a:p>
                      <a:pPr marL="228600" marR="0" lvl="1" indent="-171450" algn="l" defTabSz="969963" rtl="0" eaLnBrk="0" fontAlgn="base" latinLnBrk="0" hangingPunct="0">
                        <a:lnSpc>
                          <a:spcPct val="100000"/>
                        </a:lnSpc>
                        <a:spcBef>
                          <a:spcPts val="0"/>
                        </a:spcBef>
                        <a:spcAft>
                          <a:spcPts val="0"/>
                        </a:spcAft>
                        <a:buClr>
                          <a:schemeClr val="accent1"/>
                        </a:buClr>
                        <a:buSzPct val="100000"/>
                        <a:buFont typeface="Wingdings" panose="05000000000000000000" pitchFamily="2" charset="2"/>
                        <a:buChar char="§"/>
                        <a:tabLst>
                          <a:tab pos="0" algn="l"/>
                        </a:tabLst>
                        <a:defRPr/>
                      </a:pPr>
                      <a:r>
                        <a:rPr lang="en-US" sz="1000" b="1" kern="1200">
                          <a:solidFill>
                            <a:schemeClr val="tx1"/>
                          </a:solidFill>
                          <a:latin typeface="+mn-lt"/>
                          <a:ea typeface="+mn-ea"/>
                          <a:cs typeface="+mn-cs"/>
                        </a:rPr>
                        <a:t>100% functional accuracy</a:t>
                      </a:r>
                    </a:p>
                  </a:txBody>
                  <a:tcPr marL="91442" marR="91442" marT="45716" marB="45716"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1438911"/>
                  </a:ext>
                </a:extLst>
              </a:tr>
            </a:tbl>
          </a:graphicData>
        </a:graphic>
      </p:graphicFrame>
    </p:spTree>
    <p:extLst>
      <p:ext uri="{BB962C8B-B14F-4D97-AF65-F5344CB8AC3E}">
        <p14:creationId xmlns:p14="http://schemas.microsoft.com/office/powerpoint/2010/main" val="175599691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273122" y="3775493"/>
            <a:ext cx="5413179" cy="130802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white"/>
              </a:solidFill>
              <a:effectLst/>
              <a:uLnTx/>
              <a:uFillTx/>
              <a:latin typeface="+mj-lt"/>
              <a:ea typeface="+mn-ea"/>
              <a:cs typeface="+mn-cs"/>
            </a:endParaRPr>
          </a:p>
        </p:txBody>
      </p:sp>
      <p:sp>
        <p:nvSpPr>
          <p:cNvPr id="4" name="Title 3">
            <a:extLst>
              <a:ext uri="{FF2B5EF4-FFF2-40B4-BE49-F238E27FC236}">
                <a16:creationId xmlns:a16="http://schemas.microsoft.com/office/drawing/2014/main" id="{FEEA0A86-9B75-4B97-B6D2-B70FBA1B522C}"/>
              </a:ext>
            </a:extLst>
          </p:cNvPr>
          <p:cNvSpPr>
            <a:spLocks noGrp="1"/>
          </p:cNvSpPr>
          <p:nvPr>
            <p:ph type="title"/>
          </p:nvPr>
        </p:nvSpPr>
        <p:spPr/>
        <p:txBody>
          <a:bodyPr/>
          <a:lstStyle/>
          <a:p>
            <a:r>
              <a:rPr lang="en-US"/>
              <a:t>Consolidation of Annuities Payout &amp; PAS @ US based Life and Annuity Services provider</a:t>
            </a:r>
            <a:endParaRPr lang="en-GB"/>
          </a:p>
        </p:txBody>
      </p:sp>
      <p:sp>
        <p:nvSpPr>
          <p:cNvPr id="20" name="Rectangle 19"/>
          <p:cNvSpPr/>
          <p:nvPr/>
        </p:nvSpPr>
        <p:spPr>
          <a:xfrm>
            <a:off x="0" y="1266269"/>
            <a:ext cx="12191999" cy="458772"/>
          </a:xfrm>
          <a:prstGeom prst="rect">
            <a:avLst/>
          </a:prstGeom>
          <a:solidFill>
            <a:srgbClr val="0070C0"/>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274320" tIns="91440" rIns="91440" bIns="91440" numCol="1" spcCol="0" rtlCol="0" fromWordArt="0" anchor="ctr" anchorCtr="0" forceAA="0" compatLnSpc="1">
            <a:prstTxWarp prst="textNoShape">
              <a:avLst/>
            </a:prstTxWarp>
            <a:noAutofit/>
          </a:bodyPr>
          <a:lstStyle/>
          <a:p>
            <a:pPr marL="0" lvl="2" algn="ctr"/>
            <a:r>
              <a:rPr lang="en-US" sz="2000" b="1" kern="0">
                <a:solidFill>
                  <a:prstClr val="white"/>
                </a:solidFill>
                <a:latin typeface="+mj-lt"/>
              </a:rPr>
              <a:t>Portfolio Rationalization </a:t>
            </a:r>
            <a:r>
              <a:rPr lang="en-US" sz="2000" b="1" kern="0" err="1">
                <a:solidFill>
                  <a:prstClr val="white"/>
                </a:solidFill>
                <a:latin typeface="+mj-lt"/>
              </a:rPr>
              <a:t>Serivces</a:t>
            </a:r>
            <a:endParaRPr lang="en-US" sz="2000" b="1" kern="0">
              <a:solidFill>
                <a:prstClr val="white"/>
              </a:solidFill>
              <a:latin typeface="+mj-lt"/>
            </a:endParaRPr>
          </a:p>
        </p:txBody>
      </p:sp>
      <p:sp>
        <p:nvSpPr>
          <p:cNvPr id="21" name="Rectangle 20"/>
          <p:cNvSpPr/>
          <p:nvPr/>
        </p:nvSpPr>
        <p:spPr>
          <a:xfrm>
            <a:off x="161405" y="5219555"/>
            <a:ext cx="1722161" cy="738664"/>
          </a:xfrm>
          <a:prstGeom prst="rect">
            <a:avLst/>
          </a:prstGeom>
        </p:spPr>
        <p:txBody>
          <a:bodyPr wrap="square">
            <a:sp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prstClr val="black"/>
                </a:solidFill>
                <a:effectLst/>
                <a:uLnTx/>
                <a:uFillTx/>
                <a:latin typeface="+mj-lt"/>
                <a:ea typeface="+mn-ea"/>
                <a:cs typeface="Segoe UI Semilight" panose="020B0402040204020203" pitchFamily="34" charset="0"/>
              </a:rPr>
              <a:t>Total Cost of Platform Ownership</a:t>
            </a:r>
          </a:p>
        </p:txBody>
      </p:sp>
      <p:sp>
        <p:nvSpPr>
          <p:cNvPr id="22" name="TextBox 21"/>
          <p:cNvSpPr txBox="1"/>
          <p:nvPr/>
        </p:nvSpPr>
        <p:spPr>
          <a:xfrm>
            <a:off x="463016" y="3364678"/>
            <a:ext cx="2435282" cy="400110"/>
          </a:xfrm>
          <a:prstGeom prst="rect">
            <a:avLst/>
          </a:prstGeom>
          <a:solidFill>
            <a:schemeClr val="bg1"/>
          </a:solidFill>
        </p:spPr>
        <p:txBody>
          <a:bodyPr wrap="none" rtlCol="0">
            <a:spAutoFit/>
          </a:bodyPr>
          <a:lstStyle>
            <a:defPPr>
              <a:defRPr lang="en-US"/>
            </a:defPPr>
            <a:lvl1pPr defTabSz="914377" fontAlgn="base">
              <a:spcBef>
                <a:spcPct val="0"/>
              </a:spcBef>
              <a:spcAft>
                <a:spcPct val="0"/>
              </a:spcAft>
              <a:defRPr sz="2000" b="1" kern="0">
                <a:solidFill>
                  <a:schemeClr val="accent1"/>
                </a:solidFill>
                <a:cs typeface="Arial" charset="0"/>
              </a:defRPr>
            </a:lvl1pPr>
          </a:lstStyle>
          <a:p>
            <a:pPr lvl="0">
              <a:defRPr/>
            </a:pPr>
            <a:r>
              <a:rPr lang="en-US">
                <a:solidFill>
                  <a:srgbClr val="0066A1"/>
                </a:solidFill>
                <a:latin typeface="+mj-lt"/>
              </a:rPr>
              <a:t>Benefits Delivered</a:t>
            </a:r>
            <a:endParaRPr kumimoji="0" lang="en-US" sz="2000" b="1" i="0" u="none" strike="noStrike" kern="0" cap="none" spc="0" normalizeH="0" baseline="0" noProof="0">
              <a:ln>
                <a:noFill/>
              </a:ln>
              <a:solidFill>
                <a:srgbClr val="0066A1"/>
              </a:solidFill>
              <a:effectLst/>
              <a:uLnTx/>
              <a:uFillTx/>
              <a:latin typeface="+mj-lt"/>
              <a:ea typeface="+mn-ea"/>
              <a:cs typeface="Arial" charset="0"/>
            </a:endParaRPr>
          </a:p>
        </p:txBody>
      </p:sp>
      <p:sp>
        <p:nvSpPr>
          <p:cNvPr id="23" name="TextBox 22"/>
          <p:cNvSpPr txBox="1"/>
          <p:nvPr/>
        </p:nvSpPr>
        <p:spPr>
          <a:xfrm>
            <a:off x="8266676" y="1827152"/>
            <a:ext cx="1501167" cy="400110"/>
          </a:xfrm>
          <a:prstGeom prst="rect">
            <a:avLst/>
          </a:prstGeom>
          <a:noFill/>
        </p:spPr>
        <p:txBody>
          <a:bodyPr wrap="square" rtlCol="0">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a:ln>
                  <a:noFill/>
                </a:ln>
                <a:solidFill>
                  <a:srgbClr val="A626AA"/>
                </a:solidFill>
                <a:effectLst/>
                <a:uLnTx/>
                <a:uFillTx/>
                <a:latin typeface="Verdana"/>
                <a:ea typeface="+mn-ea"/>
                <a:cs typeface="Arial" charset="0"/>
              </a:rPr>
              <a:t>Solution</a:t>
            </a:r>
          </a:p>
        </p:txBody>
      </p:sp>
      <p:sp>
        <p:nvSpPr>
          <p:cNvPr id="24" name="Rectangle 23"/>
          <p:cNvSpPr/>
          <p:nvPr/>
        </p:nvSpPr>
        <p:spPr bwMode="auto">
          <a:xfrm>
            <a:off x="376239" y="1744602"/>
            <a:ext cx="5368332" cy="1800570"/>
          </a:xfrm>
          <a:prstGeom prst="rect">
            <a:avLst/>
          </a:prstGeom>
          <a:noFill/>
          <a:ln>
            <a:noFill/>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225425" indent="-225425" defTabSz="914377" fontAlgn="base">
              <a:spcBef>
                <a:spcPts val="300"/>
              </a:spcBef>
              <a:spcAft>
                <a:spcPts val="300"/>
              </a:spcAft>
              <a:buClr>
                <a:srgbClr val="0066A1"/>
              </a:buClr>
              <a:buSzPct val="80000"/>
              <a:buFont typeface="Lucida Sans Unicode" panose="020B0602030504020204" pitchFamily="34" charset="0"/>
              <a:buChar char="▶"/>
              <a:defRPr/>
            </a:pPr>
            <a:r>
              <a:rPr lang="en-US" sz="1400">
                <a:solidFill>
                  <a:prstClr val="black"/>
                </a:solidFill>
              </a:rPr>
              <a:t>Simplified current complex product administration environment</a:t>
            </a:r>
          </a:p>
          <a:p>
            <a:pPr marL="225425" lvl="0" indent="-225425" defTabSz="914377" fontAlgn="base">
              <a:spcBef>
                <a:spcPts val="300"/>
              </a:spcBef>
              <a:spcAft>
                <a:spcPts val="300"/>
              </a:spcAft>
              <a:buClr>
                <a:srgbClr val="0066A1"/>
              </a:buClr>
              <a:buSzPct val="80000"/>
              <a:buFont typeface="Lucida Sans Unicode" panose="020B0602030504020204" pitchFamily="34" charset="0"/>
              <a:buChar char="▶"/>
              <a:defRPr/>
            </a:pPr>
            <a:r>
              <a:rPr lang="en-US" sz="1400">
                <a:solidFill>
                  <a:prstClr val="black"/>
                </a:solidFill>
              </a:rPr>
              <a:t>Consolidation of three annuity payout policy administration systems (PAS) -  CSC RPS and two homegrown systems to CSC </a:t>
            </a:r>
            <a:r>
              <a:rPr lang="en-US" sz="1400" err="1">
                <a:solidFill>
                  <a:prstClr val="black"/>
                </a:solidFill>
              </a:rPr>
              <a:t>wmA</a:t>
            </a:r>
            <a:endParaRPr lang="en-US" sz="1400">
              <a:solidFill>
                <a:prstClr val="black"/>
              </a:solidFill>
            </a:endParaRPr>
          </a:p>
        </p:txBody>
      </p:sp>
      <p:sp>
        <p:nvSpPr>
          <p:cNvPr id="29" name="Rectangle 28"/>
          <p:cNvSpPr/>
          <p:nvPr/>
        </p:nvSpPr>
        <p:spPr bwMode="auto">
          <a:xfrm>
            <a:off x="6389361" y="4418580"/>
            <a:ext cx="5351711" cy="457200"/>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123" fontAlgn="base">
              <a:spcBef>
                <a:spcPct val="0"/>
              </a:spcBef>
              <a:spcAft>
                <a:spcPct val="0"/>
              </a:spcAft>
              <a:defRPr/>
            </a:pPr>
            <a:r>
              <a:rPr lang="en-US" sz="1400" kern="0" err="1">
                <a:solidFill>
                  <a:prstClr val="black"/>
                </a:solidFill>
                <a:cs typeface="Arial" panose="020B0604020202020204" pitchFamily="34" charset="0"/>
              </a:rPr>
              <a:t>wmA</a:t>
            </a:r>
            <a:r>
              <a:rPr lang="en-US" sz="1400" kern="0">
                <a:solidFill>
                  <a:prstClr val="black"/>
                </a:solidFill>
                <a:cs typeface="Arial" panose="020B0604020202020204" pitchFamily="34" charset="0"/>
              </a:rPr>
              <a:t> Base Mods - Minimal base </a:t>
            </a:r>
            <a:r>
              <a:rPr lang="en-US" sz="1400" kern="0" err="1">
                <a:solidFill>
                  <a:prstClr val="black"/>
                </a:solidFill>
                <a:cs typeface="Arial" panose="020B0604020202020204" pitchFamily="34" charset="0"/>
              </a:rPr>
              <a:t>wmA</a:t>
            </a:r>
            <a:r>
              <a:rPr lang="en-US" sz="1400" kern="0">
                <a:solidFill>
                  <a:prstClr val="black"/>
                </a:solidFill>
                <a:cs typeface="Arial" panose="020B0604020202020204" pitchFamily="34" charset="0"/>
              </a:rPr>
              <a:t> modifications  to support the missing functionality GAPS of Transamerica products</a:t>
            </a:r>
            <a:endParaRPr kumimoji="0" lang="en-US" sz="1400" b="0" i="0" u="none" strike="noStrike" kern="0" cap="none" spc="0" normalizeH="0" baseline="0" noProof="0">
              <a:ln>
                <a:noFill/>
              </a:ln>
              <a:solidFill>
                <a:prstClr val="black"/>
              </a:solidFill>
              <a:effectLst/>
              <a:uLnTx/>
              <a:uFillTx/>
              <a:latin typeface="Verdana"/>
              <a:ea typeface="+mn-ea"/>
              <a:cs typeface="Arial" panose="020B0604020202020204" pitchFamily="34" charset="0"/>
            </a:endParaRPr>
          </a:p>
        </p:txBody>
      </p:sp>
      <p:sp>
        <p:nvSpPr>
          <p:cNvPr id="32" name="Rectangle 31"/>
          <p:cNvSpPr/>
          <p:nvPr/>
        </p:nvSpPr>
        <p:spPr bwMode="auto">
          <a:xfrm>
            <a:off x="6402727" y="2836504"/>
            <a:ext cx="5230473" cy="725878"/>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123" fontAlgn="base">
              <a:spcBef>
                <a:spcPct val="0"/>
              </a:spcBef>
              <a:spcAft>
                <a:spcPct val="0"/>
              </a:spcAft>
              <a:defRPr/>
            </a:pPr>
            <a:r>
              <a:rPr lang="en-US" sz="1400" kern="0">
                <a:solidFill>
                  <a:prstClr val="black"/>
                </a:solidFill>
                <a:cs typeface="Arial" panose="020B0604020202020204" pitchFamily="34" charset="0"/>
              </a:rPr>
              <a:t>Map and convert Plans, contracts, financial &amp; transactional data and business rules from legacy platforms to target </a:t>
            </a:r>
            <a:r>
              <a:rPr lang="en-US" sz="1400" kern="0" err="1">
                <a:solidFill>
                  <a:prstClr val="black"/>
                </a:solidFill>
                <a:cs typeface="Arial" panose="020B0604020202020204" pitchFamily="34" charset="0"/>
              </a:rPr>
              <a:t>wmA</a:t>
            </a:r>
            <a:r>
              <a:rPr lang="en-US" sz="1400" kern="0">
                <a:solidFill>
                  <a:prstClr val="black"/>
                </a:solidFill>
                <a:cs typeface="Arial" panose="020B0604020202020204" pitchFamily="34" charset="0"/>
              </a:rPr>
              <a:t> platform</a:t>
            </a:r>
            <a:endParaRPr kumimoji="0" lang="en-US" sz="1400" b="0" i="0" u="none" strike="noStrike" kern="0" cap="none" spc="0" normalizeH="0" baseline="0" noProof="0">
              <a:ln>
                <a:noFill/>
              </a:ln>
              <a:solidFill>
                <a:prstClr val="black"/>
              </a:solidFill>
              <a:effectLst/>
              <a:uLnTx/>
              <a:uFillTx/>
              <a:latin typeface="Verdana"/>
              <a:ea typeface="+mn-ea"/>
              <a:cs typeface="Arial" panose="020B0604020202020204" pitchFamily="34" charset="0"/>
            </a:endParaRPr>
          </a:p>
        </p:txBody>
      </p:sp>
      <p:sp>
        <p:nvSpPr>
          <p:cNvPr id="35" name="Rectangle 34"/>
          <p:cNvSpPr/>
          <p:nvPr/>
        </p:nvSpPr>
        <p:spPr bwMode="auto">
          <a:xfrm>
            <a:off x="6403919" y="3661080"/>
            <a:ext cx="5351711" cy="457200"/>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123" fontAlgn="base">
              <a:spcBef>
                <a:spcPct val="0"/>
              </a:spcBef>
              <a:spcAft>
                <a:spcPct val="0"/>
              </a:spcAft>
              <a:defRPr/>
            </a:pPr>
            <a:r>
              <a:rPr lang="en-US" sz="1400" kern="0">
                <a:solidFill>
                  <a:prstClr val="black"/>
                </a:solidFill>
                <a:cs typeface="Arial" panose="020B0604020202020204" pitchFamily="34" charset="0"/>
              </a:rPr>
              <a:t>Integration - Align Ancillary Systems to integrate with </a:t>
            </a:r>
            <a:r>
              <a:rPr lang="en-US" sz="1400" kern="0" err="1">
                <a:solidFill>
                  <a:prstClr val="black"/>
                </a:solidFill>
                <a:cs typeface="Arial" panose="020B0604020202020204" pitchFamily="34" charset="0"/>
              </a:rPr>
              <a:t>wmA</a:t>
            </a:r>
            <a:endParaRPr kumimoji="0" lang="en-US" sz="1400" b="0" i="0" u="none" strike="noStrike" kern="0" cap="none" spc="0" normalizeH="0" baseline="0" noProof="0">
              <a:ln>
                <a:noFill/>
              </a:ln>
              <a:solidFill>
                <a:prstClr val="black"/>
              </a:solidFill>
              <a:effectLst/>
              <a:uLnTx/>
              <a:uFillTx/>
              <a:latin typeface="Verdana"/>
              <a:ea typeface="+mn-ea"/>
              <a:cs typeface="Arial" panose="020B0604020202020204" pitchFamily="34" charset="0"/>
            </a:endParaRPr>
          </a:p>
        </p:txBody>
      </p:sp>
      <p:grpSp>
        <p:nvGrpSpPr>
          <p:cNvPr id="7" name="Group 6"/>
          <p:cNvGrpSpPr/>
          <p:nvPr/>
        </p:nvGrpSpPr>
        <p:grpSpPr>
          <a:xfrm>
            <a:off x="5842516" y="2298596"/>
            <a:ext cx="474070" cy="474070"/>
            <a:chOff x="6447430" y="2675492"/>
            <a:chExt cx="474070" cy="474070"/>
          </a:xfrm>
        </p:grpSpPr>
        <p:sp>
          <p:nvSpPr>
            <p:cNvPr id="6" name="Oval 5"/>
            <p:cNvSpPr/>
            <p:nvPr/>
          </p:nvSpPr>
          <p:spPr>
            <a:xfrm>
              <a:off x="6447430" y="2675492"/>
              <a:ext cx="474070" cy="474070"/>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white"/>
                </a:solidFill>
                <a:effectLst/>
                <a:uLnTx/>
                <a:uFillTx/>
                <a:latin typeface="Verdana"/>
                <a:ea typeface="+mn-ea"/>
                <a:cs typeface="+mn-cs"/>
              </a:endParaRPr>
            </a:p>
          </p:txBody>
        </p:sp>
        <p:grpSp>
          <p:nvGrpSpPr>
            <p:cNvPr id="28" name="Group 27"/>
            <p:cNvGrpSpPr/>
            <p:nvPr/>
          </p:nvGrpSpPr>
          <p:grpSpPr>
            <a:xfrm>
              <a:off x="6518178" y="2715380"/>
              <a:ext cx="333474" cy="369629"/>
              <a:chOff x="3114466" y="105602"/>
              <a:chExt cx="5971657" cy="6619048"/>
            </a:xfrm>
            <a:solidFill>
              <a:schemeClr val="accent5"/>
            </a:solidFill>
          </p:grpSpPr>
          <p:sp>
            <p:nvSpPr>
              <p:cNvPr id="31" name="Oval 30"/>
              <p:cNvSpPr/>
              <p:nvPr/>
            </p:nvSpPr>
            <p:spPr>
              <a:xfrm>
                <a:off x="5744819" y="745435"/>
                <a:ext cx="695738" cy="695738"/>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34" name="Oval 33"/>
              <p:cNvSpPr/>
              <p:nvPr/>
            </p:nvSpPr>
            <p:spPr>
              <a:xfrm>
                <a:off x="6626711" y="1319213"/>
                <a:ext cx="628234" cy="62823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41" name="Oval 40"/>
              <p:cNvSpPr/>
              <p:nvPr/>
            </p:nvSpPr>
            <p:spPr>
              <a:xfrm>
                <a:off x="4921736" y="1319213"/>
                <a:ext cx="628234" cy="62823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42" name="Oval 41"/>
              <p:cNvSpPr/>
              <p:nvPr/>
            </p:nvSpPr>
            <p:spPr>
              <a:xfrm>
                <a:off x="4140684" y="1766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43" name="Oval 42"/>
              <p:cNvSpPr/>
              <p:nvPr/>
            </p:nvSpPr>
            <p:spPr>
              <a:xfrm>
                <a:off x="7510049" y="1766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44" name="Oval 43"/>
              <p:cNvSpPr/>
              <p:nvPr/>
            </p:nvSpPr>
            <p:spPr>
              <a:xfrm>
                <a:off x="7716285" y="2579410"/>
                <a:ext cx="612706" cy="61270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45" name="Oval 44"/>
              <p:cNvSpPr/>
              <p:nvPr/>
            </p:nvSpPr>
            <p:spPr>
              <a:xfrm>
                <a:off x="3849963" y="2569471"/>
                <a:ext cx="612706" cy="61270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46" name="Oval 45"/>
              <p:cNvSpPr/>
              <p:nvPr/>
            </p:nvSpPr>
            <p:spPr>
              <a:xfrm>
                <a:off x="3740632" y="1416532"/>
                <a:ext cx="394046" cy="39404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47" name="Oval 46"/>
              <p:cNvSpPr/>
              <p:nvPr/>
            </p:nvSpPr>
            <p:spPr>
              <a:xfrm>
                <a:off x="8054215" y="1416532"/>
                <a:ext cx="394046" cy="39404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48" name="Oval 47"/>
              <p:cNvSpPr/>
              <p:nvPr/>
            </p:nvSpPr>
            <p:spPr>
              <a:xfrm>
                <a:off x="5878581" y="105602"/>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49" name="Oval 48"/>
              <p:cNvSpPr/>
              <p:nvPr/>
            </p:nvSpPr>
            <p:spPr>
              <a:xfrm>
                <a:off x="3114466" y="3419473"/>
                <a:ext cx="319296" cy="31929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50" name="Oval 49"/>
              <p:cNvSpPr/>
              <p:nvPr/>
            </p:nvSpPr>
            <p:spPr>
              <a:xfrm>
                <a:off x="3794675" y="5116270"/>
                <a:ext cx="282026" cy="28202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51" name="Oval 50"/>
              <p:cNvSpPr/>
              <p:nvPr/>
            </p:nvSpPr>
            <p:spPr>
              <a:xfrm>
                <a:off x="4640020" y="5060156"/>
                <a:ext cx="342902" cy="3429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52" name="Oval 51"/>
              <p:cNvSpPr/>
              <p:nvPr/>
            </p:nvSpPr>
            <p:spPr>
              <a:xfrm>
                <a:off x="4155592" y="4790040"/>
                <a:ext cx="373546" cy="37354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53" name="Oval 52"/>
              <p:cNvSpPr/>
              <p:nvPr/>
            </p:nvSpPr>
            <p:spPr>
              <a:xfrm>
                <a:off x="3892206" y="4042948"/>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54" name="Oval 53"/>
              <p:cNvSpPr/>
              <p:nvPr/>
            </p:nvSpPr>
            <p:spPr>
              <a:xfrm>
                <a:off x="7758528" y="4052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55" name="Oval 54"/>
              <p:cNvSpPr/>
              <p:nvPr/>
            </p:nvSpPr>
            <p:spPr>
              <a:xfrm>
                <a:off x="3632338" y="3395454"/>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56" name="Oval 55"/>
              <p:cNvSpPr/>
              <p:nvPr/>
            </p:nvSpPr>
            <p:spPr>
              <a:xfrm>
                <a:off x="8122650" y="3395454"/>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57" name="Oval 56"/>
              <p:cNvSpPr/>
              <p:nvPr/>
            </p:nvSpPr>
            <p:spPr>
              <a:xfrm>
                <a:off x="8747366" y="3412330"/>
                <a:ext cx="338757" cy="338757"/>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58" name="Oval 57"/>
              <p:cNvSpPr/>
              <p:nvPr/>
            </p:nvSpPr>
            <p:spPr>
              <a:xfrm>
                <a:off x="7659444" y="4792108"/>
                <a:ext cx="372514" cy="37251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59" name="Oval 58"/>
              <p:cNvSpPr/>
              <p:nvPr/>
            </p:nvSpPr>
            <p:spPr>
              <a:xfrm>
                <a:off x="7208355" y="5062538"/>
                <a:ext cx="341242" cy="34124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60" name="Oval 59"/>
              <p:cNvSpPr/>
              <p:nvPr/>
            </p:nvSpPr>
            <p:spPr>
              <a:xfrm>
                <a:off x="8113230" y="5122069"/>
                <a:ext cx="274566" cy="27456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61" name="Freeform 60"/>
              <p:cNvSpPr/>
              <p:nvPr/>
            </p:nvSpPr>
            <p:spPr>
              <a:xfrm>
                <a:off x="5507831" y="5678142"/>
                <a:ext cx="1200744" cy="1046508"/>
              </a:xfrm>
              <a:custGeom>
                <a:avLst/>
                <a:gdLst>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58806 w 1200744"/>
                  <a:gd name="connsiteY19" fmla="*/ 0 h 1046508"/>
                  <a:gd name="connsiteX20" fmla="*/ 692944 w 1200744"/>
                  <a:gd name="connsiteY20" fmla="*/ 0 h 1046508"/>
                  <a:gd name="connsiteX21" fmla="*/ 692944 w 1200744"/>
                  <a:gd name="connsiteY21" fmla="*/ 102530 h 1046508"/>
                  <a:gd name="connsiteX22" fmla="*/ 418176 w 1200744"/>
                  <a:gd name="connsiteY22" fmla="*/ 135174 h 1046508"/>
                  <a:gd name="connsiteX23" fmla="*/ 392350 w 1200744"/>
                  <a:gd name="connsiteY23" fmla="*/ 149653 h 1046508"/>
                  <a:gd name="connsiteX24" fmla="*/ 384326 w 1200744"/>
                  <a:gd name="connsiteY24" fmla="*/ 178152 h 1046508"/>
                  <a:gd name="connsiteX25" fmla="*/ 398804 w 1200744"/>
                  <a:gd name="connsiteY25" fmla="*/ 203977 h 1046508"/>
                  <a:gd name="connsiteX26" fmla="*/ 427304 w 1200744"/>
                  <a:gd name="connsiteY26" fmla="*/ 212001 h 1046508"/>
                  <a:gd name="connsiteX27" fmla="*/ 1104900 w 1200744"/>
                  <a:gd name="connsiteY27" fmla="*/ 131498 h 1046508"/>
                  <a:gd name="connsiteX28" fmla="*/ 1104900 w 1200744"/>
                  <a:gd name="connsiteY28" fmla="*/ 134851 h 1046508"/>
                  <a:gd name="connsiteX29" fmla="*/ 1157493 w 1200744"/>
                  <a:gd name="connsiteY29" fmla="*/ 128603 h 1046508"/>
                  <a:gd name="connsiteX30" fmla="*/ 1200471 w 1200744"/>
                  <a:gd name="connsiteY30" fmla="*/ 162453 h 1046508"/>
                  <a:gd name="connsiteX31" fmla="*/ 1200470 w 1200744"/>
                  <a:gd name="connsiteY31" fmla="*/ 162453 h 1046508"/>
                  <a:gd name="connsiteX32" fmla="*/ 1166620 w 1200744"/>
                  <a:gd name="connsiteY32" fmla="*/ 205431 h 1046508"/>
                  <a:gd name="connsiteX33" fmla="*/ 892471 w 1200744"/>
                  <a:gd name="connsiteY33" fmla="*/ 238001 h 1046508"/>
                  <a:gd name="connsiteX34" fmla="*/ 883444 w 1200744"/>
                  <a:gd name="connsiteY34" fmla="*/ 235459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688181 w 1200744"/>
                  <a:gd name="connsiteY45" fmla="*/ 400083 h 1046508"/>
                  <a:gd name="connsiteX46" fmla="*/ 688181 w 1200744"/>
                  <a:gd name="connsiteY46" fmla="*/ 403433 h 1046508"/>
                  <a:gd name="connsiteX47" fmla="*/ 792956 w 1200744"/>
                  <a:gd name="connsiteY47" fmla="*/ 390985 h 1046508"/>
                  <a:gd name="connsiteX48" fmla="*/ 792956 w 1200744"/>
                  <a:gd name="connsiteY48" fmla="*/ 387635 h 1046508"/>
                  <a:gd name="connsiteX49" fmla="*/ 883444 w 1200744"/>
                  <a:gd name="connsiteY49" fmla="*/ 376884 h 1046508"/>
                  <a:gd name="connsiteX50" fmla="*/ 883444 w 1200744"/>
                  <a:gd name="connsiteY50" fmla="*/ 380235 h 1046508"/>
                  <a:gd name="connsiteX51" fmla="*/ 1157493 w 1200744"/>
                  <a:gd name="connsiteY51" fmla="*/ 347675 h 1046508"/>
                  <a:gd name="connsiteX52" fmla="*/ 1200471 w 1200744"/>
                  <a:gd name="connsiteY52" fmla="*/ 381525 h 1046508"/>
                  <a:gd name="connsiteX53" fmla="*/ 1200470 w 1200744"/>
                  <a:gd name="connsiteY53" fmla="*/ 381526 h 1046508"/>
                  <a:gd name="connsiteX54" fmla="*/ 1166620 w 1200744"/>
                  <a:gd name="connsiteY54" fmla="*/ 424503 h 1046508"/>
                  <a:gd name="connsiteX55" fmla="*/ 883444 w 1200744"/>
                  <a:gd name="connsiteY55" fmla="*/ 458146 h 1046508"/>
                  <a:gd name="connsiteX56" fmla="*/ 883444 w 1200744"/>
                  <a:gd name="connsiteY56" fmla="*/ 506141 h 1046508"/>
                  <a:gd name="connsiteX57" fmla="*/ 792956 w 1200744"/>
                  <a:gd name="connsiteY57" fmla="*/ 516892 h 1046508"/>
                  <a:gd name="connsiteX58" fmla="*/ 792956 w 1200744"/>
                  <a:gd name="connsiteY58" fmla="*/ 468897 h 1046508"/>
                  <a:gd name="connsiteX59" fmla="*/ 688181 w 1200744"/>
                  <a:gd name="connsiteY59" fmla="*/ 481345 h 1046508"/>
                  <a:gd name="connsiteX60" fmla="*/ 688181 w 1200744"/>
                  <a:gd name="connsiteY60" fmla="*/ 529340 h 1046508"/>
                  <a:gd name="connsiteX61" fmla="*/ 418176 w 1200744"/>
                  <a:gd name="connsiteY61" fmla="*/ 561418 h 1046508"/>
                  <a:gd name="connsiteX62" fmla="*/ 392350 w 1200744"/>
                  <a:gd name="connsiteY62" fmla="*/ 575897 h 1046508"/>
                  <a:gd name="connsiteX63" fmla="*/ 384326 w 1200744"/>
                  <a:gd name="connsiteY63" fmla="*/ 604396 h 1046508"/>
                  <a:gd name="connsiteX64" fmla="*/ 398804 w 1200744"/>
                  <a:gd name="connsiteY64" fmla="*/ 630221 h 1046508"/>
                  <a:gd name="connsiteX65" fmla="*/ 427304 w 1200744"/>
                  <a:gd name="connsiteY65" fmla="*/ 638245 h 1046508"/>
                  <a:gd name="connsiteX66" fmla="*/ 1104900 w 1200744"/>
                  <a:gd name="connsiteY66" fmla="*/ 557742 h 1046508"/>
                  <a:gd name="connsiteX67" fmla="*/ 1104900 w 1200744"/>
                  <a:gd name="connsiteY67" fmla="*/ 558713 h 1046508"/>
                  <a:gd name="connsiteX68" fmla="*/ 1157491 w 1200744"/>
                  <a:gd name="connsiteY68" fmla="*/ 552464 h 1046508"/>
                  <a:gd name="connsiteX69" fmla="*/ 1200469 w 1200744"/>
                  <a:gd name="connsiteY69" fmla="*/ 586314 h 1046508"/>
                  <a:gd name="connsiteX70" fmla="*/ 1200468 w 1200744"/>
                  <a:gd name="connsiteY70" fmla="*/ 586314 h 1046508"/>
                  <a:gd name="connsiteX71" fmla="*/ 1166618 w 1200744"/>
                  <a:gd name="connsiteY71" fmla="*/ 629292 h 1046508"/>
                  <a:gd name="connsiteX72" fmla="*/ 1104900 w 1200744"/>
                  <a:gd name="connsiteY72" fmla="*/ 636624 h 1046508"/>
                  <a:gd name="connsiteX73" fmla="*/ 1104900 w 1200744"/>
                  <a:gd name="connsiteY73" fmla="*/ 817908 h 1046508"/>
                  <a:gd name="connsiteX74" fmla="*/ 971550 w 1200744"/>
                  <a:gd name="connsiteY74" fmla="*/ 946496 h 1046508"/>
                  <a:gd name="connsiteX75" fmla="*/ 752889 w 1200744"/>
                  <a:gd name="connsiteY75" fmla="*/ 946496 h 1046508"/>
                  <a:gd name="connsiteX76" fmla="*/ 749140 w 1200744"/>
                  <a:gd name="connsiteY76" fmla="*/ 965065 h 1046508"/>
                  <a:gd name="connsiteX77" fmla="*/ 626271 w 1200744"/>
                  <a:gd name="connsiteY77" fmla="*/ 1046508 h 1046508"/>
                  <a:gd name="connsiteX78" fmla="*/ 533770 w 1200744"/>
                  <a:gd name="connsiteY78" fmla="*/ 1046508 h 1046508"/>
                  <a:gd name="connsiteX79" fmla="*/ 410901 w 1200744"/>
                  <a:gd name="connsiteY79" fmla="*/ 965065 h 1046508"/>
                  <a:gd name="connsiteX80" fmla="*/ 407153 w 1200744"/>
                  <a:gd name="connsiteY80" fmla="*/ 946496 h 1046508"/>
                  <a:gd name="connsiteX81" fmla="*/ 190500 w 1200744"/>
                  <a:gd name="connsiteY81" fmla="*/ 946496 h 1046508"/>
                  <a:gd name="connsiteX82" fmla="*/ 59532 w 1200744"/>
                  <a:gd name="connsiteY82" fmla="*/ 825052 h 1046508"/>
                  <a:gd name="connsiteX83" fmla="*/ 59432 w 1200744"/>
                  <a:gd name="connsiteY83" fmla="*/ 710643 h 1046508"/>
                  <a:gd name="connsiteX84" fmla="*/ 48816 w 1200744"/>
                  <a:gd name="connsiteY84" fmla="*/ 710643 h 1046508"/>
                  <a:gd name="connsiteX85" fmla="*/ 14298 w 1200744"/>
                  <a:gd name="connsiteY85" fmla="*/ 696345 h 1046508"/>
                  <a:gd name="connsiteX86" fmla="*/ 0 w 1200744"/>
                  <a:gd name="connsiteY86" fmla="*/ 661828 h 1046508"/>
                  <a:gd name="connsiteX87" fmla="*/ 14298 w 1200744"/>
                  <a:gd name="connsiteY87" fmla="*/ 627310 h 1046508"/>
                  <a:gd name="connsiteX88" fmla="*/ 48816 w 1200744"/>
                  <a:gd name="connsiteY88" fmla="*/ 613012 h 1046508"/>
                  <a:gd name="connsiteX89" fmla="*/ 59346 w 1200744"/>
                  <a:gd name="connsiteY89" fmla="*/ 613012 h 1046508"/>
                  <a:gd name="connsiteX90" fmla="*/ 59247 w 1200744"/>
                  <a:gd name="connsiteY90" fmla="*/ 501147 h 1046508"/>
                  <a:gd name="connsiteX91" fmla="*/ 48816 w 1200744"/>
                  <a:gd name="connsiteY91" fmla="*/ 501147 h 1046508"/>
                  <a:gd name="connsiteX92" fmla="*/ 14298 w 1200744"/>
                  <a:gd name="connsiteY92" fmla="*/ 486849 h 1046508"/>
                  <a:gd name="connsiteX93" fmla="*/ 0 w 1200744"/>
                  <a:gd name="connsiteY93" fmla="*/ 452332 h 1046508"/>
                  <a:gd name="connsiteX94" fmla="*/ 14298 w 1200744"/>
                  <a:gd name="connsiteY94" fmla="*/ 417814 h 1046508"/>
                  <a:gd name="connsiteX95" fmla="*/ 48816 w 1200744"/>
                  <a:gd name="connsiteY95" fmla="*/ 403516 h 1046508"/>
                  <a:gd name="connsiteX96" fmla="*/ 59161 w 1200744"/>
                  <a:gd name="connsiteY96" fmla="*/ 403516 h 1046508"/>
                  <a:gd name="connsiteX97" fmla="*/ 59063 w 1200744"/>
                  <a:gd name="connsiteY97" fmla="*/ 291651 h 1046508"/>
                  <a:gd name="connsiteX98" fmla="*/ 48816 w 1200744"/>
                  <a:gd name="connsiteY98" fmla="*/ 291651 h 1046508"/>
                  <a:gd name="connsiteX99" fmla="*/ 14298 w 1200744"/>
                  <a:gd name="connsiteY99" fmla="*/ 277353 h 1046508"/>
                  <a:gd name="connsiteX100" fmla="*/ 0 w 1200744"/>
                  <a:gd name="connsiteY100" fmla="*/ 242836 h 1046508"/>
                  <a:gd name="connsiteX101" fmla="*/ 14298 w 1200744"/>
                  <a:gd name="connsiteY101" fmla="*/ 208318 h 1046508"/>
                  <a:gd name="connsiteX102" fmla="*/ 48816 w 1200744"/>
                  <a:gd name="connsiteY102" fmla="*/ 194020 h 1046508"/>
                  <a:gd name="connsiteX103" fmla="*/ 58977 w 1200744"/>
                  <a:gd name="connsiteY103" fmla="*/ 19402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792956 w 1200744"/>
                  <a:gd name="connsiteY49" fmla="*/ 387635 h 1046508"/>
                  <a:gd name="connsiteX50" fmla="*/ 883444 w 1200744"/>
                  <a:gd name="connsiteY50" fmla="*/ 376884 h 1046508"/>
                  <a:gd name="connsiteX51" fmla="*/ 1157493 w 1200744"/>
                  <a:gd name="connsiteY51" fmla="*/ 347675 h 1046508"/>
                  <a:gd name="connsiteX52" fmla="*/ 1200471 w 1200744"/>
                  <a:gd name="connsiteY52" fmla="*/ 381525 h 1046508"/>
                  <a:gd name="connsiteX53" fmla="*/ 1200470 w 1200744"/>
                  <a:gd name="connsiteY53" fmla="*/ 381526 h 1046508"/>
                  <a:gd name="connsiteX54" fmla="*/ 1166620 w 1200744"/>
                  <a:gd name="connsiteY54" fmla="*/ 424503 h 1046508"/>
                  <a:gd name="connsiteX55" fmla="*/ 883444 w 1200744"/>
                  <a:gd name="connsiteY55" fmla="*/ 458146 h 1046508"/>
                  <a:gd name="connsiteX56" fmla="*/ 883444 w 1200744"/>
                  <a:gd name="connsiteY56" fmla="*/ 506141 h 1046508"/>
                  <a:gd name="connsiteX57" fmla="*/ 792956 w 1200744"/>
                  <a:gd name="connsiteY57" fmla="*/ 516892 h 1046508"/>
                  <a:gd name="connsiteX58" fmla="*/ 792956 w 1200744"/>
                  <a:gd name="connsiteY58" fmla="*/ 468897 h 1046508"/>
                  <a:gd name="connsiteX59" fmla="*/ 688181 w 1200744"/>
                  <a:gd name="connsiteY59" fmla="*/ 481345 h 1046508"/>
                  <a:gd name="connsiteX60" fmla="*/ 688181 w 1200744"/>
                  <a:gd name="connsiteY60" fmla="*/ 529340 h 1046508"/>
                  <a:gd name="connsiteX61" fmla="*/ 418176 w 1200744"/>
                  <a:gd name="connsiteY61" fmla="*/ 561418 h 1046508"/>
                  <a:gd name="connsiteX62" fmla="*/ 392350 w 1200744"/>
                  <a:gd name="connsiteY62" fmla="*/ 575897 h 1046508"/>
                  <a:gd name="connsiteX63" fmla="*/ 384326 w 1200744"/>
                  <a:gd name="connsiteY63" fmla="*/ 604396 h 1046508"/>
                  <a:gd name="connsiteX64" fmla="*/ 398804 w 1200744"/>
                  <a:gd name="connsiteY64" fmla="*/ 630221 h 1046508"/>
                  <a:gd name="connsiteX65" fmla="*/ 427304 w 1200744"/>
                  <a:gd name="connsiteY65" fmla="*/ 638245 h 1046508"/>
                  <a:gd name="connsiteX66" fmla="*/ 1104900 w 1200744"/>
                  <a:gd name="connsiteY66" fmla="*/ 557742 h 1046508"/>
                  <a:gd name="connsiteX67" fmla="*/ 1104900 w 1200744"/>
                  <a:gd name="connsiteY67" fmla="*/ 558713 h 1046508"/>
                  <a:gd name="connsiteX68" fmla="*/ 1157491 w 1200744"/>
                  <a:gd name="connsiteY68" fmla="*/ 552464 h 1046508"/>
                  <a:gd name="connsiteX69" fmla="*/ 1200469 w 1200744"/>
                  <a:gd name="connsiteY69" fmla="*/ 586314 h 1046508"/>
                  <a:gd name="connsiteX70" fmla="*/ 1200468 w 1200744"/>
                  <a:gd name="connsiteY70" fmla="*/ 586314 h 1046508"/>
                  <a:gd name="connsiteX71" fmla="*/ 1166618 w 1200744"/>
                  <a:gd name="connsiteY71" fmla="*/ 629292 h 1046508"/>
                  <a:gd name="connsiteX72" fmla="*/ 1104900 w 1200744"/>
                  <a:gd name="connsiteY72" fmla="*/ 636624 h 1046508"/>
                  <a:gd name="connsiteX73" fmla="*/ 1104900 w 1200744"/>
                  <a:gd name="connsiteY73" fmla="*/ 817908 h 1046508"/>
                  <a:gd name="connsiteX74" fmla="*/ 971550 w 1200744"/>
                  <a:gd name="connsiteY74" fmla="*/ 946496 h 1046508"/>
                  <a:gd name="connsiteX75" fmla="*/ 752889 w 1200744"/>
                  <a:gd name="connsiteY75" fmla="*/ 946496 h 1046508"/>
                  <a:gd name="connsiteX76" fmla="*/ 749140 w 1200744"/>
                  <a:gd name="connsiteY76" fmla="*/ 965065 h 1046508"/>
                  <a:gd name="connsiteX77" fmla="*/ 626271 w 1200744"/>
                  <a:gd name="connsiteY77" fmla="*/ 1046508 h 1046508"/>
                  <a:gd name="connsiteX78" fmla="*/ 533770 w 1200744"/>
                  <a:gd name="connsiteY78" fmla="*/ 1046508 h 1046508"/>
                  <a:gd name="connsiteX79" fmla="*/ 410901 w 1200744"/>
                  <a:gd name="connsiteY79" fmla="*/ 965065 h 1046508"/>
                  <a:gd name="connsiteX80" fmla="*/ 407153 w 1200744"/>
                  <a:gd name="connsiteY80" fmla="*/ 946496 h 1046508"/>
                  <a:gd name="connsiteX81" fmla="*/ 190500 w 1200744"/>
                  <a:gd name="connsiteY81" fmla="*/ 946496 h 1046508"/>
                  <a:gd name="connsiteX82" fmla="*/ 59532 w 1200744"/>
                  <a:gd name="connsiteY82" fmla="*/ 825052 h 1046508"/>
                  <a:gd name="connsiteX83" fmla="*/ 59432 w 1200744"/>
                  <a:gd name="connsiteY83" fmla="*/ 710643 h 1046508"/>
                  <a:gd name="connsiteX84" fmla="*/ 48816 w 1200744"/>
                  <a:gd name="connsiteY84" fmla="*/ 710643 h 1046508"/>
                  <a:gd name="connsiteX85" fmla="*/ 14298 w 1200744"/>
                  <a:gd name="connsiteY85" fmla="*/ 696345 h 1046508"/>
                  <a:gd name="connsiteX86" fmla="*/ 0 w 1200744"/>
                  <a:gd name="connsiteY86" fmla="*/ 661828 h 1046508"/>
                  <a:gd name="connsiteX87" fmla="*/ 14298 w 1200744"/>
                  <a:gd name="connsiteY87" fmla="*/ 627310 h 1046508"/>
                  <a:gd name="connsiteX88" fmla="*/ 48816 w 1200744"/>
                  <a:gd name="connsiteY88" fmla="*/ 613012 h 1046508"/>
                  <a:gd name="connsiteX89" fmla="*/ 59346 w 1200744"/>
                  <a:gd name="connsiteY89" fmla="*/ 613012 h 1046508"/>
                  <a:gd name="connsiteX90" fmla="*/ 59247 w 1200744"/>
                  <a:gd name="connsiteY90" fmla="*/ 501147 h 1046508"/>
                  <a:gd name="connsiteX91" fmla="*/ 48816 w 1200744"/>
                  <a:gd name="connsiteY91" fmla="*/ 501147 h 1046508"/>
                  <a:gd name="connsiteX92" fmla="*/ 14298 w 1200744"/>
                  <a:gd name="connsiteY92" fmla="*/ 486849 h 1046508"/>
                  <a:gd name="connsiteX93" fmla="*/ 0 w 1200744"/>
                  <a:gd name="connsiteY93" fmla="*/ 452332 h 1046508"/>
                  <a:gd name="connsiteX94" fmla="*/ 14298 w 1200744"/>
                  <a:gd name="connsiteY94" fmla="*/ 417814 h 1046508"/>
                  <a:gd name="connsiteX95" fmla="*/ 48816 w 1200744"/>
                  <a:gd name="connsiteY95" fmla="*/ 403516 h 1046508"/>
                  <a:gd name="connsiteX96" fmla="*/ 59161 w 1200744"/>
                  <a:gd name="connsiteY96" fmla="*/ 403516 h 1046508"/>
                  <a:gd name="connsiteX97" fmla="*/ 59063 w 1200744"/>
                  <a:gd name="connsiteY97" fmla="*/ 291651 h 1046508"/>
                  <a:gd name="connsiteX98" fmla="*/ 48816 w 1200744"/>
                  <a:gd name="connsiteY98" fmla="*/ 291651 h 1046508"/>
                  <a:gd name="connsiteX99" fmla="*/ 14298 w 1200744"/>
                  <a:gd name="connsiteY99" fmla="*/ 277353 h 1046508"/>
                  <a:gd name="connsiteX100" fmla="*/ 0 w 1200744"/>
                  <a:gd name="connsiteY100" fmla="*/ 242836 h 1046508"/>
                  <a:gd name="connsiteX101" fmla="*/ 14298 w 1200744"/>
                  <a:gd name="connsiteY101" fmla="*/ 208318 h 1046508"/>
                  <a:gd name="connsiteX102" fmla="*/ 48816 w 1200744"/>
                  <a:gd name="connsiteY102" fmla="*/ 194020 h 1046508"/>
                  <a:gd name="connsiteX103" fmla="*/ 58977 w 1200744"/>
                  <a:gd name="connsiteY103" fmla="*/ 194020 h 1046508"/>
                  <a:gd name="connsiteX104" fmla="*/ 58806 w 1200744"/>
                  <a:gd name="connsiteY104"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792956 w 1200744"/>
                  <a:gd name="connsiteY49" fmla="*/ 387635 h 1046508"/>
                  <a:gd name="connsiteX50" fmla="*/ 1157493 w 1200744"/>
                  <a:gd name="connsiteY50" fmla="*/ 347675 h 1046508"/>
                  <a:gd name="connsiteX51" fmla="*/ 1200471 w 1200744"/>
                  <a:gd name="connsiteY51" fmla="*/ 381525 h 1046508"/>
                  <a:gd name="connsiteX52" fmla="*/ 1200470 w 1200744"/>
                  <a:gd name="connsiteY52" fmla="*/ 381526 h 1046508"/>
                  <a:gd name="connsiteX53" fmla="*/ 1166620 w 1200744"/>
                  <a:gd name="connsiteY53" fmla="*/ 424503 h 1046508"/>
                  <a:gd name="connsiteX54" fmla="*/ 883444 w 1200744"/>
                  <a:gd name="connsiteY54" fmla="*/ 458146 h 1046508"/>
                  <a:gd name="connsiteX55" fmla="*/ 883444 w 1200744"/>
                  <a:gd name="connsiteY55" fmla="*/ 506141 h 1046508"/>
                  <a:gd name="connsiteX56" fmla="*/ 792956 w 1200744"/>
                  <a:gd name="connsiteY56" fmla="*/ 516892 h 1046508"/>
                  <a:gd name="connsiteX57" fmla="*/ 792956 w 1200744"/>
                  <a:gd name="connsiteY57" fmla="*/ 468897 h 1046508"/>
                  <a:gd name="connsiteX58" fmla="*/ 688181 w 1200744"/>
                  <a:gd name="connsiteY58" fmla="*/ 481345 h 1046508"/>
                  <a:gd name="connsiteX59" fmla="*/ 688181 w 1200744"/>
                  <a:gd name="connsiteY59" fmla="*/ 529340 h 1046508"/>
                  <a:gd name="connsiteX60" fmla="*/ 418176 w 1200744"/>
                  <a:gd name="connsiteY60" fmla="*/ 561418 h 1046508"/>
                  <a:gd name="connsiteX61" fmla="*/ 392350 w 1200744"/>
                  <a:gd name="connsiteY61" fmla="*/ 575897 h 1046508"/>
                  <a:gd name="connsiteX62" fmla="*/ 384326 w 1200744"/>
                  <a:gd name="connsiteY62" fmla="*/ 604396 h 1046508"/>
                  <a:gd name="connsiteX63" fmla="*/ 398804 w 1200744"/>
                  <a:gd name="connsiteY63" fmla="*/ 630221 h 1046508"/>
                  <a:gd name="connsiteX64" fmla="*/ 427304 w 1200744"/>
                  <a:gd name="connsiteY64" fmla="*/ 638245 h 1046508"/>
                  <a:gd name="connsiteX65" fmla="*/ 1104900 w 1200744"/>
                  <a:gd name="connsiteY65" fmla="*/ 557742 h 1046508"/>
                  <a:gd name="connsiteX66" fmla="*/ 1104900 w 1200744"/>
                  <a:gd name="connsiteY66" fmla="*/ 558713 h 1046508"/>
                  <a:gd name="connsiteX67" fmla="*/ 1157491 w 1200744"/>
                  <a:gd name="connsiteY67" fmla="*/ 552464 h 1046508"/>
                  <a:gd name="connsiteX68" fmla="*/ 1200469 w 1200744"/>
                  <a:gd name="connsiteY68" fmla="*/ 586314 h 1046508"/>
                  <a:gd name="connsiteX69" fmla="*/ 1200468 w 1200744"/>
                  <a:gd name="connsiteY69" fmla="*/ 586314 h 1046508"/>
                  <a:gd name="connsiteX70" fmla="*/ 1166618 w 1200744"/>
                  <a:gd name="connsiteY70" fmla="*/ 629292 h 1046508"/>
                  <a:gd name="connsiteX71" fmla="*/ 1104900 w 1200744"/>
                  <a:gd name="connsiteY71" fmla="*/ 636624 h 1046508"/>
                  <a:gd name="connsiteX72" fmla="*/ 1104900 w 1200744"/>
                  <a:gd name="connsiteY72" fmla="*/ 817908 h 1046508"/>
                  <a:gd name="connsiteX73" fmla="*/ 971550 w 1200744"/>
                  <a:gd name="connsiteY73" fmla="*/ 946496 h 1046508"/>
                  <a:gd name="connsiteX74" fmla="*/ 752889 w 1200744"/>
                  <a:gd name="connsiteY74" fmla="*/ 946496 h 1046508"/>
                  <a:gd name="connsiteX75" fmla="*/ 749140 w 1200744"/>
                  <a:gd name="connsiteY75" fmla="*/ 965065 h 1046508"/>
                  <a:gd name="connsiteX76" fmla="*/ 626271 w 1200744"/>
                  <a:gd name="connsiteY76" fmla="*/ 1046508 h 1046508"/>
                  <a:gd name="connsiteX77" fmla="*/ 533770 w 1200744"/>
                  <a:gd name="connsiteY77" fmla="*/ 1046508 h 1046508"/>
                  <a:gd name="connsiteX78" fmla="*/ 410901 w 1200744"/>
                  <a:gd name="connsiteY78" fmla="*/ 965065 h 1046508"/>
                  <a:gd name="connsiteX79" fmla="*/ 407153 w 1200744"/>
                  <a:gd name="connsiteY79" fmla="*/ 946496 h 1046508"/>
                  <a:gd name="connsiteX80" fmla="*/ 190500 w 1200744"/>
                  <a:gd name="connsiteY80" fmla="*/ 946496 h 1046508"/>
                  <a:gd name="connsiteX81" fmla="*/ 59532 w 1200744"/>
                  <a:gd name="connsiteY81" fmla="*/ 825052 h 1046508"/>
                  <a:gd name="connsiteX82" fmla="*/ 59432 w 1200744"/>
                  <a:gd name="connsiteY82" fmla="*/ 710643 h 1046508"/>
                  <a:gd name="connsiteX83" fmla="*/ 48816 w 1200744"/>
                  <a:gd name="connsiteY83" fmla="*/ 710643 h 1046508"/>
                  <a:gd name="connsiteX84" fmla="*/ 14298 w 1200744"/>
                  <a:gd name="connsiteY84" fmla="*/ 696345 h 1046508"/>
                  <a:gd name="connsiteX85" fmla="*/ 0 w 1200744"/>
                  <a:gd name="connsiteY85" fmla="*/ 661828 h 1046508"/>
                  <a:gd name="connsiteX86" fmla="*/ 14298 w 1200744"/>
                  <a:gd name="connsiteY86" fmla="*/ 627310 h 1046508"/>
                  <a:gd name="connsiteX87" fmla="*/ 48816 w 1200744"/>
                  <a:gd name="connsiteY87" fmla="*/ 613012 h 1046508"/>
                  <a:gd name="connsiteX88" fmla="*/ 59346 w 1200744"/>
                  <a:gd name="connsiteY88" fmla="*/ 613012 h 1046508"/>
                  <a:gd name="connsiteX89" fmla="*/ 59247 w 1200744"/>
                  <a:gd name="connsiteY89" fmla="*/ 501147 h 1046508"/>
                  <a:gd name="connsiteX90" fmla="*/ 48816 w 1200744"/>
                  <a:gd name="connsiteY90" fmla="*/ 501147 h 1046508"/>
                  <a:gd name="connsiteX91" fmla="*/ 14298 w 1200744"/>
                  <a:gd name="connsiteY91" fmla="*/ 486849 h 1046508"/>
                  <a:gd name="connsiteX92" fmla="*/ 0 w 1200744"/>
                  <a:gd name="connsiteY92" fmla="*/ 452332 h 1046508"/>
                  <a:gd name="connsiteX93" fmla="*/ 14298 w 1200744"/>
                  <a:gd name="connsiteY93" fmla="*/ 417814 h 1046508"/>
                  <a:gd name="connsiteX94" fmla="*/ 48816 w 1200744"/>
                  <a:gd name="connsiteY94" fmla="*/ 403516 h 1046508"/>
                  <a:gd name="connsiteX95" fmla="*/ 59161 w 1200744"/>
                  <a:gd name="connsiteY95" fmla="*/ 403516 h 1046508"/>
                  <a:gd name="connsiteX96" fmla="*/ 59063 w 1200744"/>
                  <a:gd name="connsiteY96" fmla="*/ 291651 h 1046508"/>
                  <a:gd name="connsiteX97" fmla="*/ 48816 w 1200744"/>
                  <a:gd name="connsiteY97" fmla="*/ 291651 h 1046508"/>
                  <a:gd name="connsiteX98" fmla="*/ 14298 w 1200744"/>
                  <a:gd name="connsiteY98" fmla="*/ 277353 h 1046508"/>
                  <a:gd name="connsiteX99" fmla="*/ 0 w 1200744"/>
                  <a:gd name="connsiteY99" fmla="*/ 242836 h 1046508"/>
                  <a:gd name="connsiteX100" fmla="*/ 14298 w 1200744"/>
                  <a:gd name="connsiteY100" fmla="*/ 208318 h 1046508"/>
                  <a:gd name="connsiteX101" fmla="*/ 48816 w 1200744"/>
                  <a:gd name="connsiteY101" fmla="*/ 194020 h 1046508"/>
                  <a:gd name="connsiteX102" fmla="*/ 58977 w 1200744"/>
                  <a:gd name="connsiteY102" fmla="*/ 194020 h 1046508"/>
                  <a:gd name="connsiteX103" fmla="*/ 58806 w 1200744"/>
                  <a:gd name="connsiteY103"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1157493 w 1200744"/>
                  <a:gd name="connsiteY49" fmla="*/ 347675 h 1046508"/>
                  <a:gd name="connsiteX50" fmla="*/ 1200471 w 1200744"/>
                  <a:gd name="connsiteY50" fmla="*/ 381525 h 1046508"/>
                  <a:gd name="connsiteX51" fmla="*/ 1200470 w 1200744"/>
                  <a:gd name="connsiteY51" fmla="*/ 381526 h 1046508"/>
                  <a:gd name="connsiteX52" fmla="*/ 1166620 w 1200744"/>
                  <a:gd name="connsiteY52" fmla="*/ 424503 h 1046508"/>
                  <a:gd name="connsiteX53" fmla="*/ 883444 w 1200744"/>
                  <a:gd name="connsiteY53" fmla="*/ 458146 h 1046508"/>
                  <a:gd name="connsiteX54" fmla="*/ 883444 w 1200744"/>
                  <a:gd name="connsiteY54" fmla="*/ 506141 h 1046508"/>
                  <a:gd name="connsiteX55" fmla="*/ 792956 w 1200744"/>
                  <a:gd name="connsiteY55" fmla="*/ 516892 h 1046508"/>
                  <a:gd name="connsiteX56" fmla="*/ 792956 w 1200744"/>
                  <a:gd name="connsiteY56" fmla="*/ 468897 h 1046508"/>
                  <a:gd name="connsiteX57" fmla="*/ 688181 w 1200744"/>
                  <a:gd name="connsiteY57" fmla="*/ 481345 h 1046508"/>
                  <a:gd name="connsiteX58" fmla="*/ 688181 w 1200744"/>
                  <a:gd name="connsiteY58" fmla="*/ 529340 h 1046508"/>
                  <a:gd name="connsiteX59" fmla="*/ 418176 w 1200744"/>
                  <a:gd name="connsiteY59" fmla="*/ 561418 h 1046508"/>
                  <a:gd name="connsiteX60" fmla="*/ 392350 w 1200744"/>
                  <a:gd name="connsiteY60" fmla="*/ 575897 h 1046508"/>
                  <a:gd name="connsiteX61" fmla="*/ 384326 w 1200744"/>
                  <a:gd name="connsiteY61" fmla="*/ 604396 h 1046508"/>
                  <a:gd name="connsiteX62" fmla="*/ 398804 w 1200744"/>
                  <a:gd name="connsiteY62" fmla="*/ 630221 h 1046508"/>
                  <a:gd name="connsiteX63" fmla="*/ 427304 w 1200744"/>
                  <a:gd name="connsiteY63" fmla="*/ 638245 h 1046508"/>
                  <a:gd name="connsiteX64" fmla="*/ 1104900 w 1200744"/>
                  <a:gd name="connsiteY64" fmla="*/ 557742 h 1046508"/>
                  <a:gd name="connsiteX65" fmla="*/ 1104900 w 1200744"/>
                  <a:gd name="connsiteY65" fmla="*/ 558713 h 1046508"/>
                  <a:gd name="connsiteX66" fmla="*/ 1157491 w 1200744"/>
                  <a:gd name="connsiteY66" fmla="*/ 552464 h 1046508"/>
                  <a:gd name="connsiteX67" fmla="*/ 1200469 w 1200744"/>
                  <a:gd name="connsiteY67" fmla="*/ 586314 h 1046508"/>
                  <a:gd name="connsiteX68" fmla="*/ 1200468 w 1200744"/>
                  <a:gd name="connsiteY68" fmla="*/ 586314 h 1046508"/>
                  <a:gd name="connsiteX69" fmla="*/ 1166618 w 1200744"/>
                  <a:gd name="connsiteY69" fmla="*/ 629292 h 1046508"/>
                  <a:gd name="connsiteX70" fmla="*/ 1104900 w 1200744"/>
                  <a:gd name="connsiteY70" fmla="*/ 636624 h 1046508"/>
                  <a:gd name="connsiteX71" fmla="*/ 1104900 w 1200744"/>
                  <a:gd name="connsiteY71" fmla="*/ 817908 h 1046508"/>
                  <a:gd name="connsiteX72" fmla="*/ 971550 w 1200744"/>
                  <a:gd name="connsiteY72" fmla="*/ 946496 h 1046508"/>
                  <a:gd name="connsiteX73" fmla="*/ 752889 w 1200744"/>
                  <a:gd name="connsiteY73" fmla="*/ 946496 h 1046508"/>
                  <a:gd name="connsiteX74" fmla="*/ 749140 w 1200744"/>
                  <a:gd name="connsiteY74" fmla="*/ 965065 h 1046508"/>
                  <a:gd name="connsiteX75" fmla="*/ 626271 w 1200744"/>
                  <a:gd name="connsiteY75" fmla="*/ 1046508 h 1046508"/>
                  <a:gd name="connsiteX76" fmla="*/ 533770 w 1200744"/>
                  <a:gd name="connsiteY76" fmla="*/ 1046508 h 1046508"/>
                  <a:gd name="connsiteX77" fmla="*/ 410901 w 1200744"/>
                  <a:gd name="connsiteY77" fmla="*/ 965065 h 1046508"/>
                  <a:gd name="connsiteX78" fmla="*/ 407153 w 1200744"/>
                  <a:gd name="connsiteY78" fmla="*/ 946496 h 1046508"/>
                  <a:gd name="connsiteX79" fmla="*/ 190500 w 1200744"/>
                  <a:gd name="connsiteY79" fmla="*/ 946496 h 1046508"/>
                  <a:gd name="connsiteX80" fmla="*/ 59532 w 1200744"/>
                  <a:gd name="connsiteY80" fmla="*/ 825052 h 1046508"/>
                  <a:gd name="connsiteX81" fmla="*/ 59432 w 1200744"/>
                  <a:gd name="connsiteY81" fmla="*/ 710643 h 1046508"/>
                  <a:gd name="connsiteX82" fmla="*/ 48816 w 1200744"/>
                  <a:gd name="connsiteY82" fmla="*/ 710643 h 1046508"/>
                  <a:gd name="connsiteX83" fmla="*/ 14298 w 1200744"/>
                  <a:gd name="connsiteY83" fmla="*/ 696345 h 1046508"/>
                  <a:gd name="connsiteX84" fmla="*/ 0 w 1200744"/>
                  <a:gd name="connsiteY84" fmla="*/ 661828 h 1046508"/>
                  <a:gd name="connsiteX85" fmla="*/ 14298 w 1200744"/>
                  <a:gd name="connsiteY85" fmla="*/ 627310 h 1046508"/>
                  <a:gd name="connsiteX86" fmla="*/ 48816 w 1200744"/>
                  <a:gd name="connsiteY86" fmla="*/ 613012 h 1046508"/>
                  <a:gd name="connsiteX87" fmla="*/ 59346 w 1200744"/>
                  <a:gd name="connsiteY87" fmla="*/ 613012 h 1046508"/>
                  <a:gd name="connsiteX88" fmla="*/ 59247 w 1200744"/>
                  <a:gd name="connsiteY88" fmla="*/ 501147 h 1046508"/>
                  <a:gd name="connsiteX89" fmla="*/ 48816 w 1200744"/>
                  <a:gd name="connsiteY89" fmla="*/ 501147 h 1046508"/>
                  <a:gd name="connsiteX90" fmla="*/ 14298 w 1200744"/>
                  <a:gd name="connsiteY90" fmla="*/ 486849 h 1046508"/>
                  <a:gd name="connsiteX91" fmla="*/ 0 w 1200744"/>
                  <a:gd name="connsiteY91" fmla="*/ 452332 h 1046508"/>
                  <a:gd name="connsiteX92" fmla="*/ 14298 w 1200744"/>
                  <a:gd name="connsiteY92" fmla="*/ 417814 h 1046508"/>
                  <a:gd name="connsiteX93" fmla="*/ 48816 w 1200744"/>
                  <a:gd name="connsiteY93" fmla="*/ 403516 h 1046508"/>
                  <a:gd name="connsiteX94" fmla="*/ 59161 w 1200744"/>
                  <a:gd name="connsiteY94" fmla="*/ 403516 h 1046508"/>
                  <a:gd name="connsiteX95" fmla="*/ 59063 w 1200744"/>
                  <a:gd name="connsiteY95" fmla="*/ 291651 h 1046508"/>
                  <a:gd name="connsiteX96" fmla="*/ 48816 w 1200744"/>
                  <a:gd name="connsiteY96" fmla="*/ 291651 h 1046508"/>
                  <a:gd name="connsiteX97" fmla="*/ 14298 w 1200744"/>
                  <a:gd name="connsiteY97" fmla="*/ 277353 h 1046508"/>
                  <a:gd name="connsiteX98" fmla="*/ 0 w 1200744"/>
                  <a:gd name="connsiteY98" fmla="*/ 242836 h 1046508"/>
                  <a:gd name="connsiteX99" fmla="*/ 14298 w 1200744"/>
                  <a:gd name="connsiteY99" fmla="*/ 208318 h 1046508"/>
                  <a:gd name="connsiteX100" fmla="*/ 48816 w 1200744"/>
                  <a:gd name="connsiteY100" fmla="*/ 194020 h 1046508"/>
                  <a:gd name="connsiteX101" fmla="*/ 58977 w 1200744"/>
                  <a:gd name="connsiteY101" fmla="*/ 194020 h 1046508"/>
                  <a:gd name="connsiteX102" fmla="*/ 58806 w 1200744"/>
                  <a:gd name="connsiteY102"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1157493 w 1200744"/>
                  <a:gd name="connsiteY48" fmla="*/ 347675 h 1046508"/>
                  <a:gd name="connsiteX49" fmla="*/ 1200471 w 1200744"/>
                  <a:gd name="connsiteY49" fmla="*/ 381525 h 1046508"/>
                  <a:gd name="connsiteX50" fmla="*/ 1200470 w 1200744"/>
                  <a:gd name="connsiteY50" fmla="*/ 381526 h 1046508"/>
                  <a:gd name="connsiteX51" fmla="*/ 1166620 w 1200744"/>
                  <a:gd name="connsiteY51" fmla="*/ 424503 h 1046508"/>
                  <a:gd name="connsiteX52" fmla="*/ 883444 w 1200744"/>
                  <a:gd name="connsiteY52" fmla="*/ 458146 h 1046508"/>
                  <a:gd name="connsiteX53" fmla="*/ 883444 w 1200744"/>
                  <a:gd name="connsiteY53" fmla="*/ 506141 h 1046508"/>
                  <a:gd name="connsiteX54" fmla="*/ 792956 w 1200744"/>
                  <a:gd name="connsiteY54" fmla="*/ 516892 h 1046508"/>
                  <a:gd name="connsiteX55" fmla="*/ 792956 w 1200744"/>
                  <a:gd name="connsiteY55" fmla="*/ 468897 h 1046508"/>
                  <a:gd name="connsiteX56" fmla="*/ 688181 w 1200744"/>
                  <a:gd name="connsiteY56" fmla="*/ 481345 h 1046508"/>
                  <a:gd name="connsiteX57" fmla="*/ 688181 w 1200744"/>
                  <a:gd name="connsiteY57" fmla="*/ 529340 h 1046508"/>
                  <a:gd name="connsiteX58" fmla="*/ 418176 w 1200744"/>
                  <a:gd name="connsiteY58" fmla="*/ 561418 h 1046508"/>
                  <a:gd name="connsiteX59" fmla="*/ 392350 w 1200744"/>
                  <a:gd name="connsiteY59" fmla="*/ 575897 h 1046508"/>
                  <a:gd name="connsiteX60" fmla="*/ 384326 w 1200744"/>
                  <a:gd name="connsiteY60" fmla="*/ 604396 h 1046508"/>
                  <a:gd name="connsiteX61" fmla="*/ 398804 w 1200744"/>
                  <a:gd name="connsiteY61" fmla="*/ 630221 h 1046508"/>
                  <a:gd name="connsiteX62" fmla="*/ 427304 w 1200744"/>
                  <a:gd name="connsiteY62" fmla="*/ 638245 h 1046508"/>
                  <a:gd name="connsiteX63" fmla="*/ 1104900 w 1200744"/>
                  <a:gd name="connsiteY63" fmla="*/ 557742 h 1046508"/>
                  <a:gd name="connsiteX64" fmla="*/ 1104900 w 1200744"/>
                  <a:gd name="connsiteY64" fmla="*/ 558713 h 1046508"/>
                  <a:gd name="connsiteX65" fmla="*/ 1157491 w 1200744"/>
                  <a:gd name="connsiteY65" fmla="*/ 552464 h 1046508"/>
                  <a:gd name="connsiteX66" fmla="*/ 1200469 w 1200744"/>
                  <a:gd name="connsiteY66" fmla="*/ 586314 h 1046508"/>
                  <a:gd name="connsiteX67" fmla="*/ 1200468 w 1200744"/>
                  <a:gd name="connsiteY67" fmla="*/ 586314 h 1046508"/>
                  <a:gd name="connsiteX68" fmla="*/ 1166618 w 1200744"/>
                  <a:gd name="connsiteY68" fmla="*/ 629292 h 1046508"/>
                  <a:gd name="connsiteX69" fmla="*/ 1104900 w 1200744"/>
                  <a:gd name="connsiteY69" fmla="*/ 636624 h 1046508"/>
                  <a:gd name="connsiteX70" fmla="*/ 1104900 w 1200744"/>
                  <a:gd name="connsiteY70" fmla="*/ 817908 h 1046508"/>
                  <a:gd name="connsiteX71" fmla="*/ 971550 w 1200744"/>
                  <a:gd name="connsiteY71" fmla="*/ 946496 h 1046508"/>
                  <a:gd name="connsiteX72" fmla="*/ 752889 w 1200744"/>
                  <a:gd name="connsiteY72" fmla="*/ 946496 h 1046508"/>
                  <a:gd name="connsiteX73" fmla="*/ 749140 w 1200744"/>
                  <a:gd name="connsiteY73" fmla="*/ 965065 h 1046508"/>
                  <a:gd name="connsiteX74" fmla="*/ 626271 w 1200744"/>
                  <a:gd name="connsiteY74" fmla="*/ 1046508 h 1046508"/>
                  <a:gd name="connsiteX75" fmla="*/ 533770 w 1200744"/>
                  <a:gd name="connsiteY75" fmla="*/ 1046508 h 1046508"/>
                  <a:gd name="connsiteX76" fmla="*/ 410901 w 1200744"/>
                  <a:gd name="connsiteY76" fmla="*/ 965065 h 1046508"/>
                  <a:gd name="connsiteX77" fmla="*/ 407153 w 1200744"/>
                  <a:gd name="connsiteY77" fmla="*/ 946496 h 1046508"/>
                  <a:gd name="connsiteX78" fmla="*/ 190500 w 1200744"/>
                  <a:gd name="connsiteY78" fmla="*/ 946496 h 1046508"/>
                  <a:gd name="connsiteX79" fmla="*/ 59532 w 1200744"/>
                  <a:gd name="connsiteY79" fmla="*/ 825052 h 1046508"/>
                  <a:gd name="connsiteX80" fmla="*/ 59432 w 1200744"/>
                  <a:gd name="connsiteY80" fmla="*/ 710643 h 1046508"/>
                  <a:gd name="connsiteX81" fmla="*/ 48816 w 1200744"/>
                  <a:gd name="connsiteY81" fmla="*/ 710643 h 1046508"/>
                  <a:gd name="connsiteX82" fmla="*/ 14298 w 1200744"/>
                  <a:gd name="connsiteY82" fmla="*/ 696345 h 1046508"/>
                  <a:gd name="connsiteX83" fmla="*/ 0 w 1200744"/>
                  <a:gd name="connsiteY83" fmla="*/ 661828 h 1046508"/>
                  <a:gd name="connsiteX84" fmla="*/ 14298 w 1200744"/>
                  <a:gd name="connsiteY84" fmla="*/ 627310 h 1046508"/>
                  <a:gd name="connsiteX85" fmla="*/ 48816 w 1200744"/>
                  <a:gd name="connsiteY85" fmla="*/ 613012 h 1046508"/>
                  <a:gd name="connsiteX86" fmla="*/ 59346 w 1200744"/>
                  <a:gd name="connsiteY86" fmla="*/ 613012 h 1046508"/>
                  <a:gd name="connsiteX87" fmla="*/ 59247 w 1200744"/>
                  <a:gd name="connsiteY87" fmla="*/ 501147 h 1046508"/>
                  <a:gd name="connsiteX88" fmla="*/ 48816 w 1200744"/>
                  <a:gd name="connsiteY88" fmla="*/ 501147 h 1046508"/>
                  <a:gd name="connsiteX89" fmla="*/ 14298 w 1200744"/>
                  <a:gd name="connsiteY89" fmla="*/ 486849 h 1046508"/>
                  <a:gd name="connsiteX90" fmla="*/ 0 w 1200744"/>
                  <a:gd name="connsiteY90" fmla="*/ 452332 h 1046508"/>
                  <a:gd name="connsiteX91" fmla="*/ 14298 w 1200744"/>
                  <a:gd name="connsiteY91" fmla="*/ 417814 h 1046508"/>
                  <a:gd name="connsiteX92" fmla="*/ 48816 w 1200744"/>
                  <a:gd name="connsiteY92" fmla="*/ 403516 h 1046508"/>
                  <a:gd name="connsiteX93" fmla="*/ 59161 w 1200744"/>
                  <a:gd name="connsiteY93" fmla="*/ 403516 h 1046508"/>
                  <a:gd name="connsiteX94" fmla="*/ 59063 w 1200744"/>
                  <a:gd name="connsiteY94" fmla="*/ 291651 h 1046508"/>
                  <a:gd name="connsiteX95" fmla="*/ 48816 w 1200744"/>
                  <a:gd name="connsiteY95" fmla="*/ 291651 h 1046508"/>
                  <a:gd name="connsiteX96" fmla="*/ 14298 w 1200744"/>
                  <a:gd name="connsiteY96" fmla="*/ 277353 h 1046508"/>
                  <a:gd name="connsiteX97" fmla="*/ 0 w 1200744"/>
                  <a:gd name="connsiteY97" fmla="*/ 242836 h 1046508"/>
                  <a:gd name="connsiteX98" fmla="*/ 14298 w 1200744"/>
                  <a:gd name="connsiteY98" fmla="*/ 208318 h 1046508"/>
                  <a:gd name="connsiteX99" fmla="*/ 48816 w 1200744"/>
                  <a:gd name="connsiteY99" fmla="*/ 194020 h 1046508"/>
                  <a:gd name="connsiteX100" fmla="*/ 58977 w 1200744"/>
                  <a:gd name="connsiteY100" fmla="*/ 194020 h 1046508"/>
                  <a:gd name="connsiteX101" fmla="*/ 58806 w 1200744"/>
                  <a:gd name="connsiteY101"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1157493 w 1200744"/>
                  <a:gd name="connsiteY47" fmla="*/ 347675 h 1046508"/>
                  <a:gd name="connsiteX48" fmla="*/ 1200471 w 1200744"/>
                  <a:gd name="connsiteY48" fmla="*/ 381525 h 1046508"/>
                  <a:gd name="connsiteX49" fmla="*/ 1200470 w 1200744"/>
                  <a:gd name="connsiteY49" fmla="*/ 381526 h 1046508"/>
                  <a:gd name="connsiteX50" fmla="*/ 1166620 w 1200744"/>
                  <a:gd name="connsiteY50" fmla="*/ 424503 h 1046508"/>
                  <a:gd name="connsiteX51" fmla="*/ 883444 w 1200744"/>
                  <a:gd name="connsiteY51" fmla="*/ 458146 h 1046508"/>
                  <a:gd name="connsiteX52" fmla="*/ 883444 w 1200744"/>
                  <a:gd name="connsiteY52" fmla="*/ 506141 h 1046508"/>
                  <a:gd name="connsiteX53" fmla="*/ 792956 w 1200744"/>
                  <a:gd name="connsiteY53" fmla="*/ 516892 h 1046508"/>
                  <a:gd name="connsiteX54" fmla="*/ 792956 w 1200744"/>
                  <a:gd name="connsiteY54" fmla="*/ 468897 h 1046508"/>
                  <a:gd name="connsiteX55" fmla="*/ 688181 w 1200744"/>
                  <a:gd name="connsiteY55" fmla="*/ 481345 h 1046508"/>
                  <a:gd name="connsiteX56" fmla="*/ 688181 w 1200744"/>
                  <a:gd name="connsiteY56" fmla="*/ 529340 h 1046508"/>
                  <a:gd name="connsiteX57" fmla="*/ 418176 w 1200744"/>
                  <a:gd name="connsiteY57" fmla="*/ 561418 h 1046508"/>
                  <a:gd name="connsiteX58" fmla="*/ 392350 w 1200744"/>
                  <a:gd name="connsiteY58" fmla="*/ 575897 h 1046508"/>
                  <a:gd name="connsiteX59" fmla="*/ 384326 w 1200744"/>
                  <a:gd name="connsiteY59" fmla="*/ 604396 h 1046508"/>
                  <a:gd name="connsiteX60" fmla="*/ 398804 w 1200744"/>
                  <a:gd name="connsiteY60" fmla="*/ 630221 h 1046508"/>
                  <a:gd name="connsiteX61" fmla="*/ 427304 w 1200744"/>
                  <a:gd name="connsiteY61" fmla="*/ 638245 h 1046508"/>
                  <a:gd name="connsiteX62" fmla="*/ 1104900 w 1200744"/>
                  <a:gd name="connsiteY62" fmla="*/ 557742 h 1046508"/>
                  <a:gd name="connsiteX63" fmla="*/ 1104900 w 1200744"/>
                  <a:gd name="connsiteY63" fmla="*/ 558713 h 1046508"/>
                  <a:gd name="connsiteX64" fmla="*/ 1157491 w 1200744"/>
                  <a:gd name="connsiteY64" fmla="*/ 552464 h 1046508"/>
                  <a:gd name="connsiteX65" fmla="*/ 1200469 w 1200744"/>
                  <a:gd name="connsiteY65" fmla="*/ 586314 h 1046508"/>
                  <a:gd name="connsiteX66" fmla="*/ 1200468 w 1200744"/>
                  <a:gd name="connsiteY66" fmla="*/ 586314 h 1046508"/>
                  <a:gd name="connsiteX67" fmla="*/ 1166618 w 1200744"/>
                  <a:gd name="connsiteY67" fmla="*/ 629292 h 1046508"/>
                  <a:gd name="connsiteX68" fmla="*/ 1104900 w 1200744"/>
                  <a:gd name="connsiteY68" fmla="*/ 636624 h 1046508"/>
                  <a:gd name="connsiteX69" fmla="*/ 1104900 w 1200744"/>
                  <a:gd name="connsiteY69" fmla="*/ 817908 h 1046508"/>
                  <a:gd name="connsiteX70" fmla="*/ 971550 w 1200744"/>
                  <a:gd name="connsiteY70" fmla="*/ 946496 h 1046508"/>
                  <a:gd name="connsiteX71" fmla="*/ 752889 w 1200744"/>
                  <a:gd name="connsiteY71" fmla="*/ 946496 h 1046508"/>
                  <a:gd name="connsiteX72" fmla="*/ 749140 w 1200744"/>
                  <a:gd name="connsiteY72" fmla="*/ 965065 h 1046508"/>
                  <a:gd name="connsiteX73" fmla="*/ 626271 w 1200744"/>
                  <a:gd name="connsiteY73" fmla="*/ 1046508 h 1046508"/>
                  <a:gd name="connsiteX74" fmla="*/ 533770 w 1200744"/>
                  <a:gd name="connsiteY74" fmla="*/ 1046508 h 1046508"/>
                  <a:gd name="connsiteX75" fmla="*/ 410901 w 1200744"/>
                  <a:gd name="connsiteY75" fmla="*/ 965065 h 1046508"/>
                  <a:gd name="connsiteX76" fmla="*/ 407153 w 1200744"/>
                  <a:gd name="connsiteY76" fmla="*/ 946496 h 1046508"/>
                  <a:gd name="connsiteX77" fmla="*/ 190500 w 1200744"/>
                  <a:gd name="connsiteY77" fmla="*/ 946496 h 1046508"/>
                  <a:gd name="connsiteX78" fmla="*/ 59532 w 1200744"/>
                  <a:gd name="connsiteY78" fmla="*/ 825052 h 1046508"/>
                  <a:gd name="connsiteX79" fmla="*/ 59432 w 1200744"/>
                  <a:gd name="connsiteY79" fmla="*/ 710643 h 1046508"/>
                  <a:gd name="connsiteX80" fmla="*/ 48816 w 1200744"/>
                  <a:gd name="connsiteY80" fmla="*/ 710643 h 1046508"/>
                  <a:gd name="connsiteX81" fmla="*/ 14298 w 1200744"/>
                  <a:gd name="connsiteY81" fmla="*/ 696345 h 1046508"/>
                  <a:gd name="connsiteX82" fmla="*/ 0 w 1200744"/>
                  <a:gd name="connsiteY82" fmla="*/ 661828 h 1046508"/>
                  <a:gd name="connsiteX83" fmla="*/ 14298 w 1200744"/>
                  <a:gd name="connsiteY83" fmla="*/ 627310 h 1046508"/>
                  <a:gd name="connsiteX84" fmla="*/ 48816 w 1200744"/>
                  <a:gd name="connsiteY84" fmla="*/ 613012 h 1046508"/>
                  <a:gd name="connsiteX85" fmla="*/ 59346 w 1200744"/>
                  <a:gd name="connsiteY85" fmla="*/ 613012 h 1046508"/>
                  <a:gd name="connsiteX86" fmla="*/ 59247 w 1200744"/>
                  <a:gd name="connsiteY86" fmla="*/ 501147 h 1046508"/>
                  <a:gd name="connsiteX87" fmla="*/ 48816 w 1200744"/>
                  <a:gd name="connsiteY87" fmla="*/ 501147 h 1046508"/>
                  <a:gd name="connsiteX88" fmla="*/ 14298 w 1200744"/>
                  <a:gd name="connsiteY88" fmla="*/ 486849 h 1046508"/>
                  <a:gd name="connsiteX89" fmla="*/ 0 w 1200744"/>
                  <a:gd name="connsiteY89" fmla="*/ 452332 h 1046508"/>
                  <a:gd name="connsiteX90" fmla="*/ 14298 w 1200744"/>
                  <a:gd name="connsiteY90" fmla="*/ 417814 h 1046508"/>
                  <a:gd name="connsiteX91" fmla="*/ 48816 w 1200744"/>
                  <a:gd name="connsiteY91" fmla="*/ 403516 h 1046508"/>
                  <a:gd name="connsiteX92" fmla="*/ 59161 w 1200744"/>
                  <a:gd name="connsiteY92" fmla="*/ 403516 h 1046508"/>
                  <a:gd name="connsiteX93" fmla="*/ 59063 w 1200744"/>
                  <a:gd name="connsiteY93" fmla="*/ 291651 h 1046508"/>
                  <a:gd name="connsiteX94" fmla="*/ 48816 w 1200744"/>
                  <a:gd name="connsiteY94" fmla="*/ 291651 h 1046508"/>
                  <a:gd name="connsiteX95" fmla="*/ 14298 w 1200744"/>
                  <a:gd name="connsiteY95" fmla="*/ 277353 h 1046508"/>
                  <a:gd name="connsiteX96" fmla="*/ 0 w 1200744"/>
                  <a:gd name="connsiteY96" fmla="*/ 242836 h 1046508"/>
                  <a:gd name="connsiteX97" fmla="*/ 14298 w 1200744"/>
                  <a:gd name="connsiteY97" fmla="*/ 208318 h 1046508"/>
                  <a:gd name="connsiteX98" fmla="*/ 48816 w 1200744"/>
                  <a:gd name="connsiteY98" fmla="*/ 194020 h 1046508"/>
                  <a:gd name="connsiteX99" fmla="*/ 58977 w 1200744"/>
                  <a:gd name="connsiteY99" fmla="*/ 194020 h 1046508"/>
                  <a:gd name="connsiteX100" fmla="*/ 58806 w 1200744"/>
                  <a:gd name="connsiteY100"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1157493 w 1200744"/>
                  <a:gd name="connsiteY46" fmla="*/ 347675 h 1046508"/>
                  <a:gd name="connsiteX47" fmla="*/ 1200471 w 1200744"/>
                  <a:gd name="connsiteY47" fmla="*/ 381525 h 1046508"/>
                  <a:gd name="connsiteX48" fmla="*/ 1200470 w 1200744"/>
                  <a:gd name="connsiteY48" fmla="*/ 381526 h 1046508"/>
                  <a:gd name="connsiteX49" fmla="*/ 1166620 w 1200744"/>
                  <a:gd name="connsiteY49" fmla="*/ 424503 h 1046508"/>
                  <a:gd name="connsiteX50" fmla="*/ 883444 w 1200744"/>
                  <a:gd name="connsiteY50" fmla="*/ 458146 h 1046508"/>
                  <a:gd name="connsiteX51" fmla="*/ 883444 w 1200744"/>
                  <a:gd name="connsiteY51" fmla="*/ 506141 h 1046508"/>
                  <a:gd name="connsiteX52" fmla="*/ 792956 w 1200744"/>
                  <a:gd name="connsiteY52" fmla="*/ 516892 h 1046508"/>
                  <a:gd name="connsiteX53" fmla="*/ 792956 w 1200744"/>
                  <a:gd name="connsiteY53" fmla="*/ 468897 h 1046508"/>
                  <a:gd name="connsiteX54" fmla="*/ 688181 w 1200744"/>
                  <a:gd name="connsiteY54" fmla="*/ 481345 h 1046508"/>
                  <a:gd name="connsiteX55" fmla="*/ 688181 w 1200744"/>
                  <a:gd name="connsiteY55" fmla="*/ 529340 h 1046508"/>
                  <a:gd name="connsiteX56" fmla="*/ 418176 w 1200744"/>
                  <a:gd name="connsiteY56" fmla="*/ 561418 h 1046508"/>
                  <a:gd name="connsiteX57" fmla="*/ 392350 w 1200744"/>
                  <a:gd name="connsiteY57" fmla="*/ 575897 h 1046508"/>
                  <a:gd name="connsiteX58" fmla="*/ 384326 w 1200744"/>
                  <a:gd name="connsiteY58" fmla="*/ 604396 h 1046508"/>
                  <a:gd name="connsiteX59" fmla="*/ 398804 w 1200744"/>
                  <a:gd name="connsiteY59" fmla="*/ 630221 h 1046508"/>
                  <a:gd name="connsiteX60" fmla="*/ 427304 w 1200744"/>
                  <a:gd name="connsiteY60" fmla="*/ 638245 h 1046508"/>
                  <a:gd name="connsiteX61" fmla="*/ 1104900 w 1200744"/>
                  <a:gd name="connsiteY61" fmla="*/ 557742 h 1046508"/>
                  <a:gd name="connsiteX62" fmla="*/ 1104900 w 1200744"/>
                  <a:gd name="connsiteY62" fmla="*/ 558713 h 1046508"/>
                  <a:gd name="connsiteX63" fmla="*/ 1157491 w 1200744"/>
                  <a:gd name="connsiteY63" fmla="*/ 552464 h 1046508"/>
                  <a:gd name="connsiteX64" fmla="*/ 1200469 w 1200744"/>
                  <a:gd name="connsiteY64" fmla="*/ 586314 h 1046508"/>
                  <a:gd name="connsiteX65" fmla="*/ 1200468 w 1200744"/>
                  <a:gd name="connsiteY65" fmla="*/ 586314 h 1046508"/>
                  <a:gd name="connsiteX66" fmla="*/ 1166618 w 1200744"/>
                  <a:gd name="connsiteY66" fmla="*/ 629292 h 1046508"/>
                  <a:gd name="connsiteX67" fmla="*/ 1104900 w 1200744"/>
                  <a:gd name="connsiteY67" fmla="*/ 636624 h 1046508"/>
                  <a:gd name="connsiteX68" fmla="*/ 1104900 w 1200744"/>
                  <a:gd name="connsiteY68" fmla="*/ 817908 h 1046508"/>
                  <a:gd name="connsiteX69" fmla="*/ 971550 w 1200744"/>
                  <a:gd name="connsiteY69" fmla="*/ 946496 h 1046508"/>
                  <a:gd name="connsiteX70" fmla="*/ 752889 w 1200744"/>
                  <a:gd name="connsiteY70" fmla="*/ 946496 h 1046508"/>
                  <a:gd name="connsiteX71" fmla="*/ 749140 w 1200744"/>
                  <a:gd name="connsiteY71" fmla="*/ 965065 h 1046508"/>
                  <a:gd name="connsiteX72" fmla="*/ 626271 w 1200744"/>
                  <a:gd name="connsiteY72" fmla="*/ 1046508 h 1046508"/>
                  <a:gd name="connsiteX73" fmla="*/ 533770 w 1200744"/>
                  <a:gd name="connsiteY73" fmla="*/ 1046508 h 1046508"/>
                  <a:gd name="connsiteX74" fmla="*/ 410901 w 1200744"/>
                  <a:gd name="connsiteY74" fmla="*/ 965065 h 1046508"/>
                  <a:gd name="connsiteX75" fmla="*/ 407153 w 1200744"/>
                  <a:gd name="connsiteY75" fmla="*/ 946496 h 1046508"/>
                  <a:gd name="connsiteX76" fmla="*/ 190500 w 1200744"/>
                  <a:gd name="connsiteY76" fmla="*/ 946496 h 1046508"/>
                  <a:gd name="connsiteX77" fmla="*/ 59532 w 1200744"/>
                  <a:gd name="connsiteY77" fmla="*/ 825052 h 1046508"/>
                  <a:gd name="connsiteX78" fmla="*/ 59432 w 1200744"/>
                  <a:gd name="connsiteY78" fmla="*/ 710643 h 1046508"/>
                  <a:gd name="connsiteX79" fmla="*/ 48816 w 1200744"/>
                  <a:gd name="connsiteY79" fmla="*/ 710643 h 1046508"/>
                  <a:gd name="connsiteX80" fmla="*/ 14298 w 1200744"/>
                  <a:gd name="connsiteY80" fmla="*/ 696345 h 1046508"/>
                  <a:gd name="connsiteX81" fmla="*/ 0 w 1200744"/>
                  <a:gd name="connsiteY81" fmla="*/ 661828 h 1046508"/>
                  <a:gd name="connsiteX82" fmla="*/ 14298 w 1200744"/>
                  <a:gd name="connsiteY82" fmla="*/ 627310 h 1046508"/>
                  <a:gd name="connsiteX83" fmla="*/ 48816 w 1200744"/>
                  <a:gd name="connsiteY83" fmla="*/ 613012 h 1046508"/>
                  <a:gd name="connsiteX84" fmla="*/ 59346 w 1200744"/>
                  <a:gd name="connsiteY84" fmla="*/ 613012 h 1046508"/>
                  <a:gd name="connsiteX85" fmla="*/ 59247 w 1200744"/>
                  <a:gd name="connsiteY85" fmla="*/ 501147 h 1046508"/>
                  <a:gd name="connsiteX86" fmla="*/ 48816 w 1200744"/>
                  <a:gd name="connsiteY86" fmla="*/ 501147 h 1046508"/>
                  <a:gd name="connsiteX87" fmla="*/ 14298 w 1200744"/>
                  <a:gd name="connsiteY87" fmla="*/ 486849 h 1046508"/>
                  <a:gd name="connsiteX88" fmla="*/ 0 w 1200744"/>
                  <a:gd name="connsiteY88" fmla="*/ 452332 h 1046508"/>
                  <a:gd name="connsiteX89" fmla="*/ 14298 w 1200744"/>
                  <a:gd name="connsiteY89" fmla="*/ 417814 h 1046508"/>
                  <a:gd name="connsiteX90" fmla="*/ 48816 w 1200744"/>
                  <a:gd name="connsiteY90" fmla="*/ 403516 h 1046508"/>
                  <a:gd name="connsiteX91" fmla="*/ 59161 w 1200744"/>
                  <a:gd name="connsiteY91" fmla="*/ 403516 h 1046508"/>
                  <a:gd name="connsiteX92" fmla="*/ 59063 w 1200744"/>
                  <a:gd name="connsiteY92" fmla="*/ 291651 h 1046508"/>
                  <a:gd name="connsiteX93" fmla="*/ 48816 w 1200744"/>
                  <a:gd name="connsiteY93" fmla="*/ 291651 h 1046508"/>
                  <a:gd name="connsiteX94" fmla="*/ 14298 w 1200744"/>
                  <a:gd name="connsiteY94" fmla="*/ 277353 h 1046508"/>
                  <a:gd name="connsiteX95" fmla="*/ 0 w 1200744"/>
                  <a:gd name="connsiteY95" fmla="*/ 242836 h 1046508"/>
                  <a:gd name="connsiteX96" fmla="*/ 14298 w 1200744"/>
                  <a:gd name="connsiteY96" fmla="*/ 208318 h 1046508"/>
                  <a:gd name="connsiteX97" fmla="*/ 48816 w 1200744"/>
                  <a:gd name="connsiteY97" fmla="*/ 194020 h 1046508"/>
                  <a:gd name="connsiteX98" fmla="*/ 58977 w 1200744"/>
                  <a:gd name="connsiteY98" fmla="*/ 194020 h 1046508"/>
                  <a:gd name="connsiteX99" fmla="*/ 58806 w 1200744"/>
                  <a:gd name="connsiteY99"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83444 w 1200744"/>
                  <a:gd name="connsiteY34" fmla="*/ 235459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1157493 w 1200744"/>
                  <a:gd name="connsiteY45" fmla="*/ 347675 h 1046508"/>
                  <a:gd name="connsiteX46" fmla="*/ 1200471 w 1200744"/>
                  <a:gd name="connsiteY46" fmla="*/ 381525 h 1046508"/>
                  <a:gd name="connsiteX47" fmla="*/ 1200470 w 1200744"/>
                  <a:gd name="connsiteY47" fmla="*/ 381526 h 1046508"/>
                  <a:gd name="connsiteX48" fmla="*/ 1166620 w 1200744"/>
                  <a:gd name="connsiteY48" fmla="*/ 424503 h 1046508"/>
                  <a:gd name="connsiteX49" fmla="*/ 883444 w 1200744"/>
                  <a:gd name="connsiteY49" fmla="*/ 458146 h 1046508"/>
                  <a:gd name="connsiteX50" fmla="*/ 883444 w 1200744"/>
                  <a:gd name="connsiteY50" fmla="*/ 506141 h 1046508"/>
                  <a:gd name="connsiteX51" fmla="*/ 792956 w 1200744"/>
                  <a:gd name="connsiteY51" fmla="*/ 516892 h 1046508"/>
                  <a:gd name="connsiteX52" fmla="*/ 792956 w 1200744"/>
                  <a:gd name="connsiteY52" fmla="*/ 468897 h 1046508"/>
                  <a:gd name="connsiteX53" fmla="*/ 688181 w 1200744"/>
                  <a:gd name="connsiteY53" fmla="*/ 481345 h 1046508"/>
                  <a:gd name="connsiteX54" fmla="*/ 688181 w 1200744"/>
                  <a:gd name="connsiteY54" fmla="*/ 529340 h 1046508"/>
                  <a:gd name="connsiteX55" fmla="*/ 418176 w 1200744"/>
                  <a:gd name="connsiteY55" fmla="*/ 561418 h 1046508"/>
                  <a:gd name="connsiteX56" fmla="*/ 392350 w 1200744"/>
                  <a:gd name="connsiteY56" fmla="*/ 575897 h 1046508"/>
                  <a:gd name="connsiteX57" fmla="*/ 384326 w 1200744"/>
                  <a:gd name="connsiteY57" fmla="*/ 604396 h 1046508"/>
                  <a:gd name="connsiteX58" fmla="*/ 398804 w 1200744"/>
                  <a:gd name="connsiteY58" fmla="*/ 630221 h 1046508"/>
                  <a:gd name="connsiteX59" fmla="*/ 427304 w 1200744"/>
                  <a:gd name="connsiteY59" fmla="*/ 638245 h 1046508"/>
                  <a:gd name="connsiteX60" fmla="*/ 1104900 w 1200744"/>
                  <a:gd name="connsiteY60" fmla="*/ 557742 h 1046508"/>
                  <a:gd name="connsiteX61" fmla="*/ 1104900 w 1200744"/>
                  <a:gd name="connsiteY61" fmla="*/ 558713 h 1046508"/>
                  <a:gd name="connsiteX62" fmla="*/ 1157491 w 1200744"/>
                  <a:gd name="connsiteY62" fmla="*/ 552464 h 1046508"/>
                  <a:gd name="connsiteX63" fmla="*/ 1200469 w 1200744"/>
                  <a:gd name="connsiteY63" fmla="*/ 586314 h 1046508"/>
                  <a:gd name="connsiteX64" fmla="*/ 1200468 w 1200744"/>
                  <a:gd name="connsiteY64" fmla="*/ 586314 h 1046508"/>
                  <a:gd name="connsiteX65" fmla="*/ 1166618 w 1200744"/>
                  <a:gd name="connsiteY65" fmla="*/ 629292 h 1046508"/>
                  <a:gd name="connsiteX66" fmla="*/ 1104900 w 1200744"/>
                  <a:gd name="connsiteY66" fmla="*/ 636624 h 1046508"/>
                  <a:gd name="connsiteX67" fmla="*/ 1104900 w 1200744"/>
                  <a:gd name="connsiteY67" fmla="*/ 817908 h 1046508"/>
                  <a:gd name="connsiteX68" fmla="*/ 971550 w 1200744"/>
                  <a:gd name="connsiteY68" fmla="*/ 946496 h 1046508"/>
                  <a:gd name="connsiteX69" fmla="*/ 752889 w 1200744"/>
                  <a:gd name="connsiteY69" fmla="*/ 946496 h 1046508"/>
                  <a:gd name="connsiteX70" fmla="*/ 749140 w 1200744"/>
                  <a:gd name="connsiteY70" fmla="*/ 965065 h 1046508"/>
                  <a:gd name="connsiteX71" fmla="*/ 626271 w 1200744"/>
                  <a:gd name="connsiteY71" fmla="*/ 1046508 h 1046508"/>
                  <a:gd name="connsiteX72" fmla="*/ 533770 w 1200744"/>
                  <a:gd name="connsiteY72" fmla="*/ 1046508 h 1046508"/>
                  <a:gd name="connsiteX73" fmla="*/ 410901 w 1200744"/>
                  <a:gd name="connsiteY73" fmla="*/ 965065 h 1046508"/>
                  <a:gd name="connsiteX74" fmla="*/ 407153 w 1200744"/>
                  <a:gd name="connsiteY74" fmla="*/ 946496 h 1046508"/>
                  <a:gd name="connsiteX75" fmla="*/ 190500 w 1200744"/>
                  <a:gd name="connsiteY75" fmla="*/ 946496 h 1046508"/>
                  <a:gd name="connsiteX76" fmla="*/ 59532 w 1200744"/>
                  <a:gd name="connsiteY76" fmla="*/ 825052 h 1046508"/>
                  <a:gd name="connsiteX77" fmla="*/ 59432 w 1200744"/>
                  <a:gd name="connsiteY77" fmla="*/ 710643 h 1046508"/>
                  <a:gd name="connsiteX78" fmla="*/ 48816 w 1200744"/>
                  <a:gd name="connsiteY78" fmla="*/ 710643 h 1046508"/>
                  <a:gd name="connsiteX79" fmla="*/ 14298 w 1200744"/>
                  <a:gd name="connsiteY79" fmla="*/ 696345 h 1046508"/>
                  <a:gd name="connsiteX80" fmla="*/ 0 w 1200744"/>
                  <a:gd name="connsiteY80" fmla="*/ 661828 h 1046508"/>
                  <a:gd name="connsiteX81" fmla="*/ 14298 w 1200744"/>
                  <a:gd name="connsiteY81" fmla="*/ 627310 h 1046508"/>
                  <a:gd name="connsiteX82" fmla="*/ 48816 w 1200744"/>
                  <a:gd name="connsiteY82" fmla="*/ 613012 h 1046508"/>
                  <a:gd name="connsiteX83" fmla="*/ 59346 w 1200744"/>
                  <a:gd name="connsiteY83" fmla="*/ 613012 h 1046508"/>
                  <a:gd name="connsiteX84" fmla="*/ 59247 w 1200744"/>
                  <a:gd name="connsiteY84" fmla="*/ 501147 h 1046508"/>
                  <a:gd name="connsiteX85" fmla="*/ 48816 w 1200744"/>
                  <a:gd name="connsiteY85" fmla="*/ 501147 h 1046508"/>
                  <a:gd name="connsiteX86" fmla="*/ 14298 w 1200744"/>
                  <a:gd name="connsiteY86" fmla="*/ 486849 h 1046508"/>
                  <a:gd name="connsiteX87" fmla="*/ 0 w 1200744"/>
                  <a:gd name="connsiteY87" fmla="*/ 452332 h 1046508"/>
                  <a:gd name="connsiteX88" fmla="*/ 14298 w 1200744"/>
                  <a:gd name="connsiteY88" fmla="*/ 417814 h 1046508"/>
                  <a:gd name="connsiteX89" fmla="*/ 48816 w 1200744"/>
                  <a:gd name="connsiteY89" fmla="*/ 403516 h 1046508"/>
                  <a:gd name="connsiteX90" fmla="*/ 59161 w 1200744"/>
                  <a:gd name="connsiteY90" fmla="*/ 403516 h 1046508"/>
                  <a:gd name="connsiteX91" fmla="*/ 59063 w 1200744"/>
                  <a:gd name="connsiteY91" fmla="*/ 291651 h 1046508"/>
                  <a:gd name="connsiteX92" fmla="*/ 48816 w 1200744"/>
                  <a:gd name="connsiteY92" fmla="*/ 291651 h 1046508"/>
                  <a:gd name="connsiteX93" fmla="*/ 14298 w 1200744"/>
                  <a:gd name="connsiteY93" fmla="*/ 277353 h 1046508"/>
                  <a:gd name="connsiteX94" fmla="*/ 0 w 1200744"/>
                  <a:gd name="connsiteY94" fmla="*/ 242836 h 1046508"/>
                  <a:gd name="connsiteX95" fmla="*/ 14298 w 1200744"/>
                  <a:gd name="connsiteY95" fmla="*/ 208318 h 1046508"/>
                  <a:gd name="connsiteX96" fmla="*/ 48816 w 1200744"/>
                  <a:gd name="connsiteY96" fmla="*/ 194020 h 1046508"/>
                  <a:gd name="connsiteX97" fmla="*/ 58977 w 1200744"/>
                  <a:gd name="connsiteY97" fmla="*/ 194020 h 1046508"/>
                  <a:gd name="connsiteX98" fmla="*/ 58806 w 1200744"/>
                  <a:gd name="connsiteY98"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78682 w 1200744"/>
                  <a:gd name="connsiteY34" fmla="*/ 240221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1157493 w 1200744"/>
                  <a:gd name="connsiteY45" fmla="*/ 347675 h 1046508"/>
                  <a:gd name="connsiteX46" fmla="*/ 1200471 w 1200744"/>
                  <a:gd name="connsiteY46" fmla="*/ 381525 h 1046508"/>
                  <a:gd name="connsiteX47" fmla="*/ 1200470 w 1200744"/>
                  <a:gd name="connsiteY47" fmla="*/ 381526 h 1046508"/>
                  <a:gd name="connsiteX48" fmla="*/ 1166620 w 1200744"/>
                  <a:gd name="connsiteY48" fmla="*/ 424503 h 1046508"/>
                  <a:gd name="connsiteX49" fmla="*/ 883444 w 1200744"/>
                  <a:gd name="connsiteY49" fmla="*/ 458146 h 1046508"/>
                  <a:gd name="connsiteX50" fmla="*/ 883444 w 1200744"/>
                  <a:gd name="connsiteY50" fmla="*/ 506141 h 1046508"/>
                  <a:gd name="connsiteX51" fmla="*/ 792956 w 1200744"/>
                  <a:gd name="connsiteY51" fmla="*/ 516892 h 1046508"/>
                  <a:gd name="connsiteX52" fmla="*/ 792956 w 1200744"/>
                  <a:gd name="connsiteY52" fmla="*/ 468897 h 1046508"/>
                  <a:gd name="connsiteX53" fmla="*/ 688181 w 1200744"/>
                  <a:gd name="connsiteY53" fmla="*/ 481345 h 1046508"/>
                  <a:gd name="connsiteX54" fmla="*/ 688181 w 1200744"/>
                  <a:gd name="connsiteY54" fmla="*/ 529340 h 1046508"/>
                  <a:gd name="connsiteX55" fmla="*/ 418176 w 1200744"/>
                  <a:gd name="connsiteY55" fmla="*/ 561418 h 1046508"/>
                  <a:gd name="connsiteX56" fmla="*/ 392350 w 1200744"/>
                  <a:gd name="connsiteY56" fmla="*/ 575897 h 1046508"/>
                  <a:gd name="connsiteX57" fmla="*/ 384326 w 1200744"/>
                  <a:gd name="connsiteY57" fmla="*/ 604396 h 1046508"/>
                  <a:gd name="connsiteX58" fmla="*/ 398804 w 1200744"/>
                  <a:gd name="connsiteY58" fmla="*/ 630221 h 1046508"/>
                  <a:gd name="connsiteX59" fmla="*/ 427304 w 1200744"/>
                  <a:gd name="connsiteY59" fmla="*/ 638245 h 1046508"/>
                  <a:gd name="connsiteX60" fmla="*/ 1104900 w 1200744"/>
                  <a:gd name="connsiteY60" fmla="*/ 557742 h 1046508"/>
                  <a:gd name="connsiteX61" fmla="*/ 1104900 w 1200744"/>
                  <a:gd name="connsiteY61" fmla="*/ 558713 h 1046508"/>
                  <a:gd name="connsiteX62" fmla="*/ 1157491 w 1200744"/>
                  <a:gd name="connsiteY62" fmla="*/ 552464 h 1046508"/>
                  <a:gd name="connsiteX63" fmla="*/ 1200469 w 1200744"/>
                  <a:gd name="connsiteY63" fmla="*/ 586314 h 1046508"/>
                  <a:gd name="connsiteX64" fmla="*/ 1200468 w 1200744"/>
                  <a:gd name="connsiteY64" fmla="*/ 586314 h 1046508"/>
                  <a:gd name="connsiteX65" fmla="*/ 1166618 w 1200744"/>
                  <a:gd name="connsiteY65" fmla="*/ 629292 h 1046508"/>
                  <a:gd name="connsiteX66" fmla="*/ 1104900 w 1200744"/>
                  <a:gd name="connsiteY66" fmla="*/ 636624 h 1046508"/>
                  <a:gd name="connsiteX67" fmla="*/ 1104900 w 1200744"/>
                  <a:gd name="connsiteY67" fmla="*/ 817908 h 1046508"/>
                  <a:gd name="connsiteX68" fmla="*/ 971550 w 1200744"/>
                  <a:gd name="connsiteY68" fmla="*/ 946496 h 1046508"/>
                  <a:gd name="connsiteX69" fmla="*/ 752889 w 1200744"/>
                  <a:gd name="connsiteY69" fmla="*/ 946496 h 1046508"/>
                  <a:gd name="connsiteX70" fmla="*/ 749140 w 1200744"/>
                  <a:gd name="connsiteY70" fmla="*/ 965065 h 1046508"/>
                  <a:gd name="connsiteX71" fmla="*/ 626271 w 1200744"/>
                  <a:gd name="connsiteY71" fmla="*/ 1046508 h 1046508"/>
                  <a:gd name="connsiteX72" fmla="*/ 533770 w 1200744"/>
                  <a:gd name="connsiteY72" fmla="*/ 1046508 h 1046508"/>
                  <a:gd name="connsiteX73" fmla="*/ 410901 w 1200744"/>
                  <a:gd name="connsiteY73" fmla="*/ 965065 h 1046508"/>
                  <a:gd name="connsiteX74" fmla="*/ 407153 w 1200744"/>
                  <a:gd name="connsiteY74" fmla="*/ 946496 h 1046508"/>
                  <a:gd name="connsiteX75" fmla="*/ 190500 w 1200744"/>
                  <a:gd name="connsiteY75" fmla="*/ 946496 h 1046508"/>
                  <a:gd name="connsiteX76" fmla="*/ 59532 w 1200744"/>
                  <a:gd name="connsiteY76" fmla="*/ 825052 h 1046508"/>
                  <a:gd name="connsiteX77" fmla="*/ 59432 w 1200744"/>
                  <a:gd name="connsiteY77" fmla="*/ 710643 h 1046508"/>
                  <a:gd name="connsiteX78" fmla="*/ 48816 w 1200744"/>
                  <a:gd name="connsiteY78" fmla="*/ 710643 h 1046508"/>
                  <a:gd name="connsiteX79" fmla="*/ 14298 w 1200744"/>
                  <a:gd name="connsiteY79" fmla="*/ 696345 h 1046508"/>
                  <a:gd name="connsiteX80" fmla="*/ 0 w 1200744"/>
                  <a:gd name="connsiteY80" fmla="*/ 661828 h 1046508"/>
                  <a:gd name="connsiteX81" fmla="*/ 14298 w 1200744"/>
                  <a:gd name="connsiteY81" fmla="*/ 627310 h 1046508"/>
                  <a:gd name="connsiteX82" fmla="*/ 48816 w 1200744"/>
                  <a:gd name="connsiteY82" fmla="*/ 613012 h 1046508"/>
                  <a:gd name="connsiteX83" fmla="*/ 59346 w 1200744"/>
                  <a:gd name="connsiteY83" fmla="*/ 613012 h 1046508"/>
                  <a:gd name="connsiteX84" fmla="*/ 59247 w 1200744"/>
                  <a:gd name="connsiteY84" fmla="*/ 501147 h 1046508"/>
                  <a:gd name="connsiteX85" fmla="*/ 48816 w 1200744"/>
                  <a:gd name="connsiteY85" fmla="*/ 501147 h 1046508"/>
                  <a:gd name="connsiteX86" fmla="*/ 14298 w 1200744"/>
                  <a:gd name="connsiteY86" fmla="*/ 486849 h 1046508"/>
                  <a:gd name="connsiteX87" fmla="*/ 0 w 1200744"/>
                  <a:gd name="connsiteY87" fmla="*/ 452332 h 1046508"/>
                  <a:gd name="connsiteX88" fmla="*/ 14298 w 1200744"/>
                  <a:gd name="connsiteY88" fmla="*/ 417814 h 1046508"/>
                  <a:gd name="connsiteX89" fmla="*/ 48816 w 1200744"/>
                  <a:gd name="connsiteY89" fmla="*/ 403516 h 1046508"/>
                  <a:gd name="connsiteX90" fmla="*/ 59161 w 1200744"/>
                  <a:gd name="connsiteY90" fmla="*/ 403516 h 1046508"/>
                  <a:gd name="connsiteX91" fmla="*/ 59063 w 1200744"/>
                  <a:gd name="connsiteY91" fmla="*/ 291651 h 1046508"/>
                  <a:gd name="connsiteX92" fmla="*/ 48816 w 1200744"/>
                  <a:gd name="connsiteY92" fmla="*/ 291651 h 1046508"/>
                  <a:gd name="connsiteX93" fmla="*/ 14298 w 1200744"/>
                  <a:gd name="connsiteY93" fmla="*/ 277353 h 1046508"/>
                  <a:gd name="connsiteX94" fmla="*/ 0 w 1200744"/>
                  <a:gd name="connsiteY94" fmla="*/ 242836 h 1046508"/>
                  <a:gd name="connsiteX95" fmla="*/ 14298 w 1200744"/>
                  <a:gd name="connsiteY95" fmla="*/ 208318 h 1046508"/>
                  <a:gd name="connsiteX96" fmla="*/ 48816 w 1200744"/>
                  <a:gd name="connsiteY96" fmla="*/ 194020 h 1046508"/>
                  <a:gd name="connsiteX97" fmla="*/ 58977 w 1200744"/>
                  <a:gd name="connsiteY97" fmla="*/ 194020 h 1046508"/>
                  <a:gd name="connsiteX98" fmla="*/ 58806 w 1200744"/>
                  <a:gd name="connsiteY98" fmla="*/ 0 h 1046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200744" h="1046508">
                    <a:moveTo>
                      <a:pt x="269392" y="583922"/>
                    </a:moveTo>
                    <a:cubicBezTo>
                      <a:pt x="247034" y="583922"/>
                      <a:pt x="228910" y="602046"/>
                      <a:pt x="228910" y="624404"/>
                    </a:cubicBezTo>
                    <a:cubicBezTo>
                      <a:pt x="228910" y="646762"/>
                      <a:pt x="247034" y="664886"/>
                      <a:pt x="269392" y="664886"/>
                    </a:cubicBezTo>
                    <a:cubicBezTo>
                      <a:pt x="291750" y="664886"/>
                      <a:pt x="309874" y="646762"/>
                      <a:pt x="309874" y="624404"/>
                    </a:cubicBezTo>
                    <a:cubicBezTo>
                      <a:pt x="309874" y="602046"/>
                      <a:pt x="291750" y="583922"/>
                      <a:pt x="269392" y="583922"/>
                    </a:cubicBezTo>
                    <a:close/>
                    <a:moveTo>
                      <a:pt x="269392" y="373750"/>
                    </a:moveTo>
                    <a:cubicBezTo>
                      <a:pt x="247034" y="373750"/>
                      <a:pt x="228910" y="391874"/>
                      <a:pt x="228910" y="414232"/>
                    </a:cubicBezTo>
                    <a:cubicBezTo>
                      <a:pt x="228910" y="436590"/>
                      <a:pt x="247034" y="454714"/>
                      <a:pt x="269392" y="454714"/>
                    </a:cubicBezTo>
                    <a:cubicBezTo>
                      <a:pt x="291750" y="454714"/>
                      <a:pt x="309874" y="436590"/>
                      <a:pt x="309874" y="414232"/>
                    </a:cubicBezTo>
                    <a:cubicBezTo>
                      <a:pt x="309874" y="391874"/>
                      <a:pt x="291750" y="373750"/>
                      <a:pt x="269392" y="373750"/>
                    </a:cubicBezTo>
                    <a:close/>
                    <a:moveTo>
                      <a:pt x="269392" y="163063"/>
                    </a:moveTo>
                    <a:cubicBezTo>
                      <a:pt x="247034" y="163063"/>
                      <a:pt x="228910" y="181187"/>
                      <a:pt x="228910" y="203545"/>
                    </a:cubicBezTo>
                    <a:cubicBezTo>
                      <a:pt x="228910" y="225903"/>
                      <a:pt x="247034" y="244027"/>
                      <a:pt x="269392" y="244027"/>
                    </a:cubicBezTo>
                    <a:cubicBezTo>
                      <a:pt x="291750" y="244027"/>
                      <a:pt x="309874" y="225903"/>
                      <a:pt x="309874" y="203545"/>
                    </a:cubicBezTo>
                    <a:cubicBezTo>
                      <a:pt x="309874" y="181187"/>
                      <a:pt x="291750" y="163063"/>
                      <a:pt x="269392" y="163063"/>
                    </a:cubicBezTo>
                    <a:close/>
                    <a:moveTo>
                      <a:pt x="797719" y="0"/>
                    </a:moveTo>
                    <a:lnTo>
                      <a:pt x="883444" y="0"/>
                    </a:lnTo>
                    <a:lnTo>
                      <a:pt x="883444" y="79897"/>
                    </a:lnTo>
                    <a:lnTo>
                      <a:pt x="797719" y="90082"/>
                    </a:lnTo>
                    <a:lnTo>
                      <a:pt x="797719" y="0"/>
                    </a:lnTo>
                    <a:close/>
                    <a:moveTo>
                      <a:pt x="58806" y="0"/>
                    </a:moveTo>
                    <a:lnTo>
                      <a:pt x="692944" y="0"/>
                    </a:lnTo>
                    <a:lnTo>
                      <a:pt x="692944" y="102530"/>
                    </a:lnTo>
                    <a:lnTo>
                      <a:pt x="418176" y="135174"/>
                    </a:lnTo>
                    <a:cubicBezTo>
                      <a:pt x="407569" y="136435"/>
                      <a:pt x="398476" y="141875"/>
                      <a:pt x="392350" y="149653"/>
                    </a:cubicBezTo>
                    <a:lnTo>
                      <a:pt x="384326" y="178152"/>
                    </a:lnTo>
                    <a:lnTo>
                      <a:pt x="398804" y="203977"/>
                    </a:lnTo>
                    <a:cubicBezTo>
                      <a:pt x="406582" y="210103"/>
                      <a:pt x="416696" y="213262"/>
                      <a:pt x="427304" y="212001"/>
                    </a:cubicBezTo>
                    <a:lnTo>
                      <a:pt x="1104900" y="131498"/>
                    </a:lnTo>
                    <a:lnTo>
                      <a:pt x="1104900" y="134851"/>
                    </a:lnTo>
                    <a:lnTo>
                      <a:pt x="1157493" y="128603"/>
                    </a:lnTo>
                    <a:cubicBezTo>
                      <a:pt x="1178709" y="126082"/>
                      <a:pt x="1197951" y="141237"/>
                      <a:pt x="1200471" y="162453"/>
                    </a:cubicBezTo>
                    <a:lnTo>
                      <a:pt x="1200470" y="162453"/>
                    </a:lnTo>
                    <a:cubicBezTo>
                      <a:pt x="1202991" y="183669"/>
                      <a:pt x="1187836" y="202910"/>
                      <a:pt x="1166620" y="205431"/>
                    </a:cubicBezTo>
                    <a:lnTo>
                      <a:pt x="878682" y="240221"/>
                    </a:lnTo>
                    <a:lnTo>
                      <a:pt x="883444" y="298972"/>
                    </a:lnTo>
                    <a:lnTo>
                      <a:pt x="792956" y="309723"/>
                    </a:lnTo>
                    <a:lnTo>
                      <a:pt x="792956" y="265459"/>
                    </a:lnTo>
                    <a:lnTo>
                      <a:pt x="688181" y="265459"/>
                    </a:lnTo>
                    <a:lnTo>
                      <a:pt x="688181" y="322171"/>
                    </a:lnTo>
                    <a:lnTo>
                      <a:pt x="418176" y="354249"/>
                    </a:lnTo>
                    <a:cubicBezTo>
                      <a:pt x="407569" y="355510"/>
                      <a:pt x="398476" y="360950"/>
                      <a:pt x="392350" y="368728"/>
                    </a:cubicBezTo>
                    <a:lnTo>
                      <a:pt x="384326" y="397227"/>
                    </a:lnTo>
                    <a:lnTo>
                      <a:pt x="398804" y="423052"/>
                    </a:lnTo>
                    <a:cubicBezTo>
                      <a:pt x="406582" y="429178"/>
                      <a:pt x="416696" y="432337"/>
                      <a:pt x="427304" y="431076"/>
                    </a:cubicBezTo>
                    <a:lnTo>
                      <a:pt x="1157493" y="347675"/>
                    </a:lnTo>
                    <a:cubicBezTo>
                      <a:pt x="1178709" y="345155"/>
                      <a:pt x="1197950" y="360310"/>
                      <a:pt x="1200471" y="381525"/>
                    </a:cubicBezTo>
                    <a:lnTo>
                      <a:pt x="1200470" y="381526"/>
                    </a:lnTo>
                    <a:cubicBezTo>
                      <a:pt x="1202991" y="402741"/>
                      <a:pt x="1187836" y="421983"/>
                      <a:pt x="1166620" y="424503"/>
                    </a:cubicBezTo>
                    <a:lnTo>
                      <a:pt x="883444" y="458146"/>
                    </a:lnTo>
                    <a:lnTo>
                      <a:pt x="883444" y="506141"/>
                    </a:lnTo>
                    <a:lnTo>
                      <a:pt x="792956" y="516892"/>
                    </a:lnTo>
                    <a:lnTo>
                      <a:pt x="792956" y="468897"/>
                    </a:lnTo>
                    <a:lnTo>
                      <a:pt x="688181" y="481345"/>
                    </a:lnTo>
                    <a:lnTo>
                      <a:pt x="688181" y="529340"/>
                    </a:lnTo>
                    <a:lnTo>
                      <a:pt x="418176" y="561418"/>
                    </a:lnTo>
                    <a:cubicBezTo>
                      <a:pt x="407569" y="562679"/>
                      <a:pt x="398476" y="568119"/>
                      <a:pt x="392350" y="575897"/>
                    </a:cubicBezTo>
                    <a:lnTo>
                      <a:pt x="384326" y="604396"/>
                    </a:lnTo>
                    <a:lnTo>
                      <a:pt x="398804" y="630221"/>
                    </a:lnTo>
                    <a:cubicBezTo>
                      <a:pt x="406582" y="636347"/>
                      <a:pt x="416696" y="639506"/>
                      <a:pt x="427304" y="638245"/>
                    </a:cubicBezTo>
                    <a:lnTo>
                      <a:pt x="1104900" y="557742"/>
                    </a:lnTo>
                    <a:lnTo>
                      <a:pt x="1104900" y="558713"/>
                    </a:lnTo>
                    <a:lnTo>
                      <a:pt x="1157491" y="552464"/>
                    </a:lnTo>
                    <a:cubicBezTo>
                      <a:pt x="1178707" y="549944"/>
                      <a:pt x="1197948" y="565099"/>
                      <a:pt x="1200469" y="586314"/>
                    </a:cubicBezTo>
                    <a:lnTo>
                      <a:pt x="1200468" y="586314"/>
                    </a:lnTo>
                    <a:cubicBezTo>
                      <a:pt x="1202989" y="607530"/>
                      <a:pt x="1187834" y="626772"/>
                      <a:pt x="1166618" y="629292"/>
                    </a:cubicBezTo>
                    <a:lnTo>
                      <a:pt x="1104900" y="636624"/>
                    </a:lnTo>
                    <a:lnTo>
                      <a:pt x="1104900" y="817908"/>
                    </a:lnTo>
                    <a:lnTo>
                      <a:pt x="971550" y="946496"/>
                    </a:lnTo>
                    <a:lnTo>
                      <a:pt x="752889" y="946496"/>
                    </a:lnTo>
                    <a:lnTo>
                      <a:pt x="749140" y="965065"/>
                    </a:lnTo>
                    <a:cubicBezTo>
                      <a:pt x="728897" y="1012926"/>
                      <a:pt x="681506" y="1046508"/>
                      <a:pt x="626271" y="1046508"/>
                    </a:cubicBezTo>
                    <a:lnTo>
                      <a:pt x="533770" y="1046508"/>
                    </a:lnTo>
                    <a:cubicBezTo>
                      <a:pt x="478536" y="1046508"/>
                      <a:pt x="431145" y="1012926"/>
                      <a:pt x="410901" y="965065"/>
                    </a:cubicBezTo>
                    <a:lnTo>
                      <a:pt x="407153" y="946496"/>
                    </a:lnTo>
                    <a:lnTo>
                      <a:pt x="190500" y="946496"/>
                    </a:lnTo>
                    <a:lnTo>
                      <a:pt x="59532" y="825052"/>
                    </a:lnTo>
                    <a:cubicBezTo>
                      <a:pt x="59499" y="786916"/>
                      <a:pt x="59465" y="748779"/>
                      <a:pt x="59432" y="710643"/>
                    </a:cubicBezTo>
                    <a:lnTo>
                      <a:pt x="48816" y="710643"/>
                    </a:lnTo>
                    <a:cubicBezTo>
                      <a:pt x="35336" y="710643"/>
                      <a:pt x="23132" y="705179"/>
                      <a:pt x="14298" y="696345"/>
                    </a:cubicBezTo>
                    <a:lnTo>
                      <a:pt x="0" y="661828"/>
                    </a:lnTo>
                    <a:lnTo>
                      <a:pt x="14298" y="627310"/>
                    </a:lnTo>
                    <a:cubicBezTo>
                      <a:pt x="23132" y="618476"/>
                      <a:pt x="35336" y="613012"/>
                      <a:pt x="48816" y="613012"/>
                    </a:cubicBezTo>
                    <a:lnTo>
                      <a:pt x="59346" y="613012"/>
                    </a:lnTo>
                    <a:cubicBezTo>
                      <a:pt x="59313" y="575724"/>
                      <a:pt x="59280" y="538435"/>
                      <a:pt x="59247" y="501147"/>
                    </a:cubicBezTo>
                    <a:lnTo>
                      <a:pt x="48816" y="501147"/>
                    </a:lnTo>
                    <a:cubicBezTo>
                      <a:pt x="35336" y="501147"/>
                      <a:pt x="23132" y="495683"/>
                      <a:pt x="14298" y="486849"/>
                    </a:cubicBezTo>
                    <a:lnTo>
                      <a:pt x="0" y="452332"/>
                    </a:lnTo>
                    <a:lnTo>
                      <a:pt x="14298" y="417814"/>
                    </a:lnTo>
                    <a:cubicBezTo>
                      <a:pt x="23132" y="408980"/>
                      <a:pt x="35336" y="403516"/>
                      <a:pt x="48816" y="403516"/>
                    </a:cubicBezTo>
                    <a:lnTo>
                      <a:pt x="59161" y="403516"/>
                    </a:lnTo>
                    <a:cubicBezTo>
                      <a:pt x="59128" y="366228"/>
                      <a:pt x="59096" y="328939"/>
                      <a:pt x="59063" y="291651"/>
                    </a:cubicBezTo>
                    <a:lnTo>
                      <a:pt x="48816" y="291651"/>
                    </a:lnTo>
                    <a:cubicBezTo>
                      <a:pt x="35336" y="291651"/>
                      <a:pt x="23132" y="286187"/>
                      <a:pt x="14298" y="277353"/>
                    </a:cubicBezTo>
                    <a:lnTo>
                      <a:pt x="0" y="242836"/>
                    </a:lnTo>
                    <a:lnTo>
                      <a:pt x="14298" y="208318"/>
                    </a:lnTo>
                    <a:cubicBezTo>
                      <a:pt x="23132" y="199484"/>
                      <a:pt x="35336" y="194020"/>
                      <a:pt x="48816" y="194020"/>
                    </a:cubicBezTo>
                    <a:lnTo>
                      <a:pt x="58977" y="194020"/>
                    </a:lnTo>
                    <a:lnTo>
                      <a:pt x="58806"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62" name="Freeform 61"/>
              <p:cNvSpPr/>
              <p:nvPr/>
            </p:nvSpPr>
            <p:spPr>
              <a:xfrm>
                <a:off x="4242295" y="1685754"/>
                <a:ext cx="3701002" cy="3743106"/>
              </a:xfrm>
              <a:custGeom>
                <a:avLst/>
                <a:gdLst>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0346 w 3701002"/>
                  <a:gd name="connsiteY11" fmla="*/ 3114359 h 3743106"/>
                  <a:gd name="connsiteX12" fmla="*/ 2659635 w 3701002"/>
                  <a:gd name="connsiteY12" fmla="*/ 3107286 h 3743106"/>
                  <a:gd name="connsiteX13" fmla="*/ 3122601 w 3701002"/>
                  <a:gd name="connsiteY13" fmla="*/ 2107732 h 3743106"/>
                  <a:gd name="connsiteX14" fmla="*/ 1850392 w 3701002"/>
                  <a:gd name="connsiteY14" fmla="*/ 812383 h 3743106"/>
                  <a:gd name="connsiteX15" fmla="*/ 578183 w 3701002"/>
                  <a:gd name="connsiteY15" fmla="*/ 2107732 h 3743106"/>
                  <a:gd name="connsiteX16" fmla="*/ 950805 w 3701002"/>
                  <a:gd name="connsiteY16" fmla="*/ 3023682 h 3743106"/>
                  <a:gd name="connsiteX17" fmla="*/ 1028685 w 3701002"/>
                  <a:gd name="connsiteY17" fmla="*/ 3095752 h 3743106"/>
                  <a:gd name="connsiteX18" fmla="*/ 1145044 w 3701002"/>
                  <a:gd name="connsiteY18" fmla="*/ 3252006 h 3743106"/>
                  <a:gd name="connsiteX19" fmla="*/ 1289824 w 3701002"/>
                  <a:gd name="connsiteY19" fmla="*/ 3549186 h 3743106"/>
                  <a:gd name="connsiteX20" fmla="*/ 1131709 w 3701002"/>
                  <a:gd name="connsiteY20" fmla="*/ 3739686 h 3743106"/>
                  <a:gd name="connsiteX21" fmla="*/ 881519 w 3701002"/>
                  <a:gd name="connsiteY21" fmla="*/ 3637451 h 3743106"/>
                  <a:gd name="connsiteX22" fmla="*/ 771664 w 3701002"/>
                  <a:gd name="connsiteY22" fmla="*/ 3290106 h 3743106"/>
                  <a:gd name="connsiteX23" fmla="*/ 377329 w 3701002"/>
                  <a:gd name="connsiteY23" fmla="*/ 3103416 h 3743106"/>
                  <a:gd name="connsiteX24" fmla="*/ 344944 w 3701002"/>
                  <a:gd name="connsiteY24" fmla="*/ 2482386 h 3743106"/>
                  <a:gd name="connsiteX25" fmla="*/ 139 w 3701002"/>
                  <a:gd name="connsiteY25" fmla="*/ 1970576 h 3743106"/>
                  <a:gd name="connsiteX26" fmla="*/ 451624 w 3701002"/>
                  <a:gd name="connsiteY26" fmla="*/ 1403521 h 3743106"/>
                  <a:gd name="connsiteX27" fmla="*/ 496709 w 3701002"/>
                  <a:gd name="connsiteY27" fmla="*/ 659301 h 3743106"/>
                  <a:gd name="connsiteX28" fmla="*/ 1199019 w 3701002"/>
                  <a:gd name="connsiteY28" fmla="*/ 517061 h 3743106"/>
                  <a:gd name="connsiteX29" fmla="*/ 1831479 w 3701002"/>
                  <a:gd name="connsiteY29"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028685 w 3701002"/>
                  <a:gd name="connsiteY16" fmla="*/ 3095752 h 3743106"/>
                  <a:gd name="connsiteX17" fmla="*/ 1145044 w 3701002"/>
                  <a:gd name="connsiteY17" fmla="*/ 3252006 h 3743106"/>
                  <a:gd name="connsiteX18" fmla="*/ 1289824 w 3701002"/>
                  <a:gd name="connsiteY18" fmla="*/ 3549186 h 3743106"/>
                  <a:gd name="connsiteX19" fmla="*/ 1131709 w 3701002"/>
                  <a:gd name="connsiteY19" fmla="*/ 3739686 h 3743106"/>
                  <a:gd name="connsiteX20" fmla="*/ 881519 w 3701002"/>
                  <a:gd name="connsiteY20" fmla="*/ 3637451 h 3743106"/>
                  <a:gd name="connsiteX21" fmla="*/ 771664 w 3701002"/>
                  <a:gd name="connsiteY21" fmla="*/ 3290106 h 3743106"/>
                  <a:gd name="connsiteX22" fmla="*/ 377329 w 3701002"/>
                  <a:gd name="connsiteY22" fmla="*/ 3103416 h 3743106"/>
                  <a:gd name="connsiteX23" fmla="*/ 344944 w 3701002"/>
                  <a:gd name="connsiteY23" fmla="*/ 2482386 h 3743106"/>
                  <a:gd name="connsiteX24" fmla="*/ 139 w 3701002"/>
                  <a:gd name="connsiteY24" fmla="*/ 1970576 h 3743106"/>
                  <a:gd name="connsiteX25" fmla="*/ 451624 w 3701002"/>
                  <a:gd name="connsiteY25" fmla="*/ 1403521 h 3743106"/>
                  <a:gd name="connsiteX26" fmla="*/ 496709 w 3701002"/>
                  <a:gd name="connsiteY26" fmla="*/ 659301 h 3743106"/>
                  <a:gd name="connsiteX27" fmla="*/ 1199019 w 3701002"/>
                  <a:gd name="connsiteY27" fmla="*/ 517061 h 3743106"/>
                  <a:gd name="connsiteX28" fmla="*/ 1831479 w 3701002"/>
                  <a:gd name="connsiteY28"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145044 w 3701002"/>
                  <a:gd name="connsiteY16" fmla="*/ 3252006 h 3743106"/>
                  <a:gd name="connsiteX17" fmla="*/ 1289824 w 3701002"/>
                  <a:gd name="connsiteY17" fmla="*/ 3549186 h 3743106"/>
                  <a:gd name="connsiteX18" fmla="*/ 1131709 w 3701002"/>
                  <a:gd name="connsiteY18" fmla="*/ 3739686 h 3743106"/>
                  <a:gd name="connsiteX19" fmla="*/ 881519 w 3701002"/>
                  <a:gd name="connsiteY19" fmla="*/ 3637451 h 3743106"/>
                  <a:gd name="connsiteX20" fmla="*/ 771664 w 3701002"/>
                  <a:gd name="connsiteY20" fmla="*/ 3290106 h 3743106"/>
                  <a:gd name="connsiteX21" fmla="*/ 377329 w 3701002"/>
                  <a:gd name="connsiteY21" fmla="*/ 3103416 h 3743106"/>
                  <a:gd name="connsiteX22" fmla="*/ 344944 w 3701002"/>
                  <a:gd name="connsiteY22" fmla="*/ 2482386 h 3743106"/>
                  <a:gd name="connsiteX23" fmla="*/ 139 w 3701002"/>
                  <a:gd name="connsiteY23" fmla="*/ 1970576 h 3743106"/>
                  <a:gd name="connsiteX24" fmla="*/ 451624 w 3701002"/>
                  <a:gd name="connsiteY24" fmla="*/ 1403521 h 3743106"/>
                  <a:gd name="connsiteX25" fmla="*/ 496709 w 3701002"/>
                  <a:gd name="connsiteY25" fmla="*/ 659301 h 3743106"/>
                  <a:gd name="connsiteX26" fmla="*/ 1199019 w 3701002"/>
                  <a:gd name="connsiteY26" fmla="*/ 517061 h 3743106"/>
                  <a:gd name="connsiteX27" fmla="*/ 1831479 w 3701002"/>
                  <a:gd name="connsiteY27"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145044 w 3701002"/>
                  <a:gd name="connsiteY16" fmla="*/ 3252006 h 3743106"/>
                  <a:gd name="connsiteX17" fmla="*/ 1289824 w 3701002"/>
                  <a:gd name="connsiteY17" fmla="*/ 3549186 h 3743106"/>
                  <a:gd name="connsiteX18" fmla="*/ 1131709 w 3701002"/>
                  <a:gd name="connsiteY18" fmla="*/ 3739686 h 3743106"/>
                  <a:gd name="connsiteX19" fmla="*/ 881519 w 3701002"/>
                  <a:gd name="connsiteY19" fmla="*/ 3637451 h 3743106"/>
                  <a:gd name="connsiteX20" fmla="*/ 771664 w 3701002"/>
                  <a:gd name="connsiteY20" fmla="*/ 3290106 h 3743106"/>
                  <a:gd name="connsiteX21" fmla="*/ 377329 w 3701002"/>
                  <a:gd name="connsiteY21" fmla="*/ 3103416 h 3743106"/>
                  <a:gd name="connsiteX22" fmla="*/ 344944 w 3701002"/>
                  <a:gd name="connsiteY22" fmla="*/ 2482386 h 3743106"/>
                  <a:gd name="connsiteX23" fmla="*/ 139 w 3701002"/>
                  <a:gd name="connsiteY23" fmla="*/ 1970576 h 3743106"/>
                  <a:gd name="connsiteX24" fmla="*/ 451624 w 3701002"/>
                  <a:gd name="connsiteY24" fmla="*/ 1403521 h 3743106"/>
                  <a:gd name="connsiteX25" fmla="*/ 496709 w 3701002"/>
                  <a:gd name="connsiteY25" fmla="*/ 659301 h 3743106"/>
                  <a:gd name="connsiteX26" fmla="*/ 1199019 w 3701002"/>
                  <a:gd name="connsiteY26" fmla="*/ 517061 h 3743106"/>
                  <a:gd name="connsiteX27" fmla="*/ 1831479 w 3701002"/>
                  <a:gd name="connsiteY27" fmla="*/ 171 h 3743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701002" h="3743106">
                    <a:moveTo>
                      <a:pt x="1831479" y="171"/>
                    </a:moveTo>
                    <a:cubicBezTo>
                      <a:pt x="2193958" y="-9460"/>
                      <a:pt x="2228989" y="388262"/>
                      <a:pt x="2478544" y="516426"/>
                    </a:cubicBezTo>
                    <a:cubicBezTo>
                      <a:pt x="2724924" y="638240"/>
                      <a:pt x="3031735" y="420753"/>
                      <a:pt x="3214509" y="673906"/>
                    </a:cubicBezTo>
                    <a:cubicBezTo>
                      <a:pt x="3397283" y="927059"/>
                      <a:pt x="3125874" y="1106394"/>
                      <a:pt x="3270389" y="1425746"/>
                    </a:cubicBezTo>
                    <a:cubicBezTo>
                      <a:pt x="3414904" y="1745098"/>
                      <a:pt x="3685678" y="1679112"/>
                      <a:pt x="3700601" y="1942319"/>
                    </a:cubicBezTo>
                    <a:cubicBezTo>
                      <a:pt x="3712349" y="2221401"/>
                      <a:pt x="3463112" y="2181714"/>
                      <a:pt x="3354844" y="2512866"/>
                    </a:cubicBezTo>
                    <a:cubicBezTo>
                      <a:pt x="3238639" y="2836081"/>
                      <a:pt x="3476765" y="2888309"/>
                      <a:pt x="3320872" y="3113258"/>
                    </a:cubicBezTo>
                    <a:cubicBezTo>
                      <a:pt x="3231655" y="3262007"/>
                      <a:pt x="3076132" y="3153476"/>
                      <a:pt x="2933839" y="3291059"/>
                    </a:cubicBezTo>
                    <a:cubicBezTo>
                      <a:pt x="2791546" y="3428642"/>
                      <a:pt x="2888756" y="3603161"/>
                      <a:pt x="2771914" y="3691109"/>
                    </a:cubicBezTo>
                    <a:cubicBezTo>
                      <a:pt x="2688410" y="3783819"/>
                      <a:pt x="2499817" y="3735717"/>
                      <a:pt x="2440444" y="3640626"/>
                    </a:cubicBezTo>
                    <a:cubicBezTo>
                      <a:pt x="2381071" y="3545535"/>
                      <a:pt x="2441714" y="3442506"/>
                      <a:pt x="2501404" y="3320586"/>
                    </a:cubicBezTo>
                    <a:lnTo>
                      <a:pt x="2659635" y="3107286"/>
                    </a:lnTo>
                    <a:cubicBezTo>
                      <a:pt x="2942380" y="2869700"/>
                      <a:pt x="3122601" y="2510145"/>
                      <a:pt x="3122601" y="2107732"/>
                    </a:cubicBezTo>
                    <a:cubicBezTo>
                      <a:pt x="3122601" y="1392331"/>
                      <a:pt x="2553014" y="812383"/>
                      <a:pt x="1850392" y="812383"/>
                    </a:cubicBezTo>
                    <a:cubicBezTo>
                      <a:pt x="1147770" y="812383"/>
                      <a:pt x="578183" y="1392331"/>
                      <a:pt x="578183" y="2107732"/>
                    </a:cubicBezTo>
                    <a:cubicBezTo>
                      <a:pt x="578183" y="2465433"/>
                      <a:pt x="720580" y="2789270"/>
                      <a:pt x="950805" y="3023682"/>
                    </a:cubicBezTo>
                    <a:cubicBezTo>
                      <a:pt x="1039364" y="3104553"/>
                      <a:pt x="1080298" y="3175898"/>
                      <a:pt x="1145044" y="3252006"/>
                    </a:cubicBezTo>
                    <a:cubicBezTo>
                      <a:pt x="1213624" y="3361226"/>
                      <a:pt x="1292047" y="3467906"/>
                      <a:pt x="1289824" y="3549186"/>
                    </a:cubicBezTo>
                    <a:cubicBezTo>
                      <a:pt x="1287602" y="3630466"/>
                      <a:pt x="1199760" y="3724975"/>
                      <a:pt x="1131709" y="3739686"/>
                    </a:cubicBezTo>
                    <a:cubicBezTo>
                      <a:pt x="1063658" y="3754397"/>
                      <a:pt x="935176" y="3721906"/>
                      <a:pt x="881519" y="3637451"/>
                    </a:cubicBezTo>
                    <a:cubicBezTo>
                      <a:pt x="827862" y="3552996"/>
                      <a:pt x="922371" y="3429912"/>
                      <a:pt x="771664" y="3290106"/>
                    </a:cubicBezTo>
                    <a:cubicBezTo>
                      <a:pt x="620957" y="3150300"/>
                      <a:pt x="489724" y="3259626"/>
                      <a:pt x="377329" y="3103416"/>
                    </a:cubicBezTo>
                    <a:cubicBezTo>
                      <a:pt x="245884" y="2847193"/>
                      <a:pt x="472103" y="2764062"/>
                      <a:pt x="344944" y="2482386"/>
                    </a:cubicBezTo>
                    <a:cubicBezTo>
                      <a:pt x="189211" y="2141178"/>
                      <a:pt x="8552" y="2246432"/>
                      <a:pt x="139" y="1970576"/>
                    </a:cubicBezTo>
                    <a:cubicBezTo>
                      <a:pt x="-7481" y="1701865"/>
                      <a:pt x="299012" y="1730017"/>
                      <a:pt x="451624" y="1403521"/>
                    </a:cubicBezTo>
                    <a:cubicBezTo>
                      <a:pt x="528036" y="943675"/>
                      <a:pt x="318168" y="908644"/>
                      <a:pt x="496709" y="659301"/>
                    </a:cubicBezTo>
                    <a:cubicBezTo>
                      <a:pt x="675250" y="409958"/>
                      <a:pt x="956978" y="650728"/>
                      <a:pt x="1199019" y="517061"/>
                    </a:cubicBezTo>
                    <a:cubicBezTo>
                      <a:pt x="1485510" y="418319"/>
                      <a:pt x="1469000" y="9802"/>
                      <a:pt x="1831479" y="171"/>
                    </a:cubicBez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63" name="Group 62"/>
          <p:cNvGrpSpPr/>
          <p:nvPr/>
        </p:nvGrpSpPr>
        <p:grpSpPr>
          <a:xfrm>
            <a:off x="5842516" y="3681197"/>
            <a:ext cx="474070" cy="474070"/>
            <a:chOff x="6447430" y="2675492"/>
            <a:chExt cx="474070" cy="474070"/>
          </a:xfrm>
        </p:grpSpPr>
        <p:sp>
          <p:nvSpPr>
            <p:cNvPr id="64" name="Oval 63"/>
            <p:cNvSpPr/>
            <p:nvPr/>
          </p:nvSpPr>
          <p:spPr>
            <a:xfrm>
              <a:off x="6447430" y="2675492"/>
              <a:ext cx="474070" cy="474070"/>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white"/>
                </a:solidFill>
                <a:effectLst/>
                <a:uLnTx/>
                <a:uFillTx/>
                <a:latin typeface="Verdana"/>
                <a:ea typeface="+mn-ea"/>
                <a:cs typeface="+mn-cs"/>
              </a:endParaRPr>
            </a:p>
          </p:txBody>
        </p:sp>
        <p:grpSp>
          <p:nvGrpSpPr>
            <p:cNvPr id="65" name="Group 64"/>
            <p:cNvGrpSpPr/>
            <p:nvPr/>
          </p:nvGrpSpPr>
          <p:grpSpPr>
            <a:xfrm>
              <a:off x="6518178" y="2715380"/>
              <a:ext cx="333474" cy="369629"/>
              <a:chOff x="3114466" y="105602"/>
              <a:chExt cx="5971657" cy="6619048"/>
            </a:xfrm>
            <a:solidFill>
              <a:schemeClr val="accent5"/>
            </a:solidFill>
          </p:grpSpPr>
          <p:sp>
            <p:nvSpPr>
              <p:cNvPr id="66" name="Oval 65"/>
              <p:cNvSpPr/>
              <p:nvPr/>
            </p:nvSpPr>
            <p:spPr>
              <a:xfrm>
                <a:off x="5744819" y="745435"/>
                <a:ext cx="695738" cy="695738"/>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67" name="Oval 66"/>
              <p:cNvSpPr/>
              <p:nvPr/>
            </p:nvSpPr>
            <p:spPr>
              <a:xfrm>
                <a:off x="6626711" y="1319213"/>
                <a:ext cx="628234" cy="62823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68" name="Oval 67"/>
              <p:cNvSpPr/>
              <p:nvPr/>
            </p:nvSpPr>
            <p:spPr>
              <a:xfrm>
                <a:off x="4921736" y="1319213"/>
                <a:ext cx="628234" cy="62823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69" name="Oval 68"/>
              <p:cNvSpPr/>
              <p:nvPr/>
            </p:nvSpPr>
            <p:spPr>
              <a:xfrm>
                <a:off x="4140684" y="1766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70" name="Oval 69"/>
              <p:cNvSpPr/>
              <p:nvPr/>
            </p:nvSpPr>
            <p:spPr>
              <a:xfrm>
                <a:off x="7510049" y="1766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71" name="Oval 70"/>
              <p:cNvSpPr/>
              <p:nvPr/>
            </p:nvSpPr>
            <p:spPr>
              <a:xfrm>
                <a:off x="7716285" y="2579410"/>
                <a:ext cx="612706" cy="61270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72" name="Oval 71"/>
              <p:cNvSpPr/>
              <p:nvPr/>
            </p:nvSpPr>
            <p:spPr>
              <a:xfrm>
                <a:off x="3849963" y="2569471"/>
                <a:ext cx="612706" cy="61270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73" name="Oval 72"/>
              <p:cNvSpPr/>
              <p:nvPr/>
            </p:nvSpPr>
            <p:spPr>
              <a:xfrm>
                <a:off x="3740632" y="1416532"/>
                <a:ext cx="394046" cy="39404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74" name="Oval 73"/>
              <p:cNvSpPr/>
              <p:nvPr/>
            </p:nvSpPr>
            <p:spPr>
              <a:xfrm>
                <a:off x="8054215" y="1416532"/>
                <a:ext cx="394046" cy="39404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75" name="Oval 74"/>
              <p:cNvSpPr/>
              <p:nvPr/>
            </p:nvSpPr>
            <p:spPr>
              <a:xfrm>
                <a:off x="5878581" y="105602"/>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76" name="Oval 75"/>
              <p:cNvSpPr/>
              <p:nvPr/>
            </p:nvSpPr>
            <p:spPr>
              <a:xfrm>
                <a:off x="3114466" y="3419473"/>
                <a:ext cx="319296" cy="31929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77" name="Oval 76"/>
              <p:cNvSpPr/>
              <p:nvPr/>
            </p:nvSpPr>
            <p:spPr>
              <a:xfrm>
                <a:off x="3794675" y="5116270"/>
                <a:ext cx="282026" cy="28202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78" name="Oval 77"/>
              <p:cNvSpPr/>
              <p:nvPr/>
            </p:nvSpPr>
            <p:spPr>
              <a:xfrm>
                <a:off x="4640020" y="5060156"/>
                <a:ext cx="342902" cy="3429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79" name="Oval 78"/>
              <p:cNvSpPr/>
              <p:nvPr/>
            </p:nvSpPr>
            <p:spPr>
              <a:xfrm>
                <a:off x="4155592" y="4790040"/>
                <a:ext cx="373546" cy="37354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80" name="Oval 79"/>
              <p:cNvSpPr/>
              <p:nvPr/>
            </p:nvSpPr>
            <p:spPr>
              <a:xfrm>
                <a:off x="3892206" y="4042948"/>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81" name="Oval 80"/>
              <p:cNvSpPr/>
              <p:nvPr/>
            </p:nvSpPr>
            <p:spPr>
              <a:xfrm>
                <a:off x="7758528" y="4052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82" name="Oval 81"/>
              <p:cNvSpPr/>
              <p:nvPr/>
            </p:nvSpPr>
            <p:spPr>
              <a:xfrm>
                <a:off x="3632338" y="3395454"/>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83" name="Oval 82"/>
              <p:cNvSpPr/>
              <p:nvPr/>
            </p:nvSpPr>
            <p:spPr>
              <a:xfrm>
                <a:off x="8122650" y="3395454"/>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84" name="Oval 83"/>
              <p:cNvSpPr/>
              <p:nvPr/>
            </p:nvSpPr>
            <p:spPr>
              <a:xfrm>
                <a:off x="8747366" y="3412330"/>
                <a:ext cx="338757" cy="338757"/>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85" name="Oval 84"/>
              <p:cNvSpPr/>
              <p:nvPr/>
            </p:nvSpPr>
            <p:spPr>
              <a:xfrm>
                <a:off x="7659444" y="4792108"/>
                <a:ext cx="372514" cy="37251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86" name="Oval 85"/>
              <p:cNvSpPr/>
              <p:nvPr/>
            </p:nvSpPr>
            <p:spPr>
              <a:xfrm>
                <a:off x="7208355" y="5062538"/>
                <a:ext cx="341242" cy="34124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87" name="Oval 86"/>
              <p:cNvSpPr/>
              <p:nvPr/>
            </p:nvSpPr>
            <p:spPr>
              <a:xfrm>
                <a:off x="8113230" y="5122069"/>
                <a:ext cx="274566" cy="27456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88" name="Freeform 87"/>
              <p:cNvSpPr/>
              <p:nvPr/>
            </p:nvSpPr>
            <p:spPr>
              <a:xfrm>
                <a:off x="5507831" y="5678142"/>
                <a:ext cx="1200744" cy="1046508"/>
              </a:xfrm>
              <a:custGeom>
                <a:avLst/>
                <a:gdLst>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58806 w 1200744"/>
                  <a:gd name="connsiteY19" fmla="*/ 0 h 1046508"/>
                  <a:gd name="connsiteX20" fmla="*/ 692944 w 1200744"/>
                  <a:gd name="connsiteY20" fmla="*/ 0 h 1046508"/>
                  <a:gd name="connsiteX21" fmla="*/ 692944 w 1200744"/>
                  <a:gd name="connsiteY21" fmla="*/ 102530 h 1046508"/>
                  <a:gd name="connsiteX22" fmla="*/ 418176 w 1200744"/>
                  <a:gd name="connsiteY22" fmla="*/ 135174 h 1046508"/>
                  <a:gd name="connsiteX23" fmla="*/ 392350 w 1200744"/>
                  <a:gd name="connsiteY23" fmla="*/ 149653 h 1046508"/>
                  <a:gd name="connsiteX24" fmla="*/ 384326 w 1200744"/>
                  <a:gd name="connsiteY24" fmla="*/ 178152 h 1046508"/>
                  <a:gd name="connsiteX25" fmla="*/ 398804 w 1200744"/>
                  <a:gd name="connsiteY25" fmla="*/ 203977 h 1046508"/>
                  <a:gd name="connsiteX26" fmla="*/ 427304 w 1200744"/>
                  <a:gd name="connsiteY26" fmla="*/ 212001 h 1046508"/>
                  <a:gd name="connsiteX27" fmla="*/ 1104900 w 1200744"/>
                  <a:gd name="connsiteY27" fmla="*/ 131498 h 1046508"/>
                  <a:gd name="connsiteX28" fmla="*/ 1104900 w 1200744"/>
                  <a:gd name="connsiteY28" fmla="*/ 134851 h 1046508"/>
                  <a:gd name="connsiteX29" fmla="*/ 1157493 w 1200744"/>
                  <a:gd name="connsiteY29" fmla="*/ 128603 h 1046508"/>
                  <a:gd name="connsiteX30" fmla="*/ 1200471 w 1200744"/>
                  <a:gd name="connsiteY30" fmla="*/ 162453 h 1046508"/>
                  <a:gd name="connsiteX31" fmla="*/ 1200470 w 1200744"/>
                  <a:gd name="connsiteY31" fmla="*/ 162453 h 1046508"/>
                  <a:gd name="connsiteX32" fmla="*/ 1166620 w 1200744"/>
                  <a:gd name="connsiteY32" fmla="*/ 205431 h 1046508"/>
                  <a:gd name="connsiteX33" fmla="*/ 892471 w 1200744"/>
                  <a:gd name="connsiteY33" fmla="*/ 238001 h 1046508"/>
                  <a:gd name="connsiteX34" fmla="*/ 883444 w 1200744"/>
                  <a:gd name="connsiteY34" fmla="*/ 235459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688181 w 1200744"/>
                  <a:gd name="connsiteY45" fmla="*/ 400083 h 1046508"/>
                  <a:gd name="connsiteX46" fmla="*/ 688181 w 1200744"/>
                  <a:gd name="connsiteY46" fmla="*/ 403433 h 1046508"/>
                  <a:gd name="connsiteX47" fmla="*/ 792956 w 1200744"/>
                  <a:gd name="connsiteY47" fmla="*/ 390985 h 1046508"/>
                  <a:gd name="connsiteX48" fmla="*/ 792956 w 1200744"/>
                  <a:gd name="connsiteY48" fmla="*/ 387635 h 1046508"/>
                  <a:gd name="connsiteX49" fmla="*/ 883444 w 1200744"/>
                  <a:gd name="connsiteY49" fmla="*/ 376884 h 1046508"/>
                  <a:gd name="connsiteX50" fmla="*/ 883444 w 1200744"/>
                  <a:gd name="connsiteY50" fmla="*/ 380235 h 1046508"/>
                  <a:gd name="connsiteX51" fmla="*/ 1157493 w 1200744"/>
                  <a:gd name="connsiteY51" fmla="*/ 347675 h 1046508"/>
                  <a:gd name="connsiteX52" fmla="*/ 1200471 w 1200744"/>
                  <a:gd name="connsiteY52" fmla="*/ 381525 h 1046508"/>
                  <a:gd name="connsiteX53" fmla="*/ 1200470 w 1200744"/>
                  <a:gd name="connsiteY53" fmla="*/ 381526 h 1046508"/>
                  <a:gd name="connsiteX54" fmla="*/ 1166620 w 1200744"/>
                  <a:gd name="connsiteY54" fmla="*/ 424503 h 1046508"/>
                  <a:gd name="connsiteX55" fmla="*/ 883444 w 1200744"/>
                  <a:gd name="connsiteY55" fmla="*/ 458146 h 1046508"/>
                  <a:gd name="connsiteX56" fmla="*/ 883444 w 1200744"/>
                  <a:gd name="connsiteY56" fmla="*/ 506141 h 1046508"/>
                  <a:gd name="connsiteX57" fmla="*/ 792956 w 1200744"/>
                  <a:gd name="connsiteY57" fmla="*/ 516892 h 1046508"/>
                  <a:gd name="connsiteX58" fmla="*/ 792956 w 1200744"/>
                  <a:gd name="connsiteY58" fmla="*/ 468897 h 1046508"/>
                  <a:gd name="connsiteX59" fmla="*/ 688181 w 1200744"/>
                  <a:gd name="connsiteY59" fmla="*/ 481345 h 1046508"/>
                  <a:gd name="connsiteX60" fmla="*/ 688181 w 1200744"/>
                  <a:gd name="connsiteY60" fmla="*/ 529340 h 1046508"/>
                  <a:gd name="connsiteX61" fmla="*/ 418176 w 1200744"/>
                  <a:gd name="connsiteY61" fmla="*/ 561418 h 1046508"/>
                  <a:gd name="connsiteX62" fmla="*/ 392350 w 1200744"/>
                  <a:gd name="connsiteY62" fmla="*/ 575897 h 1046508"/>
                  <a:gd name="connsiteX63" fmla="*/ 384326 w 1200744"/>
                  <a:gd name="connsiteY63" fmla="*/ 604396 h 1046508"/>
                  <a:gd name="connsiteX64" fmla="*/ 398804 w 1200744"/>
                  <a:gd name="connsiteY64" fmla="*/ 630221 h 1046508"/>
                  <a:gd name="connsiteX65" fmla="*/ 427304 w 1200744"/>
                  <a:gd name="connsiteY65" fmla="*/ 638245 h 1046508"/>
                  <a:gd name="connsiteX66" fmla="*/ 1104900 w 1200744"/>
                  <a:gd name="connsiteY66" fmla="*/ 557742 h 1046508"/>
                  <a:gd name="connsiteX67" fmla="*/ 1104900 w 1200744"/>
                  <a:gd name="connsiteY67" fmla="*/ 558713 h 1046508"/>
                  <a:gd name="connsiteX68" fmla="*/ 1157491 w 1200744"/>
                  <a:gd name="connsiteY68" fmla="*/ 552464 h 1046508"/>
                  <a:gd name="connsiteX69" fmla="*/ 1200469 w 1200744"/>
                  <a:gd name="connsiteY69" fmla="*/ 586314 h 1046508"/>
                  <a:gd name="connsiteX70" fmla="*/ 1200468 w 1200744"/>
                  <a:gd name="connsiteY70" fmla="*/ 586314 h 1046508"/>
                  <a:gd name="connsiteX71" fmla="*/ 1166618 w 1200744"/>
                  <a:gd name="connsiteY71" fmla="*/ 629292 h 1046508"/>
                  <a:gd name="connsiteX72" fmla="*/ 1104900 w 1200744"/>
                  <a:gd name="connsiteY72" fmla="*/ 636624 h 1046508"/>
                  <a:gd name="connsiteX73" fmla="*/ 1104900 w 1200744"/>
                  <a:gd name="connsiteY73" fmla="*/ 817908 h 1046508"/>
                  <a:gd name="connsiteX74" fmla="*/ 971550 w 1200744"/>
                  <a:gd name="connsiteY74" fmla="*/ 946496 h 1046508"/>
                  <a:gd name="connsiteX75" fmla="*/ 752889 w 1200744"/>
                  <a:gd name="connsiteY75" fmla="*/ 946496 h 1046508"/>
                  <a:gd name="connsiteX76" fmla="*/ 749140 w 1200744"/>
                  <a:gd name="connsiteY76" fmla="*/ 965065 h 1046508"/>
                  <a:gd name="connsiteX77" fmla="*/ 626271 w 1200744"/>
                  <a:gd name="connsiteY77" fmla="*/ 1046508 h 1046508"/>
                  <a:gd name="connsiteX78" fmla="*/ 533770 w 1200744"/>
                  <a:gd name="connsiteY78" fmla="*/ 1046508 h 1046508"/>
                  <a:gd name="connsiteX79" fmla="*/ 410901 w 1200744"/>
                  <a:gd name="connsiteY79" fmla="*/ 965065 h 1046508"/>
                  <a:gd name="connsiteX80" fmla="*/ 407153 w 1200744"/>
                  <a:gd name="connsiteY80" fmla="*/ 946496 h 1046508"/>
                  <a:gd name="connsiteX81" fmla="*/ 190500 w 1200744"/>
                  <a:gd name="connsiteY81" fmla="*/ 946496 h 1046508"/>
                  <a:gd name="connsiteX82" fmla="*/ 59532 w 1200744"/>
                  <a:gd name="connsiteY82" fmla="*/ 825052 h 1046508"/>
                  <a:gd name="connsiteX83" fmla="*/ 59432 w 1200744"/>
                  <a:gd name="connsiteY83" fmla="*/ 710643 h 1046508"/>
                  <a:gd name="connsiteX84" fmla="*/ 48816 w 1200744"/>
                  <a:gd name="connsiteY84" fmla="*/ 710643 h 1046508"/>
                  <a:gd name="connsiteX85" fmla="*/ 14298 w 1200744"/>
                  <a:gd name="connsiteY85" fmla="*/ 696345 h 1046508"/>
                  <a:gd name="connsiteX86" fmla="*/ 0 w 1200744"/>
                  <a:gd name="connsiteY86" fmla="*/ 661828 h 1046508"/>
                  <a:gd name="connsiteX87" fmla="*/ 14298 w 1200744"/>
                  <a:gd name="connsiteY87" fmla="*/ 627310 h 1046508"/>
                  <a:gd name="connsiteX88" fmla="*/ 48816 w 1200744"/>
                  <a:gd name="connsiteY88" fmla="*/ 613012 h 1046508"/>
                  <a:gd name="connsiteX89" fmla="*/ 59346 w 1200744"/>
                  <a:gd name="connsiteY89" fmla="*/ 613012 h 1046508"/>
                  <a:gd name="connsiteX90" fmla="*/ 59247 w 1200744"/>
                  <a:gd name="connsiteY90" fmla="*/ 501147 h 1046508"/>
                  <a:gd name="connsiteX91" fmla="*/ 48816 w 1200744"/>
                  <a:gd name="connsiteY91" fmla="*/ 501147 h 1046508"/>
                  <a:gd name="connsiteX92" fmla="*/ 14298 w 1200744"/>
                  <a:gd name="connsiteY92" fmla="*/ 486849 h 1046508"/>
                  <a:gd name="connsiteX93" fmla="*/ 0 w 1200744"/>
                  <a:gd name="connsiteY93" fmla="*/ 452332 h 1046508"/>
                  <a:gd name="connsiteX94" fmla="*/ 14298 w 1200744"/>
                  <a:gd name="connsiteY94" fmla="*/ 417814 h 1046508"/>
                  <a:gd name="connsiteX95" fmla="*/ 48816 w 1200744"/>
                  <a:gd name="connsiteY95" fmla="*/ 403516 h 1046508"/>
                  <a:gd name="connsiteX96" fmla="*/ 59161 w 1200744"/>
                  <a:gd name="connsiteY96" fmla="*/ 403516 h 1046508"/>
                  <a:gd name="connsiteX97" fmla="*/ 59063 w 1200744"/>
                  <a:gd name="connsiteY97" fmla="*/ 291651 h 1046508"/>
                  <a:gd name="connsiteX98" fmla="*/ 48816 w 1200744"/>
                  <a:gd name="connsiteY98" fmla="*/ 291651 h 1046508"/>
                  <a:gd name="connsiteX99" fmla="*/ 14298 w 1200744"/>
                  <a:gd name="connsiteY99" fmla="*/ 277353 h 1046508"/>
                  <a:gd name="connsiteX100" fmla="*/ 0 w 1200744"/>
                  <a:gd name="connsiteY100" fmla="*/ 242836 h 1046508"/>
                  <a:gd name="connsiteX101" fmla="*/ 14298 w 1200744"/>
                  <a:gd name="connsiteY101" fmla="*/ 208318 h 1046508"/>
                  <a:gd name="connsiteX102" fmla="*/ 48816 w 1200744"/>
                  <a:gd name="connsiteY102" fmla="*/ 194020 h 1046508"/>
                  <a:gd name="connsiteX103" fmla="*/ 58977 w 1200744"/>
                  <a:gd name="connsiteY103" fmla="*/ 19402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792956 w 1200744"/>
                  <a:gd name="connsiteY49" fmla="*/ 387635 h 1046508"/>
                  <a:gd name="connsiteX50" fmla="*/ 883444 w 1200744"/>
                  <a:gd name="connsiteY50" fmla="*/ 376884 h 1046508"/>
                  <a:gd name="connsiteX51" fmla="*/ 1157493 w 1200744"/>
                  <a:gd name="connsiteY51" fmla="*/ 347675 h 1046508"/>
                  <a:gd name="connsiteX52" fmla="*/ 1200471 w 1200744"/>
                  <a:gd name="connsiteY52" fmla="*/ 381525 h 1046508"/>
                  <a:gd name="connsiteX53" fmla="*/ 1200470 w 1200744"/>
                  <a:gd name="connsiteY53" fmla="*/ 381526 h 1046508"/>
                  <a:gd name="connsiteX54" fmla="*/ 1166620 w 1200744"/>
                  <a:gd name="connsiteY54" fmla="*/ 424503 h 1046508"/>
                  <a:gd name="connsiteX55" fmla="*/ 883444 w 1200744"/>
                  <a:gd name="connsiteY55" fmla="*/ 458146 h 1046508"/>
                  <a:gd name="connsiteX56" fmla="*/ 883444 w 1200744"/>
                  <a:gd name="connsiteY56" fmla="*/ 506141 h 1046508"/>
                  <a:gd name="connsiteX57" fmla="*/ 792956 w 1200744"/>
                  <a:gd name="connsiteY57" fmla="*/ 516892 h 1046508"/>
                  <a:gd name="connsiteX58" fmla="*/ 792956 w 1200744"/>
                  <a:gd name="connsiteY58" fmla="*/ 468897 h 1046508"/>
                  <a:gd name="connsiteX59" fmla="*/ 688181 w 1200744"/>
                  <a:gd name="connsiteY59" fmla="*/ 481345 h 1046508"/>
                  <a:gd name="connsiteX60" fmla="*/ 688181 w 1200744"/>
                  <a:gd name="connsiteY60" fmla="*/ 529340 h 1046508"/>
                  <a:gd name="connsiteX61" fmla="*/ 418176 w 1200744"/>
                  <a:gd name="connsiteY61" fmla="*/ 561418 h 1046508"/>
                  <a:gd name="connsiteX62" fmla="*/ 392350 w 1200744"/>
                  <a:gd name="connsiteY62" fmla="*/ 575897 h 1046508"/>
                  <a:gd name="connsiteX63" fmla="*/ 384326 w 1200744"/>
                  <a:gd name="connsiteY63" fmla="*/ 604396 h 1046508"/>
                  <a:gd name="connsiteX64" fmla="*/ 398804 w 1200744"/>
                  <a:gd name="connsiteY64" fmla="*/ 630221 h 1046508"/>
                  <a:gd name="connsiteX65" fmla="*/ 427304 w 1200744"/>
                  <a:gd name="connsiteY65" fmla="*/ 638245 h 1046508"/>
                  <a:gd name="connsiteX66" fmla="*/ 1104900 w 1200744"/>
                  <a:gd name="connsiteY66" fmla="*/ 557742 h 1046508"/>
                  <a:gd name="connsiteX67" fmla="*/ 1104900 w 1200744"/>
                  <a:gd name="connsiteY67" fmla="*/ 558713 h 1046508"/>
                  <a:gd name="connsiteX68" fmla="*/ 1157491 w 1200744"/>
                  <a:gd name="connsiteY68" fmla="*/ 552464 h 1046508"/>
                  <a:gd name="connsiteX69" fmla="*/ 1200469 w 1200744"/>
                  <a:gd name="connsiteY69" fmla="*/ 586314 h 1046508"/>
                  <a:gd name="connsiteX70" fmla="*/ 1200468 w 1200744"/>
                  <a:gd name="connsiteY70" fmla="*/ 586314 h 1046508"/>
                  <a:gd name="connsiteX71" fmla="*/ 1166618 w 1200744"/>
                  <a:gd name="connsiteY71" fmla="*/ 629292 h 1046508"/>
                  <a:gd name="connsiteX72" fmla="*/ 1104900 w 1200744"/>
                  <a:gd name="connsiteY72" fmla="*/ 636624 h 1046508"/>
                  <a:gd name="connsiteX73" fmla="*/ 1104900 w 1200744"/>
                  <a:gd name="connsiteY73" fmla="*/ 817908 h 1046508"/>
                  <a:gd name="connsiteX74" fmla="*/ 971550 w 1200744"/>
                  <a:gd name="connsiteY74" fmla="*/ 946496 h 1046508"/>
                  <a:gd name="connsiteX75" fmla="*/ 752889 w 1200744"/>
                  <a:gd name="connsiteY75" fmla="*/ 946496 h 1046508"/>
                  <a:gd name="connsiteX76" fmla="*/ 749140 w 1200744"/>
                  <a:gd name="connsiteY76" fmla="*/ 965065 h 1046508"/>
                  <a:gd name="connsiteX77" fmla="*/ 626271 w 1200744"/>
                  <a:gd name="connsiteY77" fmla="*/ 1046508 h 1046508"/>
                  <a:gd name="connsiteX78" fmla="*/ 533770 w 1200744"/>
                  <a:gd name="connsiteY78" fmla="*/ 1046508 h 1046508"/>
                  <a:gd name="connsiteX79" fmla="*/ 410901 w 1200744"/>
                  <a:gd name="connsiteY79" fmla="*/ 965065 h 1046508"/>
                  <a:gd name="connsiteX80" fmla="*/ 407153 w 1200744"/>
                  <a:gd name="connsiteY80" fmla="*/ 946496 h 1046508"/>
                  <a:gd name="connsiteX81" fmla="*/ 190500 w 1200744"/>
                  <a:gd name="connsiteY81" fmla="*/ 946496 h 1046508"/>
                  <a:gd name="connsiteX82" fmla="*/ 59532 w 1200744"/>
                  <a:gd name="connsiteY82" fmla="*/ 825052 h 1046508"/>
                  <a:gd name="connsiteX83" fmla="*/ 59432 w 1200744"/>
                  <a:gd name="connsiteY83" fmla="*/ 710643 h 1046508"/>
                  <a:gd name="connsiteX84" fmla="*/ 48816 w 1200744"/>
                  <a:gd name="connsiteY84" fmla="*/ 710643 h 1046508"/>
                  <a:gd name="connsiteX85" fmla="*/ 14298 w 1200744"/>
                  <a:gd name="connsiteY85" fmla="*/ 696345 h 1046508"/>
                  <a:gd name="connsiteX86" fmla="*/ 0 w 1200744"/>
                  <a:gd name="connsiteY86" fmla="*/ 661828 h 1046508"/>
                  <a:gd name="connsiteX87" fmla="*/ 14298 w 1200744"/>
                  <a:gd name="connsiteY87" fmla="*/ 627310 h 1046508"/>
                  <a:gd name="connsiteX88" fmla="*/ 48816 w 1200744"/>
                  <a:gd name="connsiteY88" fmla="*/ 613012 h 1046508"/>
                  <a:gd name="connsiteX89" fmla="*/ 59346 w 1200744"/>
                  <a:gd name="connsiteY89" fmla="*/ 613012 h 1046508"/>
                  <a:gd name="connsiteX90" fmla="*/ 59247 w 1200744"/>
                  <a:gd name="connsiteY90" fmla="*/ 501147 h 1046508"/>
                  <a:gd name="connsiteX91" fmla="*/ 48816 w 1200744"/>
                  <a:gd name="connsiteY91" fmla="*/ 501147 h 1046508"/>
                  <a:gd name="connsiteX92" fmla="*/ 14298 w 1200744"/>
                  <a:gd name="connsiteY92" fmla="*/ 486849 h 1046508"/>
                  <a:gd name="connsiteX93" fmla="*/ 0 w 1200744"/>
                  <a:gd name="connsiteY93" fmla="*/ 452332 h 1046508"/>
                  <a:gd name="connsiteX94" fmla="*/ 14298 w 1200744"/>
                  <a:gd name="connsiteY94" fmla="*/ 417814 h 1046508"/>
                  <a:gd name="connsiteX95" fmla="*/ 48816 w 1200744"/>
                  <a:gd name="connsiteY95" fmla="*/ 403516 h 1046508"/>
                  <a:gd name="connsiteX96" fmla="*/ 59161 w 1200744"/>
                  <a:gd name="connsiteY96" fmla="*/ 403516 h 1046508"/>
                  <a:gd name="connsiteX97" fmla="*/ 59063 w 1200744"/>
                  <a:gd name="connsiteY97" fmla="*/ 291651 h 1046508"/>
                  <a:gd name="connsiteX98" fmla="*/ 48816 w 1200744"/>
                  <a:gd name="connsiteY98" fmla="*/ 291651 h 1046508"/>
                  <a:gd name="connsiteX99" fmla="*/ 14298 w 1200744"/>
                  <a:gd name="connsiteY99" fmla="*/ 277353 h 1046508"/>
                  <a:gd name="connsiteX100" fmla="*/ 0 w 1200744"/>
                  <a:gd name="connsiteY100" fmla="*/ 242836 h 1046508"/>
                  <a:gd name="connsiteX101" fmla="*/ 14298 w 1200744"/>
                  <a:gd name="connsiteY101" fmla="*/ 208318 h 1046508"/>
                  <a:gd name="connsiteX102" fmla="*/ 48816 w 1200744"/>
                  <a:gd name="connsiteY102" fmla="*/ 194020 h 1046508"/>
                  <a:gd name="connsiteX103" fmla="*/ 58977 w 1200744"/>
                  <a:gd name="connsiteY103" fmla="*/ 194020 h 1046508"/>
                  <a:gd name="connsiteX104" fmla="*/ 58806 w 1200744"/>
                  <a:gd name="connsiteY104"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792956 w 1200744"/>
                  <a:gd name="connsiteY49" fmla="*/ 387635 h 1046508"/>
                  <a:gd name="connsiteX50" fmla="*/ 1157493 w 1200744"/>
                  <a:gd name="connsiteY50" fmla="*/ 347675 h 1046508"/>
                  <a:gd name="connsiteX51" fmla="*/ 1200471 w 1200744"/>
                  <a:gd name="connsiteY51" fmla="*/ 381525 h 1046508"/>
                  <a:gd name="connsiteX52" fmla="*/ 1200470 w 1200744"/>
                  <a:gd name="connsiteY52" fmla="*/ 381526 h 1046508"/>
                  <a:gd name="connsiteX53" fmla="*/ 1166620 w 1200744"/>
                  <a:gd name="connsiteY53" fmla="*/ 424503 h 1046508"/>
                  <a:gd name="connsiteX54" fmla="*/ 883444 w 1200744"/>
                  <a:gd name="connsiteY54" fmla="*/ 458146 h 1046508"/>
                  <a:gd name="connsiteX55" fmla="*/ 883444 w 1200744"/>
                  <a:gd name="connsiteY55" fmla="*/ 506141 h 1046508"/>
                  <a:gd name="connsiteX56" fmla="*/ 792956 w 1200744"/>
                  <a:gd name="connsiteY56" fmla="*/ 516892 h 1046508"/>
                  <a:gd name="connsiteX57" fmla="*/ 792956 w 1200744"/>
                  <a:gd name="connsiteY57" fmla="*/ 468897 h 1046508"/>
                  <a:gd name="connsiteX58" fmla="*/ 688181 w 1200744"/>
                  <a:gd name="connsiteY58" fmla="*/ 481345 h 1046508"/>
                  <a:gd name="connsiteX59" fmla="*/ 688181 w 1200744"/>
                  <a:gd name="connsiteY59" fmla="*/ 529340 h 1046508"/>
                  <a:gd name="connsiteX60" fmla="*/ 418176 w 1200744"/>
                  <a:gd name="connsiteY60" fmla="*/ 561418 h 1046508"/>
                  <a:gd name="connsiteX61" fmla="*/ 392350 w 1200744"/>
                  <a:gd name="connsiteY61" fmla="*/ 575897 h 1046508"/>
                  <a:gd name="connsiteX62" fmla="*/ 384326 w 1200744"/>
                  <a:gd name="connsiteY62" fmla="*/ 604396 h 1046508"/>
                  <a:gd name="connsiteX63" fmla="*/ 398804 w 1200744"/>
                  <a:gd name="connsiteY63" fmla="*/ 630221 h 1046508"/>
                  <a:gd name="connsiteX64" fmla="*/ 427304 w 1200744"/>
                  <a:gd name="connsiteY64" fmla="*/ 638245 h 1046508"/>
                  <a:gd name="connsiteX65" fmla="*/ 1104900 w 1200744"/>
                  <a:gd name="connsiteY65" fmla="*/ 557742 h 1046508"/>
                  <a:gd name="connsiteX66" fmla="*/ 1104900 w 1200744"/>
                  <a:gd name="connsiteY66" fmla="*/ 558713 h 1046508"/>
                  <a:gd name="connsiteX67" fmla="*/ 1157491 w 1200744"/>
                  <a:gd name="connsiteY67" fmla="*/ 552464 h 1046508"/>
                  <a:gd name="connsiteX68" fmla="*/ 1200469 w 1200744"/>
                  <a:gd name="connsiteY68" fmla="*/ 586314 h 1046508"/>
                  <a:gd name="connsiteX69" fmla="*/ 1200468 w 1200744"/>
                  <a:gd name="connsiteY69" fmla="*/ 586314 h 1046508"/>
                  <a:gd name="connsiteX70" fmla="*/ 1166618 w 1200744"/>
                  <a:gd name="connsiteY70" fmla="*/ 629292 h 1046508"/>
                  <a:gd name="connsiteX71" fmla="*/ 1104900 w 1200744"/>
                  <a:gd name="connsiteY71" fmla="*/ 636624 h 1046508"/>
                  <a:gd name="connsiteX72" fmla="*/ 1104900 w 1200744"/>
                  <a:gd name="connsiteY72" fmla="*/ 817908 h 1046508"/>
                  <a:gd name="connsiteX73" fmla="*/ 971550 w 1200744"/>
                  <a:gd name="connsiteY73" fmla="*/ 946496 h 1046508"/>
                  <a:gd name="connsiteX74" fmla="*/ 752889 w 1200744"/>
                  <a:gd name="connsiteY74" fmla="*/ 946496 h 1046508"/>
                  <a:gd name="connsiteX75" fmla="*/ 749140 w 1200744"/>
                  <a:gd name="connsiteY75" fmla="*/ 965065 h 1046508"/>
                  <a:gd name="connsiteX76" fmla="*/ 626271 w 1200744"/>
                  <a:gd name="connsiteY76" fmla="*/ 1046508 h 1046508"/>
                  <a:gd name="connsiteX77" fmla="*/ 533770 w 1200744"/>
                  <a:gd name="connsiteY77" fmla="*/ 1046508 h 1046508"/>
                  <a:gd name="connsiteX78" fmla="*/ 410901 w 1200744"/>
                  <a:gd name="connsiteY78" fmla="*/ 965065 h 1046508"/>
                  <a:gd name="connsiteX79" fmla="*/ 407153 w 1200744"/>
                  <a:gd name="connsiteY79" fmla="*/ 946496 h 1046508"/>
                  <a:gd name="connsiteX80" fmla="*/ 190500 w 1200744"/>
                  <a:gd name="connsiteY80" fmla="*/ 946496 h 1046508"/>
                  <a:gd name="connsiteX81" fmla="*/ 59532 w 1200744"/>
                  <a:gd name="connsiteY81" fmla="*/ 825052 h 1046508"/>
                  <a:gd name="connsiteX82" fmla="*/ 59432 w 1200744"/>
                  <a:gd name="connsiteY82" fmla="*/ 710643 h 1046508"/>
                  <a:gd name="connsiteX83" fmla="*/ 48816 w 1200744"/>
                  <a:gd name="connsiteY83" fmla="*/ 710643 h 1046508"/>
                  <a:gd name="connsiteX84" fmla="*/ 14298 w 1200744"/>
                  <a:gd name="connsiteY84" fmla="*/ 696345 h 1046508"/>
                  <a:gd name="connsiteX85" fmla="*/ 0 w 1200744"/>
                  <a:gd name="connsiteY85" fmla="*/ 661828 h 1046508"/>
                  <a:gd name="connsiteX86" fmla="*/ 14298 w 1200744"/>
                  <a:gd name="connsiteY86" fmla="*/ 627310 h 1046508"/>
                  <a:gd name="connsiteX87" fmla="*/ 48816 w 1200744"/>
                  <a:gd name="connsiteY87" fmla="*/ 613012 h 1046508"/>
                  <a:gd name="connsiteX88" fmla="*/ 59346 w 1200744"/>
                  <a:gd name="connsiteY88" fmla="*/ 613012 h 1046508"/>
                  <a:gd name="connsiteX89" fmla="*/ 59247 w 1200744"/>
                  <a:gd name="connsiteY89" fmla="*/ 501147 h 1046508"/>
                  <a:gd name="connsiteX90" fmla="*/ 48816 w 1200744"/>
                  <a:gd name="connsiteY90" fmla="*/ 501147 h 1046508"/>
                  <a:gd name="connsiteX91" fmla="*/ 14298 w 1200744"/>
                  <a:gd name="connsiteY91" fmla="*/ 486849 h 1046508"/>
                  <a:gd name="connsiteX92" fmla="*/ 0 w 1200744"/>
                  <a:gd name="connsiteY92" fmla="*/ 452332 h 1046508"/>
                  <a:gd name="connsiteX93" fmla="*/ 14298 w 1200744"/>
                  <a:gd name="connsiteY93" fmla="*/ 417814 h 1046508"/>
                  <a:gd name="connsiteX94" fmla="*/ 48816 w 1200744"/>
                  <a:gd name="connsiteY94" fmla="*/ 403516 h 1046508"/>
                  <a:gd name="connsiteX95" fmla="*/ 59161 w 1200744"/>
                  <a:gd name="connsiteY95" fmla="*/ 403516 h 1046508"/>
                  <a:gd name="connsiteX96" fmla="*/ 59063 w 1200744"/>
                  <a:gd name="connsiteY96" fmla="*/ 291651 h 1046508"/>
                  <a:gd name="connsiteX97" fmla="*/ 48816 w 1200744"/>
                  <a:gd name="connsiteY97" fmla="*/ 291651 h 1046508"/>
                  <a:gd name="connsiteX98" fmla="*/ 14298 w 1200744"/>
                  <a:gd name="connsiteY98" fmla="*/ 277353 h 1046508"/>
                  <a:gd name="connsiteX99" fmla="*/ 0 w 1200744"/>
                  <a:gd name="connsiteY99" fmla="*/ 242836 h 1046508"/>
                  <a:gd name="connsiteX100" fmla="*/ 14298 w 1200744"/>
                  <a:gd name="connsiteY100" fmla="*/ 208318 h 1046508"/>
                  <a:gd name="connsiteX101" fmla="*/ 48816 w 1200744"/>
                  <a:gd name="connsiteY101" fmla="*/ 194020 h 1046508"/>
                  <a:gd name="connsiteX102" fmla="*/ 58977 w 1200744"/>
                  <a:gd name="connsiteY102" fmla="*/ 194020 h 1046508"/>
                  <a:gd name="connsiteX103" fmla="*/ 58806 w 1200744"/>
                  <a:gd name="connsiteY103"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1157493 w 1200744"/>
                  <a:gd name="connsiteY49" fmla="*/ 347675 h 1046508"/>
                  <a:gd name="connsiteX50" fmla="*/ 1200471 w 1200744"/>
                  <a:gd name="connsiteY50" fmla="*/ 381525 h 1046508"/>
                  <a:gd name="connsiteX51" fmla="*/ 1200470 w 1200744"/>
                  <a:gd name="connsiteY51" fmla="*/ 381526 h 1046508"/>
                  <a:gd name="connsiteX52" fmla="*/ 1166620 w 1200744"/>
                  <a:gd name="connsiteY52" fmla="*/ 424503 h 1046508"/>
                  <a:gd name="connsiteX53" fmla="*/ 883444 w 1200744"/>
                  <a:gd name="connsiteY53" fmla="*/ 458146 h 1046508"/>
                  <a:gd name="connsiteX54" fmla="*/ 883444 w 1200744"/>
                  <a:gd name="connsiteY54" fmla="*/ 506141 h 1046508"/>
                  <a:gd name="connsiteX55" fmla="*/ 792956 w 1200744"/>
                  <a:gd name="connsiteY55" fmla="*/ 516892 h 1046508"/>
                  <a:gd name="connsiteX56" fmla="*/ 792956 w 1200744"/>
                  <a:gd name="connsiteY56" fmla="*/ 468897 h 1046508"/>
                  <a:gd name="connsiteX57" fmla="*/ 688181 w 1200744"/>
                  <a:gd name="connsiteY57" fmla="*/ 481345 h 1046508"/>
                  <a:gd name="connsiteX58" fmla="*/ 688181 w 1200744"/>
                  <a:gd name="connsiteY58" fmla="*/ 529340 h 1046508"/>
                  <a:gd name="connsiteX59" fmla="*/ 418176 w 1200744"/>
                  <a:gd name="connsiteY59" fmla="*/ 561418 h 1046508"/>
                  <a:gd name="connsiteX60" fmla="*/ 392350 w 1200744"/>
                  <a:gd name="connsiteY60" fmla="*/ 575897 h 1046508"/>
                  <a:gd name="connsiteX61" fmla="*/ 384326 w 1200744"/>
                  <a:gd name="connsiteY61" fmla="*/ 604396 h 1046508"/>
                  <a:gd name="connsiteX62" fmla="*/ 398804 w 1200744"/>
                  <a:gd name="connsiteY62" fmla="*/ 630221 h 1046508"/>
                  <a:gd name="connsiteX63" fmla="*/ 427304 w 1200744"/>
                  <a:gd name="connsiteY63" fmla="*/ 638245 h 1046508"/>
                  <a:gd name="connsiteX64" fmla="*/ 1104900 w 1200744"/>
                  <a:gd name="connsiteY64" fmla="*/ 557742 h 1046508"/>
                  <a:gd name="connsiteX65" fmla="*/ 1104900 w 1200744"/>
                  <a:gd name="connsiteY65" fmla="*/ 558713 h 1046508"/>
                  <a:gd name="connsiteX66" fmla="*/ 1157491 w 1200744"/>
                  <a:gd name="connsiteY66" fmla="*/ 552464 h 1046508"/>
                  <a:gd name="connsiteX67" fmla="*/ 1200469 w 1200744"/>
                  <a:gd name="connsiteY67" fmla="*/ 586314 h 1046508"/>
                  <a:gd name="connsiteX68" fmla="*/ 1200468 w 1200744"/>
                  <a:gd name="connsiteY68" fmla="*/ 586314 h 1046508"/>
                  <a:gd name="connsiteX69" fmla="*/ 1166618 w 1200744"/>
                  <a:gd name="connsiteY69" fmla="*/ 629292 h 1046508"/>
                  <a:gd name="connsiteX70" fmla="*/ 1104900 w 1200744"/>
                  <a:gd name="connsiteY70" fmla="*/ 636624 h 1046508"/>
                  <a:gd name="connsiteX71" fmla="*/ 1104900 w 1200744"/>
                  <a:gd name="connsiteY71" fmla="*/ 817908 h 1046508"/>
                  <a:gd name="connsiteX72" fmla="*/ 971550 w 1200744"/>
                  <a:gd name="connsiteY72" fmla="*/ 946496 h 1046508"/>
                  <a:gd name="connsiteX73" fmla="*/ 752889 w 1200744"/>
                  <a:gd name="connsiteY73" fmla="*/ 946496 h 1046508"/>
                  <a:gd name="connsiteX74" fmla="*/ 749140 w 1200744"/>
                  <a:gd name="connsiteY74" fmla="*/ 965065 h 1046508"/>
                  <a:gd name="connsiteX75" fmla="*/ 626271 w 1200744"/>
                  <a:gd name="connsiteY75" fmla="*/ 1046508 h 1046508"/>
                  <a:gd name="connsiteX76" fmla="*/ 533770 w 1200744"/>
                  <a:gd name="connsiteY76" fmla="*/ 1046508 h 1046508"/>
                  <a:gd name="connsiteX77" fmla="*/ 410901 w 1200744"/>
                  <a:gd name="connsiteY77" fmla="*/ 965065 h 1046508"/>
                  <a:gd name="connsiteX78" fmla="*/ 407153 w 1200744"/>
                  <a:gd name="connsiteY78" fmla="*/ 946496 h 1046508"/>
                  <a:gd name="connsiteX79" fmla="*/ 190500 w 1200744"/>
                  <a:gd name="connsiteY79" fmla="*/ 946496 h 1046508"/>
                  <a:gd name="connsiteX80" fmla="*/ 59532 w 1200744"/>
                  <a:gd name="connsiteY80" fmla="*/ 825052 h 1046508"/>
                  <a:gd name="connsiteX81" fmla="*/ 59432 w 1200744"/>
                  <a:gd name="connsiteY81" fmla="*/ 710643 h 1046508"/>
                  <a:gd name="connsiteX82" fmla="*/ 48816 w 1200744"/>
                  <a:gd name="connsiteY82" fmla="*/ 710643 h 1046508"/>
                  <a:gd name="connsiteX83" fmla="*/ 14298 w 1200744"/>
                  <a:gd name="connsiteY83" fmla="*/ 696345 h 1046508"/>
                  <a:gd name="connsiteX84" fmla="*/ 0 w 1200744"/>
                  <a:gd name="connsiteY84" fmla="*/ 661828 h 1046508"/>
                  <a:gd name="connsiteX85" fmla="*/ 14298 w 1200744"/>
                  <a:gd name="connsiteY85" fmla="*/ 627310 h 1046508"/>
                  <a:gd name="connsiteX86" fmla="*/ 48816 w 1200744"/>
                  <a:gd name="connsiteY86" fmla="*/ 613012 h 1046508"/>
                  <a:gd name="connsiteX87" fmla="*/ 59346 w 1200744"/>
                  <a:gd name="connsiteY87" fmla="*/ 613012 h 1046508"/>
                  <a:gd name="connsiteX88" fmla="*/ 59247 w 1200744"/>
                  <a:gd name="connsiteY88" fmla="*/ 501147 h 1046508"/>
                  <a:gd name="connsiteX89" fmla="*/ 48816 w 1200744"/>
                  <a:gd name="connsiteY89" fmla="*/ 501147 h 1046508"/>
                  <a:gd name="connsiteX90" fmla="*/ 14298 w 1200744"/>
                  <a:gd name="connsiteY90" fmla="*/ 486849 h 1046508"/>
                  <a:gd name="connsiteX91" fmla="*/ 0 w 1200744"/>
                  <a:gd name="connsiteY91" fmla="*/ 452332 h 1046508"/>
                  <a:gd name="connsiteX92" fmla="*/ 14298 w 1200744"/>
                  <a:gd name="connsiteY92" fmla="*/ 417814 h 1046508"/>
                  <a:gd name="connsiteX93" fmla="*/ 48816 w 1200744"/>
                  <a:gd name="connsiteY93" fmla="*/ 403516 h 1046508"/>
                  <a:gd name="connsiteX94" fmla="*/ 59161 w 1200744"/>
                  <a:gd name="connsiteY94" fmla="*/ 403516 h 1046508"/>
                  <a:gd name="connsiteX95" fmla="*/ 59063 w 1200744"/>
                  <a:gd name="connsiteY95" fmla="*/ 291651 h 1046508"/>
                  <a:gd name="connsiteX96" fmla="*/ 48816 w 1200744"/>
                  <a:gd name="connsiteY96" fmla="*/ 291651 h 1046508"/>
                  <a:gd name="connsiteX97" fmla="*/ 14298 w 1200744"/>
                  <a:gd name="connsiteY97" fmla="*/ 277353 h 1046508"/>
                  <a:gd name="connsiteX98" fmla="*/ 0 w 1200744"/>
                  <a:gd name="connsiteY98" fmla="*/ 242836 h 1046508"/>
                  <a:gd name="connsiteX99" fmla="*/ 14298 w 1200744"/>
                  <a:gd name="connsiteY99" fmla="*/ 208318 h 1046508"/>
                  <a:gd name="connsiteX100" fmla="*/ 48816 w 1200744"/>
                  <a:gd name="connsiteY100" fmla="*/ 194020 h 1046508"/>
                  <a:gd name="connsiteX101" fmla="*/ 58977 w 1200744"/>
                  <a:gd name="connsiteY101" fmla="*/ 194020 h 1046508"/>
                  <a:gd name="connsiteX102" fmla="*/ 58806 w 1200744"/>
                  <a:gd name="connsiteY102"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1157493 w 1200744"/>
                  <a:gd name="connsiteY48" fmla="*/ 347675 h 1046508"/>
                  <a:gd name="connsiteX49" fmla="*/ 1200471 w 1200744"/>
                  <a:gd name="connsiteY49" fmla="*/ 381525 h 1046508"/>
                  <a:gd name="connsiteX50" fmla="*/ 1200470 w 1200744"/>
                  <a:gd name="connsiteY50" fmla="*/ 381526 h 1046508"/>
                  <a:gd name="connsiteX51" fmla="*/ 1166620 w 1200744"/>
                  <a:gd name="connsiteY51" fmla="*/ 424503 h 1046508"/>
                  <a:gd name="connsiteX52" fmla="*/ 883444 w 1200744"/>
                  <a:gd name="connsiteY52" fmla="*/ 458146 h 1046508"/>
                  <a:gd name="connsiteX53" fmla="*/ 883444 w 1200744"/>
                  <a:gd name="connsiteY53" fmla="*/ 506141 h 1046508"/>
                  <a:gd name="connsiteX54" fmla="*/ 792956 w 1200744"/>
                  <a:gd name="connsiteY54" fmla="*/ 516892 h 1046508"/>
                  <a:gd name="connsiteX55" fmla="*/ 792956 w 1200744"/>
                  <a:gd name="connsiteY55" fmla="*/ 468897 h 1046508"/>
                  <a:gd name="connsiteX56" fmla="*/ 688181 w 1200744"/>
                  <a:gd name="connsiteY56" fmla="*/ 481345 h 1046508"/>
                  <a:gd name="connsiteX57" fmla="*/ 688181 w 1200744"/>
                  <a:gd name="connsiteY57" fmla="*/ 529340 h 1046508"/>
                  <a:gd name="connsiteX58" fmla="*/ 418176 w 1200744"/>
                  <a:gd name="connsiteY58" fmla="*/ 561418 h 1046508"/>
                  <a:gd name="connsiteX59" fmla="*/ 392350 w 1200744"/>
                  <a:gd name="connsiteY59" fmla="*/ 575897 h 1046508"/>
                  <a:gd name="connsiteX60" fmla="*/ 384326 w 1200744"/>
                  <a:gd name="connsiteY60" fmla="*/ 604396 h 1046508"/>
                  <a:gd name="connsiteX61" fmla="*/ 398804 w 1200744"/>
                  <a:gd name="connsiteY61" fmla="*/ 630221 h 1046508"/>
                  <a:gd name="connsiteX62" fmla="*/ 427304 w 1200744"/>
                  <a:gd name="connsiteY62" fmla="*/ 638245 h 1046508"/>
                  <a:gd name="connsiteX63" fmla="*/ 1104900 w 1200744"/>
                  <a:gd name="connsiteY63" fmla="*/ 557742 h 1046508"/>
                  <a:gd name="connsiteX64" fmla="*/ 1104900 w 1200744"/>
                  <a:gd name="connsiteY64" fmla="*/ 558713 h 1046508"/>
                  <a:gd name="connsiteX65" fmla="*/ 1157491 w 1200744"/>
                  <a:gd name="connsiteY65" fmla="*/ 552464 h 1046508"/>
                  <a:gd name="connsiteX66" fmla="*/ 1200469 w 1200744"/>
                  <a:gd name="connsiteY66" fmla="*/ 586314 h 1046508"/>
                  <a:gd name="connsiteX67" fmla="*/ 1200468 w 1200744"/>
                  <a:gd name="connsiteY67" fmla="*/ 586314 h 1046508"/>
                  <a:gd name="connsiteX68" fmla="*/ 1166618 w 1200744"/>
                  <a:gd name="connsiteY68" fmla="*/ 629292 h 1046508"/>
                  <a:gd name="connsiteX69" fmla="*/ 1104900 w 1200744"/>
                  <a:gd name="connsiteY69" fmla="*/ 636624 h 1046508"/>
                  <a:gd name="connsiteX70" fmla="*/ 1104900 w 1200744"/>
                  <a:gd name="connsiteY70" fmla="*/ 817908 h 1046508"/>
                  <a:gd name="connsiteX71" fmla="*/ 971550 w 1200744"/>
                  <a:gd name="connsiteY71" fmla="*/ 946496 h 1046508"/>
                  <a:gd name="connsiteX72" fmla="*/ 752889 w 1200744"/>
                  <a:gd name="connsiteY72" fmla="*/ 946496 h 1046508"/>
                  <a:gd name="connsiteX73" fmla="*/ 749140 w 1200744"/>
                  <a:gd name="connsiteY73" fmla="*/ 965065 h 1046508"/>
                  <a:gd name="connsiteX74" fmla="*/ 626271 w 1200744"/>
                  <a:gd name="connsiteY74" fmla="*/ 1046508 h 1046508"/>
                  <a:gd name="connsiteX75" fmla="*/ 533770 w 1200744"/>
                  <a:gd name="connsiteY75" fmla="*/ 1046508 h 1046508"/>
                  <a:gd name="connsiteX76" fmla="*/ 410901 w 1200744"/>
                  <a:gd name="connsiteY76" fmla="*/ 965065 h 1046508"/>
                  <a:gd name="connsiteX77" fmla="*/ 407153 w 1200744"/>
                  <a:gd name="connsiteY77" fmla="*/ 946496 h 1046508"/>
                  <a:gd name="connsiteX78" fmla="*/ 190500 w 1200744"/>
                  <a:gd name="connsiteY78" fmla="*/ 946496 h 1046508"/>
                  <a:gd name="connsiteX79" fmla="*/ 59532 w 1200744"/>
                  <a:gd name="connsiteY79" fmla="*/ 825052 h 1046508"/>
                  <a:gd name="connsiteX80" fmla="*/ 59432 w 1200744"/>
                  <a:gd name="connsiteY80" fmla="*/ 710643 h 1046508"/>
                  <a:gd name="connsiteX81" fmla="*/ 48816 w 1200744"/>
                  <a:gd name="connsiteY81" fmla="*/ 710643 h 1046508"/>
                  <a:gd name="connsiteX82" fmla="*/ 14298 w 1200744"/>
                  <a:gd name="connsiteY82" fmla="*/ 696345 h 1046508"/>
                  <a:gd name="connsiteX83" fmla="*/ 0 w 1200744"/>
                  <a:gd name="connsiteY83" fmla="*/ 661828 h 1046508"/>
                  <a:gd name="connsiteX84" fmla="*/ 14298 w 1200744"/>
                  <a:gd name="connsiteY84" fmla="*/ 627310 h 1046508"/>
                  <a:gd name="connsiteX85" fmla="*/ 48816 w 1200744"/>
                  <a:gd name="connsiteY85" fmla="*/ 613012 h 1046508"/>
                  <a:gd name="connsiteX86" fmla="*/ 59346 w 1200744"/>
                  <a:gd name="connsiteY86" fmla="*/ 613012 h 1046508"/>
                  <a:gd name="connsiteX87" fmla="*/ 59247 w 1200744"/>
                  <a:gd name="connsiteY87" fmla="*/ 501147 h 1046508"/>
                  <a:gd name="connsiteX88" fmla="*/ 48816 w 1200744"/>
                  <a:gd name="connsiteY88" fmla="*/ 501147 h 1046508"/>
                  <a:gd name="connsiteX89" fmla="*/ 14298 w 1200744"/>
                  <a:gd name="connsiteY89" fmla="*/ 486849 h 1046508"/>
                  <a:gd name="connsiteX90" fmla="*/ 0 w 1200744"/>
                  <a:gd name="connsiteY90" fmla="*/ 452332 h 1046508"/>
                  <a:gd name="connsiteX91" fmla="*/ 14298 w 1200744"/>
                  <a:gd name="connsiteY91" fmla="*/ 417814 h 1046508"/>
                  <a:gd name="connsiteX92" fmla="*/ 48816 w 1200744"/>
                  <a:gd name="connsiteY92" fmla="*/ 403516 h 1046508"/>
                  <a:gd name="connsiteX93" fmla="*/ 59161 w 1200744"/>
                  <a:gd name="connsiteY93" fmla="*/ 403516 h 1046508"/>
                  <a:gd name="connsiteX94" fmla="*/ 59063 w 1200744"/>
                  <a:gd name="connsiteY94" fmla="*/ 291651 h 1046508"/>
                  <a:gd name="connsiteX95" fmla="*/ 48816 w 1200744"/>
                  <a:gd name="connsiteY95" fmla="*/ 291651 h 1046508"/>
                  <a:gd name="connsiteX96" fmla="*/ 14298 w 1200744"/>
                  <a:gd name="connsiteY96" fmla="*/ 277353 h 1046508"/>
                  <a:gd name="connsiteX97" fmla="*/ 0 w 1200744"/>
                  <a:gd name="connsiteY97" fmla="*/ 242836 h 1046508"/>
                  <a:gd name="connsiteX98" fmla="*/ 14298 w 1200744"/>
                  <a:gd name="connsiteY98" fmla="*/ 208318 h 1046508"/>
                  <a:gd name="connsiteX99" fmla="*/ 48816 w 1200744"/>
                  <a:gd name="connsiteY99" fmla="*/ 194020 h 1046508"/>
                  <a:gd name="connsiteX100" fmla="*/ 58977 w 1200744"/>
                  <a:gd name="connsiteY100" fmla="*/ 194020 h 1046508"/>
                  <a:gd name="connsiteX101" fmla="*/ 58806 w 1200744"/>
                  <a:gd name="connsiteY101"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1157493 w 1200744"/>
                  <a:gd name="connsiteY47" fmla="*/ 347675 h 1046508"/>
                  <a:gd name="connsiteX48" fmla="*/ 1200471 w 1200744"/>
                  <a:gd name="connsiteY48" fmla="*/ 381525 h 1046508"/>
                  <a:gd name="connsiteX49" fmla="*/ 1200470 w 1200744"/>
                  <a:gd name="connsiteY49" fmla="*/ 381526 h 1046508"/>
                  <a:gd name="connsiteX50" fmla="*/ 1166620 w 1200744"/>
                  <a:gd name="connsiteY50" fmla="*/ 424503 h 1046508"/>
                  <a:gd name="connsiteX51" fmla="*/ 883444 w 1200744"/>
                  <a:gd name="connsiteY51" fmla="*/ 458146 h 1046508"/>
                  <a:gd name="connsiteX52" fmla="*/ 883444 w 1200744"/>
                  <a:gd name="connsiteY52" fmla="*/ 506141 h 1046508"/>
                  <a:gd name="connsiteX53" fmla="*/ 792956 w 1200744"/>
                  <a:gd name="connsiteY53" fmla="*/ 516892 h 1046508"/>
                  <a:gd name="connsiteX54" fmla="*/ 792956 w 1200744"/>
                  <a:gd name="connsiteY54" fmla="*/ 468897 h 1046508"/>
                  <a:gd name="connsiteX55" fmla="*/ 688181 w 1200744"/>
                  <a:gd name="connsiteY55" fmla="*/ 481345 h 1046508"/>
                  <a:gd name="connsiteX56" fmla="*/ 688181 w 1200744"/>
                  <a:gd name="connsiteY56" fmla="*/ 529340 h 1046508"/>
                  <a:gd name="connsiteX57" fmla="*/ 418176 w 1200744"/>
                  <a:gd name="connsiteY57" fmla="*/ 561418 h 1046508"/>
                  <a:gd name="connsiteX58" fmla="*/ 392350 w 1200744"/>
                  <a:gd name="connsiteY58" fmla="*/ 575897 h 1046508"/>
                  <a:gd name="connsiteX59" fmla="*/ 384326 w 1200744"/>
                  <a:gd name="connsiteY59" fmla="*/ 604396 h 1046508"/>
                  <a:gd name="connsiteX60" fmla="*/ 398804 w 1200744"/>
                  <a:gd name="connsiteY60" fmla="*/ 630221 h 1046508"/>
                  <a:gd name="connsiteX61" fmla="*/ 427304 w 1200744"/>
                  <a:gd name="connsiteY61" fmla="*/ 638245 h 1046508"/>
                  <a:gd name="connsiteX62" fmla="*/ 1104900 w 1200744"/>
                  <a:gd name="connsiteY62" fmla="*/ 557742 h 1046508"/>
                  <a:gd name="connsiteX63" fmla="*/ 1104900 w 1200744"/>
                  <a:gd name="connsiteY63" fmla="*/ 558713 h 1046508"/>
                  <a:gd name="connsiteX64" fmla="*/ 1157491 w 1200744"/>
                  <a:gd name="connsiteY64" fmla="*/ 552464 h 1046508"/>
                  <a:gd name="connsiteX65" fmla="*/ 1200469 w 1200744"/>
                  <a:gd name="connsiteY65" fmla="*/ 586314 h 1046508"/>
                  <a:gd name="connsiteX66" fmla="*/ 1200468 w 1200744"/>
                  <a:gd name="connsiteY66" fmla="*/ 586314 h 1046508"/>
                  <a:gd name="connsiteX67" fmla="*/ 1166618 w 1200744"/>
                  <a:gd name="connsiteY67" fmla="*/ 629292 h 1046508"/>
                  <a:gd name="connsiteX68" fmla="*/ 1104900 w 1200744"/>
                  <a:gd name="connsiteY68" fmla="*/ 636624 h 1046508"/>
                  <a:gd name="connsiteX69" fmla="*/ 1104900 w 1200744"/>
                  <a:gd name="connsiteY69" fmla="*/ 817908 h 1046508"/>
                  <a:gd name="connsiteX70" fmla="*/ 971550 w 1200744"/>
                  <a:gd name="connsiteY70" fmla="*/ 946496 h 1046508"/>
                  <a:gd name="connsiteX71" fmla="*/ 752889 w 1200744"/>
                  <a:gd name="connsiteY71" fmla="*/ 946496 h 1046508"/>
                  <a:gd name="connsiteX72" fmla="*/ 749140 w 1200744"/>
                  <a:gd name="connsiteY72" fmla="*/ 965065 h 1046508"/>
                  <a:gd name="connsiteX73" fmla="*/ 626271 w 1200744"/>
                  <a:gd name="connsiteY73" fmla="*/ 1046508 h 1046508"/>
                  <a:gd name="connsiteX74" fmla="*/ 533770 w 1200744"/>
                  <a:gd name="connsiteY74" fmla="*/ 1046508 h 1046508"/>
                  <a:gd name="connsiteX75" fmla="*/ 410901 w 1200744"/>
                  <a:gd name="connsiteY75" fmla="*/ 965065 h 1046508"/>
                  <a:gd name="connsiteX76" fmla="*/ 407153 w 1200744"/>
                  <a:gd name="connsiteY76" fmla="*/ 946496 h 1046508"/>
                  <a:gd name="connsiteX77" fmla="*/ 190500 w 1200744"/>
                  <a:gd name="connsiteY77" fmla="*/ 946496 h 1046508"/>
                  <a:gd name="connsiteX78" fmla="*/ 59532 w 1200744"/>
                  <a:gd name="connsiteY78" fmla="*/ 825052 h 1046508"/>
                  <a:gd name="connsiteX79" fmla="*/ 59432 w 1200744"/>
                  <a:gd name="connsiteY79" fmla="*/ 710643 h 1046508"/>
                  <a:gd name="connsiteX80" fmla="*/ 48816 w 1200744"/>
                  <a:gd name="connsiteY80" fmla="*/ 710643 h 1046508"/>
                  <a:gd name="connsiteX81" fmla="*/ 14298 w 1200744"/>
                  <a:gd name="connsiteY81" fmla="*/ 696345 h 1046508"/>
                  <a:gd name="connsiteX82" fmla="*/ 0 w 1200744"/>
                  <a:gd name="connsiteY82" fmla="*/ 661828 h 1046508"/>
                  <a:gd name="connsiteX83" fmla="*/ 14298 w 1200744"/>
                  <a:gd name="connsiteY83" fmla="*/ 627310 h 1046508"/>
                  <a:gd name="connsiteX84" fmla="*/ 48816 w 1200744"/>
                  <a:gd name="connsiteY84" fmla="*/ 613012 h 1046508"/>
                  <a:gd name="connsiteX85" fmla="*/ 59346 w 1200744"/>
                  <a:gd name="connsiteY85" fmla="*/ 613012 h 1046508"/>
                  <a:gd name="connsiteX86" fmla="*/ 59247 w 1200744"/>
                  <a:gd name="connsiteY86" fmla="*/ 501147 h 1046508"/>
                  <a:gd name="connsiteX87" fmla="*/ 48816 w 1200744"/>
                  <a:gd name="connsiteY87" fmla="*/ 501147 h 1046508"/>
                  <a:gd name="connsiteX88" fmla="*/ 14298 w 1200744"/>
                  <a:gd name="connsiteY88" fmla="*/ 486849 h 1046508"/>
                  <a:gd name="connsiteX89" fmla="*/ 0 w 1200744"/>
                  <a:gd name="connsiteY89" fmla="*/ 452332 h 1046508"/>
                  <a:gd name="connsiteX90" fmla="*/ 14298 w 1200744"/>
                  <a:gd name="connsiteY90" fmla="*/ 417814 h 1046508"/>
                  <a:gd name="connsiteX91" fmla="*/ 48816 w 1200744"/>
                  <a:gd name="connsiteY91" fmla="*/ 403516 h 1046508"/>
                  <a:gd name="connsiteX92" fmla="*/ 59161 w 1200744"/>
                  <a:gd name="connsiteY92" fmla="*/ 403516 h 1046508"/>
                  <a:gd name="connsiteX93" fmla="*/ 59063 w 1200744"/>
                  <a:gd name="connsiteY93" fmla="*/ 291651 h 1046508"/>
                  <a:gd name="connsiteX94" fmla="*/ 48816 w 1200744"/>
                  <a:gd name="connsiteY94" fmla="*/ 291651 h 1046508"/>
                  <a:gd name="connsiteX95" fmla="*/ 14298 w 1200744"/>
                  <a:gd name="connsiteY95" fmla="*/ 277353 h 1046508"/>
                  <a:gd name="connsiteX96" fmla="*/ 0 w 1200744"/>
                  <a:gd name="connsiteY96" fmla="*/ 242836 h 1046508"/>
                  <a:gd name="connsiteX97" fmla="*/ 14298 w 1200744"/>
                  <a:gd name="connsiteY97" fmla="*/ 208318 h 1046508"/>
                  <a:gd name="connsiteX98" fmla="*/ 48816 w 1200744"/>
                  <a:gd name="connsiteY98" fmla="*/ 194020 h 1046508"/>
                  <a:gd name="connsiteX99" fmla="*/ 58977 w 1200744"/>
                  <a:gd name="connsiteY99" fmla="*/ 194020 h 1046508"/>
                  <a:gd name="connsiteX100" fmla="*/ 58806 w 1200744"/>
                  <a:gd name="connsiteY100"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1157493 w 1200744"/>
                  <a:gd name="connsiteY46" fmla="*/ 347675 h 1046508"/>
                  <a:gd name="connsiteX47" fmla="*/ 1200471 w 1200744"/>
                  <a:gd name="connsiteY47" fmla="*/ 381525 h 1046508"/>
                  <a:gd name="connsiteX48" fmla="*/ 1200470 w 1200744"/>
                  <a:gd name="connsiteY48" fmla="*/ 381526 h 1046508"/>
                  <a:gd name="connsiteX49" fmla="*/ 1166620 w 1200744"/>
                  <a:gd name="connsiteY49" fmla="*/ 424503 h 1046508"/>
                  <a:gd name="connsiteX50" fmla="*/ 883444 w 1200744"/>
                  <a:gd name="connsiteY50" fmla="*/ 458146 h 1046508"/>
                  <a:gd name="connsiteX51" fmla="*/ 883444 w 1200744"/>
                  <a:gd name="connsiteY51" fmla="*/ 506141 h 1046508"/>
                  <a:gd name="connsiteX52" fmla="*/ 792956 w 1200744"/>
                  <a:gd name="connsiteY52" fmla="*/ 516892 h 1046508"/>
                  <a:gd name="connsiteX53" fmla="*/ 792956 w 1200744"/>
                  <a:gd name="connsiteY53" fmla="*/ 468897 h 1046508"/>
                  <a:gd name="connsiteX54" fmla="*/ 688181 w 1200744"/>
                  <a:gd name="connsiteY54" fmla="*/ 481345 h 1046508"/>
                  <a:gd name="connsiteX55" fmla="*/ 688181 w 1200744"/>
                  <a:gd name="connsiteY55" fmla="*/ 529340 h 1046508"/>
                  <a:gd name="connsiteX56" fmla="*/ 418176 w 1200744"/>
                  <a:gd name="connsiteY56" fmla="*/ 561418 h 1046508"/>
                  <a:gd name="connsiteX57" fmla="*/ 392350 w 1200744"/>
                  <a:gd name="connsiteY57" fmla="*/ 575897 h 1046508"/>
                  <a:gd name="connsiteX58" fmla="*/ 384326 w 1200744"/>
                  <a:gd name="connsiteY58" fmla="*/ 604396 h 1046508"/>
                  <a:gd name="connsiteX59" fmla="*/ 398804 w 1200744"/>
                  <a:gd name="connsiteY59" fmla="*/ 630221 h 1046508"/>
                  <a:gd name="connsiteX60" fmla="*/ 427304 w 1200744"/>
                  <a:gd name="connsiteY60" fmla="*/ 638245 h 1046508"/>
                  <a:gd name="connsiteX61" fmla="*/ 1104900 w 1200744"/>
                  <a:gd name="connsiteY61" fmla="*/ 557742 h 1046508"/>
                  <a:gd name="connsiteX62" fmla="*/ 1104900 w 1200744"/>
                  <a:gd name="connsiteY62" fmla="*/ 558713 h 1046508"/>
                  <a:gd name="connsiteX63" fmla="*/ 1157491 w 1200744"/>
                  <a:gd name="connsiteY63" fmla="*/ 552464 h 1046508"/>
                  <a:gd name="connsiteX64" fmla="*/ 1200469 w 1200744"/>
                  <a:gd name="connsiteY64" fmla="*/ 586314 h 1046508"/>
                  <a:gd name="connsiteX65" fmla="*/ 1200468 w 1200744"/>
                  <a:gd name="connsiteY65" fmla="*/ 586314 h 1046508"/>
                  <a:gd name="connsiteX66" fmla="*/ 1166618 w 1200744"/>
                  <a:gd name="connsiteY66" fmla="*/ 629292 h 1046508"/>
                  <a:gd name="connsiteX67" fmla="*/ 1104900 w 1200744"/>
                  <a:gd name="connsiteY67" fmla="*/ 636624 h 1046508"/>
                  <a:gd name="connsiteX68" fmla="*/ 1104900 w 1200744"/>
                  <a:gd name="connsiteY68" fmla="*/ 817908 h 1046508"/>
                  <a:gd name="connsiteX69" fmla="*/ 971550 w 1200744"/>
                  <a:gd name="connsiteY69" fmla="*/ 946496 h 1046508"/>
                  <a:gd name="connsiteX70" fmla="*/ 752889 w 1200744"/>
                  <a:gd name="connsiteY70" fmla="*/ 946496 h 1046508"/>
                  <a:gd name="connsiteX71" fmla="*/ 749140 w 1200744"/>
                  <a:gd name="connsiteY71" fmla="*/ 965065 h 1046508"/>
                  <a:gd name="connsiteX72" fmla="*/ 626271 w 1200744"/>
                  <a:gd name="connsiteY72" fmla="*/ 1046508 h 1046508"/>
                  <a:gd name="connsiteX73" fmla="*/ 533770 w 1200744"/>
                  <a:gd name="connsiteY73" fmla="*/ 1046508 h 1046508"/>
                  <a:gd name="connsiteX74" fmla="*/ 410901 w 1200744"/>
                  <a:gd name="connsiteY74" fmla="*/ 965065 h 1046508"/>
                  <a:gd name="connsiteX75" fmla="*/ 407153 w 1200744"/>
                  <a:gd name="connsiteY75" fmla="*/ 946496 h 1046508"/>
                  <a:gd name="connsiteX76" fmla="*/ 190500 w 1200744"/>
                  <a:gd name="connsiteY76" fmla="*/ 946496 h 1046508"/>
                  <a:gd name="connsiteX77" fmla="*/ 59532 w 1200744"/>
                  <a:gd name="connsiteY77" fmla="*/ 825052 h 1046508"/>
                  <a:gd name="connsiteX78" fmla="*/ 59432 w 1200744"/>
                  <a:gd name="connsiteY78" fmla="*/ 710643 h 1046508"/>
                  <a:gd name="connsiteX79" fmla="*/ 48816 w 1200744"/>
                  <a:gd name="connsiteY79" fmla="*/ 710643 h 1046508"/>
                  <a:gd name="connsiteX80" fmla="*/ 14298 w 1200744"/>
                  <a:gd name="connsiteY80" fmla="*/ 696345 h 1046508"/>
                  <a:gd name="connsiteX81" fmla="*/ 0 w 1200744"/>
                  <a:gd name="connsiteY81" fmla="*/ 661828 h 1046508"/>
                  <a:gd name="connsiteX82" fmla="*/ 14298 w 1200744"/>
                  <a:gd name="connsiteY82" fmla="*/ 627310 h 1046508"/>
                  <a:gd name="connsiteX83" fmla="*/ 48816 w 1200744"/>
                  <a:gd name="connsiteY83" fmla="*/ 613012 h 1046508"/>
                  <a:gd name="connsiteX84" fmla="*/ 59346 w 1200744"/>
                  <a:gd name="connsiteY84" fmla="*/ 613012 h 1046508"/>
                  <a:gd name="connsiteX85" fmla="*/ 59247 w 1200744"/>
                  <a:gd name="connsiteY85" fmla="*/ 501147 h 1046508"/>
                  <a:gd name="connsiteX86" fmla="*/ 48816 w 1200744"/>
                  <a:gd name="connsiteY86" fmla="*/ 501147 h 1046508"/>
                  <a:gd name="connsiteX87" fmla="*/ 14298 w 1200744"/>
                  <a:gd name="connsiteY87" fmla="*/ 486849 h 1046508"/>
                  <a:gd name="connsiteX88" fmla="*/ 0 w 1200744"/>
                  <a:gd name="connsiteY88" fmla="*/ 452332 h 1046508"/>
                  <a:gd name="connsiteX89" fmla="*/ 14298 w 1200744"/>
                  <a:gd name="connsiteY89" fmla="*/ 417814 h 1046508"/>
                  <a:gd name="connsiteX90" fmla="*/ 48816 w 1200744"/>
                  <a:gd name="connsiteY90" fmla="*/ 403516 h 1046508"/>
                  <a:gd name="connsiteX91" fmla="*/ 59161 w 1200744"/>
                  <a:gd name="connsiteY91" fmla="*/ 403516 h 1046508"/>
                  <a:gd name="connsiteX92" fmla="*/ 59063 w 1200744"/>
                  <a:gd name="connsiteY92" fmla="*/ 291651 h 1046508"/>
                  <a:gd name="connsiteX93" fmla="*/ 48816 w 1200744"/>
                  <a:gd name="connsiteY93" fmla="*/ 291651 h 1046508"/>
                  <a:gd name="connsiteX94" fmla="*/ 14298 w 1200744"/>
                  <a:gd name="connsiteY94" fmla="*/ 277353 h 1046508"/>
                  <a:gd name="connsiteX95" fmla="*/ 0 w 1200744"/>
                  <a:gd name="connsiteY95" fmla="*/ 242836 h 1046508"/>
                  <a:gd name="connsiteX96" fmla="*/ 14298 w 1200744"/>
                  <a:gd name="connsiteY96" fmla="*/ 208318 h 1046508"/>
                  <a:gd name="connsiteX97" fmla="*/ 48816 w 1200744"/>
                  <a:gd name="connsiteY97" fmla="*/ 194020 h 1046508"/>
                  <a:gd name="connsiteX98" fmla="*/ 58977 w 1200744"/>
                  <a:gd name="connsiteY98" fmla="*/ 194020 h 1046508"/>
                  <a:gd name="connsiteX99" fmla="*/ 58806 w 1200744"/>
                  <a:gd name="connsiteY99"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83444 w 1200744"/>
                  <a:gd name="connsiteY34" fmla="*/ 235459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1157493 w 1200744"/>
                  <a:gd name="connsiteY45" fmla="*/ 347675 h 1046508"/>
                  <a:gd name="connsiteX46" fmla="*/ 1200471 w 1200744"/>
                  <a:gd name="connsiteY46" fmla="*/ 381525 h 1046508"/>
                  <a:gd name="connsiteX47" fmla="*/ 1200470 w 1200744"/>
                  <a:gd name="connsiteY47" fmla="*/ 381526 h 1046508"/>
                  <a:gd name="connsiteX48" fmla="*/ 1166620 w 1200744"/>
                  <a:gd name="connsiteY48" fmla="*/ 424503 h 1046508"/>
                  <a:gd name="connsiteX49" fmla="*/ 883444 w 1200744"/>
                  <a:gd name="connsiteY49" fmla="*/ 458146 h 1046508"/>
                  <a:gd name="connsiteX50" fmla="*/ 883444 w 1200744"/>
                  <a:gd name="connsiteY50" fmla="*/ 506141 h 1046508"/>
                  <a:gd name="connsiteX51" fmla="*/ 792956 w 1200744"/>
                  <a:gd name="connsiteY51" fmla="*/ 516892 h 1046508"/>
                  <a:gd name="connsiteX52" fmla="*/ 792956 w 1200744"/>
                  <a:gd name="connsiteY52" fmla="*/ 468897 h 1046508"/>
                  <a:gd name="connsiteX53" fmla="*/ 688181 w 1200744"/>
                  <a:gd name="connsiteY53" fmla="*/ 481345 h 1046508"/>
                  <a:gd name="connsiteX54" fmla="*/ 688181 w 1200744"/>
                  <a:gd name="connsiteY54" fmla="*/ 529340 h 1046508"/>
                  <a:gd name="connsiteX55" fmla="*/ 418176 w 1200744"/>
                  <a:gd name="connsiteY55" fmla="*/ 561418 h 1046508"/>
                  <a:gd name="connsiteX56" fmla="*/ 392350 w 1200744"/>
                  <a:gd name="connsiteY56" fmla="*/ 575897 h 1046508"/>
                  <a:gd name="connsiteX57" fmla="*/ 384326 w 1200744"/>
                  <a:gd name="connsiteY57" fmla="*/ 604396 h 1046508"/>
                  <a:gd name="connsiteX58" fmla="*/ 398804 w 1200744"/>
                  <a:gd name="connsiteY58" fmla="*/ 630221 h 1046508"/>
                  <a:gd name="connsiteX59" fmla="*/ 427304 w 1200744"/>
                  <a:gd name="connsiteY59" fmla="*/ 638245 h 1046508"/>
                  <a:gd name="connsiteX60" fmla="*/ 1104900 w 1200744"/>
                  <a:gd name="connsiteY60" fmla="*/ 557742 h 1046508"/>
                  <a:gd name="connsiteX61" fmla="*/ 1104900 w 1200744"/>
                  <a:gd name="connsiteY61" fmla="*/ 558713 h 1046508"/>
                  <a:gd name="connsiteX62" fmla="*/ 1157491 w 1200744"/>
                  <a:gd name="connsiteY62" fmla="*/ 552464 h 1046508"/>
                  <a:gd name="connsiteX63" fmla="*/ 1200469 w 1200744"/>
                  <a:gd name="connsiteY63" fmla="*/ 586314 h 1046508"/>
                  <a:gd name="connsiteX64" fmla="*/ 1200468 w 1200744"/>
                  <a:gd name="connsiteY64" fmla="*/ 586314 h 1046508"/>
                  <a:gd name="connsiteX65" fmla="*/ 1166618 w 1200744"/>
                  <a:gd name="connsiteY65" fmla="*/ 629292 h 1046508"/>
                  <a:gd name="connsiteX66" fmla="*/ 1104900 w 1200744"/>
                  <a:gd name="connsiteY66" fmla="*/ 636624 h 1046508"/>
                  <a:gd name="connsiteX67" fmla="*/ 1104900 w 1200744"/>
                  <a:gd name="connsiteY67" fmla="*/ 817908 h 1046508"/>
                  <a:gd name="connsiteX68" fmla="*/ 971550 w 1200744"/>
                  <a:gd name="connsiteY68" fmla="*/ 946496 h 1046508"/>
                  <a:gd name="connsiteX69" fmla="*/ 752889 w 1200744"/>
                  <a:gd name="connsiteY69" fmla="*/ 946496 h 1046508"/>
                  <a:gd name="connsiteX70" fmla="*/ 749140 w 1200744"/>
                  <a:gd name="connsiteY70" fmla="*/ 965065 h 1046508"/>
                  <a:gd name="connsiteX71" fmla="*/ 626271 w 1200744"/>
                  <a:gd name="connsiteY71" fmla="*/ 1046508 h 1046508"/>
                  <a:gd name="connsiteX72" fmla="*/ 533770 w 1200744"/>
                  <a:gd name="connsiteY72" fmla="*/ 1046508 h 1046508"/>
                  <a:gd name="connsiteX73" fmla="*/ 410901 w 1200744"/>
                  <a:gd name="connsiteY73" fmla="*/ 965065 h 1046508"/>
                  <a:gd name="connsiteX74" fmla="*/ 407153 w 1200744"/>
                  <a:gd name="connsiteY74" fmla="*/ 946496 h 1046508"/>
                  <a:gd name="connsiteX75" fmla="*/ 190500 w 1200744"/>
                  <a:gd name="connsiteY75" fmla="*/ 946496 h 1046508"/>
                  <a:gd name="connsiteX76" fmla="*/ 59532 w 1200744"/>
                  <a:gd name="connsiteY76" fmla="*/ 825052 h 1046508"/>
                  <a:gd name="connsiteX77" fmla="*/ 59432 w 1200744"/>
                  <a:gd name="connsiteY77" fmla="*/ 710643 h 1046508"/>
                  <a:gd name="connsiteX78" fmla="*/ 48816 w 1200744"/>
                  <a:gd name="connsiteY78" fmla="*/ 710643 h 1046508"/>
                  <a:gd name="connsiteX79" fmla="*/ 14298 w 1200744"/>
                  <a:gd name="connsiteY79" fmla="*/ 696345 h 1046508"/>
                  <a:gd name="connsiteX80" fmla="*/ 0 w 1200744"/>
                  <a:gd name="connsiteY80" fmla="*/ 661828 h 1046508"/>
                  <a:gd name="connsiteX81" fmla="*/ 14298 w 1200744"/>
                  <a:gd name="connsiteY81" fmla="*/ 627310 h 1046508"/>
                  <a:gd name="connsiteX82" fmla="*/ 48816 w 1200744"/>
                  <a:gd name="connsiteY82" fmla="*/ 613012 h 1046508"/>
                  <a:gd name="connsiteX83" fmla="*/ 59346 w 1200744"/>
                  <a:gd name="connsiteY83" fmla="*/ 613012 h 1046508"/>
                  <a:gd name="connsiteX84" fmla="*/ 59247 w 1200744"/>
                  <a:gd name="connsiteY84" fmla="*/ 501147 h 1046508"/>
                  <a:gd name="connsiteX85" fmla="*/ 48816 w 1200744"/>
                  <a:gd name="connsiteY85" fmla="*/ 501147 h 1046508"/>
                  <a:gd name="connsiteX86" fmla="*/ 14298 w 1200744"/>
                  <a:gd name="connsiteY86" fmla="*/ 486849 h 1046508"/>
                  <a:gd name="connsiteX87" fmla="*/ 0 w 1200744"/>
                  <a:gd name="connsiteY87" fmla="*/ 452332 h 1046508"/>
                  <a:gd name="connsiteX88" fmla="*/ 14298 w 1200744"/>
                  <a:gd name="connsiteY88" fmla="*/ 417814 h 1046508"/>
                  <a:gd name="connsiteX89" fmla="*/ 48816 w 1200744"/>
                  <a:gd name="connsiteY89" fmla="*/ 403516 h 1046508"/>
                  <a:gd name="connsiteX90" fmla="*/ 59161 w 1200744"/>
                  <a:gd name="connsiteY90" fmla="*/ 403516 h 1046508"/>
                  <a:gd name="connsiteX91" fmla="*/ 59063 w 1200744"/>
                  <a:gd name="connsiteY91" fmla="*/ 291651 h 1046508"/>
                  <a:gd name="connsiteX92" fmla="*/ 48816 w 1200744"/>
                  <a:gd name="connsiteY92" fmla="*/ 291651 h 1046508"/>
                  <a:gd name="connsiteX93" fmla="*/ 14298 w 1200744"/>
                  <a:gd name="connsiteY93" fmla="*/ 277353 h 1046508"/>
                  <a:gd name="connsiteX94" fmla="*/ 0 w 1200744"/>
                  <a:gd name="connsiteY94" fmla="*/ 242836 h 1046508"/>
                  <a:gd name="connsiteX95" fmla="*/ 14298 w 1200744"/>
                  <a:gd name="connsiteY95" fmla="*/ 208318 h 1046508"/>
                  <a:gd name="connsiteX96" fmla="*/ 48816 w 1200744"/>
                  <a:gd name="connsiteY96" fmla="*/ 194020 h 1046508"/>
                  <a:gd name="connsiteX97" fmla="*/ 58977 w 1200744"/>
                  <a:gd name="connsiteY97" fmla="*/ 194020 h 1046508"/>
                  <a:gd name="connsiteX98" fmla="*/ 58806 w 1200744"/>
                  <a:gd name="connsiteY98"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78682 w 1200744"/>
                  <a:gd name="connsiteY34" fmla="*/ 240221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1157493 w 1200744"/>
                  <a:gd name="connsiteY45" fmla="*/ 347675 h 1046508"/>
                  <a:gd name="connsiteX46" fmla="*/ 1200471 w 1200744"/>
                  <a:gd name="connsiteY46" fmla="*/ 381525 h 1046508"/>
                  <a:gd name="connsiteX47" fmla="*/ 1200470 w 1200744"/>
                  <a:gd name="connsiteY47" fmla="*/ 381526 h 1046508"/>
                  <a:gd name="connsiteX48" fmla="*/ 1166620 w 1200744"/>
                  <a:gd name="connsiteY48" fmla="*/ 424503 h 1046508"/>
                  <a:gd name="connsiteX49" fmla="*/ 883444 w 1200744"/>
                  <a:gd name="connsiteY49" fmla="*/ 458146 h 1046508"/>
                  <a:gd name="connsiteX50" fmla="*/ 883444 w 1200744"/>
                  <a:gd name="connsiteY50" fmla="*/ 506141 h 1046508"/>
                  <a:gd name="connsiteX51" fmla="*/ 792956 w 1200744"/>
                  <a:gd name="connsiteY51" fmla="*/ 516892 h 1046508"/>
                  <a:gd name="connsiteX52" fmla="*/ 792956 w 1200744"/>
                  <a:gd name="connsiteY52" fmla="*/ 468897 h 1046508"/>
                  <a:gd name="connsiteX53" fmla="*/ 688181 w 1200744"/>
                  <a:gd name="connsiteY53" fmla="*/ 481345 h 1046508"/>
                  <a:gd name="connsiteX54" fmla="*/ 688181 w 1200744"/>
                  <a:gd name="connsiteY54" fmla="*/ 529340 h 1046508"/>
                  <a:gd name="connsiteX55" fmla="*/ 418176 w 1200744"/>
                  <a:gd name="connsiteY55" fmla="*/ 561418 h 1046508"/>
                  <a:gd name="connsiteX56" fmla="*/ 392350 w 1200744"/>
                  <a:gd name="connsiteY56" fmla="*/ 575897 h 1046508"/>
                  <a:gd name="connsiteX57" fmla="*/ 384326 w 1200744"/>
                  <a:gd name="connsiteY57" fmla="*/ 604396 h 1046508"/>
                  <a:gd name="connsiteX58" fmla="*/ 398804 w 1200744"/>
                  <a:gd name="connsiteY58" fmla="*/ 630221 h 1046508"/>
                  <a:gd name="connsiteX59" fmla="*/ 427304 w 1200744"/>
                  <a:gd name="connsiteY59" fmla="*/ 638245 h 1046508"/>
                  <a:gd name="connsiteX60" fmla="*/ 1104900 w 1200744"/>
                  <a:gd name="connsiteY60" fmla="*/ 557742 h 1046508"/>
                  <a:gd name="connsiteX61" fmla="*/ 1104900 w 1200744"/>
                  <a:gd name="connsiteY61" fmla="*/ 558713 h 1046508"/>
                  <a:gd name="connsiteX62" fmla="*/ 1157491 w 1200744"/>
                  <a:gd name="connsiteY62" fmla="*/ 552464 h 1046508"/>
                  <a:gd name="connsiteX63" fmla="*/ 1200469 w 1200744"/>
                  <a:gd name="connsiteY63" fmla="*/ 586314 h 1046508"/>
                  <a:gd name="connsiteX64" fmla="*/ 1200468 w 1200744"/>
                  <a:gd name="connsiteY64" fmla="*/ 586314 h 1046508"/>
                  <a:gd name="connsiteX65" fmla="*/ 1166618 w 1200744"/>
                  <a:gd name="connsiteY65" fmla="*/ 629292 h 1046508"/>
                  <a:gd name="connsiteX66" fmla="*/ 1104900 w 1200744"/>
                  <a:gd name="connsiteY66" fmla="*/ 636624 h 1046508"/>
                  <a:gd name="connsiteX67" fmla="*/ 1104900 w 1200744"/>
                  <a:gd name="connsiteY67" fmla="*/ 817908 h 1046508"/>
                  <a:gd name="connsiteX68" fmla="*/ 971550 w 1200744"/>
                  <a:gd name="connsiteY68" fmla="*/ 946496 h 1046508"/>
                  <a:gd name="connsiteX69" fmla="*/ 752889 w 1200744"/>
                  <a:gd name="connsiteY69" fmla="*/ 946496 h 1046508"/>
                  <a:gd name="connsiteX70" fmla="*/ 749140 w 1200744"/>
                  <a:gd name="connsiteY70" fmla="*/ 965065 h 1046508"/>
                  <a:gd name="connsiteX71" fmla="*/ 626271 w 1200744"/>
                  <a:gd name="connsiteY71" fmla="*/ 1046508 h 1046508"/>
                  <a:gd name="connsiteX72" fmla="*/ 533770 w 1200744"/>
                  <a:gd name="connsiteY72" fmla="*/ 1046508 h 1046508"/>
                  <a:gd name="connsiteX73" fmla="*/ 410901 w 1200744"/>
                  <a:gd name="connsiteY73" fmla="*/ 965065 h 1046508"/>
                  <a:gd name="connsiteX74" fmla="*/ 407153 w 1200744"/>
                  <a:gd name="connsiteY74" fmla="*/ 946496 h 1046508"/>
                  <a:gd name="connsiteX75" fmla="*/ 190500 w 1200744"/>
                  <a:gd name="connsiteY75" fmla="*/ 946496 h 1046508"/>
                  <a:gd name="connsiteX76" fmla="*/ 59532 w 1200744"/>
                  <a:gd name="connsiteY76" fmla="*/ 825052 h 1046508"/>
                  <a:gd name="connsiteX77" fmla="*/ 59432 w 1200744"/>
                  <a:gd name="connsiteY77" fmla="*/ 710643 h 1046508"/>
                  <a:gd name="connsiteX78" fmla="*/ 48816 w 1200744"/>
                  <a:gd name="connsiteY78" fmla="*/ 710643 h 1046508"/>
                  <a:gd name="connsiteX79" fmla="*/ 14298 w 1200744"/>
                  <a:gd name="connsiteY79" fmla="*/ 696345 h 1046508"/>
                  <a:gd name="connsiteX80" fmla="*/ 0 w 1200744"/>
                  <a:gd name="connsiteY80" fmla="*/ 661828 h 1046508"/>
                  <a:gd name="connsiteX81" fmla="*/ 14298 w 1200744"/>
                  <a:gd name="connsiteY81" fmla="*/ 627310 h 1046508"/>
                  <a:gd name="connsiteX82" fmla="*/ 48816 w 1200744"/>
                  <a:gd name="connsiteY82" fmla="*/ 613012 h 1046508"/>
                  <a:gd name="connsiteX83" fmla="*/ 59346 w 1200744"/>
                  <a:gd name="connsiteY83" fmla="*/ 613012 h 1046508"/>
                  <a:gd name="connsiteX84" fmla="*/ 59247 w 1200744"/>
                  <a:gd name="connsiteY84" fmla="*/ 501147 h 1046508"/>
                  <a:gd name="connsiteX85" fmla="*/ 48816 w 1200744"/>
                  <a:gd name="connsiteY85" fmla="*/ 501147 h 1046508"/>
                  <a:gd name="connsiteX86" fmla="*/ 14298 w 1200744"/>
                  <a:gd name="connsiteY86" fmla="*/ 486849 h 1046508"/>
                  <a:gd name="connsiteX87" fmla="*/ 0 w 1200744"/>
                  <a:gd name="connsiteY87" fmla="*/ 452332 h 1046508"/>
                  <a:gd name="connsiteX88" fmla="*/ 14298 w 1200744"/>
                  <a:gd name="connsiteY88" fmla="*/ 417814 h 1046508"/>
                  <a:gd name="connsiteX89" fmla="*/ 48816 w 1200744"/>
                  <a:gd name="connsiteY89" fmla="*/ 403516 h 1046508"/>
                  <a:gd name="connsiteX90" fmla="*/ 59161 w 1200744"/>
                  <a:gd name="connsiteY90" fmla="*/ 403516 h 1046508"/>
                  <a:gd name="connsiteX91" fmla="*/ 59063 w 1200744"/>
                  <a:gd name="connsiteY91" fmla="*/ 291651 h 1046508"/>
                  <a:gd name="connsiteX92" fmla="*/ 48816 w 1200744"/>
                  <a:gd name="connsiteY92" fmla="*/ 291651 h 1046508"/>
                  <a:gd name="connsiteX93" fmla="*/ 14298 w 1200744"/>
                  <a:gd name="connsiteY93" fmla="*/ 277353 h 1046508"/>
                  <a:gd name="connsiteX94" fmla="*/ 0 w 1200744"/>
                  <a:gd name="connsiteY94" fmla="*/ 242836 h 1046508"/>
                  <a:gd name="connsiteX95" fmla="*/ 14298 w 1200744"/>
                  <a:gd name="connsiteY95" fmla="*/ 208318 h 1046508"/>
                  <a:gd name="connsiteX96" fmla="*/ 48816 w 1200744"/>
                  <a:gd name="connsiteY96" fmla="*/ 194020 h 1046508"/>
                  <a:gd name="connsiteX97" fmla="*/ 58977 w 1200744"/>
                  <a:gd name="connsiteY97" fmla="*/ 194020 h 1046508"/>
                  <a:gd name="connsiteX98" fmla="*/ 58806 w 1200744"/>
                  <a:gd name="connsiteY98" fmla="*/ 0 h 1046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200744" h="1046508">
                    <a:moveTo>
                      <a:pt x="269392" y="583922"/>
                    </a:moveTo>
                    <a:cubicBezTo>
                      <a:pt x="247034" y="583922"/>
                      <a:pt x="228910" y="602046"/>
                      <a:pt x="228910" y="624404"/>
                    </a:cubicBezTo>
                    <a:cubicBezTo>
                      <a:pt x="228910" y="646762"/>
                      <a:pt x="247034" y="664886"/>
                      <a:pt x="269392" y="664886"/>
                    </a:cubicBezTo>
                    <a:cubicBezTo>
                      <a:pt x="291750" y="664886"/>
                      <a:pt x="309874" y="646762"/>
                      <a:pt x="309874" y="624404"/>
                    </a:cubicBezTo>
                    <a:cubicBezTo>
                      <a:pt x="309874" y="602046"/>
                      <a:pt x="291750" y="583922"/>
                      <a:pt x="269392" y="583922"/>
                    </a:cubicBezTo>
                    <a:close/>
                    <a:moveTo>
                      <a:pt x="269392" y="373750"/>
                    </a:moveTo>
                    <a:cubicBezTo>
                      <a:pt x="247034" y="373750"/>
                      <a:pt x="228910" y="391874"/>
                      <a:pt x="228910" y="414232"/>
                    </a:cubicBezTo>
                    <a:cubicBezTo>
                      <a:pt x="228910" y="436590"/>
                      <a:pt x="247034" y="454714"/>
                      <a:pt x="269392" y="454714"/>
                    </a:cubicBezTo>
                    <a:cubicBezTo>
                      <a:pt x="291750" y="454714"/>
                      <a:pt x="309874" y="436590"/>
                      <a:pt x="309874" y="414232"/>
                    </a:cubicBezTo>
                    <a:cubicBezTo>
                      <a:pt x="309874" y="391874"/>
                      <a:pt x="291750" y="373750"/>
                      <a:pt x="269392" y="373750"/>
                    </a:cubicBezTo>
                    <a:close/>
                    <a:moveTo>
                      <a:pt x="269392" y="163063"/>
                    </a:moveTo>
                    <a:cubicBezTo>
                      <a:pt x="247034" y="163063"/>
                      <a:pt x="228910" y="181187"/>
                      <a:pt x="228910" y="203545"/>
                    </a:cubicBezTo>
                    <a:cubicBezTo>
                      <a:pt x="228910" y="225903"/>
                      <a:pt x="247034" y="244027"/>
                      <a:pt x="269392" y="244027"/>
                    </a:cubicBezTo>
                    <a:cubicBezTo>
                      <a:pt x="291750" y="244027"/>
                      <a:pt x="309874" y="225903"/>
                      <a:pt x="309874" y="203545"/>
                    </a:cubicBezTo>
                    <a:cubicBezTo>
                      <a:pt x="309874" y="181187"/>
                      <a:pt x="291750" y="163063"/>
                      <a:pt x="269392" y="163063"/>
                    </a:cubicBezTo>
                    <a:close/>
                    <a:moveTo>
                      <a:pt x="797719" y="0"/>
                    </a:moveTo>
                    <a:lnTo>
                      <a:pt x="883444" y="0"/>
                    </a:lnTo>
                    <a:lnTo>
                      <a:pt x="883444" y="79897"/>
                    </a:lnTo>
                    <a:lnTo>
                      <a:pt x="797719" y="90082"/>
                    </a:lnTo>
                    <a:lnTo>
                      <a:pt x="797719" y="0"/>
                    </a:lnTo>
                    <a:close/>
                    <a:moveTo>
                      <a:pt x="58806" y="0"/>
                    </a:moveTo>
                    <a:lnTo>
                      <a:pt x="692944" y="0"/>
                    </a:lnTo>
                    <a:lnTo>
                      <a:pt x="692944" y="102530"/>
                    </a:lnTo>
                    <a:lnTo>
                      <a:pt x="418176" y="135174"/>
                    </a:lnTo>
                    <a:cubicBezTo>
                      <a:pt x="407569" y="136435"/>
                      <a:pt x="398476" y="141875"/>
                      <a:pt x="392350" y="149653"/>
                    </a:cubicBezTo>
                    <a:lnTo>
                      <a:pt x="384326" y="178152"/>
                    </a:lnTo>
                    <a:lnTo>
                      <a:pt x="398804" y="203977"/>
                    </a:lnTo>
                    <a:cubicBezTo>
                      <a:pt x="406582" y="210103"/>
                      <a:pt x="416696" y="213262"/>
                      <a:pt x="427304" y="212001"/>
                    </a:cubicBezTo>
                    <a:lnTo>
                      <a:pt x="1104900" y="131498"/>
                    </a:lnTo>
                    <a:lnTo>
                      <a:pt x="1104900" y="134851"/>
                    </a:lnTo>
                    <a:lnTo>
                      <a:pt x="1157493" y="128603"/>
                    </a:lnTo>
                    <a:cubicBezTo>
                      <a:pt x="1178709" y="126082"/>
                      <a:pt x="1197951" y="141237"/>
                      <a:pt x="1200471" y="162453"/>
                    </a:cubicBezTo>
                    <a:lnTo>
                      <a:pt x="1200470" y="162453"/>
                    </a:lnTo>
                    <a:cubicBezTo>
                      <a:pt x="1202991" y="183669"/>
                      <a:pt x="1187836" y="202910"/>
                      <a:pt x="1166620" y="205431"/>
                    </a:cubicBezTo>
                    <a:lnTo>
                      <a:pt x="878682" y="240221"/>
                    </a:lnTo>
                    <a:lnTo>
                      <a:pt x="883444" y="298972"/>
                    </a:lnTo>
                    <a:lnTo>
                      <a:pt x="792956" y="309723"/>
                    </a:lnTo>
                    <a:lnTo>
                      <a:pt x="792956" y="265459"/>
                    </a:lnTo>
                    <a:lnTo>
                      <a:pt x="688181" y="265459"/>
                    </a:lnTo>
                    <a:lnTo>
                      <a:pt x="688181" y="322171"/>
                    </a:lnTo>
                    <a:lnTo>
                      <a:pt x="418176" y="354249"/>
                    </a:lnTo>
                    <a:cubicBezTo>
                      <a:pt x="407569" y="355510"/>
                      <a:pt x="398476" y="360950"/>
                      <a:pt x="392350" y="368728"/>
                    </a:cubicBezTo>
                    <a:lnTo>
                      <a:pt x="384326" y="397227"/>
                    </a:lnTo>
                    <a:lnTo>
                      <a:pt x="398804" y="423052"/>
                    </a:lnTo>
                    <a:cubicBezTo>
                      <a:pt x="406582" y="429178"/>
                      <a:pt x="416696" y="432337"/>
                      <a:pt x="427304" y="431076"/>
                    </a:cubicBezTo>
                    <a:lnTo>
                      <a:pt x="1157493" y="347675"/>
                    </a:lnTo>
                    <a:cubicBezTo>
                      <a:pt x="1178709" y="345155"/>
                      <a:pt x="1197950" y="360310"/>
                      <a:pt x="1200471" y="381525"/>
                    </a:cubicBezTo>
                    <a:lnTo>
                      <a:pt x="1200470" y="381526"/>
                    </a:lnTo>
                    <a:cubicBezTo>
                      <a:pt x="1202991" y="402741"/>
                      <a:pt x="1187836" y="421983"/>
                      <a:pt x="1166620" y="424503"/>
                    </a:cubicBezTo>
                    <a:lnTo>
                      <a:pt x="883444" y="458146"/>
                    </a:lnTo>
                    <a:lnTo>
                      <a:pt x="883444" y="506141"/>
                    </a:lnTo>
                    <a:lnTo>
                      <a:pt x="792956" y="516892"/>
                    </a:lnTo>
                    <a:lnTo>
                      <a:pt x="792956" y="468897"/>
                    </a:lnTo>
                    <a:lnTo>
                      <a:pt x="688181" y="481345"/>
                    </a:lnTo>
                    <a:lnTo>
                      <a:pt x="688181" y="529340"/>
                    </a:lnTo>
                    <a:lnTo>
                      <a:pt x="418176" y="561418"/>
                    </a:lnTo>
                    <a:cubicBezTo>
                      <a:pt x="407569" y="562679"/>
                      <a:pt x="398476" y="568119"/>
                      <a:pt x="392350" y="575897"/>
                    </a:cubicBezTo>
                    <a:lnTo>
                      <a:pt x="384326" y="604396"/>
                    </a:lnTo>
                    <a:lnTo>
                      <a:pt x="398804" y="630221"/>
                    </a:lnTo>
                    <a:cubicBezTo>
                      <a:pt x="406582" y="636347"/>
                      <a:pt x="416696" y="639506"/>
                      <a:pt x="427304" y="638245"/>
                    </a:cubicBezTo>
                    <a:lnTo>
                      <a:pt x="1104900" y="557742"/>
                    </a:lnTo>
                    <a:lnTo>
                      <a:pt x="1104900" y="558713"/>
                    </a:lnTo>
                    <a:lnTo>
                      <a:pt x="1157491" y="552464"/>
                    </a:lnTo>
                    <a:cubicBezTo>
                      <a:pt x="1178707" y="549944"/>
                      <a:pt x="1197948" y="565099"/>
                      <a:pt x="1200469" y="586314"/>
                    </a:cubicBezTo>
                    <a:lnTo>
                      <a:pt x="1200468" y="586314"/>
                    </a:lnTo>
                    <a:cubicBezTo>
                      <a:pt x="1202989" y="607530"/>
                      <a:pt x="1187834" y="626772"/>
                      <a:pt x="1166618" y="629292"/>
                    </a:cubicBezTo>
                    <a:lnTo>
                      <a:pt x="1104900" y="636624"/>
                    </a:lnTo>
                    <a:lnTo>
                      <a:pt x="1104900" y="817908"/>
                    </a:lnTo>
                    <a:lnTo>
                      <a:pt x="971550" y="946496"/>
                    </a:lnTo>
                    <a:lnTo>
                      <a:pt x="752889" y="946496"/>
                    </a:lnTo>
                    <a:lnTo>
                      <a:pt x="749140" y="965065"/>
                    </a:lnTo>
                    <a:cubicBezTo>
                      <a:pt x="728897" y="1012926"/>
                      <a:pt x="681506" y="1046508"/>
                      <a:pt x="626271" y="1046508"/>
                    </a:cubicBezTo>
                    <a:lnTo>
                      <a:pt x="533770" y="1046508"/>
                    </a:lnTo>
                    <a:cubicBezTo>
                      <a:pt x="478536" y="1046508"/>
                      <a:pt x="431145" y="1012926"/>
                      <a:pt x="410901" y="965065"/>
                    </a:cubicBezTo>
                    <a:lnTo>
                      <a:pt x="407153" y="946496"/>
                    </a:lnTo>
                    <a:lnTo>
                      <a:pt x="190500" y="946496"/>
                    </a:lnTo>
                    <a:lnTo>
                      <a:pt x="59532" y="825052"/>
                    </a:lnTo>
                    <a:cubicBezTo>
                      <a:pt x="59499" y="786916"/>
                      <a:pt x="59465" y="748779"/>
                      <a:pt x="59432" y="710643"/>
                    </a:cubicBezTo>
                    <a:lnTo>
                      <a:pt x="48816" y="710643"/>
                    </a:lnTo>
                    <a:cubicBezTo>
                      <a:pt x="35336" y="710643"/>
                      <a:pt x="23132" y="705179"/>
                      <a:pt x="14298" y="696345"/>
                    </a:cubicBezTo>
                    <a:lnTo>
                      <a:pt x="0" y="661828"/>
                    </a:lnTo>
                    <a:lnTo>
                      <a:pt x="14298" y="627310"/>
                    </a:lnTo>
                    <a:cubicBezTo>
                      <a:pt x="23132" y="618476"/>
                      <a:pt x="35336" y="613012"/>
                      <a:pt x="48816" y="613012"/>
                    </a:cubicBezTo>
                    <a:lnTo>
                      <a:pt x="59346" y="613012"/>
                    </a:lnTo>
                    <a:cubicBezTo>
                      <a:pt x="59313" y="575724"/>
                      <a:pt x="59280" y="538435"/>
                      <a:pt x="59247" y="501147"/>
                    </a:cubicBezTo>
                    <a:lnTo>
                      <a:pt x="48816" y="501147"/>
                    </a:lnTo>
                    <a:cubicBezTo>
                      <a:pt x="35336" y="501147"/>
                      <a:pt x="23132" y="495683"/>
                      <a:pt x="14298" y="486849"/>
                    </a:cubicBezTo>
                    <a:lnTo>
                      <a:pt x="0" y="452332"/>
                    </a:lnTo>
                    <a:lnTo>
                      <a:pt x="14298" y="417814"/>
                    </a:lnTo>
                    <a:cubicBezTo>
                      <a:pt x="23132" y="408980"/>
                      <a:pt x="35336" y="403516"/>
                      <a:pt x="48816" y="403516"/>
                    </a:cubicBezTo>
                    <a:lnTo>
                      <a:pt x="59161" y="403516"/>
                    </a:lnTo>
                    <a:cubicBezTo>
                      <a:pt x="59128" y="366228"/>
                      <a:pt x="59096" y="328939"/>
                      <a:pt x="59063" y="291651"/>
                    </a:cubicBezTo>
                    <a:lnTo>
                      <a:pt x="48816" y="291651"/>
                    </a:lnTo>
                    <a:cubicBezTo>
                      <a:pt x="35336" y="291651"/>
                      <a:pt x="23132" y="286187"/>
                      <a:pt x="14298" y="277353"/>
                    </a:cubicBezTo>
                    <a:lnTo>
                      <a:pt x="0" y="242836"/>
                    </a:lnTo>
                    <a:lnTo>
                      <a:pt x="14298" y="208318"/>
                    </a:lnTo>
                    <a:cubicBezTo>
                      <a:pt x="23132" y="199484"/>
                      <a:pt x="35336" y="194020"/>
                      <a:pt x="48816" y="194020"/>
                    </a:cubicBezTo>
                    <a:lnTo>
                      <a:pt x="58977" y="194020"/>
                    </a:lnTo>
                    <a:lnTo>
                      <a:pt x="58806"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89" name="Freeform 88"/>
              <p:cNvSpPr/>
              <p:nvPr/>
            </p:nvSpPr>
            <p:spPr>
              <a:xfrm>
                <a:off x="4242295" y="1685754"/>
                <a:ext cx="3701002" cy="3743106"/>
              </a:xfrm>
              <a:custGeom>
                <a:avLst/>
                <a:gdLst>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0346 w 3701002"/>
                  <a:gd name="connsiteY11" fmla="*/ 3114359 h 3743106"/>
                  <a:gd name="connsiteX12" fmla="*/ 2659635 w 3701002"/>
                  <a:gd name="connsiteY12" fmla="*/ 3107286 h 3743106"/>
                  <a:gd name="connsiteX13" fmla="*/ 3122601 w 3701002"/>
                  <a:gd name="connsiteY13" fmla="*/ 2107732 h 3743106"/>
                  <a:gd name="connsiteX14" fmla="*/ 1850392 w 3701002"/>
                  <a:gd name="connsiteY14" fmla="*/ 812383 h 3743106"/>
                  <a:gd name="connsiteX15" fmla="*/ 578183 w 3701002"/>
                  <a:gd name="connsiteY15" fmla="*/ 2107732 h 3743106"/>
                  <a:gd name="connsiteX16" fmla="*/ 950805 w 3701002"/>
                  <a:gd name="connsiteY16" fmla="*/ 3023682 h 3743106"/>
                  <a:gd name="connsiteX17" fmla="*/ 1028685 w 3701002"/>
                  <a:gd name="connsiteY17" fmla="*/ 3095752 h 3743106"/>
                  <a:gd name="connsiteX18" fmla="*/ 1145044 w 3701002"/>
                  <a:gd name="connsiteY18" fmla="*/ 3252006 h 3743106"/>
                  <a:gd name="connsiteX19" fmla="*/ 1289824 w 3701002"/>
                  <a:gd name="connsiteY19" fmla="*/ 3549186 h 3743106"/>
                  <a:gd name="connsiteX20" fmla="*/ 1131709 w 3701002"/>
                  <a:gd name="connsiteY20" fmla="*/ 3739686 h 3743106"/>
                  <a:gd name="connsiteX21" fmla="*/ 881519 w 3701002"/>
                  <a:gd name="connsiteY21" fmla="*/ 3637451 h 3743106"/>
                  <a:gd name="connsiteX22" fmla="*/ 771664 w 3701002"/>
                  <a:gd name="connsiteY22" fmla="*/ 3290106 h 3743106"/>
                  <a:gd name="connsiteX23" fmla="*/ 377329 w 3701002"/>
                  <a:gd name="connsiteY23" fmla="*/ 3103416 h 3743106"/>
                  <a:gd name="connsiteX24" fmla="*/ 344944 w 3701002"/>
                  <a:gd name="connsiteY24" fmla="*/ 2482386 h 3743106"/>
                  <a:gd name="connsiteX25" fmla="*/ 139 w 3701002"/>
                  <a:gd name="connsiteY25" fmla="*/ 1970576 h 3743106"/>
                  <a:gd name="connsiteX26" fmla="*/ 451624 w 3701002"/>
                  <a:gd name="connsiteY26" fmla="*/ 1403521 h 3743106"/>
                  <a:gd name="connsiteX27" fmla="*/ 496709 w 3701002"/>
                  <a:gd name="connsiteY27" fmla="*/ 659301 h 3743106"/>
                  <a:gd name="connsiteX28" fmla="*/ 1199019 w 3701002"/>
                  <a:gd name="connsiteY28" fmla="*/ 517061 h 3743106"/>
                  <a:gd name="connsiteX29" fmla="*/ 1831479 w 3701002"/>
                  <a:gd name="connsiteY29"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028685 w 3701002"/>
                  <a:gd name="connsiteY16" fmla="*/ 3095752 h 3743106"/>
                  <a:gd name="connsiteX17" fmla="*/ 1145044 w 3701002"/>
                  <a:gd name="connsiteY17" fmla="*/ 3252006 h 3743106"/>
                  <a:gd name="connsiteX18" fmla="*/ 1289824 w 3701002"/>
                  <a:gd name="connsiteY18" fmla="*/ 3549186 h 3743106"/>
                  <a:gd name="connsiteX19" fmla="*/ 1131709 w 3701002"/>
                  <a:gd name="connsiteY19" fmla="*/ 3739686 h 3743106"/>
                  <a:gd name="connsiteX20" fmla="*/ 881519 w 3701002"/>
                  <a:gd name="connsiteY20" fmla="*/ 3637451 h 3743106"/>
                  <a:gd name="connsiteX21" fmla="*/ 771664 w 3701002"/>
                  <a:gd name="connsiteY21" fmla="*/ 3290106 h 3743106"/>
                  <a:gd name="connsiteX22" fmla="*/ 377329 w 3701002"/>
                  <a:gd name="connsiteY22" fmla="*/ 3103416 h 3743106"/>
                  <a:gd name="connsiteX23" fmla="*/ 344944 w 3701002"/>
                  <a:gd name="connsiteY23" fmla="*/ 2482386 h 3743106"/>
                  <a:gd name="connsiteX24" fmla="*/ 139 w 3701002"/>
                  <a:gd name="connsiteY24" fmla="*/ 1970576 h 3743106"/>
                  <a:gd name="connsiteX25" fmla="*/ 451624 w 3701002"/>
                  <a:gd name="connsiteY25" fmla="*/ 1403521 h 3743106"/>
                  <a:gd name="connsiteX26" fmla="*/ 496709 w 3701002"/>
                  <a:gd name="connsiteY26" fmla="*/ 659301 h 3743106"/>
                  <a:gd name="connsiteX27" fmla="*/ 1199019 w 3701002"/>
                  <a:gd name="connsiteY27" fmla="*/ 517061 h 3743106"/>
                  <a:gd name="connsiteX28" fmla="*/ 1831479 w 3701002"/>
                  <a:gd name="connsiteY28"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145044 w 3701002"/>
                  <a:gd name="connsiteY16" fmla="*/ 3252006 h 3743106"/>
                  <a:gd name="connsiteX17" fmla="*/ 1289824 w 3701002"/>
                  <a:gd name="connsiteY17" fmla="*/ 3549186 h 3743106"/>
                  <a:gd name="connsiteX18" fmla="*/ 1131709 w 3701002"/>
                  <a:gd name="connsiteY18" fmla="*/ 3739686 h 3743106"/>
                  <a:gd name="connsiteX19" fmla="*/ 881519 w 3701002"/>
                  <a:gd name="connsiteY19" fmla="*/ 3637451 h 3743106"/>
                  <a:gd name="connsiteX20" fmla="*/ 771664 w 3701002"/>
                  <a:gd name="connsiteY20" fmla="*/ 3290106 h 3743106"/>
                  <a:gd name="connsiteX21" fmla="*/ 377329 w 3701002"/>
                  <a:gd name="connsiteY21" fmla="*/ 3103416 h 3743106"/>
                  <a:gd name="connsiteX22" fmla="*/ 344944 w 3701002"/>
                  <a:gd name="connsiteY22" fmla="*/ 2482386 h 3743106"/>
                  <a:gd name="connsiteX23" fmla="*/ 139 w 3701002"/>
                  <a:gd name="connsiteY23" fmla="*/ 1970576 h 3743106"/>
                  <a:gd name="connsiteX24" fmla="*/ 451624 w 3701002"/>
                  <a:gd name="connsiteY24" fmla="*/ 1403521 h 3743106"/>
                  <a:gd name="connsiteX25" fmla="*/ 496709 w 3701002"/>
                  <a:gd name="connsiteY25" fmla="*/ 659301 h 3743106"/>
                  <a:gd name="connsiteX26" fmla="*/ 1199019 w 3701002"/>
                  <a:gd name="connsiteY26" fmla="*/ 517061 h 3743106"/>
                  <a:gd name="connsiteX27" fmla="*/ 1831479 w 3701002"/>
                  <a:gd name="connsiteY27"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145044 w 3701002"/>
                  <a:gd name="connsiteY16" fmla="*/ 3252006 h 3743106"/>
                  <a:gd name="connsiteX17" fmla="*/ 1289824 w 3701002"/>
                  <a:gd name="connsiteY17" fmla="*/ 3549186 h 3743106"/>
                  <a:gd name="connsiteX18" fmla="*/ 1131709 w 3701002"/>
                  <a:gd name="connsiteY18" fmla="*/ 3739686 h 3743106"/>
                  <a:gd name="connsiteX19" fmla="*/ 881519 w 3701002"/>
                  <a:gd name="connsiteY19" fmla="*/ 3637451 h 3743106"/>
                  <a:gd name="connsiteX20" fmla="*/ 771664 w 3701002"/>
                  <a:gd name="connsiteY20" fmla="*/ 3290106 h 3743106"/>
                  <a:gd name="connsiteX21" fmla="*/ 377329 w 3701002"/>
                  <a:gd name="connsiteY21" fmla="*/ 3103416 h 3743106"/>
                  <a:gd name="connsiteX22" fmla="*/ 344944 w 3701002"/>
                  <a:gd name="connsiteY22" fmla="*/ 2482386 h 3743106"/>
                  <a:gd name="connsiteX23" fmla="*/ 139 w 3701002"/>
                  <a:gd name="connsiteY23" fmla="*/ 1970576 h 3743106"/>
                  <a:gd name="connsiteX24" fmla="*/ 451624 w 3701002"/>
                  <a:gd name="connsiteY24" fmla="*/ 1403521 h 3743106"/>
                  <a:gd name="connsiteX25" fmla="*/ 496709 w 3701002"/>
                  <a:gd name="connsiteY25" fmla="*/ 659301 h 3743106"/>
                  <a:gd name="connsiteX26" fmla="*/ 1199019 w 3701002"/>
                  <a:gd name="connsiteY26" fmla="*/ 517061 h 3743106"/>
                  <a:gd name="connsiteX27" fmla="*/ 1831479 w 3701002"/>
                  <a:gd name="connsiteY27" fmla="*/ 171 h 3743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701002" h="3743106">
                    <a:moveTo>
                      <a:pt x="1831479" y="171"/>
                    </a:moveTo>
                    <a:cubicBezTo>
                      <a:pt x="2193958" y="-9460"/>
                      <a:pt x="2228989" y="388262"/>
                      <a:pt x="2478544" y="516426"/>
                    </a:cubicBezTo>
                    <a:cubicBezTo>
                      <a:pt x="2724924" y="638240"/>
                      <a:pt x="3031735" y="420753"/>
                      <a:pt x="3214509" y="673906"/>
                    </a:cubicBezTo>
                    <a:cubicBezTo>
                      <a:pt x="3397283" y="927059"/>
                      <a:pt x="3125874" y="1106394"/>
                      <a:pt x="3270389" y="1425746"/>
                    </a:cubicBezTo>
                    <a:cubicBezTo>
                      <a:pt x="3414904" y="1745098"/>
                      <a:pt x="3685678" y="1679112"/>
                      <a:pt x="3700601" y="1942319"/>
                    </a:cubicBezTo>
                    <a:cubicBezTo>
                      <a:pt x="3712349" y="2221401"/>
                      <a:pt x="3463112" y="2181714"/>
                      <a:pt x="3354844" y="2512866"/>
                    </a:cubicBezTo>
                    <a:cubicBezTo>
                      <a:pt x="3238639" y="2836081"/>
                      <a:pt x="3476765" y="2888309"/>
                      <a:pt x="3320872" y="3113258"/>
                    </a:cubicBezTo>
                    <a:cubicBezTo>
                      <a:pt x="3231655" y="3262007"/>
                      <a:pt x="3076132" y="3153476"/>
                      <a:pt x="2933839" y="3291059"/>
                    </a:cubicBezTo>
                    <a:cubicBezTo>
                      <a:pt x="2791546" y="3428642"/>
                      <a:pt x="2888756" y="3603161"/>
                      <a:pt x="2771914" y="3691109"/>
                    </a:cubicBezTo>
                    <a:cubicBezTo>
                      <a:pt x="2688410" y="3783819"/>
                      <a:pt x="2499817" y="3735717"/>
                      <a:pt x="2440444" y="3640626"/>
                    </a:cubicBezTo>
                    <a:cubicBezTo>
                      <a:pt x="2381071" y="3545535"/>
                      <a:pt x="2441714" y="3442506"/>
                      <a:pt x="2501404" y="3320586"/>
                    </a:cubicBezTo>
                    <a:lnTo>
                      <a:pt x="2659635" y="3107286"/>
                    </a:lnTo>
                    <a:cubicBezTo>
                      <a:pt x="2942380" y="2869700"/>
                      <a:pt x="3122601" y="2510145"/>
                      <a:pt x="3122601" y="2107732"/>
                    </a:cubicBezTo>
                    <a:cubicBezTo>
                      <a:pt x="3122601" y="1392331"/>
                      <a:pt x="2553014" y="812383"/>
                      <a:pt x="1850392" y="812383"/>
                    </a:cubicBezTo>
                    <a:cubicBezTo>
                      <a:pt x="1147770" y="812383"/>
                      <a:pt x="578183" y="1392331"/>
                      <a:pt x="578183" y="2107732"/>
                    </a:cubicBezTo>
                    <a:cubicBezTo>
                      <a:pt x="578183" y="2465433"/>
                      <a:pt x="720580" y="2789270"/>
                      <a:pt x="950805" y="3023682"/>
                    </a:cubicBezTo>
                    <a:cubicBezTo>
                      <a:pt x="1039364" y="3104553"/>
                      <a:pt x="1080298" y="3175898"/>
                      <a:pt x="1145044" y="3252006"/>
                    </a:cubicBezTo>
                    <a:cubicBezTo>
                      <a:pt x="1213624" y="3361226"/>
                      <a:pt x="1292047" y="3467906"/>
                      <a:pt x="1289824" y="3549186"/>
                    </a:cubicBezTo>
                    <a:cubicBezTo>
                      <a:pt x="1287602" y="3630466"/>
                      <a:pt x="1199760" y="3724975"/>
                      <a:pt x="1131709" y="3739686"/>
                    </a:cubicBezTo>
                    <a:cubicBezTo>
                      <a:pt x="1063658" y="3754397"/>
                      <a:pt x="935176" y="3721906"/>
                      <a:pt x="881519" y="3637451"/>
                    </a:cubicBezTo>
                    <a:cubicBezTo>
                      <a:pt x="827862" y="3552996"/>
                      <a:pt x="922371" y="3429912"/>
                      <a:pt x="771664" y="3290106"/>
                    </a:cubicBezTo>
                    <a:cubicBezTo>
                      <a:pt x="620957" y="3150300"/>
                      <a:pt x="489724" y="3259626"/>
                      <a:pt x="377329" y="3103416"/>
                    </a:cubicBezTo>
                    <a:cubicBezTo>
                      <a:pt x="245884" y="2847193"/>
                      <a:pt x="472103" y="2764062"/>
                      <a:pt x="344944" y="2482386"/>
                    </a:cubicBezTo>
                    <a:cubicBezTo>
                      <a:pt x="189211" y="2141178"/>
                      <a:pt x="8552" y="2246432"/>
                      <a:pt x="139" y="1970576"/>
                    </a:cubicBezTo>
                    <a:cubicBezTo>
                      <a:pt x="-7481" y="1701865"/>
                      <a:pt x="299012" y="1730017"/>
                      <a:pt x="451624" y="1403521"/>
                    </a:cubicBezTo>
                    <a:cubicBezTo>
                      <a:pt x="528036" y="943675"/>
                      <a:pt x="318168" y="908644"/>
                      <a:pt x="496709" y="659301"/>
                    </a:cubicBezTo>
                    <a:cubicBezTo>
                      <a:pt x="675250" y="409958"/>
                      <a:pt x="956978" y="650728"/>
                      <a:pt x="1199019" y="517061"/>
                    </a:cubicBezTo>
                    <a:cubicBezTo>
                      <a:pt x="1485510" y="418319"/>
                      <a:pt x="1469000" y="9802"/>
                      <a:pt x="1831479" y="171"/>
                    </a:cubicBez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90" name="Group 89"/>
          <p:cNvGrpSpPr/>
          <p:nvPr/>
        </p:nvGrpSpPr>
        <p:grpSpPr>
          <a:xfrm>
            <a:off x="5870014" y="5234595"/>
            <a:ext cx="474070" cy="474070"/>
            <a:chOff x="6447430" y="2675492"/>
            <a:chExt cx="474070" cy="474070"/>
          </a:xfrm>
        </p:grpSpPr>
        <p:sp>
          <p:nvSpPr>
            <p:cNvPr id="91" name="Oval 90"/>
            <p:cNvSpPr/>
            <p:nvPr/>
          </p:nvSpPr>
          <p:spPr>
            <a:xfrm>
              <a:off x="6447430" y="2675492"/>
              <a:ext cx="474070" cy="474070"/>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white"/>
                </a:solidFill>
                <a:effectLst/>
                <a:uLnTx/>
                <a:uFillTx/>
                <a:latin typeface="Verdana"/>
                <a:ea typeface="+mn-ea"/>
                <a:cs typeface="+mn-cs"/>
              </a:endParaRPr>
            </a:p>
          </p:txBody>
        </p:sp>
        <p:grpSp>
          <p:nvGrpSpPr>
            <p:cNvPr id="92" name="Group 91"/>
            <p:cNvGrpSpPr/>
            <p:nvPr/>
          </p:nvGrpSpPr>
          <p:grpSpPr>
            <a:xfrm>
              <a:off x="6518178" y="2715380"/>
              <a:ext cx="333474" cy="369629"/>
              <a:chOff x="3114466" y="105602"/>
              <a:chExt cx="5971657" cy="6619048"/>
            </a:xfrm>
            <a:solidFill>
              <a:schemeClr val="accent5"/>
            </a:solidFill>
          </p:grpSpPr>
          <p:sp>
            <p:nvSpPr>
              <p:cNvPr id="93" name="Oval 92"/>
              <p:cNvSpPr/>
              <p:nvPr/>
            </p:nvSpPr>
            <p:spPr>
              <a:xfrm>
                <a:off x="5744819" y="745435"/>
                <a:ext cx="695738" cy="695738"/>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94" name="Oval 93"/>
              <p:cNvSpPr/>
              <p:nvPr/>
            </p:nvSpPr>
            <p:spPr>
              <a:xfrm>
                <a:off x="6626711" y="1319213"/>
                <a:ext cx="628234" cy="62823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95" name="Oval 94"/>
              <p:cNvSpPr/>
              <p:nvPr/>
            </p:nvSpPr>
            <p:spPr>
              <a:xfrm>
                <a:off x="4921736" y="1319213"/>
                <a:ext cx="628234" cy="62823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96" name="Oval 95"/>
              <p:cNvSpPr/>
              <p:nvPr/>
            </p:nvSpPr>
            <p:spPr>
              <a:xfrm>
                <a:off x="4140684" y="1766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97" name="Oval 96"/>
              <p:cNvSpPr/>
              <p:nvPr/>
            </p:nvSpPr>
            <p:spPr>
              <a:xfrm>
                <a:off x="7510049" y="1766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98" name="Oval 97"/>
              <p:cNvSpPr/>
              <p:nvPr/>
            </p:nvSpPr>
            <p:spPr>
              <a:xfrm>
                <a:off x="7716285" y="2579410"/>
                <a:ext cx="612706" cy="61270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99" name="Oval 98"/>
              <p:cNvSpPr/>
              <p:nvPr/>
            </p:nvSpPr>
            <p:spPr>
              <a:xfrm>
                <a:off x="3849963" y="2569471"/>
                <a:ext cx="612706" cy="61270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00" name="Oval 99"/>
              <p:cNvSpPr/>
              <p:nvPr/>
            </p:nvSpPr>
            <p:spPr>
              <a:xfrm>
                <a:off x="3740632" y="1416532"/>
                <a:ext cx="394046" cy="39404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01" name="Oval 100"/>
              <p:cNvSpPr/>
              <p:nvPr/>
            </p:nvSpPr>
            <p:spPr>
              <a:xfrm>
                <a:off x="8054215" y="1416532"/>
                <a:ext cx="394046" cy="39404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02" name="Oval 101"/>
              <p:cNvSpPr/>
              <p:nvPr/>
            </p:nvSpPr>
            <p:spPr>
              <a:xfrm>
                <a:off x="5878581" y="105602"/>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03" name="Oval 102"/>
              <p:cNvSpPr/>
              <p:nvPr/>
            </p:nvSpPr>
            <p:spPr>
              <a:xfrm>
                <a:off x="3114466" y="3419473"/>
                <a:ext cx="319296" cy="31929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04" name="Oval 103"/>
              <p:cNvSpPr/>
              <p:nvPr/>
            </p:nvSpPr>
            <p:spPr>
              <a:xfrm>
                <a:off x="3794675" y="5116270"/>
                <a:ext cx="282026" cy="28202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05" name="Oval 104"/>
              <p:cNvSpPr/>
              <p:nvPr/>
            </p:nvSpPr>
            <p:spPr>
              <a:xfrm>
                <a:off x="4640020" y="5060156"/>
                <a:ext cx="342902" cy="3429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06" name="Oval 105"/>
              <p:cNvSpPr/>
              <p:nvPr/>
            </p:nvSpPr>
            <p:spPr>
              <a:xfrm>
                <a:off x="4155592" y="4790040"/>
                <a:ext cx="373546" cy="37354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07" name="Oval 106"/>
              <p:cNvSpPr/>
              <p:nvPr/>
            </p:nvSpPr>
            <p:spPr>
              <a:xfrm>
                <a:off x="3892206" y="4042948"/>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08" name="Oval 107"/>
              <p:cNvSpPr/>
              <p:nvPr/>
            </p:nvSpPr>
            <p:spPr>
              <a:xfrm>
                <a:off x="7758528" y="4052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09" name="Oval 108"/>
              <p:cNvSpPr/>
              <p:nvPr/>
            </p:nvSpPr>
            <p:spPr>
              <a:xfrm>
                <a:off x="3632338" y="3395454"/>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10" name="Oval 109"/>
              <p:cNvSpPr/>
              <p:nvPr/>
            </p:nvSpPr>
            <p:spPr>
              <a:xfrm>
                <a:off x="8122650" y="3395454"/>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11" name="Oval 110"/>
              <p:cNvSpPr/>
              <p:nvPr/>
            </p:nvSpPr>
            <p:spPr>
              <a:xfrm>
                <a:off x="8747366" y="3412330"/>
                <a:ext cx="338757" cy="338757"/>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12" name="Oval 111"/>
              <p:cNvSpPr/>
              <p:nvPr/>
            </p:nvSpPr>
            <p:spPr>
              <a:xfrm>
                <a:off x="7659444" y="4792108"/>
                <a:ext cx="372514" cy="37251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13" name="Oval 112"/>
              <p:cNvSpPr/>
              <p:nvPr/>
            </p:nvSpPr>
            <p:spPr>
              <a:xfrm>
                <a:off x="7208355" y="5062538"/>
                <a:ext cx="341242" cy="34124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14" name="Oval 113"/>
              <p:cNvSpPr/>
              <p:nvPr/>
            </p:nvSpPr>
            <p:spPr>
              <a:xfrm>
                <a:off x="8113230" y="5122069"/>
                <a:ext cx="274566" cy="27456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15" name="Freeform 114"/>
              <p:cNvSpPr/>
              <p:nvPr/>
            </p:nvSpPr>
            <p:spPr>
              <a:xfrm>
                <a:off x="5507831" y="5678142"/>
                <a:ext cx="1200744" cy="1046508"/>
              </a:xfrm>
              <a:custGeom>
                <a:avLst/>
                <a:gdLst>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58806 w 1200744"/>
                  <a:gd name="connsiteY19" fmla="*/ 0 h 1046508"/>
                  <a:gd name="connsiteX20" fmla="*/ 692944 w 1200744"/>
                  <a:gd name="connsiteY20" fmla="*/ 0 h 1046508"/>
                  <a:gd name="connsiteX21" fmla="*/ 692944 w 1200744"/>
                  <a:gd name="connsiteY21" fmla="*/ 102530 h 1046508"/>
                  <a:gd name="connsiteX22" fmla="*/ 418176 w 1200744"/>
                  <a:gd name="connsiteY22" fmla="*/ 135174 h 1046508"/>
                  <a:gd name="connsiteX23" fmla="*/ 392350 w 1200744"/>
                  <a:gd name="connsiteY23" fmla="*/ 149653 h 1046508"/>
                  <a:gd name="connsiteX24" fmla="*/ 384326 w 1200744"/>
                  <a:gd name="connsiteY24" fmla="*/ 178152 h 1046508"/>
                  <a:gd name="connsiteX25" fmla="*/ 398804 w 1200744"/>
                  <a:gd name="connsiteY25" fmla="*/ 203977 h 1046508"/>
                  <a:gd name="connsiteX26" fmla="*/ 427304 w 1200744"/>
                  <a:gd name="connsiteY26" fmla="*/ 212001 h 1046508"/>
                  <a:gd name="connsiteX27" fmla="*/ 1104900 w 1200744"/>
                  <a:gd name="connsiteY27" fmla="*/ 131498 h 1046508"/>
                  <a:gd name="connsiteX28" fmla="*/ 1104900 w 1200744"/>
                  <a:gd name="connsiteY28" fmla="*/ 134851 h 1046508"/>
                  <a:gd name="connsiteX29" fmla="*/ 1157493 w 1200744"/>
                  <a:gd name="connsiteY29" fmla="*/ 128603 h 1046508"/>
                  <a:gd name="connsiteX30" fmla="*/ 1200471 w 1200744"/>
                  <a:gd name="connsiteY30" fmla="*/ 162453 h 1046508"/>
                  <a:gd name="connsiteX31" fmla="*/ 1200470 w 1200744"/>
                  <a:gd name="connsiteY31" fmla="*/ 162453 h 1046508"/>
                  <a:gd name="connsiteX32" fmla="*/ 1166620 w 1200744"/>
                  <a:gd name="connsiteY32" fmla="*/ 205431 h 1046508"/>
                  <a:gd name="connsiteX33" fmla="*/ 892471 w 1200744"/>
                  <a:gd name="connsiteY33" fmla="*/ 238001 h 1046508"/>
                  <a:gd name="connsiteX34" fmla="*/ 883444 w 1200744"/>
                  <a:gd name="connsiteY34" fmla="*/ 235459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688181 w 1200744"/>
                  <a:gd name="connsiteY45" fmla="*/ 400083 h 1046508"/>
                  <a:gd name="connsiteX46" fmla="*/ 688181 w 1200744"/>
                  <a:gd name="connsiteY46" fmla="*/ 403433 h 1046508"/>
                  <a:gd name="connsiteX47" fmla="*/ 792956 w 1200744"/>
                  <a:gd name="connsiteY47" fmla="*/ 390985 h 1046508"/>
                  <a:gd name="connsiteX48" fmla="*/ 792956 w 1200744"/>
                  <a:gd name="connsiteY48" fmla="*/ 387635 h 1046508"/>
                  <a:gd name="connsiteX49" fmla="*/ 883444 w 1200744"/>
                  <a:gd name="connsiteY49" fmla="*/ 376884 h 1046508"/>
                  <a:gd name="connsiteX50" fmla="*/ 883444 w 1200744"/>
                  <a:gd name="connsiteY50" fmla="*/ 380235 h 1046508"/>
                  <a:gd name="connsiteX51" fmla="*/ 1157493 w 1200744"/>
                  <a:gd name="connsiteY51" fmla="*/ 347675 h 1046508"/>
                  <a:gd name="connsiteX52" fmla="*/ 1200471 w 1200744"/>
                  <a:gd name="connsiteY52" fmla="*/ 381525 h 1046508"/>
                  <a:gd name="connsiteX53" fmla="*/ 1200470 w 1200744"/>
                  <a:gd name="connsiteY53" fmla="*/ 381526 h 1046508"/>
                  <a:gd name="connsiteX54" fmla="*/ 1166620 w 1200744"/>
                  <a:gd name="connsiteY54" fmla="*/ 424503 h 1046508"/>
                  <a:gd name="connsiteX55" fmla="*/ 883444 w 1200744"/>
                  <a:gd name="connsiteY55" fmla="*/ 458146 h 1046508"/>
                  <a:gd name="connsiteX56" fmla="*/ 883444 w 1200744"/>
                  <a:gd name="connsiteY56" fmla="*/ 506141 h 1046508"/>
                  <a:gd name="connsiteX57" fmla="*/ 792956 w 1200744"/>
                  <a:gd name="connsiteY57" fmla="*/ 516892 h 1046508"/>
                  <a:gd name="connsiteX58" fmla="*/ 792956 w 1200744"/>
                  <a:gd name="connsiteY58" fmla="*/ 468897 h 1046508"/>
                  <a:gd name="connsiteX59" fmla="*/ 688181 w 1200744"/>
                  <a:gd name="connsiteY59" fmla="*/ 481345 h 1046508"/>
                  <a:gd name="connsiteX60" fmla="*/ 688181 w 1200744"/>
                  <a:gd name="connsiteY60" fmla="*/ 529340 h 1046508"/>
                  <a:gd name="connsiteX61" fmla="*/ 418176 w 1200744"/>
                  <a:gd name="connsiteY61" fmla="*/ 561418 h 1046508"/>
                  <a:gd name="connsiteX62" fmla="*/ 392350 w 1200744"/>
                  <a:gd name="connsiteY62" fmla="*/ 575897 h 1046508"/>
                  <a:gd name="connsiteX63" fmla="*/ 384326 w 1200744"/>
                  <a:gd name="connsiteY63" fmla="*/ 604396 h 1046508"/>
                  <a:gd name="connsiteX64" fmla="*/ 398804 w 1200744"/>
                  <a:gd name="connsiteY64" fmla="*/ 630221 h 1046508"/>
                  <a:gd name="connsiteX65" fmla="*/ 427304 w 1200744"/>
                  <a:gd name="connsiteY65" fmla="*/ 638245 h 1046508"/>
                  <a:gd name="connsiteX66" fmla="*/ 1104900 w 1200744"/>
                  <a:gd name="connsiteY66" fmla="*/ 557742 h 1046508"/>
                  <a:gd name="connsiteX67" fmla="*/ 1104900 w 1200744"/>
                  <a:gd name="connsiteY67" fmla="*/ 558713 h 1046508"/>
                  <a:gd name="connsiteX68" fmla="*/ 1157491 w 1200744"/>
                  <a:gd name="connsiteY68" fmla="*/ 552464 h 1046508"/>
                  <a:gd name="connsiteX69" fmla="*/ 1200469 w 1200744"/>
                  <a:gd name="connsiteY69" fmla="*/ 586314 h 1046508"/>
                  <a:gd name="connsiteX70" fmla="*/ 1200468 w 1200744"/>
                  <a:gd name="connsiteY70" fmla="*/ 586314 h 1046508"/>
                  <a:gd name="connsiteX71" fmla="*/ 1166618 w 1200744"/>
                  <a:gd name="connsiteY71" fmla="*/ 629292 h 1046508"/>
                  <a:gd name="connsiteX72" fmla="*/ 1104900 w 1200744"/>
                  <a:gd name="connsiteY72" fmla="*/ 636624 h 1046508"/>
                  <a:gd name="connsiteX73" fmla="*/ 1104900 w 1200744"/>
                  <a:gd name="connsiteY73" fmla="*/ 817908 h 1046508"/>
                  <a:gd name="connsiteX74" fmla="*/ 971550 w 1200744"/>
                  <a:gd name="connsiteY74" fmla="*/ 946496 h 1046508"/>
                  <a:gd name="connsiteX75" fmla="*/ 752889 w 1200744"/>
                  <a:gd name="connsiteY75" fmla="*/ 946496 h 1046508"/>
                  <a:gd name="connsiteX76" fmla="*/ 749140 w 1200744"/>
                  <a:gd name="connsiteY76" fmla="*/ 965065 h 1046508"/>
                  <a:gd name="connsiteX77" fmla="*/ 626271 w 1200744"/>
                  <a:gd name="connsiteY77" fmla="*/ 1046508 h 1046508"/>
                  <a:gd name="connsiteX78" fmla="*/ 533770 w 1200744"/>
                  <a:gd name="connsiteY78" fmla="*/ 1046508 h 1046508"/>
                  <a:gd name="connsiteX79" fmla="*/ 410901 w 1200744"/>
                  <a:gd name="connsiteY79" fmla="*/ 965065 h 1046508"/>
                  <a:gd name="connsiteX80" fmla="*/ 407153 w 1200744"/>
                  <a:gd name="connsiteY80" fmla="*/ 946496 h 1046508"/>
                  <a:gd name="connsiteX81" fmla="*/ 190500 w 1200744"/>
                  <a:gd name="connsiteY81" fmla="*/ 946496 h 1046508"/>
                  <a:gd name="connsiteX82" fmla="*/ 59532 w 1200744"/>
                  <a:gd name="connsiteY82" fmla="*/ 825052 h 1046508"/>
                  <a:gd name="connsiteX83" fmla="*/ 59432 w 1200744"/>
                  <a:gd name="connsiteY83" fmla="*/ 710643 h 1046508"/>
                  <a:gd name="connsiteX84" fmla="*/ 48816 w 1200744"/>
                  <a:gd name="connsiteY84" fmla="*/ 710643 h 1046508"/>
                  <a:gd name="connsiteX85" fmla="*/ 14298 w 1200744"/>
                  <a:gd name="connsiteY85" fmla="*/ 696345 h 1046508"/>
                  <a:gd name="connsiteX86" fmla="*/ 0 w 1200744"/>
                  <a:gd name="connsiteY86" fmla="*/ 661828 h 1046508"/>
                  <a:gd name="connsiteX87" fmla="*/ 14298 w 1200744"/>
                  <a:gd name="connsiteY87" fmla="*/ 627310 h 1046508"/>
                  <a:gd name="connsiteX88" fmla="*/ 48816 w 1200744"/>
                  <a:gd name="connsiteY88" fmla="*/ 613012 h 1046508"/>
                  <a:gd name="connsiteX89" fmla="*/ 59346 w 1200744"/>
                  <a:gd name="connsiteY89" fmla="*/ 613012 h 1046508"/>
                  <a:gd name="connsiteX90" fmla="*/ 59247 w 1200744"/>
                  <a:gd name="connsiteY90" fmla="*/ 501147 h 1046508"/>
                  <a:gd name="connsiteX91" fmla="*/ 48816 w 1200744"/>
                  <a:gd name="connsiteY91" fmla="*/ 501147 h 1046508"/>
                  <a:gd name="connsiteX92" fmla="*/ 14298 w 1200744"/>
                  <a:gd name="connsiteY92" fmla="*/ 486849 h 1046508"/>
                  <a:gd name="connsiteX93" fmla="*/ 0 w 1200744"/>
                  <a:gd name="connsiteY93" fmla="*/ 452332 h 1046508"/>
                  <a:gd name="connsiteX94" fmla="*/ 14298 w 1200744"/>
                  <a:gd name="connsiteY94" fmla="*/ 417814 h 1046508"/>
                  <a:gd name="connsiteX95" fmla="*/ 48816 w 1200744"/>
                  <a:gd name="connsiteY95" fmla="*/ 403516 h 1046508"/>
                  <a:gd name="connsiteX96" fmla="*/ 59161 w 1200744"/>
                  <a:gd name="connsiteY96" fmla="*/ 403516 h 1046508"/>
                  <a:gd name="connsiteX97" fmla="*/ 59063 w 1200744"/>
                  <a:gd name="connsiteY97" fmla="*/ 291651 h 1046508"/>
                  <a:gd name="connsiteX98" fmla="*/ 48816 w 1200744"/>
                  <a:gd name="connsiteY98" fmla="*/ 291651 h 1046508"/>
                  <a:gd name="connsiteX99" fmla="*/ 14298 w 1200744"/>
                  <a:gd name="connsiteY99" fmla="*/ 277353 h 1046508"/>
                  <a:gd name="connsiteX100" fmla="*/ 0 w 1200744"/>
                  <a:gd name="connsiteY100" fmla="*/ 242836 h 1046508"/>
                  <a:gd name="connsiteX101" fmla="*/ 14298 w 1200744"/>
                  <a:gd name="connsiteY101" fmla="*/ 208318 h 1046508"/>
                  <a:gd name="connsiteX102" fmla="*/ 48816 w 1200744"/>
                  <a:gd name="connsiteY102" fmla="*/ 194020 h 1046508"/>
                  <a:gd name="connsiteX103" fmla="*/ 58977 w 1200744"/>
                  <a:gd name="connsiteY103" fmla="*/ 19402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792956 w 1200744"/>
                  <a:gd name="connsiteY49" fmla="*/ 387635 h 1046508"/>
                  <a:gd name="connsiteX50" fmla="*/ 883444 w 1200744"/>
                  <a:gd name="connsiteY50" fmla="*/ 376884 h 1046508"/>
                  <a:gd name="connsiteX51" fmla="*/ 1157493 w 1200744"/>
                  <a:gd name="connsiteY51" fmla="*/ 347675 h 1046508"/>
                  <a:gd name="connsiteX52" fmla="*/ 1200471 w 1200744"/>
                  <a:gd name="connsiteY52" fmla="*/ 381525 h 1046508"/>
                  <a:gd name="connsiteX53" fmla="*/ 1200470 w 1200744"/>
                  <a:gd name="connsiteY53" fmla="*/ 381526 h 1046508"/>
                  <a:gd name="connsiteX54" fmla="*/ 1166620 w 1200744"/>
                  <a:gd name="connsiteY54" fmla="*/ 424503 h 1046508"/>
                  <a:gd name="connsiteX55" fmla="*/ 883444 w 1200744"/>
                  <a:gd name="connsiteY55" fmla="*/ 458146 h 1046508"/>
                  <a:gd name="connsiteX56" fmla="*/ 883444 w 1200744"/>
                  <a:gd name="connsiteY56" fmla="*/ 506141 h 1046508"/>
                  <a:gd name="connsiteX57" fmla="*/ 792956 w 1200744"/>
                  <a:gd name="connsiteY57" fmla="*/ 516892 h 1046508"/>
                  <a:gd name="connsiteX58" fmla="*/ 792956 w 1200744"/>
                  <a:gd name="connsiteY58" fmla="*/ 468897 h 1046508"/>
                  <a:gd name="connsiteX59" fmla="*/ 688181 w 1200744"/>
                  <a:gd name="connsiteY59" fmla="*/ 481345 h 1046508"/>
                  <a:gd name="connsiteX60" fmla="*/ 688181 w 1200744"/>
                  <a:gd name="connsiteY60" fmla="*/ 529340 h 1046508"/>
                  <a:gd name="connsiteX61" fmla="*/ 418176 w 1200744"/>
                  <a:gd name="connsiteY61" fmla="*/ 561418 h 1046508"/>
                  <a:gd name="connsiteX62" fmla="*/ 392350 w 1200744"/>
                  <a:gd name="connsiteY62" fmla="*/ 575897 h 1046508"/>
                  <a:gd name="connsiteX63" fmla="*/ 384326 w 1200744"/>
                  <a:gd name="connsiteY63" fmla="*/ 604396 h 1046508"/>
                  <a:gd name="connsiteX64" fmla="*/ 398804 w 1200744"/>
                  <a:gd name="connsiteY64" fmla="*/ 630221 h 1046508"/>
                  <a:gd name="connsiteX65" fmla="*/ 427304 w 1200744"/>
                  <a:gd name="connsiteY65" fmla="*/ 638245 h 1046508"/>
                  <a:gd name="connsiteX66" fmla="*/ 1104900 w 1200744"/>
                  <a:gd name="connsiteY66" fmla="*/ 557742 h 1046508"/>
                  <a:gd name="connsiteX67" fmla="*/ 1104900 w 1200744"/>
                  <a:gd name="connsiteY67" fmla="*/ 558713 h 1046508"/>
                  <a:gd name="connsiteX68" fmla="*/ 1157491 w 1200744"/>
                  <a:gd name="connsiteY68" fmla="*/ 552464 h 1046508"/>
                  <a:gd name="connsiteX69" fmla="*/ 1200469 w 1200744"/>
                  <a:gd name="connsiteY69" fmla="*/ 586314 h 1046508"/>
                  <a:gd name="connsiteX70" fmla="*/ 1200468 w 1200744"/>
                  <a:gd name="connsiteY70" fmla="*/ 586314 h 1046508"/>
                  <a:gd name="connsiteX71" fmla="*/ 1166618 w 1200744"/>
                  <a:gd name="connsiteY71" fmla="*/ 629292 h 1046508"/>
                  <a:gd name="connsiteX72" fmla="*/ 1104900 w 1200744"/>
                  <a:gd name="connsiteY72" fmla="*/ 636624 h 1046508"/>
                  <a:gd name="connsiteX73" fmla="*/ 1104900 w 1200744"/>
                  <a:gd name="connsiteY73" fmla="*/ 817908 h 1046508"/>
                  <a:gd name="connsiteX74" fmla="*/ 971550 w 1200744"/>
                  <a:gd name="connsiteY74" fmla="*/ 946496 h 1046508"/>
                  <a:gd name="connsiteX75" fmla="*/ 752889 w 1200744"/>
                  <a:gd name="connsiteY75" fmla="*/ 946496 h 1046508"/>
                  <a:gd name="connsiteX76" fmla="*/ 749140 w 1200744"/>
                  <a:gd name="connsiteY76" fmla="*/ 965065 h 1046508"/>
                  <a:gd name="connsiteX77" fmla="*/ 626271 w 1200744"/>
                  <a:gd name="connsiteY77" fmla="*/ 1046508 h 1046508"/>
                  <a:gd name="connsiteX78" fmla="*/ 533770 w 1200744"/>
                  <a:gd name="connsiteY78" fmla="*/ 1046508 h 1046508"/>
                  <a:gd name="connsiteX79" fmla="*/ 410901 w 1200744"/>
                  <a:gd name="connsiteY79" fmla="*/ 965065 h 1046508"/>
                  <a:gd name="connsiteX80" fmla="*/ 407153 w 1200744"/>
                  <a:gd name="connsiteY80" fmla="*/ 946496 h 1046508"/>
                  <a:gd name="connsiteX81" fmla="*/ 190500 w 1200744"/>
                  <a:gd name="connsiteY81" fmla="*/ 946496 h 1046508"/>
                  <a:gd name="connsiteX82" fmla="*/ 59532 w 1200744"/>
                  <a:gd name="connsiteY82" fmla="*/ 825052 h 1046508"/>
                  <a:gd name="connsiteX83" fmla="*/ 59432 w 1200744"/>
                  <a:gd name="connsiteY83" fmla="*/ 710643 h 1046508"/>
                  <a:gd name="connsiteX84" fmla="*/ 48816 w 1200744"/>
                  <a:gd name="connsiteY84" fmla="*/ 710643 h 1046508"/>
                  <a:gd name="connsiteX85" fmla="*/ 14298 w 1200744"/>
                  <a:gd name="connsiteY85" fmla="*/ 696345 h 1046508"/>
                  <a:gd name="connsiteX86" fmla="*/ 0 w 1200744"/>
                  <a:gd name="connsiteY86" fmla="*/ 661828 h 1046508"/>
                  <a:gd name="connsiteX87" fmla="*/ 14298 w 1200744"/>
                  <a:gd name="connsiteY87" fmla="*/ 627310 h 1046508"/>
                  <a:gd name="connsiteX88" fmla="*/ 48816 w 1200744"/>
                  <a:gd name="connsiteY88" fmla="*/ 613012 h 1046508"/>
                  <a:gd name="connsiteX89" fmla="*/ 59346 w 1200744"/>
                  <a:gd name="connsiteY89" fmla="*/ 613012 h 1046508"/>
                  <a:gd name="connsiteX90" fmla="*/ 59247 w 1200744"/>
                  <a:gd name="connsiteY90" fmla="*/ 501147 h 1046508"/>
                  <a:gd name="connsiteX91" fmla="*/ 48816 w 1200744"/>
                  <a:gd name="connsiteY91" fmla="*/ 501147 h 1046508"/>
                  <a:gd name="connsiteX92" fmla="*/ 14298 w 1200744"/>
                  <a:gd name="connsiteY92" fmla="*/ 486849 h 1046508"/>
                  <a:gd name="connsiteX93" fmla="*/ 0 w 1200744"/>
                  <a:gd name="connsiteY93" fmla="*/ 452332 h 1046508"/>
                  <a:gd name="connsiteX94" fmla="*/ 14298 w 1200744"/>
                  <a:gd name="connsiteY94" fmla="*/ 417814 h 1046508"/>
                  <a:gd name="connsiteX95" fmla="*/ 48816 w 1200744"/>
                  <a:gd name="connsiteY95" fmla="*/ 403516 h 1046508"/>
                  <a:gd name="connsiteX96" fmla="*/ 59161 w 1200744"/>
                  <a:gd name="connsiteY96" fmla="*/ 403516 h 1046508"/>
                  <a:gd name="connsiteX97" fmla="*/ 59063 w 1200744"/>
                  <a:gd name="connsiteY97" fmla="*/ 291651 h 1046508"/>
                  <a:gd name="connsiteX98" fmla="*/ 48816 w 1200744"/>
                  <a:gd name="connsiteY98" fmla="*/ 291651 h 1046508"/>
                  <a:gd name="connsiteX99" fmla="*/ 14298 w 1200744"/>
                  <a:gd name="connsiteY99" fmla="*/ 277353 h 1046508"/>
                  <a:gd name="connsiteX100" fmla="*/ 0 w 1200744"/>
                  <a:gd name="connsiteY100" fmla="*/ 242836 h 1046508"/>
                  <a:gd name="connsiteX101" fmla="*/ 14298 w 1200744"/>
                  <a:gd name="connsiteY101" fmla="*/ 208318 h 1046508"/>
                  <a:gd name="connsiteX102" fmla="*/ 48816 w 1200744"/>
                  <a:gd name="connsiteY102" fmla="*/ 194020 h 1046508"/>
                  <a:gd name="connsiteX103" fmla="*/ 58977 w 1200744"/>
                  <a:gd name="connsiteY103" fmla="*/ 194020 h 1046508"/>
                  <a:gd name="connsiteX104" fmla="*/ 58806 w 1200744"/>
                  <a:gd name="connsiteY104"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792956 w 1200744"/>
                  <a:gd name="connsiteY49" fmla="*/ 387635 h 1046508"/>
                  <a:gd name="connsiteX50" fmla="*/ 1157493 w 1200744"/>
                  <a:gd name="connsiteY50" fmla="*/ 347675 h 1046508"/>
                  <a:gd name="connsiteX51" fmla="*/ 1200471 w 1200744"/>
                  <a:gd name="connsiteY51" fmla="*/ 381525 h 1046508"/>
                  <a:gd name="connsiteX52" fmla="*/ 1200470 w 1200744"/>
                  <a:gd name="connsiteY52" fmla="*/ 381526 h 1046508"/>
                  <a:gd name="connsiteX53" fmla="*/ 1166620 w 1200744"/>
                  <a:gd name="connsiteY53" fmla="*/ 424503 h 1046508"/>
                  <a:gd name="connsiteX54" fmla="*/ 883444 w 1200744"/>
                  <a:gd name="connsiteY54" fmla="*/ 458146 h 1046508"/>
                  <a:gd name="connsiteX55" fmla="*/ 883444 w 1200744"/>
                  <a:gd name="connsiteY55" fmla="*/ 506141 h 1046508"/>
                  <a:gd name="connsiteX56" fmla="*/ 792956 w 1200744"/>
                  <a:gd name="connsiteY56" fmla="*/ 516892 h 1046508"/>
                  <a:gd name="connsiteX57" fmla="*/ 792956 w 1200744"/>
                  <a:gd name="connsiteY57" fmla="*/ 468897 h 1046508"/>
                  <a:gd name="connsiteX58" fmla="*/ 688181 w 1200744"/>
                  <a:gd name="connsiteY58" fmla="*/ 481345 h 1046508"/>
                  <a:gd name="connsiteX59" fmla="*/ 688181 w 1200744"/>
                  <a:gd name="connsiteY59" fmla="*/ 529340 h 1046508"/>
                  <a:gd name="connsiteX60" fmla="*/ 418176 w 1200744"/>
                  <a:gd name="connsiteY60" fmla="*/ 561418 h 1046508"/>
                  <a:gd name="connsiteX61" fmla="*/ 392350 w 1200744"/>
                  <a:gd name="connsiteY61" fmla="*/ 575897 h 1046508"/>
                  <a:gd name="connsiteX62" fmla="*/ 384326 w 1200744"/>
                  <a:gd name="connsiteY62" fmla="*/ 604396 h 1046508"/>
                  <a:gd name="connsiteX63" fmla="*/ 398804 w 1200744"/>
                  <a:gd name="connsiteY63" fmla="*/ 630221 h 1046508"/>
                  <a:gd name="connsiteX64" fmla="*/ 427304 w 1200744"/>
                  <a:gd name="connsiteY64" fmla="*/ 638245 h 1046508"/>
                  <a:gd name="connsiteX65" fmla="*/ 1104900 w 1200744"/>
                  <a:gd name="connsiteY65" fmla="*/ 557742 h 1046508"/>
                  <a:gd name="connsiteX66" fmla="*/ 1104900 w 1200744"/>
                  <a:gd name="connsiteY66" fmla="*/ 558713 h 1046508"/>
                  <a:gd name="connsiteX67" fmla="*/ 1157491 w 1200744"/>
                  <a:gd name="connsiteY67" fmla="*/ 552464 h 1046508"/>
                  <a:gd name="connsiteX68" fmla="*/ 1200469 w 1200744"/>
                  <a:gd name="connsiteY68" fmla="*/ 586314 h 1046508"/>
                  <a:gd name="connsiteX69" fmla="*/ 1200468 w 1200744"/>
                  <a:gd name="connsiteY69" fmla="*/ 586314 h 1046508"/>
                  <a:gd name="connsiteX70" fmla="*/ 1166618 w 1200744"/>
                  <a:gd name="connsiteY70" fmla="*/ 629292 h 1046508"/>
                  <a:gd name="connsiteX71" fmla="*/ 1104900 w 1200744"/>
                  <a:gd name="connsiteY71" fmla="*/ 636624 h 1046508"/>
                  <a:gd name="connsiteX72" fmla="*/ 1104900 w 1200744"/>
                  <a:gd name="connsiteY72" fmla="*/ 817908 h 1046508"/>
                  <a:gd name="connsiteX73" fmla="*/ 971550 w 1200744"/>
                  <a:gd name="connsiteY73" fmla="*/ 946496 h 1046508"/>
                  <a:gd name="connsiteX74" fmla="*/ 752889 w 1200744"/>
                  <a:gd name="connsiteY74" fmla="*/ 946496 h 1046508"/>
                  <a:gd name="connsiteX75" fmla="*/ 749140 w 1200744"/>
                  <a:gd name="connsiteY75" fmla="*/ 965065 h 1046508"/>
                  <a:gd name="connsiteX76" fmla="*/ 626271 w 1200744"/>
                  <a:gd name="connsiteY76" fmla="*/ 1046508 h 1046508"/>
                  <a:gd name="connsiteX77" fmla="*/ 533770 w 1200744"/>
                  <a:gd name="connsiteY77" fmla="*/ 1046508 h 1046508"/>
                  <a:gd name="connsiteX78" fmla="*/ 410901 w 1200744"/>
                  <a:gd name="connsiteY78" fmla="*/ 965065 h 1046508"/>
                  <a:gd name="connsiteX79" fmla="*/ 407153 w 1200744"/>
                  <a:gd name="connsiteY79" fmla="*/ 946496 h 1046508"/>
                  <a:gd name="connsiteX80" fmla="*/ 190500 w 1200744"/>
                  <a:gd name="connsiteY80" fmla="*/ 946496 h 1046508"/>
                  <a:gd name="connsiteX81" fmla="*/ 59532 w 1200744"/>
                  <a:gd name="connsiteY81" fmla="*/ 825052 h 1046508"/>
                  <a:gd name="connsiteX82" fmla="*/ 59432 w 1200744"/>
                  <a:gd name="connsiteY82" fmla="*/ 710643 h 1046508"/>
                  <a:gd name="connsiteX83" fmla="*/ 48816 w 1200744"/>
                  <a:gd name="connsiteY83" fmla="*/ 710643 h 1046508"/>
                  <a:gd name="connsiteX84" fmla="*/ 14298 w 1200744"/>
                  <a:gd name="connsiteY84" fmla="*/ 696345 h 1046508"/>
                  <a:gd name="connsiteX85" fmla="*/ 0 w 1200744"/>
                  <a:gd name="connsiteY85" fmla="*/ 661828 h 1046508"/>
                  <a:gd name="connsiteX86" fmla="*/ 14298 w 1200744"/>
                  <a:gd name="connsiteY86" fmla="*/ 627310 h 1046508"/>
                  <a:gd name="connsiteX87" fmla="*/ 48816 w 1200744"/>
                  <a:gd name="connsiteY87" fmla="*/ 613012 h 1046508"/>
                  <a:gd name="connsiteX88" fmla="*/ 59346 w 1200744"/>
                  <a:gd name="connsiteY88" fmla="*/ 613012 h 1046508"/>
                  <a:gd name="connsiteX89" fmla="*/ 59247 w 1200744"/>
                  <a:gd name="connsiteY89" fmla="*/ 501147 h 1046508"/>
                  <a:gd name="connsiteX90" fmla="*/ 48816 w 1200744"/>
                  <a:gd name="connsiteY90" fmla="*/ 501147 h 1046508"/>
                  <a:gd name="connsiteX91" fmla="*/ 14298 w 1200744"/>
                  <a:gd name="connsiteY91" fmla="*/ 486849 h 1046508"/>
                  <a:gd name="connsiteX92" fmla="*/ 0 w 1200744"/>
                  <a:gd name="connsiteY92" fmla="*/ 452332 h 1046508"/>
                  <a:gd name="connsiteX93" fmla="*/ 14298 w 1200744"/>
                  <a:gd name="connsiteY93" fmla="*/ 417814 h 1046508"/>
                  <a:gd name="connsiteX94" fmla="*/ 48816 w 1200744"/>
                  <a:gd name="connsiteY94" fmla="*/ 403516 h 1046508"/>
                  <a:gd name="connsiteX95" fmla="*/ 59161 w 1200744"/>
                  <a:gd name="connsiteY95" fmla="*/ 403516 h 1046508"/>
                  <a:gd name="connsiteX96" fmla="*/ 59063 w 1200744"/>
                  <a:gd name="connsiteY96" fmla="*/ 291651 h 1046508"/>
                  <a:gd name="connsiteX97" fmla="*/ 48816 w 1200744"/>
                  <a:gd name="connsiteY97" fmla="*/ 291651 h 1046508"/>
                  <a:gd name="connsiteX98" fmla="*/ 14298 w 1200744"/>
                  <a:gd name="connsiteY98" fmla="*/ 277353 h 1046508"/>
                  <a:gd name="connsiteX99" fmla="*/ 0 w 1200744"/>
                  <a:gd name="connsiteY99" fmla="*/ 242836 h 1046508"/>
                  <a:gd name="connsiteX100" fmla="*/ 14298 w 1200744"/>
                  <a:gd name="connsiteY100" fmla="*/ 208318 h 1046508"/>
                  <a:gd name="connsiteX101" fmla="*/ 48816 w 1200744"/>
                  <a:gd name="connsiteY101" fmla="*/ 194020 h 1046508"/>
                  <a:gd name="connsiteX102" fmla="*/ 58977 w 1200744"/>
                  <a:gd name="connsiteY102" fmla="*/ 194020 h 1046508"/>
                  <a:gd name="connsiteX103" fmla="*/ 58806 w 1200744"/>
                  <a:gd name="connsiteY103"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1157493 w 1200744"/>
                  <a:gd name="connsiteY49" fmla="*/ 347675 h 1046508"/>
                  <a:gd name="connsiteX50" fmla="*/ 1200471 w 1200744"/>
                  <a:gd name="connsiteY50" fmla="*/ 381525 h 1046508"/>
                  <a:gd name="connsiteX51" fmla="*/ 1200470 w 1200744"/>
                  <a:gd name="connsiteY51" fmla="*/ 381526 h 1046508"/>
                  <a:gd name="connsiteX52" fmla="*/ 1166620 w 1200744"/>
                  <a:gd name="connsiteY52" fmla="*/ 424503 h 1046508"/>
                  <a:gd name="connsiteX53" fmla="*/ 883444 w 1200744"/>
                  <a:gd name="connsiteY53" fmla="*/ 458146 h 1046508"/>
                  <a:gd name="connsiteX54" fmla="*/ 883444 w 1200744"/>
                  <a:gd name="connsiteY54" fmla="*/ 506141 h 1046508"/>
                  <a:gd name="connsiteX55" fmla="*/ 792956 w 1200744"/>
                  <a:gd name="connsiteY55" fmla="*/ 516892 h 1046508"/>
                  <a:gd name="connsiteX56" fmla="*/ 792956 w 1200744"/>
                  <a:gd name="connsiteY56" fmla="*/ 468897 h 1046508"/>
                  <a:gd name="connsiteX57" fmla="*/ 688181 w 1200744"/>
                  <a:gd name="connsiteY57" fmla="*/ 481345 h 1046508"/>
                  <a:gd name="connsiteX58" fmla="*/ 688181 w 1200744"/>
                  <a:gd name="connsiteY58" fmla="*/ 529340 h 1046508"/>
                  <a:gd name="connsiteX59" fmla="*/ 418176 w 1200744"/>
                  <a:gd name="connsiteY59" fmla="*/ 561418 h 1046508"/>
                  <a:gd name="connsiteX60" fmla="*/ 392350 w 1200744"/>
                  <a:gd name="connsiteY60" fmla="*/ 575897 h 1046508"/>
                  <a:gd name="connsiteX61" fmla="*/ 384326 w 1200744"/>
                  <a:gd name="connsiteY61" fmla="*/ 604396 h 1046508"/>
                  <a:gd name="connsiteX62" fmla="*/ 398804 w 1200744"/>
                  <a:gd name="connsiteY62" fmla="*/ 630221 h 1046508"/>
                  <a:gd name="connsiteX63" fmla="*/ 427304 w 1200744"/>
                  <a:gd name="connsiteY63" fmla="*/ 638245 h 1046508"/>
                  <a:gd name="connsiteX64" fmla="*/ 1104900 w 1200744"/>
                  <a:gd name="connsiteY64" fmla="*/ 557742 h 1046508"/>
                  <a:gd name="connsiteX65" fmla="*/ 1104900 w 1200744"/>
                  <a:gd name="connsiteY65" fmla="*/ 558713 h 1046508"/>
                  <a:gd name="connsiteX66" fmla="*/ 1157491 w 1200744"/>
                  <a:gd name="connsiteY66" fmla="*/ 552464 h 1046508"/>
                  <a:gd name="connsiteX67" fmla="*/ 1200469 w 1200744"/>
                  <a:gd name="connsiteY67" fmla="*/ 586314 h 1046508"/>
                  <a:gd name="connsiteX68" fmla="*/ 1200468 w 1200744"/>
                  <a:gd name="connsiteY68" fmla="*/ 586314 h 1046508"/>
                  <a:gd name="connsiteX69" fmla="*/ 1166618 w 1200744"/>
                  <a:gd name="connsiteY69" fmla="*/ 629292 h 1046508"/>
                  <a:gd name="connsiteX70" fmla="*/ 1104900 w 1200744"/>
                  <a:gd name="connsiteY70" fmla="*/ 636624 h 1046508"/>
                  <a:gd name="connsiteX71" fmla="*/ 1104900 w 1200744"/>
                  <a:gd name="connsiteY71" fmla="*/ 817908 h 1046508"/>
                  <a:gd name="connsiteX72" fmla="*/ 971550 w 1200744"/>
                  <a:gd name="connsiteY72" fmla="*/ 946496 h 1046508"/>
                  <a:gd name="connsiteX73" fmla="*/ 752889 w 1200744"/>
                  <a:gd name="connsiteY73" fmla="*/ 946496 h 1046508"/>
                  <a:gd name="connsiteX74" fmla="*/ 749140 w 1200744"/>
                  <a:gd name="connsiteY74" fmla="*/ 965065 h 1046508"/>
                  <a:gd name="connsiteX75" fmla="*/ 626271 w 1200744"/>
                  <a:gd name="connsiteY75" fmla="*/ 1046508 h 1046508"/>
                  <a:gd name="connsiteX76" fmla="*/ 533770 w 1200744"/>
                  <a:gd name="connsiteY76" fmla="*/ 1046508 h 1046508"/>
                  <a:gd name="connsiteX77" fmla="*/ 410901 w 1200744"/>
                  <a:gd name="connsiteY77" fmla="*/ 965065 h 1046508"/>
                  <a:gd name="connsiteX78" fmla="*/ 407153 w 1200744"/>
                  <a:gd name="connsiteY78" fmla="*/ 946496 h 1046508"/>
                  <a:gd name="connsiteX79" fmla="*/ 190500 w 1200744"/>
                  <a:gd name="connsiteY79" fmla="*/ 946496 h 1046508"/>
                  <a:gd name="connsiteX80" fmla="*/ 59532 w 1200744"/>
                  <a:gd name="connsiteY80" fmla="*/ 825052 h 1046508"/>
                  <a:gd name="connsiteX81" fmla="*/ 59432 w 1200744"/>
                  <a:gd name="connsiteY81" fmla="*/ 710643 h 1046508"/>
                  <a:gd name="connsiteX82" fmla="*/ 48816 w 1200744"/>
                  <a:gd name="connsiteY82" fmla="*/ 710643 h 1046508"/>
                  <a:gd name="connsiteX83" fmla="*/ 14298 w 1200744"/>
                  <a:gd name="connsiteY83" fmla="*/ 696345 h 1046508"/>
                  <a:gd name="connsiteX84" fmla="*/ 0 w 1200744"/>
                  <a:gd name="connsiteY84" fmla="*/ 661828 h 1046508"/>
                  <a:gd name="connsiteX85" fmla="*/ 14298 w 1200744"/>
                  <a:gd name="connsiteY85" fmla="*/ 627310 h 1046508"/>
                  <a:gd name="connsiteX86" fmla="*/ 48816 w 1200744"/>
                  <a:gd name="connsiteY86" fmla="*/ 613012 h 1046508"/>
                  <a:gd name="connsiteX87" fmla="*/ 59346 w 1200744"/>
                  <a:gd name="connsiteY87" fmla="*/ 613012 h 1046508"/>
                  <a:gd name="connsiteX88" fmla="*/ 59247 w 1200744"/>
                  <a:gd name="connsiteY88" fmla="*/ 501147 h 1046508"/>
                  <a:gd name="connsiteX89" fmla="*/ 48816 w 1200744"/>
                  <a:gd name="connsiteY89" fmla="*/ 501147 h 1046508"/>
                  <a:gd name="connsiteX90" fmla="*/ 14298 w 1200744"/>
                  <a:gd name="connsiteY90" fmla="*/ 486849 h 1046508"/>
                  <a:gd name="connsiteX91" fmla="*/ 0 w 1200744"/>
                  <a:gd name="connsiteY91" fmla="*/ 452332 h 1046508"/>
                  <a:gd name="connsiteX92" fmla="*/ 14298 w 1200744"/>
                  <a:gd name="connsiteY92" fmla="*/ 417814 h 1046508"/>
                  <a:gd name="connsiteX93" fmla="*/ 48816 w 1200744"/>
                  <a:gd name="connsiteY93" fmla="*/ 403516 h 1046508"/>
                  <a:gd name="connsiteX94" fmla="*/ 59161 w 1200744"/>
                  <a:gd name="connsiteY94" fmla="*/ 403516 h 1046508"/>
                  <a:gd name="connsiteX95" fmla="*/ 59063 w 1200744"/>
                  <a:gd name="connsiteY95" fmla="*/ 291651 h 1046508"/>
                  <a:gd name="connsiteX96" fmla="*/ 48816 w 1200744"/>
                  <a:gd name="connsiteY96" fmla="*/ 291651 h 1046508"/>
                  <a:gd name="connsiteX97" fmla="*/ 14298 w 1200744"/>
                  <a:gd name="connsiteY97" fmla="*/ 277353 h 1046508"/>
                  <a:gd name="connsiteX98" fmla="*/ 0 w 1200744"/>
                  <a:gd name="connsiteY98" fmla="*/ 242836 h 1046508"/>
                  <a:gd name="connsiteX99" fmla="*/ 14298 w 1200744"/>
                  <a:gd name="connsiteY99" fmla="*/ 208318 h 1046508"/>
                  <a:gd name="connsiteX100" fmla="*/ 48816 w 1200744"/>
                  <a:gd name="connsiteY100" fmla="*/ 194020 h 1046508"/>
                  <a:gd name="connsiteX101" fmla="*/ 58977 w 1200744"/>
                  <a:gd name="connsiteY101" fmla="*/ 194020 h 1046508"/>
                  <a:gd name="connsiteX102" fmla="*/ 58806 w 1200744"/>
                  <a:gd name="connsiteY102"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1157493 w 1200744"/>
                  <a:gd name="connsiteY48" fmla="*/ 347675 h 1046508"/>
                  <a:gd name="connsiteX49" fmla="*/ 1200471 w 1200744"/>
                  <a:gd name="connsiteY49" fmla="*/ 381525 h 1046508"/>
                  <a:gd name="connsiteX50" fmla="*/ 1200470 w 1200744"/>
                  <a:gd name="connsiteY50" fmla="*/ 381526 h 1046508"/>
                  <a:gd name="connsiteX51" fmla="*/ 1166620 w 1200744"/>
                  <a:gd name="connsiteY51" fmla="*/ 424503 h 1046508"/>
                  <a:gd name="connsiteX52" fmla="*/ 883444 w 1200744"/>
                  <a:gd name="connsiteY52" fmla="*/ 458146 h 1046508"/>
                  <a:gd name="connsiteX53" fmla="*/ 883444 w 1200744"/>
                  <a:gd name="connsiteY53" fmla="*/ 506141 h 1046508"/>
                  <a:gd name="connsiteX54" fmla="*/ 792956 w 1200744"/>
                  <a:gd name="connsiteY54" fmla="*/ 516892 h 1046508"/>
                  <a:gd name="connsiteX55" fmla="*/ 792956 w 1200744"/>
                  <a:gd name="connsiteY55" fmla="*/ 468897 h 1046508"/>
                  <a:gd name="connsiteX56" fmla="*/ 688181 w 1200744"/>
                  <a:gd name="connsiteY56" fmla="*/ 481345 h 1046508"/>
                  <a:gd name="connsiteX57" fmla="*/ 688181 w 1200744"/>
                  <a:gd name="connsiteY57" fmla="*/ 529340 h 1046508"/>
                  <a:gd name="connsiteX58" fmla="*/ 418176 w 1200744"/>
                  <a:gd name="connsiteY58" fmla="*/ 561418 h 1046508"/>
                  <a:gd name="connsiteX59" fmla="*/ 392350 w 1200744"/>
                  <a:gd name="connsiteY59" fmla="*/ 575897 h 1046508"/>
                  <a:gd name="connsiteX60" fmla="*/ 384326 w 1200744"/>
                  <a:gd name="connsiteY60" fmla="*/ 604396 h 1046508"/>
                  <a:gd name="connsiteX61" fmla="*/ 398804 w 1200744"/>
                  <a:gd name="connsiteY61" fmla="*/ 630221 h 1046508"/>
                  <a:gd name="connsiteX62" fmla="*/ 427304 w 1200744"/>
                  <a:gd name="connsiteY62" fmla="*/ 638245 h 1046508"/>
                  <a:gd name="connsiteX63" fmla="*/ 1104900 w 1200744"/>
                  <a:gd name="connsiteY63" fmla="*/ 557742 h 1046508"/>
                  <a:gd name="connsiteX64" fmla="*/ 1104900 w 1200744"/>
                  <a:gd name="connsiteY64" fmla="*/ 558713 h 1046508"/>
                  <a:gd name="connsiteX65" fmla="*/ 1157491 w 1200744"/>
                  <a:gd name="connsiteY65" fmla="*/ 552464 h 1046508"/>
                  <a:gd name="connsiteX66" fmla="*/ 1200469 w 1200744"/>
                  <a:gd name="connsiteY66" fmla="*/ 586314 h 1046508"/>
                  <a:gd name="connsiteX67" fmla="*/ 1200468 w 1200744"/>
                  <a:gd name="connsiteY67" fmla="*/ 586314 h 1046508"/>
                  <a:gd name="connsiteX68" fmla="*/ 1166618 w 1200744"/>
                  <a:gd name="connsiteY68" fmla="*/ 629292 h 1046508"/>
                  <a:gd name="connsiteX69" fmla="*/ 1104900 w 1200744"/>
                  <a:gd name="connsiteY69" fmla="*/ 636624 h 1046508"/>
                  <a:gd name="connsiteX70" fmla="*/ 1104900 w 1200744"/>
                  <a:gd name="connsiteY70" fmla="*/ 817908 h 1046508"/>
                  <a:gd name="connsiteX71" fmla="*/ 971550 w 1200744"/>
                  <a:gd name="connsiteY71" fmla="*/ 946496 h 1046508"/>
                  <a:gd name="connsiteX72" fmla="*/ 752889 w 1200744"/>
                  <a:gd name="connsiteY72" fmla="*/ 946496 h 1046508"/>
                  <a:gd name="connsiteX73" fmla="*/ 749140 w 1200744"/>
                  <a:gd name="connsiteY73" fmla="*/ 965065 h 1046508"/>
                  <a:gd name="connsiteX74" fmla="*/ 626271 w 1200744"/>
                  <a:gd name="connsiteY74" fmla="*/ 1046508 h 1046508"/>
                  <a:gd name="connsiteX75" fmla="*/ 533770 w 1200744"/>
                  <a:gd name="connsiteY75" fmla="*/ 1046508 h 1046508"/>
                  <a:gd name="connsiteX76" fmla="*/ 410901 w 1200744"/>
                  <a:gd name="connsiteY76" fmla="*/ 965065 h 1046508"/>
                  <a:gd name="connsiteX77" fmla="*/ 407153 w 1200744"/>
                  <a:gd name="connsiteY77" fmla="*/ 946496 h 1046508"/>
                  <a:gd name="connsiteX78" fmla="*/ 190500 w 1200744"/>
                  <a:gd name="connsiteY78" fmla="*/ 946496 h 1046508"/>
                  <a:gd name="connsiteX79" fmla="*/ 59532 w 1200744"/>
                  <a:gd name="connsiteY79" fmla="*/ 825052 h 1046508"/>
                  <a:gd name="connsiteX80" fmla="*/ 59432 w 1200744"/>
                  <a:gd name="connsiteY80" fmla="*/ 710643 h 1046508"/>
                  <a:gd name="connsiteX81" fmla="*/ 48816 w 1200744"/>
                  <a:gd name="connsiteY81" fmla="*/ 710643 h 1046508"/>
                  <a:gd name="connsiteX82" fmla="*/ 14298 w 1200744"/>
                  <a:gd name="connsiteY82" fmla="*/ 696345 h 1046508"/>
                  <a:gd name="connsiteX83" fmla="*/ 0 w 1200744"/>
                  <a:gd name="connsiteY83" fmla="*/ 661828 h 1046508"/>
                  <a:gd name="connsiteX84" fmla="*/ 14298 w 1200744"/>
                  <a:gd name="connsiteY84" fmla="*/ 627310 h 1046508"/>
                  <a:gd name="connsiteX85" fmla="*/ 48816 w 1200744"/>
                  <a:gd name="connsiteY85" fmla="*/ 613012 h 1046508"/>
                  <a:gd name="connsiteX86" fmla="*/ 59346 w 1200744"/>
                  <a:gd name="connsiteY86" fmla="*/ 613012 h 1046508"/>
                  <a:gd name="connsiteX87" fmla="*/ 59247 w 1200744"/>
                  <a:gd name="connsiteY87" fmla="*/ 501147 h 1046508"/>
                  <a:gd name="connsiteX88" fmla="*/ 48816 w 1200744"/>
                  <a:gd name="connsiteY88" fmla="*/ 501147 h 1046508"/>
                  <a:gd name="connsiteX89" fmla="*/ 14298 w 1200744"/>
                  <a:gd name="connsiteY89" fmla="*/ 486849 h 1046508"/>
                  <a:gd name="connsiteX90" fmla="*/ 0 w 1200744"/>
                  <a:gd name="connsiteY90" fmla="*/ 452332 h 1046508"/>
                  <a:gd name="connsiteX91" fmla="*/ 14298 w 1200744"/>
                  <a:gd name="connsiteY91" fmla="*/ 417814 h 1046508"/>
                  <a:gd name="connsiteX92" fmla="*/ 48816 w 1200744"/>
                  <a:gd name="connsiteY92" fmla="*/ 403516 h 1046508"/>
                  <a:gd name="connsiteX93" fmla="*/ 59161 w 1200744"/>
                  <a:gd name="connsiteY93" fmla="*/ 403516 h 1046508"/>
                  <a:gd name="connsiteX94" fmla="*/ 59063 w 1200744"/>
                  <a:gd name="connsiteY94" fmla="*/ 291651 h 1046508"/>
                  <a:gd name="connsiteX95" fmla="*/ 48816 w 1200744"/>
                  <a:gd name="connsiteY95" fmla="*/ 291651 h 1046508"/>
                  <a:gd name="connsiteX96" fmla="*/ 14298 w 1200744"/>
                  <a:gd name="connsiteY96" fmla="*/ 277353 h 1046508"/>
                  <a:gd name="connsiteX97" fmla="*/ 0 w 1200744"/>
                  <a:gd name="connsiteY97" fmla="*/ 242836 h 1046508"/>
                  <a:gd name="connsiteX98" fmla="*/ 14298 w 1200744"/>
                  <a:gd name="connsiteY98" fmla="*/ 208318 h 1046508"/>
                  <a:gd name="connsiteX99" fmla="*/ 48816 w 1200744"/>
                  <a:gd name="connsiteY99" fmla="*/ 194020 h 1046508"/>
                  <a:gd name="connsiteX100" fmla="*/ 58977 w 1200744"/>
                  <a:gd name="connsiteY100" fmla="*/ 194020 h 1046508"/>
                  <a:gd name="connsiteX101" fmla="*/ 58806 w 1200744"/>
                  <a:gd name="connsiteY101"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1157493 w 1200744"/>
                  <a:gd name="connsiteY47" fmla="*/ 347675 h 1046508"/>
                  <a:gd name="connsiteX48" fmla="*/ 1200471 w 1200744"/>
                  <a:gd name="connsiteY48" fmla="*/ 381525 h 1046508"/>
                  <a:gd name="connsiteX49" fmla="*/ 1200470 w 1200744"/>
                  <a:gd name="connsiteY49" fmla="*/ 381526 h 1046508"/>
                  <a:gd name="connsiteX50" fmla="*/ 1166620 w 1200744"/>
                  <a:gd name="connsiteY50" fmla="*/ 424503 h 1046508"/>
                  <a:gd name="connsiteX51" fmla="*/ 883444 w 1200744"/>
                  <a:gd name="connsiteY51" fmla="*/ 458146 h 1046508"/>
                  <a:gd name="connsiteX52" fmla="*/ 883444 w 1200744"/>
                  <a:gd name="connsiteY52" fmla="*/ 506141 h 1046508"/>
                  <a:gd name="connsiteX53" fmla="*/ 792956 w 1200744"/>
                  <a:gd name="connsiteY53" fmla="*/ 516892 h 1046508"/>
                  <a:gd name="connsiteX54" fmla="*/ 792956 w 1200744"/>
                  <a:gd name="connsiteY54" fmla="*/ 468897 h 1046508"/>
                  <a:gd name="connsiteX55" fmla="*/ 688181 w 1200744"/>
                  <a:gd name="connsiteY55" fmla="*/ 481345 h 1046508"/>
                  <a:gd name="connsiteX56" fmla="*/ 688181 w 1200744"/>
                  <a:gd name="connsiteY56" fmla="*/ 529340 h 1046508"/>
                  <a:gd name="connsiteX57" fmla="*/ 418176 w 1200744"/>
                  <a:gd name="connsiteY57" fmla="*/ 561418 h 1046508"/>
                  <a:gd name="connsiteX58" fmla="*/ 392350 w 1200744"/>
                  <a:gd name="connsiteY58" fmla="*/ 575897 h 1046508"/>
                  <a:gd name="connsiteX59" fmla="*/ 384326 w 1200744"/>
                  <a:gd name="connsiteY59" fmla="*/ 604396 h 1046508"/>
                  <a:gd name="connsiteX60" fmla="*/ 398804 w 1200744"/>
                  <a:gd name="connsiteY60" fmla="*/ 630221 h 1046508"/>
                  <a:gd name="connsiteX61" fmla="*/ 427304 w 1200744"/>
                  <a:gd name="connsiteY61" fmla="*/ 638245 h 1046508"/>
                  <a:gd name="connsiteX62" fmla="*/ 1104900 w 1200744"/>
                  <a:gd name="connsiteY62" fmla="*/ 557742 h 1046508"/>
                  <a:gd name="connsiteX63" fmla="*/ 1104900 w 1200744"/>
                  <a:gd name="connsiteY63" fmla="*/ 558713 h 1046508"/>
                  <a:gd name="connsiteX64" fmla="*/ 1157491 w 1200744"/>
                  <a:gd name="connsiteY64" fmla="*/ 552464 h 1046508"/>
                  <a:gd name="connsiteX65" fmla="*/ 1200469 w 1200744"/>
                  <a:gd name="connsiteY65" fmla="*/ 586314 h 1046508"/>
                  <a:gd name="connsiteX66" fmla="*/ 1200468 w 1200744"/>
                  <a:gd name="connsiteY66" fmla="*/ 586314 h 1046508"/>
                  <a:gd name="connsiteX67" fmla="*/ 1166618 w 1200744"/>
                  <a:gd name="connsiteY67" fmla="*/ 629292 h 1046508"/>
                  <a:gd name="connsiteX68" fmla="*/ 1104900 w 1200744"/>
                  <a:gd name="connsiteY68" fmla="*/ 636624 h 1046508"/>
                  <a:gd name="connsiteX69" fmla="*/ 1104900 w 1200744"/>
                  <a:gd name="connsiteY69" fmla="*/ 817908 h 1046508"/>
                  <a:gd name="connsiteX70" fmla="*/ 971550 w 1200744"/>
                  <a:gd name="connsiteY70" fmla="*/ 946496 h 1046508"/>
                  <a:gd name="connsiteX71" fmla="*/ 752889 w 1200744"/>
                  <a:gd name="connsiteY71" fmla="*/ 946496 h 1046508"/>
                  <a:gd name="connsiteX72" fmla="*/ 749140 w 1200744"/>
                  <a:gd name="connsiteY72" fmla="*/ 965065 h 1046508"/>
                  <a:gd name="connsiteX73" fmla="*/ 626271 w 1200744"/>
                  <a:gd name="connsiteY73" fmla="*/ 1046508 h 1046508"/>
                  <a:gd name="connsiteX74" fmla="*/ 533770 w 1200744"/>
                  <a:gd name="connsiteY74" fmla="*/ 1046508 h 1046508"/>
                  <a:gd name="connsiteX75" fmla="*/ 410901 w 1200744"/>
                  <a:gd name="connsiteY75" fmla="*/ 965065 h 1046508"/>
                  <a:gd name="connsiteX76" fmla="*/ 407153 w 1200744"/>
                  <a:gd name="connsiteY76" fmla="*/ 946496 h 1046508"/>
                  <a:gd name="connsiteX77" fmla="*/ 190500 w 1200744"/>
                  <a:gd name="connsiteY77" fmla="*/ 946496 h 1046508"/>
                  <a:gd name="connsiteX78" fmla="*/ 59532 w 1200744"/>
                  <a:gd name="connsiteY78" fmla="*/ 825052 h 1046508"/>
                  <a:gd name="connsiteX79" fmla="*/ 59432 w 1200744"/>
                  <a:gd name="connsiteY79" fmla="*/ 710643 h 1046508"/>
                  <a:gd name="connsiteX80" fmla="*/ 48816 w 1200744"/>
                  <a:gd name="connsiteY80" fmla="*/ 710643 h 1046508"/>
                  <a:gd name="connsiteX81" fmla="*/ 14298 w 1200744"/>
                  <a:gd name="connsiteY81" fmla="*/ 696345 h 1046508"/>
                  <a:gd name="connsiteX82" fmla="*/ 0 w 1200744"/>
                  <a:gd name="connsiteY82" fmla="*/ 661828 h 1046508"/>
                  <a:gd name="connsiteX83" fmla="*/ 14298 w 1200744"/>
                  <a:gd name="connsiteY83" fmla="*/ 627310 h 1046508"/>
                  <a:gd name="connsiteX84" fmla="*/ 48816 w 1200744"/>
                  <a:gd name="connsiteY84" fmla="*/ 613012 h 1046508"/>
                  <a:gd name="connsiteX85" fmla="*/ 59346 w 1200744"/>
                  <a:gd name="connsiteY85" fmla="*/ 613012 h 1046508"/>
                  <a:gd name="connsiteX86" fmla="*/ 59247 w 1200744"/>
                  <a:gd name="connsiteY86" fmla="*/ 501147 h 1046508"/>
                  <a:gd name="connsiteX87" fmla="*/ 48816 w 1200744"/>
                  <a:gd name="connsiteY87" fmla="*/ 501147 h 1046508"/>
                  <a:gd name="connsiteX88" fmla="*/ 14298 w 1200744"/>
                  <a:gd name="connsiteY88" fmla="*/ 486849 h 1046508"/>
                  <a:gd name="connsiteX89" fmla="*/ 0 w 1200744"/>
                  <a:gd name="connsiteY89" fmla="*/ 452332 h 1046508"/>
                  <a:gd name="connsiteX90" fmla="*/ 14298 w 1200744"/>
                  <a:gd name="connsiteY90" fmla="*/ 417814 h 1046508"/>
                  <a:gd name="connsiteX91" fmla="*/ 48816 w 1200744"/>
                  <a:gd name="connsiteY91" fmla="*/ 403516 h 1046508"/>
                  <a:gd name="connsiteX92" fmla="*/ 59161 w 1200744"/>
                  <a:gd name="connsiteY92" fmla="*/ 403516 h 1046508"/>
                  <a:gd name="connsiteX93" fmla="*/ 59063 w 1200744"/>
                  <a:gd name="connsiteY93" fmla="*/ 291651 h 1046508"/>
                  <a:gd name="connsiteX94" fmla="*/ 48816 w 1200744"/>
                  <a:gd name="connsiteY94" fmla="*/ 291651 h 1046508"/>
                  <a:gd name="connsiteX95" fmla="*/ 14298 w 1200744"/>
                  <a:gd name="connsiteY95" fmla="*/ 277353 h 1046508"/>
                  <a:gd name="connsiteX96" fmla="*/ 0 w 1200744"/>
                  <a:gd name="connsiteY96" fmla="*/ 242836 h 1046508"/>
                  <a:gd name="connsiteX97" fmla="*/ 14298 w 1200744"/>
                  <a:gd name="connsiteY97" fmla="*/ 208318 h 1046508"/>
                  <a:gd name="connsiteX98" fmla="*/ 48816 w 1200744"/>
                  <a:gd name="connsiteY98" fmla="*/ 194020 h 1046508"/>
                  <a:gd name="connsiteX99" fmla="*/ 58977 w 1200744"/>
                  <a:gd name="connsiteY99" fmla="*/ 194020 h 1046508"/>
                  <a:gd name="connsiteX100" fmla="*/ 58806 w 1200744"/>
                  <a:gd name="connsiteY100"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1157493 w 1200744"/>
                  <a:gd name="connsiteY46" fmla="*/ 347675 h 1046508"/>
                  <a:gd name="connsiteX47" fmla="*/ 1200471 w 1200744"/>
                  <a:gd name="connsiteY47" fmla="*/ 381525 h 1046508"/>
                  <a:gd name="connsiteX48" fmla="*/ 1200470 w 1200744"/>
                  <a:gd name="connsiteY48" fmla="*/ 381526 h 1046508"/>
                  <a:gd name="connsiteX49" fmla="*/ 1166620 w 1200744"/>
                  <a:gd name="connsiteY49" fmla="*/ 424503 h 1046508"/>
                  <a:gd name="connsiteX50" fmla="*/ 883444 w 1200744"/>
                  <a:gd name="connsiteY50" fmla="*/ 458146 h 1046508"/>
                  <a:gd name="connsiteX51" fmla="*/ 883444 w 1200744"/>
                  <a:gd name="connsiteY51" fmla="*/ 506141 h 1046508"/>
                  <a:gd name="connsiteX52" fmla="*/ 792956 w 1200744"/>
                  <a:gd name="connsiteY52" fmla="*/ 516892 h 1046508"/>
                  <a:gd name="connsiteX53" fmla="*/ 792956 w 1200744"/>
                  <a:gd name="connsiteY53" fmla="*/ 468897 h 1046508"/>
                  <a:gd name="connsiteX54" fmla="*/ 688181 w 1200744"/>
                  <a:gd name="connsiteY54" fmla="*/ 481345 h 1046508"/>
                  <a:gd name="connsiteX55" fmla="*/ 688181 w 1200744"/>
                  <a:gd name="connsiteY55" fmla="*/ 529340 h 1046508"/>
                  <a:gd name="connsiteX56" fmla="*/ 418176 w 1200744"/>
                  <a:gd name="connsiteY56" fmla="*/ 561418 h 1046508"/>
                  <a:gd name="connsiteX57" fmla="*/ 392350 w 1200744"/>
                  <a:gd name="connsiteY57" fmla="*/ 575897 h 1046508"/>
                  <a:gd name="connsiteX58" fmla="*/ 384326 w 1200744"/>
                  <a:gd name="connsiteY58" fmla="*/ 604396 h 1046508"/>
                  <a:gd name="connsiteX59" fmla="*/ 398804 w 1200744"/>
                  <a:gd name="connsiteY59" fmla="*/ 630221 h 1046508"/>
                  <a:gd name="connsiteX60" fmla="*/ 427304 w 1200744"/>
                  <a:gd name="connsiteY60" fmla="*/ 638245 h 1046508"/>
                  <a:gd name="connsiteX61" fmla="*/ 1104900 w 1200744"/>
                  <a:gd name="connsiteY61" fmla="*/ 557742 h 1046508"/>
                  <a:gd name="connsiteX62" fmla="*/ 1104900 w 1200744"/>
                  <a:gd name="connsiteY62" fmla="*/ 558713 h 1046508"/>
                  <a:gd name="connsiteX63" fmla="*/ 1157491 w 1200744"/>
                  <a:gd name="connsiteY63" fmla="*/ 552464 h 1046508"/>
                  <a:gd name="connsiteX64" fmla="*/ 1200469 w 1200744"/>
                  <a:gd name="connsiteY64" fmla="*/ 586314 h 1046508"/>
                  <a:gd name="connsiteX65" fmla="*/ 1200468 w 1200744"/>
                  <a:gd name="connsiteY65" fmla="*/ 586314 h 1046508"/>
                  <a:gd name="connsiteX66" fmla="*/ 1166618 w 1200744"/>
                  <a:gd name="connsiteY66" fmla="*/ 629292 h 1046508"/>
                  <a:gd name="connsiteX67" fmla="*/ 1104900 w 1200744"/>
                  <a:gd name="connsiteY67" fmla="*/ 636624 h 1046508"/>
                  <a:gd name="connsiteX68" fmla="*/ 1104900 w 1200744"/>
                  <a:gd name="connsiteY68" fmla="*/ 817908 h 1046508"/>
                  <a:gd name="connsiteX69" fmla="*/ 971550 w 1200744"/>
                  <a:gd name="connsiteY69" fmla="*/ 946496 h 1046508"/>
                  <a:gd name="connsiteX70" fmla="*/ 752889 w 1200744"/>
                  <a:gd name="connsiteY70" fmla="*/ 946496 h 1046508"/>
                  <a:gd name="connsiteX71" fmla="*/ 749140 w 1200744"/>
                  <a:gd name="connsiteY71" fmla="*/ 965065 h 1046508"/>
                  <a:gd name="connsiteX72" fmla="*/ 626271 w 1200744"/>
                  <a:gd name="connsiteY72" fmla="*/ 1046508 h 1046508"/>
                  <a:gd name="connsiteX73" fmla="*/ 533770 w 1200744"/>
                  <a:gd name="connsiteY73" fmla="*/ 1046508 h 1046508"/>
                  <a:gd name="connsiteX74" fmla="*/ 410901 w 1200744"/>
                  <a:gd name="connsiteY74" fmla="*/ 965065 h 1046508"/>
                  <a:gd name="connsiteX75" fmla="*/ 407153 w 1200744"/>
                  <a:gd name="connsiteY75" fmla="*/ 946496 h 1046508"/>
                  <a:gd name="connsiteX76" fmla="*/ 190500 w 1200744"/>
                  <a:gd name="connsiteY76" fmla="*/ 946496 h 1046508"/>
                  <a:gd name="connsiteX77" fmla="*/ 59532 w 1200744"/>
                  <a:gd name="connsiteY77" fmla="*/ 825052 h 1046508"/>
                  <a:gd name="connsiteX78" fmla="*/ 59432 w 1200744"/>
                  <a:gd name="connsiteY78" fmla="*/ 710643 h 1046508"/>
                  <a:gd name="connsiteX79" fmla="*/ 48816 w 1200744"/>
                  <a:gd name="connsiteY79" fmla="*/ 710643 h 1046508"/>
                  <a:gd name="connsiteX80" fmla="*/ 14298 w 1200744"/>
                  <a:gd name="connsiteY80" fmla="*/ 696345 h 1046508"/>
                  <a:gd name="connsiteX81" fmla="*/ 0 w 1200744"/>
                  <a:gd name="connsiteY81" fmla="*/ 661828 h 1046508"/>
                  <a:gd name="connsiteX82" fmla="*/ 14298 w 1200744"/>
                  <a:gd name="connsiteY82" fmla="*/ 627310 h 1046508"/>
                  <a:gd name="connsiteX83" fmla="*/ 48816 w 1200744"/>
                  <a:gd name="connsiteY83" fmla="*/ 613012 h 1046508"/>
                  <a:gd name="connsiteX84" fmla="*/ 59346 w 1200744"/>
                  <a:gd name="connsiteY84" fmla="*/ 613012 h 1046508"/>
                  <a:gd name="connsiteX85" fmla="*/ 59247 w 1200744"/>
                  <a:gd name="connsiteY85" fmla="*/ 501147 h 1046508"/>
                  <a:gd name="connsiteX86" fmla="*/ 48816 w 1200744"/>
                  <a:gd name="connsiteY86" fmla="*/ 501147 h 1046508"/>
                  <a:gd name="connsiteX87" fmla="*/ 14298 w 1200744"/>
                  <a:gd name="connsiteY87" fmla="*/ 486849 h 1046508"/>
                  <a:gd name="connsiteX88" fmla="*/ 0 w 1200744"/>
                  <a:gd name="connsiteY88" fmla="*/ 452332 h 1046508"/>
                  <a:gd name="connsiteX89" fmla="*/ 14298 w 1200744"/>
                  <a:gd name="connsiteY89" fmla="*/ 417814 h 1046508"/>
                  <a:gd name="connsiteX90" fmla="*/ 48816 w 1200744"/>
                  <a:gd name="connsiteY90" fmla="*/ 403516 h 1046508"/>
                  <a:gd name="connsiteX91" fmla="*/ 59161 w 1200744"/>
                  <a:gd name="connsiteY91" fmla="*/ 403516 h 1046508"/>
                  <a:gd name="connsiteX92" fmla="*/ 59063 w 1200744"/>
                  <a:gd name="connsiteY92" fmla="*/ 291651 h 1046508"/>
                  <a:gd name="connsiteX93" fmla="*/ 48816 w 1200744"/>
                  <a:gd name="connsiteY93" fmla="*/ 291651 h 1046508"/>
                  <a:gd name="connsiteX94" fmla="*/ 14298 w 1200744"/>
                  <a:gd name="connsiteY94" fmla="*/ 277353 h 1046508"/>
                  <a:gd name="connsiteX95" fmla="*/ 0 w 1200744"/>
                  <a:gd name="connsiteY95" fmla="*/ 242836 h 1046508"/>
                  <a:gd name="connsiteX96" fmla="*/ 14298 w 1200744"/>
                  <a:gd name="connsiteY96" fmla="*/ 208318 h 1046508"/>
                  <a:gd name="connsiteX97" fmla="*/ 48816 w 1200744"/>
                  <a:gd name="connsiteY97" fmla="*/ 194020 h 1046508"/>
                  <a:gd name="connsiteX98" fmla="*/ 58977 w 1200744"/>
                  <a:gd name="connsiteY98" fmla="*/ 194020 h 1046508"/>
                  <a:gd name="connsiteX99" fmla="*/ 58806 w 1200744"/>
                  <a:gd name="connsiteY99"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83444 w 1200744"/>
                  <a:gd name="connsiteY34" fmla="*/ 235459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1157493 w 1200744"/>
                  <a:gd name="connsiteY45" fmla="*/ 347675 h 1046508"/>
                  <a:gd name="connsiteX46" fmla="*/ 1200471 w 1200744"/>
                  <a:gd name="connsiteY46" fmla="*/ 381525 h 1046508"/>
                  <a:gd name="connsiteX47" fmla="*/ 1200470 w 1200744"/>
                  <a:gd name="connsiteY47" fmla="*/ 381526 h 1046508"/>
                  <a:gd name="connsiteX48" fmla="*/ 1166620 w 1200744"/>
                  <a:gd name="connsiteY48" fmla="*/ 424503 h 1046508"/>
                  <a:gd name="connsiteX49" fmla="*/ 883444 w 1200744"/>
                  <a:gd name="connsiteY49" fmla="*/ 458146 h 1046508"/>
                  <a:gd name="connsiteX50" fmla="*/ 883444 w 1200744"/>
                  <a:gd name="connsiteY50" fmla="*/ 506141 h 1046508"/>
                  <a:gd name="connsiteX51" fmla="*/ 792956 w 1200744"/>
                  <a:gd name="connsiteY51" fmla="*/ 516892 h 1046508"/>
                  <a:gd name="connsiteX52" fmla="*/ 792956 w 1200744"/>
                  <a:gd name="connsiteY52" fmla="*/ 468897 h 1046508"/>
                  <a:gd name="connsiteX53" fmla="*/ 688181 w 1200744"/>
                  <a:gd name="connsiteY53" fmla="*/ 481345 h 1046508"/>
                  <a:gd name="connsiteX54" fmla="*/ 688181 w 1200744"/>
                  <a:gd name="connsiteY54" fmla="*/ 529340 h 1046508"/>
                  <a:gd name="connsiteX55" fmla="*/ 418176 w 1200744"/>
                  <a:gd name="connsiteY55" fmla="*/ 561418 h 1046508"/>
                  <a:gd name="connsiteX56" fmla="*/ 392350 w 1200744"/>
                  <a:gd name="connsiteY56" fmla="*/ 575897 h 1046508"/>
                  <a:gd name="connsiteX57" fmla="*/ 384326 w 1200744"/>
                  <a:gd name="connsiteY57" fmla="*/ 604396 h 1046508"/>
                  <a:gd name="connsiteX58" fmla="*/ 398804 w 1200744"/>
                  <a:gd name="connsiteY58" fmla="*/ 630221 h 1046508"/>
                  <a:gd name="connsiteX59" fmla="*/ 427304 w 1200744"/>
                  <a:gd name="connsiteY59" fmla="*/ 638245 h 1046508"/>
                  <a:gd name="connsiteX60" fmla="*/ 1104900 w 1200744"/>
                  <a:gd name="connsiteY60" fmla="*/ 557742 h 1046508"/>
                  <a:gd name="connsiteX61" fmla="*/ 1104900 w 1200744"/>
                  <a:gd name="connsiteY61" fmla="*/ 558713 h 1046508"/>
                  <a:gd name="connsiteX62" fmla="*/ 1157491 w 1200744"/>
                  <a:gd name="connsiteY62" fmla="*/ 552464 h 1046508"/>
                  <a:gd name="connsiteX63" fmla="*/ 1200469 w 1200744"/>
                  <a:gd name="connsiteY63" fmla="*/ 586314 h 1046508"/>
                  <a:gd name="connsiteX64" fmla="*/ 1200468 w 1200744"/>
                  <a:gd name="connsiteY64" fmla="*/ 586314 h 1046508"/>
                  <a:gd name="connsiteX65" fmla="*/ 1166618 w 1200744"/>
                  <a:gd name="connsiteY65" fmla="*/ 629292 h 1046508"/>
                  <a:gd name="connsiteX66" fmla="*/ 1104900 w 1200744"/>
                  <a:gd name="connsiteY66" fmla="*/ 636624 h 1046508"/>
                  <a:gd name="connsiteX67" fmla="*/ 1104900 w 1200744"/>
                  <a:gd name="connsiteY67" fmla="*/ 817908 h 1046508"/>
                  <a:gd name="connsiteX68" fmla="*/ 971550 w 1200744"/>
                  <a:gd name="connsiteY68" fmla="*/ 946496 h 1046508"/>
                  <a:gd name="connsiteX69" fmla="*/ 752889 w 1200744"/>
                  <a:gd name="connsiteY69" fmla="*/ 946496 h 1046508"/>
                  <a:gd name="connsiteX70" fmla="*/ 749140 w 1200744"/>
                  <a:gd name="connsiteY70" fmla="*/ 965065 h 1046508"/>
                  <a:gd name="connsiteX71" fmla="*/ 626271 w 1200744"/>
                  <a:gd name="connsiteY71" fmla="*/ 1046508 h 1046508"/>
                  <a:gd name="connsiteX72" fmla="*/ 533770 w 1200744"/>
                  <a:gd name="connsiteY72" fmla="*/ 1046508 h 1046508"/>
                  <a:gd name="connsiteX73" fmla="*/ 410901 w 1200744"/>
                  <a:gd name="connsiteY73" fmla="*/ 965065 h 1046508"/>
                  <a:gd name="connsiteX74" fmla="*/ 407153 w 1200744"/>
                  <a:gd name="connsiteY74" fmla="*/ 946496 h 1046508"/>
                  <a:gd name="connsiteX75" fmla="*/ 190500 w 1200744"/>
                  <a:gd name="connsiteY75" fmla="*/ 946496 h 1046508"/>
                  <a:gd name="connsiteX76" fmla="*/ 59532 w 1200744"/>
                  <a:gd name="connsiteY76" fmla="*/ 825052 h 1046508"/>
                  <a:gd name="connsiteX77" fmla="*/ 59432 w 1200744"/>
                  <a:gd name="connsiteY77" fmla="*/ 710643 h 1046508"/>
                  <a:gd name="connsiteX78" fmla="*/ 48816 w 1200744"/>
                  <a:gd name="connsiteY78" fmla="*/ 710643 h 1046508"/>
                  <a:gd name="connsiteX79" fmla="*/ 14298 w 1200744"/>
                  <a:gd name="connsiteY79" fmla="*/ 696345 h 1046508"/>
                  <a:gd name="connsiteX80" fmla="*/ 0 w 1200744"/>
                  <a:gd name="connsiteY80" fmla="*/ 661828 h 1046508"/>
                  <a:gd name="connsiteX81" fmla="*/ 14298 w 1200744"/>
                  <a:gd name="connsiteY81" fmla="*/ 627310 h 1046508"/>
                  <a:gd name="connsiteX82" fmla="*/ 48816 w 1200744"/>
                  <a:gd name="connsiteY82" fmla="*/ 613012 h 1046508"/>
                  <a:gd name="connsiteX83" fmla="*/ 59346 w 1200744"/>
                  <a:gd name="connsiteY83" fmla="*/ 613012 h 1046508"/>
                  <a:gd name="connsiteX84" fmla="*/ 59247 w 1200744"/>
                  <a:gd name="connsiteY84" fmla="*/ 501147 h 1046508"/>
                  <a:gd name="connsiteX85" fmla="*/ 48816 w 1200744"/>
                  <a:gd name="connsiteY85" fmla="*/ 501147 h 1046508"/>
                  <a:gd name="connsiteX86" fmla="*/ 14298 w 1200744"/>
                  <a:gd name="connsiteY86" fmla="*/ 486849 h 1046508"/>
                  <a:gd name="connsiteX87" fmla="*/ 0 w 1200744"/>
                  <a:gd name="connsiteY87" fmla="*/ 452332 h 1046508"/>
                  <a:gd name="connsiteX88" fmla="*/ 14298 w 1200744"/>
                  <a:gd name="connsiteY88" fmla="*/ 417814 h 1046508"/>
                  <a:gd name="connsiteX89" fmla="*/ 48816 w 1200744"/>
                  <a:gd name="connsiteY89" fmla="*/ 403516 h 1046508"/>
                  <a:gd name="connsiteX90" fmla="*/ 59161 w 1200744"/>
                  <a:gd name="connsiteY90" fmla="*/ 403516 h 1046508"/>
                  <a:gd name="connsiteX91" fmla="*/ 59063 w 1200744"/>
                  <a:gd name="connsiteY91" fmla="*/ 291651 h 1046508"/>
                  <a:gd name="connsiteX92" fmla="*/ 48816 w 1200744"/>
                  <a:gd name="connsiteY92" fmla="*/ 291651 h 1046508"/>
                  <a:gd name="connsiteX93" fmla="*/ 14298 w 1200744"/>
                  <a:gd name="connsiteY93" fmla="*/ 277353 h 1046508"/>
                  <a:gd name="connsiteX94" fmla="*/ 0 w 1200744"/>
                  <a:gd name="connsiteY94" fmla="*/ 242836 h 1046508"/>
                  <a:gd name="connsiteX95" fmla="*/ 14298 w 1200744"/>
                  <a:gd name="connsiteY95" fmla="*/ 208318 h 1046508"/>
                  <a:gd name="connsiteX96" fmla="*/ 48816 w 1200744"/>
                  <a:gd name="connsiteY96" fmla="*/ 194020 h 1046508"/>
                  <a:gd name="connsiteX97" fmla="*/ 58977 w 1200744"/>
                  <a:gd name="connsiteY97" fmla="*/ 194020 h 1046508"/>
                  <a:gd name="connsiteX98" fmla="*/ 58806 w 1200744"/>
                  <a:gd name="connsiteY98"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78682 w 1200744"/>
                  <a:gd name="connsiteY34" fmla="*/ 240221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1157493 w 1200744"/>
                  <a:gd name="connsiteY45" fmla="*/ 347675 h 1046508"/>
                  <a:gd name="connsiteX46" fmla="*/ 1200471 w 1200744"/>
                  <a:gd name="connsiteY46" fmla="*/ 381525 h 1046508"/>
                  <a:gd name="connsiteX47" fmla="*/ 1200470 w 1200744"/>
                  <a:gd name="connsiteY47" fmla="*/ 381526 h 1046508"/>
                  <a:gd name="connsiteX48" fmla="*/ 1166620 w 1200744"/>
                  <a:gd name="connsiteY48" fmla="*/ 424503 h 1046508"/>
                  <a:gd name="connsiteX49" fmla="*/ 883444 w 1200744"/>
                  <a:gd name="connsiteY49" fmla="*/ 458146 h 1046508"/>
                  <a:gd name="connsiteX50" fmla="*/ 883444 w 1200744"/>
                  <a:gd name="connsiteY50" fmla="*/ 506141 h 1046508"/>
                  <a:gd name="connsiteX51" fmla="*/ 792956 w 1200744"/>
                  <a:gd name="connsiteY51" fmla="*/ 516892 h 1046508"/>
                  <a:gd name="connsiteX52" fmla="*/ 792956 w 1200744"/>
                  <a:gd name="connsiteY52" fmla="*/ 468897 h 1046508"/>
                  <a:gd name="connsiteX53" fmla="*/ 688181 w 1200744"/>
                  <a:gd name="connsiteY53" fmla="*/ 481345 h 1046508"/>
                  <a:gd name="connsiteX54" fmla="*/ 688181 w 1200744"/>
                  <a:gd name="connsiteY54" fmla="*/ 529340 h 1046508"/>
                  <a:gd name="connsiteX55" fmla="*/ 418176 w 1200744"/>
                  <a:gd name="connsiteY55" fmla="*/ 561418 h 1046508"/>
                  <a:gd name="connsiteX56" fmla="*/ 392350 w 1200744"/>
                  <a:gd name="connsiteY56" fmla="*/ 575897 h 1046508"/>
                  <a:gd name="connsiteX57" fmla="*/ 384326 w 1200744"/>
                  <a:gd name="connsiteY57" fmla="*/ 604396 h 1046508"/>
                  <a:gd name="connsiteX58" fmla="*/ 398804 w 1200744"/>
                  <a:gd name="connsiteY58" fmla="*/ 630221 h 1046508"/>
                  <a:gd name="connsiteX59" fmla="*/ 427304 w 1200744"/>
                  <a:gd name="connsiteY59" fmla="*/ 638245 h 1046508"/>
                  <a:gd name="connsiteX60" fmla="*/ 1104900 w 1200744"/>
                  <a:gd name="connsiteY60" fmla="*/ 557742 h 1046508"/>
                  <a:gd name="connsiteX61" fmla="*/ 1104900 w 1200744"/>
                  <a:gd name="connsiteY61" fmla="*/ 558713 h 1046508"/>
                  <a:gd name="connsiteX62" fmla="*/ 1157491 w 1200744"/>
                  <a:gd name="connsiteY62" fmla="*/ 552464 h 1046508"/>
                  <a:gd name="connsiteX63" fmla="*/ 1200469 w 1200744"/>
                  <a:gd name="connsiteY63" fmla="*/ 586314 h 1046508"/>
                  <a:gd name="connsiteX64" fmla="*/ 1200468 w 1200744"/>
                  <a:gd name="connsiteY64" fmla="*/ 586314 h 1046508"/>
                  <a:gd name="connsiteX65" fmla="*/ 1166618 w 1200744"/>
                  <a:gd name="connsiteY65" fmla="*/ 629292 h 1046508"/>
                  <a:gd name="connsiteX66" fmla="*/ 1104900 w 1200744"/>
                  <a:gd name="connsiteY66" fmla="*/ 636624 h 1046508"/>
                  <a:gd name="connsiteX67" fmla="*/ 1104900 w 1200744"/>
                  <a:gd name="connsiteY67" fmla="*/ 817908 h 1046508"/>
                  <a:gd name="connsiteX68" fmla="*/ 971550 w 1200744"/>
                  <a:gd name="connsiteY68" fmla="*/ 946496 h 1046508"/>
                  <a:gd name="connsiteX69" fmla="*/ 752889 w 1200744"/>
                  <a:gd name="connsiteY69" fmla="*/ 946496 h 1046508"/>
                  <a:gd name="connsiteX70" fmla="*/ 749140 w 1200744"/>
                  <a:gd name="connsiteY70" fmla="*/ 965065 h 1046508"/>
                  <a:gd name="connsiteX71" fmla="*/ 626271 w 1200744"/>
                  <a:gd name="connsiteY71" fmla="*/ 1046508 h 1046508"/>
                  <a:gd name="connsiteX72" fmla="*/ 533770 w 1200744"/>
                  <a:gd name="connsiteY72" fmla="*/ 1046508 h 1046508"/>
                  <a:gd name="connsiteX73" fmla="*/ 410901 w 1200744"/>
                  <a:gd name="connsiteY73" fmla="*/ 965065 h 1046508"/>
                  <a:gd name="connsiteX74" fmla="*/ 407153 w 1200744"/>
                  <a:gd name="connsiteY74" fmla="*/ 946496 h 1046508"/>
                  <a:gd name="connsiteX75" fmla="*/ 190500 w 1200744"/>
                  <a:gd name="connsiteY75" fmla="*/ 946496 h 1046508"/>
                  <a:gd name="connsiteX76" fmla="*/ 59532 w 1200744"/>
                  <a:gd name="connsiteY76" fmla="*/ 825052 h 1046508"/>
                  <a:gd name="connsiteX77" fmla="*/ 59432 w 1200744"/>
                  <a:gd name="connsiteY77" fmla="*/ 710643 h 1046508"/>
                  <a:gd name="connsiteX78" fmla="*/ 48816 w 1200744"/>
                  <a:gd name="connsiteY78" fmla="*/ 710643 h 1046508"/>
                  <a:gd name="connsiteX79" fmla="*/ 14298 w 1200744"/>
                  <a:gd name="connsiteY79" fmla="*/ 696345 h 1046508"/>
                  <a:gd name="connsiteX80" fmla="*/ 0 w 1200744"/>
                  <a:gd name="connsiteY80" fmla="*/ 661828 h 1046508"/>
                  <a:gd name="connsiteX81" fmla="*/ 14298 w 1200744"/>
                  <a:gd name="connsiteY81" fmla="*/ 627310 h 1046508"/>
                  <a:gd name="connsiteX82" fmla="*/ 48816 w 1200744"/>
                  <a:gd name="connsiteY82" fmla="*/ 613012 h 1046508"/>
                  <a:gd name="connsiteX83" fmla="*/ 59346 w 1200744"/>
                  <a:gd name="connsiteY83" fmla="*/ 613012 h 1046508"/>
                  <a:gd name="connsiteX84" fmla="*/ 59247 w 1200744"/>
                  <a:gd name="connsiteY84" fmla="*/ 501147 h 1046508"/>
                  <a:gd name="connsiteX85" fmla="*/ 48816 w 1200744"/>
                  <a:gd name="connsiteY85" fmla="*/ 501147 h 1046508"/>
                  <a:gd name="connsiteX86" fmla="*/ 14298 w 1200744"/>
                  <a:gd name="connsiteY86" fmla="*/ 486849 h 1046508"/>
                  <a:gd name="connsiteX87" fmla="*/ 0 w 1200744"/>
                  <a:gd name="connsiteY87" fmla="*/ 452332 h 1046508"/>
                  <a:gd name="connsiteX88" fmla="*/ 14298 w 1200744"/>
                  <a:gd name="connsiteY88" fmla="*/ 417814 h 1046508"/>
                  <a:gd name="connsiteX89" fmla="*/ 48816 w 1200744"/>
                  <a:gd name="connsiteY89" fmla="*/ 403516 h 1046508"/>
                  <a:gd name="connsiteX90" fmla="*/ 59161 w 1200744"/>
                  <a:gd name="connsiteY90" fmla="*/ 403516 h 1046508"/>
                  <a:gd name="connsiteX91" fmla="*/ 59063 w 1200744"/>
                  <a:gd name="connsiteY91" fmla="*/ 291651 h 1046508"/>
                  <a:gd name="connsiteX92" fmla="*/ 48816 w 1200744"/>
                  <a:gd name="connsiteY92" fmla="*/ 291651 h 1046508"/>
                  <a:gd name="connsiteX93" fmla="*/ 14298 w 1200744"/>
                  <a:gd name="connsiteY93" fmla="*/ 277353 h 1046508"/>
                  <a:gd name="connsiteX94" fmla="*/ 0 w 1200744"/>
                  <a:gd name="connsiteY94" fmla="*/ 242836 h 1046508"/>
                  <a:gd name="connsiteX95" fmla="*/ 14298 w 1200744"/>
                  <a:gd name="connsiteY95" fmla="*/ 208318 h 1046508"/>
                  <a:gd name="connsiteX96" fmla="*/ 48816 w 1200744"/>
                  <a:gd name="connsiteY96" fmla="*/ 194020 h 1046508"/>
                  <a:gd name="connsiteX97" fmla="*/ 58977 w 1200744"/>
                  <a:gd name="connsiteY97" fmla="*/ 194020 h 1046508"/>
                  <a:gd name="connsiteX98" fmla="*/ 58806 w 1200744"/>
                  <a:gd name="connsiteY98" fmla="*/ 0 h 1046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200744" h="1046508">
                    <a:moveTo>
                      <a:pt x="269392" y="583922"/>
                    </a:moveTo>
                    <a:cubicBezTo>
                      <a:pt x="247034" y="583922"/>
                      <a:pt x="228910" y="602046"/>
                      <a:pt x="228910" y="624404"/>
                    </a:cubicBezTo>
                    <a:cubicBezTo>
                      <a:pt x="228910" y="646762"/>
                      <a:pt x="247034" y="664886"/>
                      <a:pt x="269392" y="664886"/>
                    </a:cubicBezTo>
                    <a:cubicBezTo>
                      <a:pt x="291750" y="664886"/>
                      <a:pt x="309874" y="646762"/>
                      <a:pt x="309874" y="624404"/>
                    </a:cubicBezTo>
                    <a:cubicBezTo>
                      <a:pt x="309874" y="602046"/>
                      <a:pt x="291750" y="583922"/>
                      <a:pt x="269392" y="583922"/>
                    </a:cubicBezTo>
                    <a:close/>
                    <a:moveTo>
                      <a:pt x="269392" y="373750"/>
                    </a:moveTo>
                    <a:cubicBezTo>
                      <a:pt x="247034" y="373750"/>
                      <a:pt x="228910" y="391874"/>
                      <a:pt x="228910" y="414232"/>
                    </a:cubicBezTo>
                    <a:cubicBezTo>
                      <a:pt x="228910" y="436590"/>
                      <a:pt x="247034" y="454714"/>
                      <a:pt x="269392" y="454714"/>
                    </a:cubicBezTo>
                    <a:cubicBezTo>
                      <a:pt x="291750" y="454714"/>
                      <a:pt x="309874" y="436590"/>
                      <a:pt x="309874" y="414232"/>
                    </a:cubicBezTo>
                    <a:cubicBezTo>
                      <a:pt x="309874" y="391874"/>
                      <a:pt x="291750" y="373750"/>
                      <a:pt x="269392" y="373750"/>
                    </a:cubicBezTo>
                    <a:close/>
                    <a:moveTo>
                      <a:pt x="269392" y="163063"/>
                    </a:moveTo>
                    <a:cubicBezTo>
                      <a:pt x="247034" y="163063"/>
                      <a:pt x="228910" y="181187"/>
                      <a:pt x="228910" y="203545"/>
                    </a:cubicBezTo>
                    <a:cubicBezTo>
                      <a:pt x="228910" y="225903"/>
                      <a:pt x="247034" y="244027"/>
                      <a:pt x="269392" y="244027"/>
                    </a:cubicBezTo>
                    <a:cubicBezTo>
                      <a:pt x="291750" y="244027"/>
                      <a:pt x="309874" y="225903"/>
                      <a:pt x="309874" y="203545"/>
                    </a:cubicBezTo>
                    <a:cubicBezTo>
                      <a:pt x="309874" y="181187"/>
                      <a:pt x="291750" y="163063"/>
                      <a:pt x="269392" y="163063"/>
                    </a:cubicBezTo>
                    <a:close/>
                    <a:moveTo>
                      <a:pt x="797719" y="0"/>
                    </a:moveTo>
                    <a:lnTo>
                      <a:pt x="883444" y="0"/>
                    </a:lnTo>
                    <a:lnTo>
                      <a:pt x="883444" y="79897"/>
                    </a:lnTo>
                    <a:lnTo>
                      <a:pt x="797719" y="90082"/>
                    </a:lnTo>
                    <a:lnTo>
                      <a:pt x="797719" y="0"/>
                    </a:lnTo>
                    <a:close/>
                    <a:moveTo>
                      <a:pt x="58806" y="0"/>
                    </a:moveTo>
                    <a:lnTo>
                      <a:pt x="692944" y="0"/>
                    </a:lnTo>
                    <a:lnTo>
                      <a:pt x="692944" y="102530"/>
                    </a:lnTo>
                    <a:lnTo>
                      <a:pt x="418176" y="135174"/>
                    </a:lnTo>
                    <a:cubicBezTo>
                      <a:pt x="407569" y="136435"/>
                      <a:pt x="398476" y="141875"/>
                      <a:pt x="392350" y="149653"/>
                    </a:cubicBezTo>
                    <a:lnTo>
                      <a:pt x="384326" y="178152"/>
                    </a:lnTo>
                    <a:lnTo>
                      <a:pt x="398804" y="203977"/>
                    </a:lnTo>
                    <a:cubicBezTo>
                      <a:pt x="406582" y="210103"/>
                      <a:pt x="416696" y="213262"/>
                      <a:pt x="427304" y="212001"/>
                    </a:cubicBezTo>
                    <a:lnTo>
                      <a:pt x="1104900" y="131498"/>
                    </a:lnTo>
                    <a:lnTo>
                      <a:pt x="1104900" y="134851"/>
                    </a:lnTo>
                    <a:lnTo>
                      <a:pt x="1157493" y="128603"/>
                    </a:lnTo>
                    <a:cubicBezTo>
                      <a:pt x="1178709" y="126082"/>
                      <a:pt x="1197951" y="141237"/>
                      <a:pt x="1200471" y="162453"/>
                    </a:cubicBezTo>
                    <a:lnTo>
                      <a:pt x="1200470" y="162453"/>
                    </a:lnTo>
                    <a:cubicBezTo>
                      <a:pt x="1202991" y="183669"/>
                      <a:pt x="1187836" y="202910"/>
                      <a:pt x="1166620" y="205431"/>
                    </a:cubicBezTo>
                    <a:lnTo>
                      <a:pt x="878682" y="240221"/>
                    </a:lnTo>
                    <a:lnTo>
                      <a:pt x="883444" y="298972"/>
                    </a:lnTo>
                    <a:lnTo>
                      <a:pt x="792956" y="309723"/>
                    </a:lnTo>
                    <a:lnTo>
                      <a:pt x="792956" y="265459"/>
                    </a:lnTo>
                    <a:lnTo>
                      <a:pt x="688181" y="265459"/>
                    </a:lnTo>
                    <a:lnTo>
                      <a:pt x="688181" y="322171"/>
                    </a:lnTo>
                    <a:lnTo>
                      <a:pt x="418176" y="354249"/>
                    </a:lnTo>
                    <a:cubicBezTo>
                      <a:pt x="407569" y="355510"/>
                      <a:pt x="398476" y="360950"/>
                      <a:pt x="392350" y="368728"/>
                    </a:cubicBezTo>
                    <a:lnTo>
                      <a:pt x="384326" y="397227"/>
                    </a:lnTo>
                    <a:lnTo>
                      <a:pt x="398804" y="423052"/>
                    </a:lnTo>
                    <a:cubicBezTo>
                      <a:pt x="406582" y="429178"/>
                      <a:pt x="416696" y="432337"/>
                      <a:pt x="427304" y="431076"/>
                    </a:cubicBezTo>
                    <a:lnTo>
                      <a:pt x="1157493" y="347675"/>
                    </a:lnTo>
                    <a:cubicBezTo>
                      <a:pt x="1178709" y="345155"/>
                      <a:pt x="1197950" y="360310"/>
                      <a:pt x="1200471" y="381525"/>
                    </a:cubicBezTo>
                    <a:lnTo>
                      <a:pt x="1200470" y="381526"/>
                    </a:lnTo>
                    <a:cubicBezTo>
                      <a:pt x="1202991" y="402741"/>
                      <a:pt x="1187836" y="421983"/>
                      <a:pt x="1166620" y="424503"/>
                    </a:cubicBezTo>
                    <a:lnTo>
                      <a:pt x="883444" y="458146"/>
                    </a:lnTo>
                    <a:lnTo>
                      <a:pt x="883444" y="506141"/>
                    </a:lnTo>
                    <a:lnTo>
                      <a:pt x="792956" y="516892"/>
                    </a:lnTo>
                    <a:lnTo>
                      <a:pt x="792956" y="468897"/>
                    </a:lnTo>
                    <a:lnTo>
                      <a:pt x="688181" y="481345"/>
                    </a:lnTo>
                    <a:lnTo>
                      <a:pt x="688181" y="529340"/>
                    </a:lnTo>
                    <a:lnTo>
                      <a:pt x="418176" y="561418"/>
                    </a:lnTo>
                    <a:cubicBezTo>
                      <a:pt x="407569" y="562679"/>
                      <a:pt x="398476" y="568119"/>
                      <a:pt x="392350" y="575897"/>
                    </a:cubicBezTo>
                    <a:lnTo>
                      <a:pt x="384326" y="604396"/>
                    </a:lnTo>
                    <a:lnTo>
                      <a:pt x="398804" y="630221"/>
                    </a:lnTo>
                    <a:cubicBezTo>
                      <a:pt x="406582" y="636347"/>
                      <a:pt x="416696" y="639506"/>
                      <a:pt x="427304" y="638245"/>
                    </a:cubicBezTo>
                    <a:lnTo>
                      <a:pt x="1104900" y="557742"/>
                    </a:lnTo>
                    <a:lnTo>
                      <a:pt x="1104900" y="558713"/>
                    </a:lnTo>
                    <a:lnTo>
                      <a:pt x="1157491" y="552464"/>
                    </a:lnTo>
                    <a:cubicBezTo>
                      <a:pt x="1178707" y="549944"/>
                      <a:pt x="1197948" y="565099"/>
                      <a:pt x="1200469" y="586314"/>
                    </a:cubicBezTo>
                    <a:lnTo>
                      <a:pt x="1200468" y="586314"/>
                    </a:lnTo>
                    <a:cubicBezTo>
                      <a:pt x="1202989" y="607530"/>
                      <a:pt x="1187834" y="626772"/>
                      <a:pt x="1166618" y="629292"/>
                    </a:cubicBezTo>
                    <a:lnTo>
                      <a:pt x="1104900" y="636624"/>
                    </a:lnTo>
                    <a:lnTo>
                      <a:pt x="1104900" y="817908"/>
                    </a:lnTo>
                    <a:lnTo>
                      <a:pt x="971550" y="946496"/>
                    </a:lnTo>
                    <a:lnTo>
                      <a:pt x="752889" y="946496"/>
                    </a:lnTo>
                    <a:lnTo>
                      <a:pt x="749140" y="965065"/>
                    </a:lnTo>
                    <a:cubicBezTo>
                      <a:pt x="728897" y="1012926"/>
                      <a:pt x="681506" y="1046508"/>
                      <a:pt x="626271" y="1046508"/>
                    </a:cubicBezTo>
                    <a:lnTo>
                      <a:pt x="533770" y="1046508"/>
                    </a:lnTo>
                    <a:cubicBezTo>
                      <a:pt x="478536" y="1046508"/>
                      <a:pt x="431145" y="1012926"/>
                      <a:pt x="410901" y="965065"/>
                    </a:cubicBezTo>
                    <a:lnTo>
                      <a:pt x="407153" y="946496"/>
                    </a:lnTo>
                    <a:lnTo>
                      <a:pt x="190500" y="946496"/>
                    </a:lnTo>
                    <a:lnTo>
                      <a:pt x="59532" y="825052"/>
                    </a:lnTo>
                    <a:cubicBezTo>
                      <a:pt x="59499" y="786916"/>
                      <a:pt x="59465" y="748779"/>
                      <a:pt x="59432" y="710643"/>
                    </a:cubicBezTo>
                    <a:lnTo>
                      <a:pt x="48816" y="710643"/>
                    </a:lnTo>
                    <a:cubicBezTo>
                      <a:pt x="35336" y="710643"/>
                      <a:pt x="23132" y="705179"/>
                      <a:pt x="14298" y="696345"/>
                    </a:cubicBezTo>
                    <a:lnTo>
                      <a:pt x="0" y="661828"/>
                    </a:lnTo>
                    <a:lnTo>
                      <a:pt x="14298" y="627310"/>
                    </a:lnTo>
                    <a:cubicBezTo>
                      <a:pt x="23132" y="618476"/>
                      <a:pt x="35336" y="613012"/>
                      <a:pt x="48816" y="613012"/>
                    </a:cubicBezTo>
                    <a:lnTo>
                      <a:pt x="59346" y="613012"/>
                    </a:lnTo>
                    <a:cubicBezTo>
                      <a:pt x="59313" y="575724"/>
                      <a:pt x="59280" y="538435"/>
                      <a:pt x="59247" y="501147"/>
                    </a:cubicBezTo>
                    <a:lnTo>
                      <a:pt x="48816" y="501147"/>
                    </a:lnTo>
                    <a:cubicBezTo>
                      <a:pt x="35336" y="501147"/>
                      <a:pt x="23132" y="495683"/>
                      <a:pt x="14298" y="486849"/>
                    </a:cubicBezTo>
                    <a:lnTo>
                      <a:pt x="0" y="452332"/>
                    </a:lnTo>
                    <a:lnTo>
                      <a:pt x="14298" y="417814"/>
                    </a:lnTo>
                    <a:cubicBezTo>
                      <a:pt x="23132" y="408980"/>
                      <a:pt x="35336" y="403516"/>
                      <a:pt x="48816" y="403516"/>
                    </a:cubicBezTo>
                    <a:lnTo>
                      <a:pt x="59161" y="403516"/>
                    </a:lnTo>
                    <a:cubicBezTo>
                      <a:pt x="59128" y="366228"/>
                      <a:pt x="59096" y="328939"/>
                      <a:pt x="59063" y="291651"/>
                    </a:cubicBezTo>
                    <a:lnTo>
                      <a:pt x="48816" y="291651"/>
                    </a:lnTo>
                    <a:cubicBezTo>
                      <a:pt x="35336" y="291651"/>
                      <a:pt x="23132" y="286187"/>
                      <a:pt x="14298" y="277353"/>
                    </a:cubicBezTo>
                    <a:lnTo>
                      <a:pt x="0" y="242836"/>
                    </a:lnTo>
                    <a:lnTo>
                      <a:pt x="14298" y="208318"/>
                    </a:lnTo>
                    <a:cubicBezTo>
                      <a:pt x="23132" y="199484"/>
                      <a:pt x="35336" y="194020"/>
                      <a:pt x="48816" y="194020"/>
                    </a:cubicBezTo>
                    <a:lnTo>
                      <a:pt x="58977" y="194020"/>
                    </a:lnTo>
                    <a:lnTo>
                      <a:pt x="58806"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16" name="Freeform 115"/>
              <p:cNvSpPr/>
              <p:nvPr/>
            </p:nvSpPr>
            <p:spPr>
              <a:xfrm>
                <a:off x="4242295" y="1685754"/>
                <a:ext cx="3701002" cy="3743106"/>
              </a:xfrm>
              <a:custGeom>
                <a:avLst/>
                <a:gdLst>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0346 w 3701002"/>
                  <a:gd name="connsiteY11" fmla="*/ 3114359 h 3743106"/>
                  <a:gd name="connsiteX12" fmla="*/ 2659635 w 3701002"/>
                  <a:gd name="connsiteY12" fmla="*/ 3107286 h 3743106"/>
                  <a:gd name="connsiteX13" fmla="*/ 3122601 w 3701002"/>
                  <a:gd name="connsiteY13" fmla="*/ 2107732 h 3743106"/>
                  <a:gd name="connsiteX14" fmla="*/ 1850392 w 3701002"/>
                  <a:gd name="connsiteY14" fmla="*/ 812383 h 3743106"/>
                  <a:gd name="connsiteX15" fmla="*/ 578183 w 3701002"/>
                  <a:gd name="connsiteY15" fmla="*/ 2107732 h 3743106"/>
                  <a:gd name="connsiteX16" fmla="*/ 950805 w 3701002"/>
                  <a:gd name="connsiteY16" fmla="*/ 3023682 h 3743106"/>
                  <a:gd name="connsiteX17" fmla="*/ 1028685 w 3701002"/>
                  <a:gd name="connsiteY17" fmla="*/ 3095752 h 3743106"/>
                  <a:gd name="connsiteX18" fmla="*/ 1145044 w 3701002"/>
                  <a:gd name="connsiteY18" fmla="*/ 3252006 h 3743106"/>
                  <a:gd name="connsiteX19" fmla="*/ 1289824 w 3701002"/>
                  <a:gd name="connsiteY19" fmla="*/ 3549186 h 3743106"/>
                  <a:gd name="connsiteX20" fmla="*/ 1131709 w 3701002"/>
                  <a:gd name="connsiteY20" fmla="*/ 3739686 h 3743106"/>
                  <a:gd name="connsiteX21" fmla="*/ 881519 w 3701002"/>
                  <a:gd name="connsiteY21" fmla="*/ 3637451 h 3743106"/>
                  <a:gd name="connsiteX22" fmla="*/ 771664 w 3701002"/>
                  <a:gd name="connsiteY22" fmla="*/ 3290106 h 3743106"/>
                  <a:gd name="connsiteX23" fmla="*/ 377329 w 3701002"/>
                  <a:gd name="connsiteY23" fmla="*/ 3103416 h 3743106"/>
                  <a:gd name="connsiteX24" fmla="*/ 344944 w 3701002"/>
                  <a:gd name="connsiteY24" fmla="*/ 2482386 h 3743106"/>
                  <a:gd name="connsiteX25" fmla="*/ 139 w 3701002"/>
                  <a:gd name="connsiteY25" fmla="*/ 1970576 h 3743106"/>
                  <a:gd name="connsiteX26" fmla="*/ 451624 w 3701002"/>
                  <a:gd name="connsiteY26" fmla="*/ 1403521 h 3743106"/>
                  <a:gd name="connsiteX27" fmla="*/ 496709 w 3701002"/>
                  <a:gd name="connsiteY27" fmla="*/ 659301 h 3743106"/>
                  <a:gd name="connsiteX28" fmla="*/ 1199019 w 3701002"/>
                  <a:gd name="connsiteY28" fmla="*/ 517061 h 3743106"/>
                  <a:gd name="connsiteX29" fmla="*/ 1831479 w 3701002"/>
                  <a:gd name="connsiteY29"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028685 w 3701002"/>
                  <a:gd name="connsiteY16" fmla="*/ 3095752 h 3743106"/>
                  <a:gd name="connsiteX17" fmla="*/ 1145044 w 3701002"/>
                  <a:gd name="connsiteY17" fmla="*/ 3252006 h 3743106"/>
                  <a:gd name="connsiteX18" fmla="*/ 1289824 w 3701002"/>
                  <a:gd name="connsiteY18" fmla="*/ 3549186 h 3743106"/>
                  <a:gd name="connsiteX19" fmla="*/ 1131709 w 3701002"/>
                  <a:gd name="connsiteY19" fmla="*/ 3739686 h 3743106"/>
                  <a:gd name="connsiteX20" fmla="*/ 881519 w 3701002"/>
                  <a:gd name="connsiteY20" fmla="*/ 3637451 h 3743106"/>
                  <a:gd name="connsiteX21" fmla="*/ 771664 w 3701002"/>
                  <a:gd name="connsiteY21" fmla="*/ 3290106 h 3743106"/>
                  <a:gd name="connsiteX22" fmla="*/ 377329 w 3701002"/>
                  <a:gd name="connsiteY22" fmla="*/ 3103416 h 3743106"/>
                  <a:gd name="connsiteX23" fmla="*/ 344944 w 3701002"/>
                  <a:gd name="connsiteY23" fmla="*/ 2482386 h 3743106"/>
                  <a:gd name="connsiteX24" fmla="*/ 139 w 3701002"/>
                  <a:gd name="connsiteY24" fmla="*/ 1970576 h 3743106"/>
                  <a:gd name="connsiteX25" fmla="*/ 451624 w 3701002"/>
                  <a:gd name="connsiteY25" fmla="*/ 1403521 h 3743106"/>
                  <a:gd name="connsiteX26" fmla="*/ 496709 w 3701002"/>
                  <a:gd name="connsiteY26" fmla="*/ 659301 h 3743106"/>
                  <a:gd name="connsiteX27" fmla="*/ 1199019 w 3701002"/>
                  <a:gd name="connsiteY27" fmla="*/ 517061 h 3743106"/>
                  <a:gd name="connsiteX28" fmla="*/ 1831479 w 3701002"/>
                  <a:gd name="connsiteY28"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145044 w 3701002"/>
                  <a:gd name="connsiteY16" fmla="*/ 3252006 h 3743106"/>
                  <a:gd name="connsiteX17" fmla="*/ 1289824 w 3701002"/>
                  <a:gd name="connsiteY17" fmla="*/ 3549186 h 3743106"/>
                  <a:gd name="connsiteX18" fmla="*/ 1131709 w 3701002"/>
                  <a:gd name="connsiteY18" fmla="*/ 3739686 h 3743106"/>
                  <a:gd name="connsiteX19" fmla="*/ 881519 w 3701002"/>
                  <a:gd name="connsiteY19" fmla="*/ 3637451 h 3743106"/>
                  <a:gd name="connsiteX20" fmla="*/ 771664 w 3701002"/>
                  <a:gd name="connsiteY20" fmla="*/ 3290106 h 3743106"/>
                  <a:gd name="connsiteX21" fmla="*/ 377329 w 3701002"/>
                  <a:gd name="connsiteY21" fmla="*/ 3103416 h 3743106"/>
                  <a:gd name="connsiteX22" fmla="*/ 344944 w 3701002"/>
                  <a:gd name="connsiteY22" fmla="*/ 2482386 h 3743106"/>
                  <a:gd name="connsiteX23" fmla="*/ 139 w 3701002"/>
                  <a:gd name="connsiteY23" fmla="*/ 1970576 h 3743106"/>
                  <a:gd name="connsiteX24" fmla="*/ 451624 w 3701002"/>
                  <a:gd name="connsiteY24" fmla="*/ 1403521 h 3743106"/>
                  <a:gd name="connsiteX25" fmla="*/ 496709 w 3701002"/>
                  <a:gd name="connsiteY25" fmla="*/ 659301 h 3743106"/>
                  <a:gd name="connsiteX26" fmla="*/ 1199019 w 3701002"/>
                  <a:gd name="connsiteY26" fmla="*/ 517061 h 3743106"/>
                  <a:gd name="connsiteX27" fmla="*/ 1831479 w 3701002"/>
                  <a:gd name="connsiteY27"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145044 w 3701002"/>
                  <a:gd name="connsiteY16" fmla="*/ 3252006 h 3743106"/>
                  <a:gd name="connsiteX17" fmla="*/ 1289824 w 3701002"/>
                  <a:gd name="connsiteY17" fmla="*/ 3549186 h 3743106"/>
                  <a:gd name="connsiteX18" fmla="*/ 1131709 w 3701002"/>
                  <a:gd name="connsiteY18" fmla="*/ 3739686 h 3743106"/>
                  <a:gd name="connsiteX19" fmla="*/ 881519 w 3701002"/>
                  <a:gd name="connsiteY19" fmla="*/ 3637451 h 3743106"/>
                  <a:gd name="connsiteX20" fmla="*/ 771664 w 3701002"/>
                  <a:gd name="connsiteY20" fmla="*/ 3290106 h 3743106"/>
                  <a:gd name="connsiteX21" fmla="*/ 377329 w 3701002"/>
                  <a:gd name="connsiteY21" fmla="*/ 3103416 h 3743106"/>
                  <a:gd name="connsiteX22" fmla="*/ 344944 w 3701002"/>
                  <a:gd name="connsiteY22" fmla="*/ 2482386 h 3743106"/>
                  <a:gd name="connsiteX23" fmla="*/ 139 w 3701002"/>
                  <a:gd name="connsiteY23" fmla="*/ 1970576 h 3743106"/>
                  <a:gd name="connsiteX24" fmla="*/ 451624 w 3701002"/>
                  <a:gd name="connsiteY24" fmla="*/ 1403521 h 3743106"/>
                  <a:gd name="connsiteX25" fmla="*/ 496709 w 3701002"/>
                  <a:gd name="connsiteY25" fmla="*/ 659301 h 3743106"/>
                  <a:gd name="connsiteX26" fmla="*/ 1199019 w 3701002"/>
                  <a:gd name="connsiteY26" fmla="*/ 517061 h 3743106"/>
                  <a:gd name="connsiteX27" fmla="*/ 1831479 w 3701002"/>
                  <a:gd name="connsiteY27" fmla="*/ 171 h 3743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701002" h="3743106">
                    <a:moveTo>
                      <a:pt x="1831479" y="171"/>
                    </a:moveTo>
                    <a:cubicBezTo>
                      <a:pt x="2193958" y="-9460"/>
                      <a:pt x="2228989" y="388262"/>
                      <a:pt x="2478544" y="516426"/>
                    </a:cubicBezTo>
                    <a:cubicBezTo>
                      <a:pt x="2724924" y="638240"/>
                      <a:pt x="3031735" y="420753"/>
                      <a:pt x="3214509" y="673906"/>
                    </a:cubicBezTo>
                    <a:cubicBezTo>
                      <a:pt x="3397283" y="927059"/>
                      <a:pt x="3125874" y="1106394"/>
                      <a:pt x="3270389" y="1425746"/>
                    </a:cubicBezTo>
                    <a:cubicBezTo>
                      <a:pt x="3414904" y="1745098"/>
                      <a:pt x="3685678" y="1679112"/>
                      <a:pt x="3700601" y="1942319"/>
                    </a:cubicBezTo>
                    <a:cubicBezTo>
                      <a:pt x="3712349" y="2221401"/>
                      <a:pt x="3463112" y="2181714"/>
                      <a:pt x="3354844" y="2512866"/>
                    </a:cubicBezTo>
                    <a:cubicBezTo>
                      <a:pt x="3238639" y="2836081"/>
                      <a:pt x="3476765" y="2888309"/>
                      <a:pt x="3320872" y="3113258"/>
                    </a:cubicBezTo>
                    <a:cubicBezTo>
                      <a:pt x="3231655" y="3262007"/>
                      <a:pt x="3076132" y="3153476"/>
                      <a:pt x="2933839" y="3291059"/>
                    </a:cubicBezTo>
                    <a:cubicBezTo>
                      <a:pt x="2791546" y="3428642"/>
                      <a:pt x="2888756" y="3603161"/>
                      <a:pt x="2771914" y="3691109"/>
                    </a:cubicBezTo>
                    <a:cubicBezTo>
                      <a:pt x="2688410" y="3783819"/>
                      <a:pt x="2499817" y="3735717"/>
                      <a:pt x="2440444" y="3640626"/>
                    </a:cubicBezTo>
                    <a:cubicBezTo>
                      <a:pt x="2381071" y="3545535"/>
                      <a:pt x="2441714" y="3442506"/>
                      <a:pt x="2501404" y="3320586"/>
                    </a:cubicBezTo>
                    <a:lnTo>
                      <a:pt x="2659635" y="3107286"/>
                    </a:lnTo>
                    <a:cubicBezTo>
                      <a:pt x="2942380" y="2869700"/>
                      <a:pt x="3122601" y="2510145"/>
                      <a:pt x="3122601" y="2107732"/>
                    </a:cubicBezTo>
                    <a:cubicBezTo>
                      <a:pt x="3122601" y="1392331"/>
                      <a:pt x="2553014" y="812383"/>
                      <a:pt x="1850392" y="812383"/>
                    </a:cubicBezTo>
                    <a:cubicBezTo>
                      <a:pt x="1147770" y="812383"/>
                      <a:pt x="578183" y="1392331"/>
                      <a:pt x="578183" y="2107732"/>
                    </a:cubicBezTo>
                    <a:cubicBezTo>
                      <a:pt x="578183" y="2465433"/>
                      <a:pt x="720580" y="2789270"/>
                      <a:pt x="950805" y="3023682"/>
                    </a:cubicBezTo>
                    <a:cubicBezTo>
                      <a:pt x="1039364" y="3104553"/>
                      <a:pt x="1080298" y="3175898"/>
                      <a:pt x="1145044" y="3252006"/>
                    </a:cubicBezTo>
                    <a:cubicBezTo>
                      <a:pt x="1213624" y="3361226"/>
                      <a:pt x="1292047" y="3467906"/>
                      <a:pt x="1289824" y="3549186"/>
                    </a:cubicBezTo>
                    <a:cubicBezTo>
                      <a:pt x="1287602" y="3630466"/>
                      <a:pt x="1199760" y="3724975"/>
                      <a:pt x="1131709" y="3739686"/>
                    </a:cubicBezTo>
                    <a:cubicBezTo>
                      <a:pt x="1063658" y="3754397"/>
                      <a:pt x="935176" y="3721906"/>
                      <a:pt x="881519" y="3637451"/>
                    </a:cubicBezTo>
                    <a:cubicBezTo>
                      <a:pt x="827862" y="3552996"/>
                      <a:pt x="922371" y="3429912"/>
                      <a:pt x="771664" y="3290106"/>
                    </a:cubicBezTo>
                    <a:cubicBezTo>
                      <a:pt x="620957" y="3150300"/>
                      <a:pt x="489724" y="3259626"/>
                      <a:pt x="377329" y="3103416"/>
                    </a:cubicBezTo>
                    <a:cubicBezTo>
                      <a:pt x="245884" y="2847193"/>
                      <a:pt x="472103" y="2764062"/>
                      <a:pt x="344944" y="2482386"/>
                    </a:cubicBezTo>
                    <a:cubicBezTo>
                      <a:pt x="189211" y="2141178"/>
                      <a:pt x="8552" y="2246432"/>
                      <a:pt x="139" y="1970576"/>
                    </a:cubicBezTo>
                    <a:cubicBezTo>
                      <a:pt x="-7481" y="1701865"/>
                      <a:pt x="299012" y="1730017"/>
                      <a:pt x="451624" y="1403521"/>
                    </a:cubicBezTo>
                    <a:cubicBezTo>
                      <a:pt x="528036" y="943675"/>
                      <a:pt x="318168" y="908644"/>
                      <a:pt x="496709" y="659301"/>
                    </a:cubicBezTo>
                    <a:cubicBezTo>
                      <a:pt x="675250" y="409958"/>
                      <a:pt x="956978" y="650728"/>
                      <a:pt x="1199019" y="517061"/>
                    </a:cubicBezTo>
                    <a:cubicBezTo>
                      <a:pt x="1485510" y="418319"/>
                      <a:pt x="1469000" y="9802"/>
                      <a:pt x="1831479" y="171"/>
                    </a:cubicBez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71" name="TextBox 170"/>
          <p:cNvSpPr txBox="1"/>
          <p:nvPr/>
        </p:nvSpPr>
        <p:spPr>
          <a:xfrm>
            <a:off x="373110" y="4827797"/>
            <a:ext cx="1176925" cy="369332"/>
          </a:xfrm>
          <a:prstGeom prst="rect">
            <a:avLst/>
          </a:prstGeom>
          <a:solidFill>
            <a:schemeClr val="bg1"/>
          </a:solidFill>
        </p:spPr>
        <p:txBody>
          <a:bodyPr wrap="none" rtlCol="0">
            <a:spAutoFit/>
          </a:bodyPr>
          <a:lstStyle>
            <a:defPPr>
              <a:defRPr lang="en-US"/>
            </a:defPPr>
            <a:lvl1pPr defTabSz="914377" fontAlgn="base">
              <a:spcBef>
                <a:spcPct val="0"/>
              </a:spcBef>
              <a:spcAft>
                <a:spcPct val="0"/>
              </a:spcAft>
              <a:defRPr sz="2000" b="1" kern="0">
                <a:solidFill>
                  <a:schemeClr val="accent1"/>
                </a:solidFill>
                <a:cs typeface="Arial" charset="0"/>
              </a:defRPr>
            </a:lvl1p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srgbClr val="0066A1"/>
                </a:solidFill>
                <a:effectLst/>
                <a:uLnTx/>
                <a:uFillTx/>
                <a:latin typeface="+mj-lt"/>
                <a:ea typeface="+mn-ea"/>
                <a:cs typeface="Arial" charset="0"/>
              </a:rPr>
              <a:t>Reduced</a:t>
            </a:r>
          </a:p>
        </p:txBody>
      </p:sp>
      <p:sp>
        <p:nvSpPr>
          <p:cNvPr id="172" name="Rectangle 171"/>
          <p:cNvSpPr/>
          <p:nvPr/>
        </p:nvSpPr>
        <p:spPr>
          <a:xfrm>
            <a:off x="3680276" y="5219555"/>
            <a:ext cx="1980000" cy="523220"/>
          </a:xfrm>
          <a:prstGeom prst="rect">
            <a:avLst/>
          </a:prstGeom>
        </p:spPr>
        <p:txBody>
          <a:bodyPr wrap="square">
            <a:sp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prstClr val="black"/>
                </a:solidFill>
                <a:effectLst/>
                <a:uLnTx/>
                <a:uFillTx/>
                <a:latin typeface="+mj-lt"/>
                <a:ea typeface="+mn-ea"/>
                <a:cs typeface="Segoe UI Semilight" panose="020B0402040204020203" pitchFamily="34" charset="0"/>
              </a:rPr>
              <a:t>Operational Efficiencies</a:t>
            </a:r>
          </a:p>
        </p:txBody>
      </p:sp>
      <p:sp>
        <p:nvSpPr>
          <p:cNvPr id="173" name="TextBox 172"/>
          <p:cNvSpPr txBox="1"/>
          <p:nvPr/>
        </p:nvSpPr>
        <p:spPr>
          <a:xfrm>
            <a:off x="4017609" y="4853586"/>
            <a:ext cx="1241045" cy="369332"/>
          </a:xfrm>
          <a:prstGeom prst="rect">
            <a:avLst/>
          </a:prstGeom>
          <a:solidFill>
            <a:schemeClr val="bg1"/>
          </a:solidFill>
        </p:spPr>
        <p:txBody>
          <a:bodyPr wrap="none" rtlCol="0">
            <a:spAutoFit/>
          </a:bodyPr>
          <a:lstStyle>
            <a:defPPr>
              <a:defRPr lang="en-US"/>
            </a:defPPr>
            <a:lvl1pPr defTabSz="914377" fontAlgn="base">
              <a:spcBef>
                <a:spcPct val="0"/>
              </a:spcBef>
              <a:spcAft>
                <a:spcPct val="0"/>
              </a:spcAft>
              <a:defRPr sz="2000" b="1" kern="0">
                <a:solidFill>
                  <a:schemeClr val="accent1"/>
                </a:solidFill>
                <a:cs typeface="Arial" charset="0"/>
              </a:defRPr>
            </a:lvl1p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srgbClr val="0066A1"/>
                </a:solidFill>
                <a:effectLst/>
                <a:uLnTx/>
                <a:uFillTx/>
                <a:latin typeface="+mj-lt"/>
                <a:ea typeface="+mn-ea"/>
                <a:cs typeface="Arial" charset="0"/>
              </a:rPr>
              <a:t>Improved</a:t>
            </a:r>
          </a:p>
        </p:txBody>
      </p:sp>
      <p:sp>
        <p:nvSpPr>
          <p:cNvPr id="174" name="Rectangle 173">
            <a:extLst>
              <a:ext uri="{FF2B5EF4-FFF2-40B4-BE49-F238E27FC236}">
                <a16:creationId xmlns:a16="http://schemas.microsoft.com/office/drawing/2014/main" id="{DEA3F0F7-1F24-4CD4-B1C3-B5D3064A10E0}"/>
              </a:ext>
            </a:extLst>
          </p:cNvPr>
          <p:cNvSpPr/>
          <p:nvPr/>
        </p:nvSpPr>
        <p:spPr bwMode="auto">
          <a:xfrm>
            <a:off x="6426313" y="5214259"/>
            <a:ext cx="5351711" cy="457200"/>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123" fontAlgn="base">
              <a:spcBef>
                <a:spcPct val="0"/>
              </a:spcBef>
              <a:spcAft>
                <a:spcPct val="0"/>
              </a:spcAft>
              <a:defRPr/>
            </a:pPr>
            <a:r>
              <a:rPr lang="en-US" sz="1400" kern="0">
                <a:solidFill>
                  <a:prstClr val="black"/>
                </a:solidFill>
                <a:cs typeface="Arial" panose="020B0604020202020204" pitchFamily="34" charset="0"/>
              </a:rPr>
              <a:t>Plan and execute: Data Migration, Migration and testing  </a:t>
            </a:r>
            <a:endParaRPr kumimoji="0" lang="en-US" sz="1400" b="0" i="0" u="none" strike="noStrike" kern="0" cap="none" spc="0" normalizeH="0" baseline="0" noProof="0">
              <a:ln>
                <a:noFill/>
              </a:ln>
              <a:solidFill>
                <a:prstClr val="black"/>
              </a:solidFill>
              <a:effectLst/>
              <a:uLnTx/>
              <a:uFillTx/>
              <a:latin typeface="Verdana"/>
              <a:ea typeface="+mn-ea"/>
              <a:cs typeface="Arial" panose="020B0604020202020204" pitchFamily="34" charset="0"/>
            </a:endParaRPr>
          </a:p>
        </p:txBody>
      </p:sp>
      <p:grpSp>
        <p:nvGrpSpPr>
          <p:cNvPr id="175" name="Group 174">
            <a:extLst>
              <a:ext uri="{FF2B5EF4-FFF2-40B4-BE49-F238E27FC236}">
                <a16:creationId xmlns:a16="http://schemas.microsoft.com/office/drawing/2014/main" id="{5B27CF8D-17DA-4906-ADAC-DFDBF593C872}"/>
              </a:ext>
            </a:extLst>
          </p:cNvPr>
          <p:cNvGrpSpPr/>
          <p:nvPr/>
        </p:nvGrpSpPr>
        <p:grpSpPr>
          <a:xfrm>
            <a:off x="5840168" y="2938924"/>
            <a:ext cx="474070" cy="474070"/>
            <a:chOff x="6447430" y="2675492"/>
            <a:chExt cx="474070" cy="474070"/>
          </a:xfrm>
        </p:grpSpPr>
        <p:sp>
          <p:nvSpPr>
            <p:cNvPr id="176" name="Oval 175">
              <a:extLst>
                <a:ext uri="{FF2B5EF4-FFF2-40B4-BE49-F238E27FC236}">
                  <a16:creationId xmlns:a16="http://schemas.microsoft.com/office/drawing/2014/main" id="{C1906004-8552-457C-BC3B-BFD16942623D}"/>
                </a:ext>
              </a:extLst>
            </p:cNvPr>
            <p:cNvSpPr/>
            <p:nvPr/>
          </p:nvSpPr>
          <p:spPr>
            <a:xfrm>
              <a:off x="6447430" y="2675492"/>
              <a:ext cx="474070" cy="474070"/>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white"/>
                </a:solidFill>
                <a:effectLst/>
                <a:uLnTx/>
                <a:uFillTx/>
                <a:latin typeface="Verdana"/>
                <a:ea typeface="+mn-ea"/>
                <a:cs typeface="+mn-cs"/>
              </a:endParaRPr>
            </a:p>
          </p:txBody>
        </p:sp>
        <p:grpSp>
          <p:nvGrpSpPr>
            <p:cNvPr id="177" name="Group 176">
              <a:extLst>
                <a:ext uri="{FF2B5EF4-FFF2-40B4-BE49-F238E27FC236}">
                  <a16:creationId xmlns:a16="http://schemas.microsoft.com/office/drawing/2014/main" id="{49D975FC-F0E2-43E3-A95F-7DAEC58DD37B}"/>
                </a:ext>
              </a:extLst>
            </p:cNvPr>
            <p:cNvGrpSpPr/>
            <p:nvPr/>
          </p:nvGrpSpPr>
          <p:grpSpPr>
            <a:xfrm>
              <a:off x="6518178" y="2715380"/>
              <a:ext cx="333474" cy="369629"/>
              <a:chOff x="3114466" y="105602"/>
              <a:chExt cx="5971657" cy="6619048"/>
            </a:xfrm>
            <a:solidFill>
              <a:schemeClr val="accent5"/>
            </a:solidFill>
          </p:grpSpPr>
          <p:sp>
            <p:nvSpPr>
              <p:cNvPr id="178" name="Oval 177">
                <a:extLst>
                  <a:ext uri="{FF2B5EF4-FFF2-40B4-BE49-F238E27FC236}">
                    <a16:creationId xmlns:a16="http://schemas.microsoft.com/office/drawing/2014/main" id="{582C2A49-0A25-430A-8421-569C4BA0014F}"/>
                  </a:ext>
                </a:extLst>
              </p:cNvPr>
              <p:cNvSpPr/>
              <p:nvPr/>
            </p:nvSpPr>
            <p:spPr>
              <a:xfrm>
                <a:off x="5744819" y="745435"/>
                <a:ext cx="695738" cy="695738"/>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79" name="Oval 178">
                <a:extLst>
                  <a:ext uri="{FF2B5EF4-FFF2-40B4-BE49-F238E27FC236}">
                    <a16:creationId xmlns:a16="http://schemas.microsoft.com/office/drawing/2014/main" id="{BB7AE4C9-E13B-4327-9A4C-10CE943F49FE}"/>
                  </a:ext>
                </a:extLst>
              </p:cNvPr>
              <p:cNvSpPr/>
              <p:nvPr/>
            </p:nvSpPr>
            <p:spPr>
              <a:xfrm>
                <a:off x="6626711" y="1319213"/>
                <a:ext cx="628234" cy="62823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80" name="Oval 179">
                <a:extLst>
                  <a:ext uri="{FF2B5EF4-FFF2-40B4-BE49-F238E27FC236}">
                    <a16:creationId xmlns:a16="http://schemas.microsoft.com/office/drawing/2014/main" id="{A76F60AB-6CC9-48DA-B413-9A39C0684C4E}"/>
                  </a:ext>
                </a:extLst>
              </p:cNvPr>
              <p:cNvSpPr/>
              <p:nvPr/>
            </p:nvSpPr>
            <p:spPr>
              <a:xfrm>
                <a:off x="4921736" y="1319213"/>
                <a:ext cx="628234" cy="62823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81" name="Oval 180">
                <a:extLst>
                  <a:ext uri="{FF2B5EF4-FFF2-40B4-BE49-F238E27FC236}">
                    <a16:creationId xmlns:a16="http://schemas.microsoft.com/office/drawing/2014/main" id="{AA772459-D704-4E28-AA19-E8839F2BA4F4}"/>
                  </a:ext>
                </a:extLst>
              </p:cNvPr>
              <p:cNvSpPr/>
              <p:nvPr/>
            </p:nvSpPr>
            <p:spPr>
              <a:xfrm>
                <a:off x="4140684" y="1766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82" name="Oval 181">
                <a:extLst>
                  <a:ext uri="{FF2B5EF4-FFF2-40B4-BE49-F238E27FC236}">
                    <a16:creationId xmlns:a16="http://schemas.microsoft.com/office/drawing/2014/main" id="{DC9496F0-90F0-460F-BA03-7F13902E58FD}"/>
                  </a:ext>
                </a:extLst>
              </p:cNvPr>
              <p:cNvSpPr/>
              <p:nvPr/>
            </p:nvSpPr>
            <p:spPr>
              <a:xfrm>
                <a:off x="7510049" y="1766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83" name="Oval 182">
                <a:extLst>
                  <a:ext uri="{FF2B5EF4-FFF2-40B4-BE49-F238E27FC236}">
                    <a16:creationId xmlns:a16="http://schemas.microsoft.com/office/drawing/2014/main" id="{381A935A-494B-4BA0-B643-514EB13F2ADC}"/>
                  </a:ext>
                </a:extLst>
              </p:cNvPr>
              <p:cNvSpPr/>
              <p:nvPr/>
            </p:nvSpPr>
            <p:spPr>
              <a:xfrm>
                <a:off x="7716285" y="2579410"/>
                <a:ext cx="612706" cy="61270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84" name="Oval 183">
                <a:extLst>
                  <a:ext uri="{FF2B5EF4-FFF2-40B4-BE49-F238E27FC236}">
                    <a16:creationId xmlns:a16="http://schemas.microsoft.com/office/drawing/2014/main" id="{AAA7D455-0A4E-4C6D-803D-B31A6ACCA836}"/>
                  </a:ext>
                </a:extLst>
              </p:cNvPr>
              <p:cNvSpPr/>
              <p:nvPr/>
            </p:nvSpPr>
            <p:spPr>
              <a:xfrm>
                <a:off x="3849963" y="2569471"/>
                <a:ext cx="612706" cy="61270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85" name="Oval 184">
                <a:extLst>
                  <a:ext uri="{FF2B5EF4-FFF2-40B4-BE49-F238E27FC236}">
                    <a16:creationId xmlns:a16="http://schemas.microsoft.com/office/drawing/2014/main" id="{C4F72A79-19A9-4399-B42D-BBD925F27468}"/>
                  </a:ext>
                </a:extLst>
              </p:cNvPr>
              <p:cNvSpPr/>
              <p:nvPr/>
            </p:nvSpPr>
            <p:spPr>
              <a:xfrm>
                <a:off x="3740632" y="1416532"/>
                <a:ext cx="394046" cy="39404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86" name="Oval 185">
                <a:extLst>
                  <a:ext uri="{FF2B5EF4-FFF2-40B4-BE49-F238E27FC236}">
                    <a16:creationId xmlns:a16="http://schemas.microsoft.com/office/drawing/2014/main" id="{88B290DE-5F8C-413E-A56C-5AF4924A1E03}"/>
                  </a:ext>
                </a:extLst>
              </p:cNvPr>
              <p:cNvSpPr/>
              <p:nvPr/>
            </p:nvSpPr>
            <p:spPr>
              <a:xfrm>
                <a:off x="8054215" y="1416532"/>
                <a:ext cx="394046" cy="39404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87" name="Oval 186">
                <a:extLst>
                  <a:ext uri="{FF2B5EF4-FFF2-40B4-BE49-F238E27FC236}">
                    <a16:creationId xmlns:a16="http://schemas.microsoft.com/office/drawing/2014/main" id="{7C53C2D2-4A6F-4129-A358-125E7C3D89DC}"/>
                  </a:ext>
                </a:extLst>
              </p:cNvPr>
              <p:cNvSpPr/>
              <p:nvPr/>
            </p:nvSpPr>
            <p:spPr>
              <a:xfrm>
                <a:off x="5878581" y="105602"/>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88" name="Oval 187">
                <a:extLst>
                  <a:ext uri="{FF2B5EF4-FFF2-40B4-BE49-F238E27FC236}">
                    <a16:creationId xmlns:a16="http://schemas.microsoft.com/office/drawing/2014/main" id="{DC91EE25-2F45-4A2F-A6E5-56F5D725D10C}"/>
                  </a:ext>
                </a:extLst>
              </p:cNvPr>
              <p:cNvSpPr/>
              <p:nvPr/>
            </p:nvSpPr>
            <p:spPr>
              <a:xfrm>
                <a:off x="3114466" y="3419473"/>
                <a:ext cx="319296" cy="31929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89" name="Oval 188">
                <a:extLst>
                  <a:ext uri="{FF2B5EF4-FFF2-40B4-BE49-F238E27FC236}">
                    <a16:creationId xmlns:a16="http://schemas.microsoft.com/office/drawing/2014/main" id="{B7FEB5AA-D415-48A7-9EB2-66E506E305CC}"/>
                  </a:ext>
                </a:extLst>
              </p:cNvPr>
              <p:cNvSpPr/>
              <p:nvPr/>
            </p:nvSpPr>
            <p:spPr>
              <a:xfrm>
                <a:off x="3794675" y="5116270"/>
                <a:ext cx="282026" cy="28202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90" name="Oval 189">
                <a:extLst>
                  <a:ext uri="{FF2B5EF4-FFF2-40B4-BE49-F238E27FC236}">
                    <a16:creationId xmlns:a16="http://schemas.microsoft.com/office/drawing/2014/main" id="{3E932A8C-F7F2-47E7-B1C8-08783227DE91}"/>
                  </a:ext>
                </a:extLst>
              </p:cNvPr>
              <p:cNvSpPr/>
              <p:nvPr/>
            </p:nvSpPr>
            <p:spPr>
              <a:xfrm>
                <a:off x="4640020" y="5060156"/>
                <a:ext cx="342902" cy="3429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91" name="Oval 190">
                <a:extLst>
                  <a:ext uri="{FF2B5EF4-FFF2-40B4-BE49-F238E27FC236}">
                    <a16:creationId xmlns:a16="http://schemas.microsoft.com/office/drawing/2014/main" id="{3BD5891B-7257-4382-ACE6-C890403935B8}"/>
                  </a:ext>
                </a:extLst>
              </p:cNvPr>
              <p:cNvSpPr/>
              <p:nvPr/>
            </p:nvSpPr>
            <p:spPr>
              <a:xfrm>
                <a:off x="4155592" y="4790040"/>
                <a:ext cx="373546" cy="37354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92" name="Oval 191">
                <a:extLst>
                  <a:ext uri="{FF2B5EF4-FFF2-40B4-BE49-F238E27FC236}">
                    <a16:creationId xmlns:a16="http://schemas.microsoft.com/office/drawing/2014/main" id="{CCF119B0-5515-4C3B-90C9-0268BB6C7D80}"/>
                  </a:ext>
                </a:extLst>
              </p:cNvPr>
              <p:cNvSpPr/>
              <p:nvPr/>
            </p:nvSpPr>
            <p:spPr>
              <a:xfrm>
                <a:off x="3892206" y="4042948"/>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93" name="Oval 192">
                <a:extLst>
                  <a:ext uri="{FF2B5EF4-FFF2-40B4-BE49-F238E27FC236}">
                    <a16:creationId xmlns:a16="http://schemas.microsoft.com/office/drawing/2014/main" id="{60CB4473-FCE3-49F4-B06F-90A4F040D5B4}"/>
                  </a:ext>
                </a:extLst>
              </p:cNvPr>
              <p:cNvSpPr/>
              <p:nvPr/>
            </p:nvSpPr>
            <p:spPr>
              <a:xfrm>
                <a:off x="7758528" y="4052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94" name="Oval 193">
                <a:extLst>
                  <a:ext uri="{FF2B5EF4-FFF2-40B4-BE49-F238E27FC236}">
                    <a16:creationId xmlns:a16="http://schemas.microsoft.com/office/drawing/2014/main" id="{F161FB60-86B9-46B0-8247-D6B041C9B10E}"/>
                  </a:ext>
                </a:extLst>
              </p:cNvPr>
              <p:cNvSpPr/>
              <p:nvPr/>
            </p:nvSpPr>
            <p:spPr>
              <a:xfrm>
                <a:off x="3632338" y="3395454"/>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95" name="Oval 194">
                <a:extLst>
                  <a:ext uri="{FF2B5EF4-FFF2-40B4-BE49-F238E27FC236}">
                    <a16:creationId xmlns:a16="http://schemas.microsoft.com/office/drawing/2014/main" id="{A8F2BCFE-CC21-4BAB-8086-9AB2FF27FA3B}"/>
                  </a:ext>
                </a:extLst>
              </p:cNvPr>
              <p:cNvSpPr/>
              <p:nvPr/>
            </p:nvSpPr>
            <p:spPr>
              <a:xfrm>
                <a:off x="8122650" y="3395454"/>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96" name="Oval 195">
                <a:extLst>
                  <a:ext uri="{FF2B5EF4-FFF2-40B4-BE49-F238E27FC236}">
                    <a16:creationId xmlns:a16="http://schemas.microsoft.com/office/drawing/2014/main" id="{828106C5-2060-4629-ACF1-C765635601CB}"/>
                  </a:ext>
                </a:extLst>
              </p:cNvPr>
              <p:cNvSpPr/>
              <p:nvPr/>
            </p:nvSpPr>
            <p:spPr>
              <a:xfrm>
                <a:off x="8747366" y="3412330"/>
                <a:ext cx="338757" cy="338757"/>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97" name="Oval 196">
                <a:extLst>
                  <a:ext uri="{FF2B5EF4-FFF2-40B4-BE49-F238E27FC236}">
                    <a16:creationId xmlns:a16="http://schemas.microsoft.com/office/drawing/2014/main" id="{2665A624-591B-4E6B-A601-375B727027BE}"/>
                  </a:ext>
                </a:extLst>
              </p:cNvPr>
              <p:cNvSpPr/>
              <p:nvPr/>
            </p:nvSpPr>
            <p:spPr>
              <a:xfrm>
                <a:off x="7659444" y="4792108"/>
                <a:ext cx="372514" cy="37251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98" name="Oval 197">
                <a:extLst>
                  <a:ext uri="{FF2B5EF4-FFF2-40B4-BE49-F238E27FC236}">
                    <a16:creationId xmlns:a16="http://schemas.microsoft.com/office/drawing/2014/main" id="{41AAB086-87B8-4222-8C43-0DF599D84272}"/>
                  </a:ext>
                </a:extLst>
              </p:cNvPr>
              <p:cNvSpPr/>
              <p:nvPr/>
            </p:nvSpPr>
            <p:spPr>
              <a:xfrm>
                <a:off x="7208355" y="5062538"/>
                <a:ext cx="341242" cy="34124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99" name="Oval 198">
                <a:extLst>
                  <a:ext uri="{FF2B5EF4-FFF2-40B4-BE49-F238E27FC236}">
                    <a16:creationId xmlns:a16="http://schemas.microsoft.com/office/drawing/2014/main" id="{F9AF36BB-DC08-4CFF-915B-317FC9A8E5CE}"/>
                  </a:ext>
                </a:extLst>
              </p:cNvPr>
              <p:cNvSpPr/>
              <p:nvPr/>
            </p:nvSpPr>
            <p:spPr>
              <a:xfrm>
                <a:off x="8113230" y="5122069"/>
                <a:ext cx="274566" cy="27456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200" name="Freeform 87">
                <a:extLst>
                  <a:ext uri="{FF2B5EF4-FFF2-40B4-BE49-F238E27FC236}">
                    <a16:creationId xmlns:a16="http://schemas.microsoft.com/office/drawing/2014/main" id="{D547286C-0FEB-4FD5-BB1D-70D97E3447AE}"/>
                  </a:ext>
                </a:extLst>
              </p:cNvPr>
              <p:cNvSpPr/>
              <p:nvPr/>
            </p:nvSpPr>
            <p:spPr>
              <a:xfrm>
                <a:off x="5507831" y="5678142"/>
                <a:ext cx="1200744" cy="1046508"/>
              </a:xfrm>
              <a:custGeom>
                <a:avLst/>
                <a:gdLst>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58806 w 1200744"/>
                  <a:gd name="connsiteY19" fmla="*/ 0 h 1046508"/>
                  <a:gd name="connsiteX20" fmla="*/ 692944 w 1200744"/>
                  <a:gd name="connsiteY20" fmla="*/ 0 h 1046508"/>
                  <a:gd name="connsiteX21" fmla="*/ 692944 w 1200744"/>
                  <a:gd name="connsiteY21" fmla="*/ 102530 h 1046508"/>
                  <a:gd name="connsiteX22" fmla="*/ 418176 w 1200744"/>
                  <a:gd name="connsiteY22" fmla="*/ 135174 h 1046508"/>
                  <a:gd name="connsiteX23" fmla="*/ 392350 w 1200744"/>
                  <a:gd name="connsiteY23" fmla="*/ 149653 h 1046508"/>
                  <a:gd name="connsiteX24" fmla="*/ 384326 w 1200744"/>
                  <a:gd name="connsiteY24" fmla="*/ 178152 h 1046508"/>
                  <a:gd name="connsiteX25" fmla="*/ 398804 w 1200744"/>
                  <a:gd name="connsiteY25" fmla="*/ 203977 h 1046508"/>
                  <a:gd name="connsiteX26" fmla="*/ 427304 w 1200744"/>
                  <a:gd name="connsiteY26" fmla="*/ 212001 h 1046508"/>
                  <a:gd name="connsiteX27" fmla="*/ 1104900 w 1200744"/>
                  <a:gd name="connsiteY27" fmla="*/ 131498 h 1046508"/>
                  <a:gd name="connsiteX28" fmla="*/ 1104900 w 1200744"/>
                  <a:gd name="connsiteY28" fmla="*/ 134851 h 1046508"/>
                  <a:gd name="connsiteX29" fmla="*/ 1157493 w 1200744"/>
                  <a:gd name="connsiteY29" fmla="*/ 128603 h 1046508"/>
                  <a:gd name="connsiteX30" fmla="*/ 1200471 w 1200744"/>
                  <a:gd name="connsiteY30" fmla="*/ 162453 h 1046508"/>
                  <a:gd name="connsiteX31" fmla="*/ 1200470 w 1200744"/>
                  <a:gd name="connsiteY31" fmla="*/ 162453 h 1046508"/>
                  <a:gd name="connsiteX32" fmla="*/ 1166620 w 1200744"/>
                  <a:gd name="connsiteY32" fmla="*/ 205431 h 1046508"/>
                  <a:gd name="connsiteX33" fmla="*/ 892471 w 1200744"/>
                  <a:gd name="connsiteY33" fmla="*/ 238001 h 1046508"/>
                  <a:gd name="connsiteX34" fmla="*/ 883444 w 1200744"/>
                  <a:gd name="connsiteY34" fmla="*/ 235459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688181 w 1200744"/>
                  <a:gd name="connsiteY45" fmla="*/ 400083 h 1046508"/>
                  <a:gd name="connsiteX46" fmla="*/ 688181 w 1200744"/>
                  <a:gd name="connsiteY46" fmla="*/ 403433 h 1046508"/>
                  <a:gd name="connsiteX47" fmla="*/ 792956 w 1200744"/>
                  <a:gd name="connsiteY47" fmla="*/ 390985 h 1046508"/>
                  <a:gd name="connsiteX48" fmla="*/ 792956 w 1200744"/>
                  <a:gd name="connsiteY48" fmla="*/ 387635 h 1046508"/>
                  <a:gd name="connsiteX49" fmla="*/ 883444 w 1200744"/>
                  <a:gd name="connsiteY49" fmla="*/ 376884 h 1046508"/>
                  <a:gd name="connsiteX50" fmla="*/ 883444 w 1200744"/>
                  <a:gd name="connsiteY50" fmla="*/ 380235 h 1046508"/>
                  <a:gd name="connsiteX51" fmla="*/ 1157493 w 1200744"/>
                  <a:gd name="connsiteY51" fmla="*/ 347675 h 1046508"/>
                  <a:gd name="connsiteX52" fmla="*/ 1200471 w 1200744"/>
                  <a:gd name="connsiteY52" fmla="*/ 381525 h 1046508"/>
                  <a:gd name="connsiteX53" fmla="*/ 1200470 w 1200744"/>
                  <a:gd name="connsiteY53" fmla="*/ 381526 h 1046508"/>
                  <a:gd name="connsiteX54" fmla="*/ 1166620 w 1200744"/>
                  <a:gd name="connsiteY54" fmla="*/ 424503 h 1046508"/>
                  <a:gd name="connsiteX55" fmla="*/ 883444 w 1200744"/>
                  <a:gd name="connsiteY55" fmla="*/ 458146 h 1046508"/>
                  <a:gd name="connsiteX56" fmla="*/ 883444 w 1200744"/>
                  <a:gd name="connsiteY56" fmla="*/ 506141 h 1046508"/>
                  <a:gd name="connsiteX57" fmla="*/ 792956 w 1200744"/>
                  <a:gd name="connsiteY57" fmla="*/ 516892 h 1046508"/>
                  <a:gd name="connsiteX58" fmla="*/ 792956 w 1200744"/>
                  <a:gd name="connsiteY58" fmla="*/ 468897 h 1046508"/>
                  <a:gd name="connsiteX59" fmla="*/ 688181 w 1200744"/>
                  <a:gd name="connsiteY59" fmla="*/ 481345 h 1046508"/>
                  <a:gd name="connsiteX60" fmla="*/ 688181 w 1200744"/>
                  <a:gd name="connsiteY60" fmla="*/ 529340 h 1046508"/>
                  <a:gd name="connsiteX61" fmla="*/ 418176 w 1200744"/>
                  <a:gd name="connsiteY61" fmla="*/ 561418 h 1046508"/>
                  <a:gd name="connsiteX62" fmla="*/ 392350 w 1200744"/>
                  <a:gd name="connsiteY62" fmla="*/ 575897 h 1046508"/>
                  <a:gd name="connsiteX63" fmla="*/ 384326 w 1200744"/>
                  <a:gd name="connsiteY63" fmla="*/ 604396 h 1046508"/>
                  <a:gd name="connsiteX64" fmla="*/ 398804 w 1200744"/>
                  <a:gd name="connsiteY64" fmla="*/ 630221 h 1046508"/>
                  <a:gd name="connsiteX65" fmla="*/ 427304 w 1200744"/>
                  <a:gd name="connsiteY65" fmla="*/ 638245 h 1046508"/>
                  <a:gd name="connsiteX66" fmla="*/ 1104900 w 1200744"/>
                  <a:gd name="connsiteY66" fmla="*/ 557742 h 1046508"/>
                  <a:gd name="connsiteX67" fmla="*/ 1104900 w 1200744"/>
                  <a:gd name="connsiteY67" fmla="*/ 558713 h 1046508"/>
                  <a:gd name="connsiteX68" fmla="*/ 1157491 w 1200744"/>
                  <a:gd name="connsiteY68" fmla="*/ 552464 h 1046508"/>
                  <a:gd name="connsiteX69" fmla="*/ 1200469 w 1200744"/>
                  <a:gd name="connsiteY69" fmla="*/ 586314 h 1046508"/>
                  <a:gd name="connsiteX70" fmla="*/ 1200468 w 1200744"/>
                  <a:gd name="connsiteY70" fmla="*/ 586314 h 1046508"/>
                  <a:gd name="connsiteX71" fmla="*/ 1166618 w 1200744"/>
                  <a:gd name="connsiteY71" fmla="*/ 629292 h 1046508"/>
                  <a:gd name="connsiteX72" fmla="*/ 1104900 w 1200744"/>
                  <a:gd name="connsiteY72" fmla="*/ 636624 h 1046508"/>
                  <a:gd name="connsiteX73" fmla="*/ 1104900 w 1200744"/>
                  <a:gd name="connsiteY73" fmla="*/ 817908 h 1046508"/>
                  <a:gd name="connsiteX74" fmla="*/ 971550 w 1200744"/>
                  <a:gd name="connsiteY74" fmla="*/ 946496 h 1046508"/>
                  <a:gd name="connsiteX75" fmla="*/ 752889 w 1200744"/>
                  <a:gd name="connsiteY75" fmla="*/ 946496 h 1046508"/>
                  <a:gd name="connsiteX76" fmla="*/ 749140 w 1200744"/>
                  <a:gd name="connsiteY76" fmla="*/ 965065 h 1046508"/>
                  <a:gd name="connsiteX77" fmla="*/ 626271 w 1200744"/>
                  <a:gd name="connsiteY77" fmla="*/ 1046508 h 1046508"/>
                  <a:gd name="connsiteX78" fmla="*/ 533770 w 1200744"/>
                  <a:gd name="connsiteY78" fmla="*/ 1046508 h 1046508"/>
                  <a:gd name="connsiteX79" fmla="*/ 410901 w 1200744"/>
                  <a:gd name="connsiteY79" fmla="*/ 965065 h 1046508"/>
                  <a:gd name="connsiteX80" fmla="*/ 407153 w 1200744"/>
                  <a:gd name="connsiteY80" fmla="*/ 946496 h 1046508"/>
                  <a:gd name="connsiteX81" fmla="*/ 190500 w 1200744"/>
                  <a:gd name="connsiteY81" fmla="*/ 946496 h 1046508"/>
                  <a:gd name="connsiteX82" fmla="*/ 59532 w 1200744"/>
                  <a:gd name="connsiteY82" fmla="*/ 825052 h 1046508"/>
                  <a:gd name="connsiteX83" fmla="*/ 59432 w 1200744"/>
                  <a:gd name="connsiteY83" fmla="*/ 710643 h 1046508"/>
                  <a:gd name="connsiteX84" fmla="*/ 48816 w 1200744"/>
                  <a:gd name="connsiteY84" fmla="*/ 710643 h 1046508"/>
                  <a:gd name="connsiteX85" fmla="*/ 14298 w 1200744"/>
                  <a:gd name="connsiteY85" fmla="*/ 696345 h 1046508"/>
                  <a:gd name="connsiteX86" fmla="*/ 0 w 1200744"/>
                  <a:gd name="connsiteY86" fmla="*/ 661828 h 1046508"/>
                  <a:gd name="connsiteX87" fmla="*/ 14298 w 1200744"/>
                  <a:gd name="connsiteY87" fmla="*/ 627310 h 1046508"/>
                  <a:gd name="connsiteX88" fmla="*/ 48816 w 1200744"/>
                  <a:gd name="connsiteY88" fmla="*/ 613012 h 1046508"/>
                  <a:gd name="connsiteX89" fmla="*/ 59346 w 1200744"/>
                  <a:gd name="connsiteY89" fmla="*/ 613012 h 1046508"/>
                  <a:gd name="connsiteX90" fmla="*/ 59247 w 1200744"/>
                  <a:gd name="connsiteY90" fmla="*/ 501147 h 1046508"/>
                  <a:gd name="connsiteX91" fmla="*/ 48816 w 1200744"/>
                  <a:gd name="connsiteY91" fmla="*/ 501147 h 1046508"/>
                  <a:gd name="connsiteX92" fmla="*/ 14298 w 1200744"/>
                  <a:gd name="connsiteY92" fmla="*/ 486849 h 1046508"/>
                  <a:gd name="connsiteX93" fmla="*/ 0 w 1200744"/>
                  <a:gd name="connsiteY93" fmla="*/ 452332 h 1046508"/>
                  <a:gd name="connsiteX94" fmla="*/ 14298 w 1200744"/>
                  <a:gd name="connsiteY94" fmla="*/ 417814 h 1046508"/>
                  <a:gd name="connsiteX95" fmla="*/ 48816 w 1200744"/>
                  <a:gd name="connsiteY95" fmla="*/ 403516 h 1046508"/>
                  <a:gd name="connsiteX96" fmla="*/ 59161 w 1200744"/>
                  <a:gd name="connsiteY96" fmla="*/ 403516 h 1046508"/>
                  <a:gd name="connsiteX97" fmla="*/ 59063 w 1200744"/>
                  <a:gd name="connsiteY97" fmla="*/ 291651 h 1046508"/>
                  <a:gd name="connsiteX98" fmla="*/ 48816 w 1200744"/>
                  <a:gd name="connsiteY98" fmla="*/ 291651 h 1046508"/>
                  <a:gd name="connsiteX99" fmla="*/ 14298 w 1200744"/>
                  <a:gd name="connsiteY99" fmla="*/ 277353 h 1046508"/>
                  <a:gd name="connsiteX100" fmla="*/ 0 w 1200744"/>
                  <a:gd name="connsiteY100" fmla="*/ 242836 h 1046508"/>
                  <a:gd name="connsiteX101" fmla="*/ 14298 w 1200744"/>
                  <a:gd name="connsiteY101" fmla="*/ 208318 h 1046508"/>
                  <a:gd name="connsiteX102" fmla="*/ 48816 w 1200744"/>
                  <a:gd name="connsiteY102" fmla="*/ 194020 h 1046508"/>
                  <a:gd name="connsiteX103" fmla="*/ 58977 w 1200744"/>
                  <a:gd name="connsiteY103" fmla="*/ 19402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792956 w 1200744"/>
                  <a:gd name="connsiteY49" fmla="*/ 387635 h 1046508"/>
                  <a:gd name="connsiteX50" fmla="*/ 883444 w 1200744"/>
                  <a:gd name="connsiteY50" fmla="*/ 376884 h 1046508"/>
                  <a:gd name="connsiteX51" fmla="*/ 1157493 w 1200744"/>
                  <a:gd name="connsiteY51" fmla="*/ 347675 h 1046508"/>
                  <a:gd name="connsiteX52" fmla="*/ 1200471 w 1200744"/>
                  <a:gd name="connsiteY52" fmla="*/ 381525 h 1046508"/>
                  <a:gd name="connsiteX53" fmla="*/ 1200470 w 1200744"/>
                  <a:gd name="connsiteY53" fmla="*/ 381526 h 1046508"/>
                  <a:gd name="connsiteX54" fmla="*/ 1166620 w 1200744"/>
                  <a:gd name="connsiteY54" fmla="*/ 424503 h 1046508"/>
                  <a:gd name="connsiteX55" fmla="*/ 883444 w 1200744"/>
                  <a:gd name="connsiteY55" fmla="*/ 458146 h 1046508"/>
                  <a:gd name="connsiteX56" fmla="*/ 883444 w 1200744"/>
                  <a:gd name="connsiteY56" fmla="*/ 506141 h 1046508"/>
                  <a:gd name="connsiteX57" fmla="*/ 792956 w 1200744"/>
                  <a:gd name="connsiteY57" fmla="*/ 516892 h 1046508"/>
                  <a:gd name="connsiteX58" fmla="*/ 792956 w 1200744"/>
                  <a:gd name="connsiteY58" fmla="*/ 468897 h 1046508"/>
                  <a:gd name="connsiteX59" fmla="*/ 688181 w 1200744"/>
                  <a:gd name="connsiteY59" fmla="*/ 481345 h 1046508"/>
                  <a:gd name="connsiteX60" fmla="*/ 688181 w 1200744"/>
                  <a:gd name="connsiteY60" fmla="*/ 529340 h 1046508"/>
                  <a:gd name="connsiteX61" fmla="*/ 418176 w 1200744"/>
                  <a:gd name="connsiteY61" fmla="*/ 561418 h 1046508"/>
                  <a:gd name="connsiteX62" fmla="*/ 392350 w 1200744"/>
                  <a:gd name="connsiteY62" fmla="*/ 575897 h 1046508"/>
                  <a:gd name="connsiteX63" fmla="*/ 384326 w 1200744"/>
                  <a:gd name="connsiteY63" fmla="*/ 604396 h 1046508"/>
                  <a:gd name="connsiteX64" fmla="*/ 398804 w 1200744"/>
                  <a:gd name="connsiteY64" fmla="*/ 630221 h 1046508"/>
                  <a:gd name="connsiteX65" fmla="*/ 427304 w 1200744"/>
                  <a:gd name="connsiteY65" fmla="*/ 638245 h 1046508"/>
                  <a:gd name="connsiteX66" fmla="*/ 1104900 w 1200744"/>
                  <a:gd name="connsiteY66" fmla="*/ 557742 h 1046508"/>
                  <a:gd name="connsiteX67" fmla="*/ 1104900 w 1200744"/>
                  <a:gd name="connsiteY67" fmla="*/ 558713 h 1046508"/>
                  <a:gd name="connsiteX68" fmla="*/ 1157491 w 1200744"/>
                  <a:gd name="connsiteY68" fmla="*/ 552464 h 1046508"/>
                  <a:gd name="connsiteX69" fmla="*/ 1200469 w 1200744"/>
                  <a:gd name="connsiteY69" fmla="*/ 586314 h 1046508"/>
                  <a:gd name="connsiteX70" fmla="*/ 1200468 w 1200744"/>
                  <a:gd name="connsiteY70" fmla="*/ 586314 h 1046508"/>
                  <a:gd name="connsiteX71" fmla="*/ 1166618 w 1200744"/>
                  <a:gd name="connsiteY71" fmla="*/ 629292 h 1046508"/>
                  <a:gd name="connsiteX72" fmla="*/ 1104900 w 1200744"/>
                  <a:gd name="connsiteY72" fmla="*/ 636624 h 1046508"/>
                  <a:gd name="connsiteX73" fmla="*/ 1104900 w 1200744"/>
                  <a:gd name="connsiteY73" fmla="*/ 817908 h 1046508"/>
                  <a:gd name="connsiteX74" fmla="*/ 971550 w 1200744"/>
                  <a:gd name="connsiteY74" fmla="*/ 946496 h 1046508"/>
                  <a:gd name="connsiteX75" fmla="*/ 752889 w 1200744"/>
                  <a:gd name="connsiteY75" fmla="*/ 946496 h 1046508"/>
                  <a:gd name="connsiteX76" fmla="*/ 749140 w 1200744"/>
                  <a:gd name="connsiteY76" fmla="*/ 965065 h 1046508"/>
                  <a:gd name="connsiteX77" fmla="*/ 626271 w 1200744"/>
                  <a:gd name="connsiteY77" fmla="*/ 1046508 h 1046508"/>
                  <a:gd name="connsiteX78" fmla="*/ 533770 w 1200744"/>
                  <a:gd name="connsiteY78" fmla="*/ 1046508 h 1046508"/>
                  <a:gd name="connsiteX79" fmla="*/ 410901 w 1200744"/>
                  <a:gd name="connsiteY79" fmla="*/ 965065 h 1046508"/>
                  <a:gd name="connsiteX80" fmla="*/ 407153 w 1200744"/>
                  <a:gd name="connsiteY80" fmla="*/ 946496 h 1046508"/>
                  <a:gd name="connsiteX81" fmla="*/ 190500 w 1200744"/>
                  <a:gd name="connsiteY81" fmla="*/ 946496 h 1046508"/>
                  <a:gd name="connsiteX82" fmla="*/ 59532 w 1200744"/>
                  <a:gd name="connsiteY82" fmla="*/ 825052 h 1046508"/>
                  <a:gd name="connsiteX83" fmla="*/ 59432 w 1200744"/>
                  <a:gd name="connsiteY83" fmla="*/ 710643 h 1046508"/>
                  <a:gd name="connsiteX84" fmla="*/ 48816 w 1200744"/>
                  <a:gd name="connsiteY84" fmla="*/ 710643 h 1046508"/>
                  <a:gd name="connsiteX85" fmla="*/ 14298 w 1200744"/>
                  <a:gd name="connsiteY85" fmla="*/ 696345 h 1046508"/>
                  <a:gd name="connsiteX86" fmla="*/ 0 w 1200744"/>
                  <a:gd name="connsiteY86" fmla="*/ 661828 h 1046508"/>
                  <a:gd name="connsiteX87" fmla="*/ 14298 w 1200744"/>
                  <a:gd name="connsiteY87" fmla="*/ 627310 h 1046508"/>
                  <a:gd name="connsiteX88" fmla="*/ 48816 w 1200744"/>
                  <a:gd name="connsiteY88" fmla="*/ 613012 h 1046508"/>
                  <a:gd name="connsiteX89" fmla="*/ 59346 w 1200744"/>
                  <a:gd name="connsiteY89" fmla="*/ 613012 h 1046508"/>
                  <a:gd name="connsiteX90" fmla="*/ 59247 w 1200744"/>
                  <a:gd name="connsiteY90" fmla="*/ 501147 h 1046508"/>
                  <a:gd name="connsiteX91" fmla="*/ 48816 w 1200744"/>
                  <a:gd name="connsiteY91" fmla="*/ 501147 h 1046508"/>
                  <a:gd name="connsiteX92" fmla="*/ 14298 w 1200744"/>
                  <a:gd name="connsiteY92" fmla="*/ 486849 h 1046508"/>
                  <a:gd name="connsiteX93" fmla="*/ 0 w 1200744"/>
                  <a:gd name="connsiteY93" fmla="*/ 452332 h 1046508"/>
                  <a:gd name="connsiteX94" fmla="*/ 14298 w 1200744"/>
                  <a:gd name="connsiteY94" fmla="*/ 417814 h 1046508"/>
                  <a:gd name="connsiteX95" fmla="*/ 48816 w 1200744"/>
                  <a:gd name="connsiteY95" fmla="*/ 403516 h 1046508"/>
                  <a:gd name="connsiteX96" fmla="*/ 59161 w 1200744"/>
                  <a:gd name="connsiteY96" fmla="*/ 403516 h 1046508"/>
                  <a:gd name="connsiteX97" fmla="*/ 59063 w 1200744"/>
                  <a:gd name="connsiteY97" fmla="*/ 291651 h 1046508"/>
                  <a:gd name="connsiteX98" fmla="*/ 48816 w 1200744"/>
                  <a:gd name="connsiteY98" fmla="*/ 291651 h 1046508"/>
                  <a:gd name="connsiteX99" fmla="*/ 14298 w 1200744"/>
                  <a:gd name="connsiteY99" fmla="*/ 277353 h 1046508"/>
                  <a:gd name="connsiteX100" fmla="*/ 0 w 1200744"/>
                  <a:gd name="connsiteY100" fmla="*/ 242836 h 1046508"/>
                  <a:gd name="connsiteX101" fmla="*/ 14298 w 1200744"/>
                  <a:gd name="connsiteY101" fmla="*/ 208318 h 1046508"/>
                  <a:gd name="connsiteX102" fmla="*/ 48816 w 1200744"/>
                  <a:gd name="connsiteY102" fmla="*/ 194020 h 1046508"/>
                  <a:gd name="connsiteX103" fmla="*/ 58977 w 1200744"/>
                  <a:gd name="connsiteY103" fmla="*/ 194020 h 1046508"/>
                  <a:gd name="connsiteX104" fmla="*/ 58806 w 1200744"/>
                  <a:gd name="connsiteY104"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792956 w 1200744"/>
                  <a:gd name="connsiteY49" fmla="*/ 387635 h 1046508"/>
                  <a:gd name="connsiteX50" fmla="*/ 1157493 w 1200744"/>
                  <a:gd name="connsiteY50" fmla="*/ 347675 h 1046508"/>
                  <a:gd name="connsiteX51" fmla="*/ 1200471 w 1200744"/>
                  <a:gd name="connsiteY51" fmla="*/ 381525 h 1046508"/>
                  <a:gd name="connsiteX52" fmla="*/ 1200470 w 1200744"/>
                  <a:gd name="connsiteY52" fmla="*/ 381526 h 1046508"/>
                  <a:gd name="connsiteX53" fmla="*/ 1166620 w 1200744"/>
                  <a:gd name="connsiteY53" fmla="*/ 424503 h 1046508"/>
                  <a:gd name="connsiteX54" fmla="*/ 883444 w 1200744"/>
                  <a:gd name="connsiteY54" fmla="*/ 458146 h 1046508"/>
                  <a:gd name="connsiteX55" fmla="*/ 883444 w 1200744"/>
                  <a:gd name="connsiteY55" fmla="*/ 506141 h 1046508"/>
                  <a:gd name="connsiteX56" fmla="*/ 792956 w 1200744"/>
                  <a:gd name="connsiteY56" fmla="*/ 516892 h 1046508"/>
                  <a:gd name="connsiteX57" fmla="*/ 792956 w 1200744"/>
                  <a:gd name="connsiteY57" fmla="*/ 468897 h 1046508"/>
                  <a:gd name="connsiteX58" fmla="*/ 688181 w 1200744"/>
                  <a:gd name="connsiteY58" fmla="*/ 481345 h 1046508"/>
                  <a:gd name="connsiteX59" fmla="*/ 688181 w 1200744"/>
                  <a:gd name="connsiteY59" fmla="*/ 529340 h 1046508"/>
                  <a:gd name="connsiteX60" fmla="*/ 418176 w 1200744"/>
                  <a:gd name="connsiteY60" fmla="*/ 561418 h 1046508"/>
                  <a:gd name="connsiteX61" fmla="*/ 392350 w 1200744"/>
                  <a:gd name="connsiteY61" fmla="*/ 575897 h 1046508"/>
                  <a:gd name="connsiteX62" fmla="*/ 384326 w 1200744"/>
                  <a:gd name="connsiteY62" fmla="*/ 604396 h 1046508"/>
                  <a:gd name="connsiteX63" fmla="*/ 398804 w 1200744"/>
                  <a:gd name="connsiteY63" fmla="*/ 630221 h 1046508"/>
                  <a:gd name="connsiteX64" fmla="*/ 427304 w 1200744"/>
                  <a:gd name="connsiteY64" fmla="*/ 638245 h 1046508"/>
                  <a:gd name="connsiteX65" fmla="*/ 1104900 w 1200744"/>
                  <a:gd name="connsiteY65" fmla="*/ 557742 h 1046508"/>
                  <a:gd name="connsiteX66" fmla="*/ 1104900 w 1200744"/>
                  <a:gd name="connsiteY66" fmla="*/ 558713 h 1046508"/>
                  <a:gd name="connsiteX67" fmla="*/ 1157491 w 1200744"/>
                  <a:gd name="connsiteY67" fmla="*/ 552464 h 1046508"/>
                  <a:gd name="connsiteX68" fmla="*/ 1200469 w 1200744"/>
                  <a:gd name="connsiteY68" fmla="*/ 586314 h 1046508"/>
                  <a:gd name="connsiteX69" fmla="*/ 1200468 w 1200744"/>
                  <a:gd name="connsiteY69" fmla="*/ 586314 h 1046508"/>
                  <a:gd name="connsiteX70" fmla="*/ 1166618 w 1200744"/>
                  <a:gd name="connsiteY70" fmla="*/ 629292 h 1046508"/>
                  <a:gd name="connsiteX71" fmla="*/ 1104900 w 1200744"/>
                  <a:gd name="connsiteY71" fmla="*/ 636624 h 1046508"/>
                  <a:gd name="connsiteX72" fmla="*/ 1104900 w 1200744"/>
                  <a:gd name="connsiteY72" fmla="*/ 817908 h 1046508"/>
                  <a:gd name="connsiteX73" fmla="*/ 971550 w 1200744"/>
                  <a:gd name="connsiteY73" fmla="*/ 946496 h 1046508"/>
                  <a:gd name="connsiteX74" fmla="*/ 752889 w 1200744"/>
                  <a:gd name="connsiteY74" fmla="*/ 946496 h 1046508"/>
                  <a:gd name="connsiteX75" fmla="*/ 749140 w 1200744"/>
                  <a:gd name="connsiteY75" fmla="*/ 965065 h 1046508"/>
                  <a:gd name="connsiteX76" fmla="*/ 626271 w 1200744"/>
                  <a:gd name="connsiteY76" fmla="*/ 1046508 h 1046508"/>
                  <a:gd name="connsiteX77" fmla="*/ 533770 w 1200744"/>
                  <a:gd name="connsiteY77" fmla="*/ 1046508 h 1046508"/>
                  <a:gd name="connsiteX78" fmla="*/ 410901 w 1200744"/>
                  <a:gd name="connsiteY78" fmla="*/ 965065 h 1046508"/>
                  <a:gd name="connsiteX79" fmla="*/ 407153 w 1200744"/>
                  <a:gd name="connsiteY79" fmla="*/ 946496 h 1046508"/>
                  <a:gd name="connsiteX80" fmla="*/ 190500 w 1200744"/>
                  <a:gd name="connsiteY80" fmla="*/ 946496 h 1046508"/>
                  <a:gd name="connsiteX81" fmla="*/ 59532 w 1200744"/>
                  <a:gd name="connsiteY81" fmla="*/ 825052 h 1046508"/>
                  <a:gd name="connsiteX82" fmla="*/ 59432 w 1200744"/>
                  <a:gd name="connsiteY82" fmla="*/ 710643 h 1046508"/>
                  <a:gd name="connsiteX83" fmla="*/ 48816 w 1200744"/>
                  <a:gd name="connsiteY83" fmla="*/ 710643 h 1046508"/>
                  <a:gd name="connsiteX84" fmla="*/ 14298 w 1200744"/>
                  <a:gd name="connsiteY84" fmla="*/ 696345 h 1046508"/>
                  <a:gd name="connsiteX85" fmla="*/ 0 w 1200744"/>
                  <a:gd name="connsiteY85" fmla="*/ 661828 h 1046508"/>
                  <a:gd name="connsiteX86" fmla="*/ 14298 w 1200744"/>
                  <a:gd name="connsiteY86" fmla="*/ 627310 h 1046508"/>
                  <a:gd name="connsiteX87" fmla="*/ 48816 w 1200744"/>
                  <a:gd name="connsiteY87" fmla="*/ 613012 h 1046508"/>
                  <a:gd name="connsiteX88" fmla="*/ 59346 w 1200744"/>
                  <a:gd name="connsiteY88" fmla="*/ 613012 h 1046508"/>
                  <a:gd name="connsiteX89" fmla="*/ 59247 w 1200744"/>
                  <a:gd name="connsiteY89" fmla="*/ 501147 h 1046508"/>
                  <a:gd name="connsiteX90" fmla="*/ 48816 w 1200744"/>
                  <a:gd name="connsiteY90" fmla="*/ 501147 h 1046508"/>
                  <a:gd name="connsiteX91" fmla="*/ 14298 w 1200744"/>
                  <a:gd name="connsiteY91" fmla="*/ 486849 h 1046508"/>
                  <a:gd name="connsiteX92" fmla="*/ 0 w 1200744"/>
                  <a:gd name="connsiteY92" fmla="*/ 452332 h 1046508"/>
                  <a:gd name="connsiteX93" fmla="*/ 14298 w 1200744"/>
                  <a:gd name="connsiteY93" fmla="*/ 417814 h 1046508"/>
                  <a:gd name="connsiteX94" fmla="*/ 48816 w 1200744"/>
                  <a:gd name="connsiteY94" fmla="*/ 403516 h 1046508"/>
                  <a:gd name="connsiteX95" fmla="*/ 59161 w 1200744"/>
                  <a:gd name="connsiteY95" fmla="*/ 403516 h 1046508"/>
                  <a:gd name="connsiteX96" fmla="*/ 59063 w 1200744"/>
                  <a:gd name="connsiteY96" fmla="*/ 291651 h 1046508"/>
                  <a:gd name="connsiteX97" fmla="*/ 48816 w 1200744"/>
                  <a:gd name="connsiteY97" fmla="*/ 291651 h 1046508"/>
                  <a:gd name="connsiteX98" fmla="*/ 14298 w 1200744"/>
                  <a:gd name="connsiteY98" fmla="*/ 277353 h 1046508"/>
                  <a:gd name="connsiteX99" fmla="*/ 0 w 1200744"/>
                  <a:gd name="connsiteY99" fmla="*/ 242836 h 1046508"/>
                  <a:gd name="connsiteX100" fmla="*/ 14298 w 1200744"/>
                  <a:gd name="connsiteY100" fmla="*/ 208318 h 1046508"/>
                  <a:gd name="connsiteX101" fmla="*/ 48816 w 1200744"/>
                  <a:gd name="connsiteY101" fmla="*/ 194020 h 1046508"/>
                  <a:gd name="connsiteX102" fmla="*/ 58977 w 1200744"/>
                  <a:gd name="connsiteY102" fmla="*/ 194020 h 1046508"/>
                  <a:gd name="connsiteX103" fmla="*/ 58806 w 1200744"/>
                  <a:gd name="connsiteY103"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1157493 w 1200744"/>
                  <a:gd name="connsiteY49" fmla="*/ 347675 h 1046508"/>
                  <a:gd name="connsiteX50" fmla="*/ 1200471 w 1200744"/>
                  <a:gd name="connsiteY50" fmla="*/ 381525 h 1046508"/>
                  <a:gd name="connsiteX51" fmla="*/ 1200470 w 1200744"/>
                  <a:gd name="connsiteY51" fmla="*/ 381526 h 1046508"/>
                  <a:gd name="connsiteX52" fmla="*/ 1166620 w 1200744"/>
                  <a:gd name="connsiteY52" fmla="*/ 424503 h 1046508"/>
                  <a:gd name="connsiteX53" fmla="*/ 883444 w 1200744"/>
                  <a:gd name="connsiteY53" fmla="*/ 458146 h 1046508"/>
                  <a:gd name="connsiteX54" fmla="*/ 883444 w 1200744"/>
                  <a:gd name="connsiteY54" fmla="*/ 506141 h 1046508"/>
                  <a:gd name="connsiteX55" fmla="*/ 792956 w 1200744"/>
                  <a:gd name="connsiteY55" fmla="*/ 516892 h 1046508"/>
                  <a:gd name="connsiteX56" fmla="*/ 792956 w 1200744"/>
                  <a:gd name="connsiteY56" fmla="*/ 468897 h 1046508"/>
                  <a:gd name="connsiteX57" fmla="*/ 688181 w 1200744"/>
                  <a:gd name="connsiteY57" fmla="*/ 481345 h 1046508"/>
                  <a:gd name="connsiteX58" fmla="*/ 688181 w 1200744"/>
                  <a:gd name="connsiteY58" fmla="*/ 529340 h 1046508"/>
                  <a:gd name="connsiteX59" fmla="*/ 418176 w 1200744"/>
                  <a:gd name="connsiteY59" fmla="*/ 561418 h 1046508"/>
                  <a:gd name="connsiteX60" fmla="*/ 392350 w 1200744"/>
                  <a:gd name="connsiteY60" fmla="*/ 575897 h 1046508"/>
                  <a:gd name="connsiteX61" fmla="*/ 384326 w 1200744"/>
                  <a:gd name="connsiteY61" fmla="*/ 604396 h 1046508"/>
                  <a:gd name="connsiteX62" fmla="*/ 398804 w 1200744"/>
                  <a:gd name="connsiteY62" fmla="*/ 630221 h 1046508"/>
                  <a:gd name="connsiteX63" fmla="*/ 427304 w 1200744"/>
                  <a:gd name="connsiteY63" fmla="*/ 638245 h 1046508"/>
                  <a:gd name="connsiteX64" fmla="*/ 1104900 w 1200744"/>
                  <a:gd name="connsiteY64" fmla="*/ 557742 h 1046508"/>
                  <a:gd name="connsiteX65" fmla="*/ 1104900 w 1200744"/>
                  <a:gd name="connsiteY65" fmla="*/ 558713 h 1046508"/>
                  <a:gd name="connsiteX66" fmla="*/ 1157491 w 1200744"/>
                  <a:gd name="connsiteY66" fmla="*/ 552464 h 1046508"/>
                  <a:gd name="connsiteX67" fmla="*/ 1200469 w 1200744"/>
                  <a:gd name="connsiteY67" fmla="*/ 586314 h 1046508"/>
                  <a:gd name="connsiteX68" fmla="*/ 1200468 w 1200744"/>
                  <a:gd name="connsiteY68" fmla="*/ 586314 h 1046508"/>
                  <a:gd name="connsiteX69" fmla="*/ 1166618 w 1200744"/>
                  <a:gd name="connsiteY69" fmla="*/ 629292 h 1046508"/>
                  <a:gd name="connsiteX70" fmla="*/ 1104900 w 1200744"/>
                  <a:gd name="connsiteY70" fmla="*/ 636624 h 1046508"/>
                  <a:gd name="connsiteX71" fmla="*/ 1104900 w 1200744"/>
                  <a:gd name="connsiteY71" fmla="*/ 817908 h 1046508"/>
                  <a:gd name="connsiteX72" fmla="*/ 971550 w 1200744"/>
                  <a:gd name="connsiteY72" fmla="*/ 946496 h 1046508"/>
                  <a:gd name="connsiteX73" fmla="*/ 752889 w 1200744"/>
                  <a:gd name="connsiteY73" fmla="*/ 946496 h 1046508"/>
                  <a:gd name="connsiteX74" fmla="*/ 749140 w 1200744"/>
                  <a:gd name="connsiteY74" fmla="*/ 965065 h 1046508"/>
                  <a:gd name="connsiteX75" fmla="*/ 626271 w 1200744"/>
                  <a:gd name="connsiteY75" fmla="*/ 1046508 h 1046508"/>
                  <a:gd name="connsiteX76" fmla="*/ 533770 w 1200744"/>
                  <a:gd name="connsiteY76" fmla="*/ 1046508 h 1046508"/>
                  <a:gd name="connsiteX77" fmla="*/ 410901 w 1200744"/>
                  <a:gd name="connsiteY77" fmla="*/ 965065 h 1046508"/>
                  <a:gd name="connsiteX78" fmla="*/ 407153 w 1200744"/>
                  <a:gd name="connsiteY78" fmla="*/ 946496 h 1046508"/>
                  <a:gd name="connsiteX79" fmla="*/ 190500 w 1200744"/>
                  <a:gd name="connsiteY79" fmla="*/ 946496 h 1046508"/>
                  <a:gd name="connsiteX80" fmla="*/ 59532 w 1200744"/>
                  <a:gd name="connsiteY80" fmla="*/ 825052 h 1046508"/>
                  <a:gd name="connsiteX81" fmla="*/ 59432 w 1200744"/>
                  <a:gd name="connsiteY81" fmla="*/ 710643 h 1046508"/>
                  <a:gd name="connsiteX82" fmla="*/ 48816 w 1200744"/>
                  <a:gd name="connsiteY82" fmla="*/ 710643 h 1046508"/>
                  <a:gd name="connsiteX83" fmla="*/ 14298 w 1200744"/>
                  <a:gd name="connsiteY83" fmla="*/ 696345 h 1046508"/>
                  <a:gd name="connsiteX84" fmla="*/ 0 w 1200744"/>
                  <a:gd name="connsiteY84" fmla="*/ 661828 h 1046508"/>
                  <a:gd name="connsiteX85" fmla="*/ 14298 w 1200744"/>
                  <a:gd name="connsiteY85" fmla="*/ 627310 h 1046508"/>
                  <a:gd name="connsiteX86" fmla="*/ 48816 w 1200744"/>
                  <a:gd name="connsiteY86" fmla="*/ 613012 h 1046508"/>
                  <a:gd name="connsiteX87" fmla="*/ 59346 w 1200744"/>
                  <a:gd name="connsiteY87" fmla="*/ 613012 h 1046508"/>
                  <a:gd name="connsiteX88" fmla="*/ 59247 w 1200744"/>
                  <a:gd name="connsiteY88" fmla="*/ 501147 h 1046508"/>
                  <a:gd name="connsiteX89" fmla="*/ 48816 w 1200744"/>
                  <a:gd name="connsiteY89" fmla="*/ 501147 h 1046508"/>
                  <a:gd name="connsiteX90" fmla="*/ 14298 w 1200744"/>
                  <a:gd name="connsiteY90" fmla="*/ 486849 h 1046508"/>
                  <a:gd name="connsiteX91" fmla="*/ 0 w 1200744"/>
                  <a:gd name="connsiteY91" fmla="*/ 452332 h 1046508"/>
                  <a:gd name="connsiteX92" fmla="*/ 14298 w 1200744"/>
                  <a:gd name="connsiteY92" fmla="*/ 417814 h 1046508"/>
                  <a:gd name="connsiteX93" fmla="*/ 48816 w 1200744"/>
                  <a:gd name="connsiteY93" fmla="*/ 403516 h 1046508"/>
                  <a:gd name="connsiteX94" fmla="*/ 59161 w 1200744"/>
                  <a:gd name="connsiteY94" fmla="*/ 403516 h 1046508"/>
                  <a:gd name="connsiteX95" fmla="*/ 59063 w 1200744"/>
                  <a:gd name="connsiteY95" fmla="*/ 291651 h 1046508"/>
                  <a:gd name="connsiteX96" fmla="*/ 48816 w 1200744"/>
                  <a:gd name="connsiteY96" fmla="*/ 291651 h 1046508"/>
                  <a:gd name="connsiteX97" fmla="*/ 14298 w 1200744"/>
                  <a:gd name="connsiteY97" fmla="*/ 277353 h 1046508"/>
                  <a:gd name="connsiteX98" fmla="*/ 0 w 1200744"/>
                  <a:gd name="connsiteY98" fmla="*/ 242836 h 1046508"/>
                  <a:gd name="connsiteX99" fmla="*/ 14298 w 1200744"/>
                  <a:gd name="connsiteY99" fmla="*/ 208318 h 1046508"/>
                  <a:gd name="connsiteX100" fmla="*/ 48816 w 1200744"/>
                  <a:gd name="connsiteY100" fmla="*/ 194020 h 1046508"/>
                  <a:gd name="connsiteX101" fmla="*/ 58977 w 1200744"/>
                  <a:gd name="connsiteY101" fmla="*/ 194020 h 1046508"/>
                  <a:gd name="connsiteX102" fmla="*/ 58806 w 1200744"/>
                  <a:gd name="connsiteY102"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1157493 w 1200744"/>
                  <a:gd name="connsiteY48" fmla="*/ 347675 h 1046508"/>
                  <a:gd name="connsiteX49" fmla="*/ 1200471 w 1200744"/>
                  <a:gd name="connsiteY49" fmla="*/ 381525 h 1046508"/>
                  <a:gd name="connsiteX50" fmla="*/ 1200470 w 1200744"/>
                  <a:gd name="connsiteY50" fmla="*/ 381526 h 1046508"/>
                  <a:gd name="connsiteX51" fmla="*/ 1166620 w 1200744"/>
                  <a:gd name="connsiteY51" fmla="*/ 424503 h 1046508"/>
                  <a:gd name="connsiteX52" fmla="*/ 883444 w 1200744"/>
                  <a:gd name="connsiteY52" fmla="*/ 458146 h 1046508"/>
                  <a:gd name="connsiteX53" fmla="*/ 883444 w 1200744"/>
                  <a:gd name="connsiteY53" fmla="*/ 506141 h 1046508"/>
                  <a:gd name="connsiteX54" fmla="*/ 792956 w 1200744"/>
                  <a:gd name="connsiteY54" fmla="*/ 516892 h 1046508"/>
                  <a:gd name="connsiteX55" fmla="*/ 792956 w 1200744"/>
                  <a:gd name="connsiteY55" fmla="*/ 468897 h 1046508"/>
                  <a:gd name="connsiteX56" fmla="*/ 688181 w 1200744"/>
                  <a:gd name="connsiteY56" fmla="*/ 481345 h 1046508"/>
                  <a:gd name="connsiteX57" fmla="*/ 688181 w 1200744"/>
                  <a:gd name="connsiteY57" fmla="*/ 529340 h 1046508"/>
                  <a:gd name="connsiteX58" fmla="*/ 418176 w 1200744"/>
                  <a:gd name="connsiteY58" fmla="*/ 561418 h 1046508"/>
                  <a:gd name="connsiteX59" fmla="*/ 392350 w 1200744"/>
                  <a:gd name="connsiteY59" fmla="*/ 575897 h 1046508"/>
                  <a:gd name="connsiteX60" fmla="*/ 384326 w 1200744"/>
                  <a:gd name="connsiteY60" fmla="*/ 604396 h 1046508"/>
                  <a:gd name="connsiteX61" fmla="*/ 398804 w 1200744"/>
                  <a:gd name="connsiteY61" fmla="*/ 630221 h 1046508"/>
                  <a:gd name="connsiteX62" fmla="*/ 427304 w 1200744"/>
                  <a:gd name="connsiteY62" fmla="*/ 638245 h 1046508"/>
                  <a:gd name="connsiteX63" fmla="*/ 1104900 w 1200744"/>
                  <a:gd name="connsiteY63" fmla="*/ 557742 h 1046508"/>
                  <a:gd name="connsiteX64" fmla="*/ 1104900 w 1200744"/>
                  <a:gd name="connsiteY64" fmla="*/ 558713 h 1046508"/>
                  <a:gd name="connsiteX65" fmla="*/ 1157491 w 1200744"/>
                  <a:gd name="connsiteY65" fmla="*/ 552464 h 1046508"/>
                  <a:gd name="connsiteX66" fmla="*/ 1200469 w 1200744"/>
                  <a:gd name="connsiteY66" fmla="*/ 586314 h 1046508"/>
                  <a:gd name="connsiteX67" fmla="*/ 1200468 w 1200744"/>
                  <a:gd name="connsiteY67" fmla="*/ 586314 h 1046508"/>
                  <a:gd name="connsiteX68" fmla="*/ 1166618 w 1200744"/>
                  <a:gd name="connsiteY68" fmla="*/ 629292 h 1046508"/>
                  <a:gd name="connsiteX69" fmla="*/ 1104900 w 1200744"/>
                  <a:gd name="connsiteY69" fmla="*/ 636624 h 1046508"/>
                  <a:gd name="connsiteX70" fmla="*/ 1104900 w 1200744"/>
                  <a:gd name="connsiteY70" fmla="*/ 817908 h 1046508"/>
                  <a:gd name="connsiteX71" fmla="*/ 971550 w 1200744"/>
                  <a:gd name="connsiteY71" fmla="*/ 946496 h 1046508"/>
                  <a:gd name="connsiteX72" fmla="*/ 752889 w 1200744"/>
                  <a:gd name="connsiteY72" fmla="*/ 946496 h 1046508"/>
                  <a:gd name="connsiteX73" fmla="*/ 749140 w 1200744"/>
                  <a:gd name="connsiteY73" fmla="*/ 965065 h 1046508"/>
                  <a:gd name="connsiteX74" fmla="*/ 626271 w 1200744"/>
                  <a:gd name="connsiteY74" fmla="*/ 1046508 h 1046508"/>
                  <a:gd name="connsiteX75" fmla="*/ 533770 w 1200744"/>
                  <a:gd name="connsiteY75" fmla="*/ 1046508 h 1046508"/>
                  <a:gd name="connsiteX76" fmla="*/ 410901 w 1200744"/>
                  <a:gd name="connsiteY76" fmla="*/ 965065 h 1046508"/>
                  <a:gd name="connsiteX77" fmla="*/ 407153 w 1200744"/>
                  <a:gd name="connsiteY77" fmla="*/ 946496 h 1046508"/>
                  <a:gd name="connsiteX78" fmla="*/ 190500 w 1200744"/>
                  <a:gd name="connsiteY78" fmla="*/ 946496 h 1046508"/>
                  <a:gd name="connsiteX79" fmla="*/ 59532 w 1200744"/>
                  <a:gd name="connsiteY79" fmla="*/ 825052 h 1046508"/>
                  <a:gd name="connsiteX80" fmla="*/ 59432 w 1200744"/>
                  <a:gd name="connsiteY80" fmla="*/ 710643 h 1046508"/>
                  <a:gd name="connsiteX81" fmla="*/ 48816 w 1200744"/>
                  <a:gd name="connsiteY81" fmla="*/ 710643 h 1046508"/>
                  <a:gd name="connsiteX82" fmla="*/ 14298 w 1200744"/>
                  <a:gd name="connsiteY82" fmla="*/ 696345 h 1046508"/>
                  <a:gd name="connsiteX83" fmla="*/ 0 w 1200744"/>
                  <a:gd name="connsiteY83" fmla="*/ 661828 h 1046508"/>
                  <a:gd name="connsiteX84" fmla="*/ 14298 w 1200744"/>
                  <a:gd name="connsiteY84" fmla="*/ 627310 h 1046508"/>
                  <a:gd name="connsiteX85" fmla="*/ 48816 w 1200744"/>
                  <a:gd name="connsiteY85" fmla="*/ 613012 h 1046508"/>
                  <a:gd name="connsiteX86" fmla="*/ 59346 w 1200744"/>
                  <a:gd name="connsiteY86" fmla="*/ 613012 h 1046508"/>
                  <a:gd name="connsiteX87" fmla="*/ 59247 w 1200744"/>
                  <a:gd name="connsiteY87" fmla="*/ 501147 h 1046508"/>
                  <a:gd name="connsiteX88" fmla="*/ 48816 w 1200744"/>
                  <a:gd name="connsiteY88" fmla="*/ 501147 h 1046508"/>
                  <a:gd name="connsiteX89" fmla="*/ 14298 w 1200744"/>
                  <a:gd name="connsiteY89" fmla="*/ 486849 h 1046508"/>
                  <a:gd name="connsiteX90" fmla="*/ 0 w 1200744"/>
                  <a:gd name="connsiteY90" fmla="*/ 452332 h 1046508"/>
                  <a:gd name="connsiteX91" fmla="*/ 14298 w 1200744"/>
                  <a:gd name="connsiteY91" fmla="*/ 417814 h 1046508"/>
                  <a:gd name="connsiteX92" fmla="*/ 48816 w 1200744"/>
                  <a:gd name="connsiteY92" fmla="*/ 403516 h 1046508"/>
                  <a:gd name="connsiteX93" fmla="*/ 59161 w 1200744"/>
                  <a:gd name="connsiteY93" fmla="*/ 403516 h 1046508"/>
                  <a:gd name="connsiteX94" fmla="*/ 59063 w 1200744"/>
                  <a:gd name="connsiteY94" fmla="*/ 291651 h 1046508"/>
                  <a:gd name="connsiteX95" fmla="*/ 48816 w 1200744"/>
                  <a:gd name="connsiteY95" fmla="*/ 291651 h 1046508"/>
                  <a:gd name="connsiteX96" fmla="*/ 14298 w 1200744"/>
                  <a:gd name="connsiteY96" fmla="*/ 277353 h 1046508"/>
                  <a:gd name="connsiteX97" fmla="*/ 0 w 1200744"/>
                  <a:gd name="connsiteY97" fmla="*/ 242836 h 1046508"/>
                  <a:gd name="connsiteX98" fmla="*/ 14298 w 1200744"/>
                  <a:gd name="connsiteY98" fmla="*/ 208318 h 1046508"/>
                  <a:gd name="connsiteX99" fmla="*/ 48816 w 1200744"/>
                  <a:gd name="connsiteY99" fmla="*/ 194020 h 1046508"/>
                  <a:gd name="connsiteX100" fmla="*/ 58977 w 1200744"/>
                  <a:gd name="connsiteY100" fmla="*/ 194020 h 1046508"/>
                  <a:gd name="connsiteX101" fmla="*/ 58806 w 1200744"/>
                  <a:gd name="connsiteY101"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1157493 w 1200744"/>
                  <a:gd name="connsiteY47" fmla="*/ 347675 h 1046508"/>
                  <a:gd name="connsiteX48" fmla="*/ 1200471 w 1200744"/>
                  <a:gd name="connsiteY48" fmla="*/ 381525 h 1046508"/>
                  <a:gd name="connsiteX49" fmla="*/ 1200470 w 1200744"/>
                  <a:gd name="connsiteY49" fmla="*/ 381526 h 1046508"/>
                  <a:gd name="connsiteX50" fmla="*/ 1166620 w 1200744"/>
                  <a:gd name="connsiteY50" fmla="*/ 424503 h 1046508"/>
                  <a:gd name="connsiteX51" fmla="*/ 883444 w 1200744"/>
                  <a:gd name="connsiteY51" fmla="*/ 458146 h 1046508"/>
                  <a:gd name="connsiteX52" fmla="*/ 883444 w 1200744"/>
                  <a:gd name="connsiteY52" fmla="*/ 506141 h 1046508"/>
                  <a:gd name="connsiteX53" fmla="*/ 792956 w 1200744"/>
                  <a:gd name="connsiteY53" fmla="*/ 516892 h 1046508"/>
                  <a:gd name="connsiteX54" fmla="*/ 792956 w 1200744"/>
                  <a:gd name="connsiteY54" fmla="*/ 468897 h 1046508"/>
                  <a:gd name="connsiteX55" fmla="*/ 688181 w 1200744"/>
                  <a:gd name="connsiteY55" fmla="*/ 481345 h 1046508"/>
                  <a:gd name="connsiteX56" fmla="*/ 688181 w 1200744"/>
                  <a:gd name="connsiteY56" fmla="*/ 529340 h 1046508"/>
                  <a:gd name="connsiteX57" fmla="*/ 418176 w 1200744"/>
                  <a:gd name="connsiteY57" fmla="*/ 561418 h 1046508"/>
                  <a:gd name="connsiteX58" fmla="*/ 392350 w 1200744"/>
                  <a:gd name="connsiteY58" fmla="*/ 575897 h 1046508"/>
                  <a:gd name="connsiteX59" fmla="*/ 384326 w 1200744"/>
                  <a:gd name="connsiteY59" fmla="*/ 604396 h 1046508"/>
                  <a:gd name="connsiteX60" fmla="*/ 398804 w 1200744"/>
                  <a:gd name="connsiteY60" fmla="*/ 630221 h 1046508"/>
                  <a:gd name="connsiteX61" fmla="*/ 427304 w 1200744"/>
                  <a:gd name="connsiteY61" fmla="*/ 638245 h 1046508"/>
                  <a:gd name="connsiteX62" fmla="*/ 1104900 w 1200744"/>
                  <a:gd name="connsiteY62" fmla="*/ 557742 h 1046508"/>
                  <a:gd name="connsiteX63" fmla="*/ 1104900 w 1200744"/>
                  <a:gd name="connsiteY63" fmla="*/ 558713 h 1046508"/>
                  <a:gd name="connsiteX64" fmla="*/ 1157491 w 1200744"/>
                  <a:gd name="connsiteY64" fmla="*/ 552464 h 1046508"/>
                  <a:gd name="connsiteX65" fmla="*/ 1200469 w 1200744"/>
                  <a:gd name="connsiteY65" fmla="*/ 586314 h 1046508"/>
                  <a:gd name="connsiteX66" fmla="*/ 1200468 w 1200744"/>
                  <a:gd name="connsiteY66" fmla="*/ 586314 h 1046508"/>
                  <a:gd name="connsiteX67" fmla="*/ 1166618 w 1200744"/>
                  <a:gd name="connsiteY67" fmla="*/ 629292 h 1046508"/>
                  <a:gd name="connsiteX68" fmla="*/ 1104900 w 1200744"/>
                  <a:gd name="connsiteY68" fmla="*/ 636624 h 1046508"/>
                  <a:gd name="connsiteX69" fmla="*/ 1104900 w 1200744"/>
                  <a:gd name="connsiteY69" fmla="*/ 817908 h 1046508"/>
                  <a:gd name="connsiteX70" fmla="*/ 971550 w 1200744"/>
                  <a:gd name="connsiteY70" fmla="*/ 946496 h 1046508"/>
                  <a:gd name="connsiteX71" fmla="*/ 752889 w 1200744"/>
                  <a:gd name="connsiteY71" fmla="*/ 946496 h 1046508"/>
                  <a:gd name="connsiteX72" fmla="*/ 749140 w 1200744"/>
                  <a:gd name="connsiteY72" fmla="*/ 965065 h 1046508"/>
                  <a:gd name="connsiteX73" fmla="*/ 626271 w 1200744"/>
                  <a:gd name="connsiteY73" fmla="*/ 1046508 h 1046508"/>
                  <a:gd name="connsiteX74" fmla="*/ 533770 w 1200744"/>
                  <a:gd name="connsiteY74" fmla="*/ 1046508 h 1046508"/>
                  <a:gd name="connsiteX75" fmla="*/ 410901 w 1200744"/>
                  <a:gd name="connsiteY75" fmla="*/ 965065 h 1046508"/>
                  <a:gd name="connsiteX76" fmla="*/ 407153 w 1200744"/>
                  <a:gd name="connsiteY76" fmla="*/ 946496 h 1046508"/>
                  <a:gd name="connsiteX77" fmla="*/ 190500 w 1200744"/>
                  <a:gd name="connsiteY77" fmla="*/ 946496 h 1046508"/>
                  <a:gd name="connsiteX78" fmla="*/ 59532 w 1200744"/>
                  <a:gd name="connsiteY78" fmla="*/ 825052 h 1046508"/>
                  <a:gd name="connsiteX79" fmla="*/ 59432 w 1200744"/>
                  <a:gd name="connsiteY79" fmla="*/ 710643 h 1046508"/>
                  <a:gd name="connsiteX80" fmla="*/ 48816 w 1200744"/>
                  <a:gd name="connsiteY80" fmla="*/ 710643 h 1046508"/>
                  <a:gd name="connsiteX81" fmla="*/ 14298 w 1200744"/>
                  <a:gd name="connsiteY81" fmla="*/ 696345 h 1046508"/>
                  <a:gd name="connsiteX82" fmla="*/ 0 w 1200744"/>
                  <a:gd name="connsiteY82" fmla="*/ 661828 h 1046508"/>
                  <a:gd name="connsiteX83" fmla="*/ 14298 w 1200744"/>
                  <a:gd name="connsiteY83" fmla="*/ 627310 h 1046508"/>
                  <a:gd name="connsiteX84" fmla="*/ 48816 w 1200744"/>
                  <a:gd name="connsiteY84" fmla="*/ 613012 h 1046508"/>
                  <a:gd name="connsiteX85" fmla="*/ 59346 w 1200744"/>
                  <a:gd name="connsiteY85" fmla="*/ 613012 h 1046508"/>
                  <a:gd name="connsiteX86" fmla="*/ 59247 w 1200744"/>
                  <a:gd name="connsiteY86" fmla="*/ 501147 h 1046508"/>
                  <a:gd name="connsiteX87" fmla="*/ 48816 w 1200744"/>
                  <a:gd name="connsiteY87" fmla="*/ 501147 h 1046508"/>
                  <a:gd name="connsiteX88" fmla="*/ 14298 w 1200744"/>
                  <a:gd name="connsiteY88" fmla="*/ 486849 h 1046508"/>
                  <a:gd name="connsiteX89" fmla="*/ 0 w 1200744"/>
                  <a:gd name="connsiteY89" fmla="*/ 452332 h 1046508"/>
                  <a:gd name="connsiteX90" fmla="*/ 14298 w 1200744"/>
                  <a:gd name="connsiteY90" fmla="*/ 417814 h 1046508"/>
                  <a:gd name="connsiteX91" fmla="*/ 48816 w 1200744"/>
                  <a:gd name="connsiteY91" fmla="*/ 403516 h 1046508"/>
                  <a:gd name="connsiteX92" fmla="*/ 59161 w 1200744"/>
                  <a:gd name="connsiteY92" fmla="*/ 403516 h 1046508"/>
                  <a:gd name="connsiteX93" fmla="*/ 59063 w 1200744"/>
                  <a:gd name="connsiteY93" fmla="*/ 291651 h 1046508"/>
                  <a:gd name="connsiteX94" fmla="*/ 48816 w 1200744"/>
                  <a:gd name="connsiteY94" fmla="*/ 291651 h 1046508"/>
                  <a:gd name="connsiteX95" fmla="*/ 14298 w 1200744"/>
                  <a:gd name="connsiteY95" fmla="*/ 277353 h 1046508"/>
                  <a:gd name="connsiteX96" fmla="*/ 0 w 1200744"/>
                  <a:gd name="connsiteY96" fmla="*/ 242836 h 1046508"/>
                  <a:gd name="connsiteX97" fmla="*/ 14298 w 1200744"/>
                  <a:gd name="connsiteY97" fmla="*/ 208318 h 1046508"/>
                  <a:gd name="connsiteX98" fmla="*/ 48816 w 1200744"/>
                  <a:gd name="connsiteY98" fmla="*/ 194020 h 1046508"/>
                  <a:gd name="connsiteX99" fmla="*/ 58977 w 1200744"/>
                  <a:gd name="connsiteY99" fmla="*/ 194020 h 1046508"/>
                  <a:gd name="connsiteX100" fmla="*/ 58806 w 1200744"/>
                  <a:gd name="connsiteY100"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1157493 w 1200744"/>
                  <a:gd name="connsiteY46" fmla="*/ 347675 h 1046508"/>
                  <a:gd name="connsiteX47" fmla="*/ 1200471 w 1200744"/>
                  <a:gd name="connsiteY47" fmla="*/ 381525 h 1046508"/>
                  <a:gd name="connsiteX48" fmla="*/ 1200470 w 1200744"/>
                  <a:gd name="connsiteY48" fmla="*/ 381526 h 1046508"/>
                  <a:gd name="connsiteX49" fmla="*/ 1166620 w 1200744"/>
                  <a:gd name="connsiteY49" fmla="*/ 424503 h 1046508"/>
                  <a:gd name="connsiteX50" fmla="*/ 883444 w 1200744"/>
                  <a:gd name="connsiteY50" fmla="*/ 458146 h 1046508"/>
                  <a:gd name="connsiteX51" fmla="*/ 883444 w 1200744"/>
                  <a:gd name="connsiteY51" fmla="*/ 506141 h 1046508"/>
                  <a:gd name="connsiteX52" fmla="*/ 792956 w 1200744"/>
                  <a:gd name="connsiteY52" fmla="*/ 516892 h 1046508"/>
                  <a:gd name="connsiteX53" fmla="*/ 792956 w 1200744"/>
                  <a:gd name="connsiteY53" fmla="*/ 468897 h 1046508"/>
                  <a:gd name="connsiteX54" fmla="*/ 688181 w 1200744"/>
                  <a:gd name="connsiteY54" fmla="*/ 481345 h 1046508"/>
                  <a:gd name="connsiteX55" fmla="*/ 688181 w 1200744"/>
                  <a:gd name="connsiteY55" fmla="*/ 529340 h 1046508"/>
                  <a:gd name="connsiteX56" fmla="*/ 418176 w 1200744"/>
                  <a:gd name="connsiteY56" fmla="*/ 561418 h 1046508"/>
                  <a:gd name="connsiteX57" fmla="*/ 392350 w 1200744"/>
                  <a:gd name="connsiteY57" fmla="*/ 575897 h 1046508"/>
                  <a:gd name="connsiteX58" fmla="*/ 384326 w 1200744"/>
                  <a:gd name="connsiteY58" fmla="*/ 604396 h 1046508"/>
                  <a:gd name="connsiteX59" fmla="*/ 398804 w 1200744"/>
                  <a:gd name="connsiteY59" fmla="*/ 630221 h 1046508"/>
                  <a:gd name="connsiteX60" fmla="*/ 427304 w 1200744"/>
                  <a:gd name="connsiteY60" fmla="*/ 638245 h 1046508"/>
                  <a:gd name="connsiteX61" fmla="*/ 1104900 w 1200744"/>
                  <a:gd name="connsiteY61" fmla="*/ 557742 h 1046508"/>
                  <a:gd name="connsiteX62" fmla="*/ 1104900 w 1200744"/>
                  <a:gd name="connsiteY62" fmla="*/ 558713 h 1046508"/>
                  <a:gd name="connsiteX63" fmla="*/ 1157491 w 1200744"/>
                  <a:gd name="connsiteY63" fmla="*/ 552464 h 1046508"/>
                  <a:gd name="connsiteX64" fmla="*/ 1200469 w 1200744"/>
                  <a:gd name="connsiteY64" fmla="*/ 586314 h 1046508"/>
                  <a:gd name="connsiteX65" fmla="*/ 1200468 w 1200744"/>
                  <a:gd name="connsiteY65" fmla="*/ 586314 h 1046508"/>
                  <a:gd name="connsiteX66" fmla="*/ 1166618 w 1200744"/>
                  <a:gd name="connsiteY66" fmla="*/ 629292 h 1046508"/>
                  <a:gd name="connsiteX67" fmla="*/ 1104900 w 1200744"/>
                  <a:gd name="connsiteY67" fmla="*/ 636624 h 1046508"/>
                  <a:gd name="connsiteX68" fmla="*/ 1104900 w 1200744"/>
                  <a:gd name="connsiteY68" fmla="*/ 817908 h 1046508"/>
                  <a:gd name="connsiteX69" fmla="*/ 971550 w 1200744"/>
                  <a:gd name="connsiteY69" fmla="*/ 946496 h 1046508"/>
                  <a:gd name="connsiteX70" fmla="*/ 752889 w 1200744"/>
                  <a:gd name="connsiteY70" fmla="*/ 946496 h 1046508"/>
                  <a:gd name="connsiteX71" fmla="*/ 749140 w 1200744"/>
                  <a:gd name="connsiteY71" fmla="*/ 965065 h 1046508"/>
                  <a:gd name="connsiteX72" fmla="*/ 626271 w 1200744"/>
                  <a:gd name="connsiteY72" fmla="*/ 1046508 h 1046508"/>
                  <a:gd name="connsiteX73" fmla="*/ 533770 w 1200744"/>
                  <a:gd name="connsiteY73" fmla="*/ 1046508 h 1046508"/>
                  <a:gd name="connsiteX74" fmla="*/ 410901 w 1200744"/>
                  <a:gd name="connsiteY74" fmla="*/ 965065 h 1046508"/>
                  <a:gd name="connsiteX75" fmla="*/ 407153 w 1200744"/>
                  <a:gd name="connsiteY75" fmla="*/ 946496 h 1046508"/>
                  <a:gd name="connsiteX76" fmla="*/ 190500 w 1200744"/>
                  <a:gd name="connsiteY76" fmla="*/ 946496 h 1046508"/>
                  <a:gd name="connsiteX77" fmla="*/ 59532 w 1200744"/>
                  <a:gd name="connsiteY77" fmla="*/ 825052 h 1046508"/>
                  <a:gd name="connsiteX78" fmla="*/ 59432 w 1200744"/>
                  <a:gd name="connsiteY78" fmla="*/ 710643 h 1046508"/>
                  <a:gd name="connsiteX79" fmla="*/ 48816 w 1200744"/>
                  <a:gd name="connsiteY79" fmla="*/ 710643 h 1046508"/>
                  <a:gd name="connsiteX80" fmla="*/ 14298 w 1200744"/>
                  <a:gd name="connsiteY80" fmla="*/ 696345 h 1046508"/>
                  <a:gd name="connsiteX81" fmla="*/ 0 w 1200744"/>
                  <a:gd name="connsiteY81" fmla="*/ 661828 h 1046508"/>
                  <a:gd name="connsiteX82" fmla="*/ 14298 w 1200744"/>
                  <a:gd name="connsiteY82" fmla="*/ 627310 h 1046508"/>
                  <a:gd name="connsiteX83" fmla="*/ 48816 w 1200744"/>
                  <a:gd name="connsiteY83" fmla="*/ 613012 h 1046508"/>
                  <a:gd name="connsiteX84" fmla="*/ 59346 w 1200744"/>
                  <a:gd name="connsiteY84" fmla="*/ 613012 h 1046508"/>
                  <a:gd name="connsiteX85" fmla="*/ 59247 w 1200744"/>
                  <a:gd name="connsiteY85" fmla="*/ 501147 h 1046508"/>
                  <a:gd name="connsiteX86" fmla="*/ 48816 w 1200744"/>
                  <a:gd name="connsiteY86" fmla="*/ 501147 h 1046508"/>
                  <a:gd name="connsiteX87" fmla="*/ 14298 w 1200744"/>
                  <a:gd name="connsiteY87" fmla="*/ 486849 h 1046508"/>
                  <a:gd name="connsiteX88" fmla="*/ 0 w 1200744"/>
                  <a:gd name="connsiteY88" fmla="*/ 452332 h 1046508"/>
                  <a:gd name="connsiteX89" fmla="*/ 14298 w 1200744"/>
                  <a:gd name="connsiteY89" fmla="*/ 417814 h 1046508"/>
                  <a:gd name="connsiteX90" fmla="*/ 48816 w 1200744"/>
                  <a:gd name="connsiteY90" fmla="*/ 403516 h 1046508"/>
                  <a:gd name="connsiteX91" fmla="*/ 59161 w 1200744"/>
                  <a:gd name="connsiteY91" fmla="*/ 403516 h 1046508"/>
                  <a:gd name="connsiteX92" fmla="*/ 59063 w 1200744"/>
                  <a:gd name="connsiteY92" fmla="*/ 291651 h 1046508"/>
                  <a:gd name="connsiteX93" fmla="*/ 48816 w 1200744"/>
                  <a:gd name="connsiteY93" fmla="*/ 291651 h 1046508"/>
                  <a:gd name="connsiteX94" fmla="*/ 14298 w 1200744"/>
                  <a:gd name="connsiteY94" fmla="*/ 277353 h 1046508"/>
                  <a:gd name="connsiteX95" fmla="*/ 0 w 1200744"/>
                  <a:gd name="connsiteY95" fmla="*/ 242836 h 1046508"/>
                  <a:gd name="connsiteX96" fmla="*/ 14298 w 1200744"/>
                  <a:gd name="connsiteY96" fmla="*/ 208318 h 1046508"/>
                  <a:gd name="connsiteX97" fmla="*/ 48816 w 1200744"/>
                  <a:gd name="connsiteY97" fmla="*/ 194020 h 1046508"/>
                  <a:gd name="connsiteX98" fmla="*/ 58977 w 1200744"/>
                  <a:gd name="connsiteY98" fmla="*/ 194020 h 1046508"/>
                  <a:gd name="connsiteX99" fmla="*/ 58806 w 1200744"/>
                  <a:gd name="connsiteY99"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83444 w 1200744"/>
                  <a:gd name="connsiteY34" fmla="*/ 235459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1157493 w 1200744"/>
                  <a:gd name="connsiteY45" fmla="*/ 347675 h 1046508"/>
                  <a:gd name="connsiteX46" fmla="*/ 1200471 w 1200744"/>
                  <a:gd name="connsiteY46" fmla="*/ 381525 h 1046508"/>
                  <a:gd name="connsiteX47" fmla="*/ 1200470 w 1200744"/>
                  <a:gd name="connsiteY47" fmla="*/ 381526 h 1046508"/>
                  <a:gd name="connsiteX48" fmla="*/ 1166620 w 1200744"/>
                  <a:gd name="connsiteY48" fmla="*/ 424503 h 1046508"/>
                  <a:gd name="connsiteX49" fmla="*/ 883444 w 1200744"/>
                  <a:gd name="connsiteY49" fmla="*/ 458146 h 1046508"/>
                  <a:gd name="connsiteX50" fmla="*/ 883444 w 1200744"/>
                  <a:gd name="connsiteY50" fmla="*/ 506141 h 1046508"/>
                  <a:gd name="connsiteX51" fmla="*/ 792956 w 1200744"/>
                  <a:gd name="connsiteY51" fmla="*/ 516892 h 1046508"/>
                  <a:gd name="connsiteX52" fmla="*/ 792956 w 1200744"/>
                  <a:gd name="connsiteY52" fmla="*/ 468897 h 1046508"/>
                  <a:gd name="connsiteX53" fmla="*/ 688181 w 1200744"/>
                  <a:gd name="connsiteY53" fmla="*/ 481345 h 1046508"/>
                  <a:gd name="connsiteX54" fmla="*/ 688181 w 1200744"/>
                  <a:gd name="connsiteY54" fmla="*/ 529340 h 1046508"/>
                  <a:gd name="connsiteX55" fmla="*/ 418176 w 1200744"/>
                  <a:gd name="connsiteY55" fmla="*/ 561418 h 1046508"/>
                  <a:gd name="connsiteX56" fmla="*/ 392350 w 1200744"/>
                  <a:gd name="connsiteY56" fmla="*/ 575897 h 1046508"/>
                  <a:gd name="connsiteX57" fmla="*/ 384326 w 1200744"/>
                  <a:gd name="connsiteY57" fmla="*/ 604396 h 1046508"/>
                  <a:gd name="connsiteX58" fmla="*/ 398804 w 1200744"/>
                  <a:gd name="connsiteY58" fmla="*/ 630221 h 1046508"/>
                  <a:gd name="connsiteX59" fmla="*/ 427304 w 1200744"/>
                  <a:gd name="connsiteY59" fmla="*/ 638245 h 1046508"/>
                  <a:gd name="connsiteX60" fmla="*/ 1104900 w 1200744"/>
                  <a:gd name="connsiteY60" fmla="*/ 557742 h 1046508"/>
                  <a:gd name="connsiteX61" fmla="*/ 1104900 w 1200744"/>
                  <a:gd name="connsiteY61" fmla="*/ 558713 h 1046508"/>
                  <a:gd name="connsiteX62" fmla="*/ 1157491 w 1200744"/>
                  <a:gd name="connsiteY62" fmla="*/ 552464 h 1046508"/>
                  <a:gd name="connsiteX63" fmla="*/ 1200469 w 1200744"/>
                  <a:gd name="connsiteY63" fmla="*/ 586314 h 1046508"/>
                  <a:gd name="connsiteX64" fmla="*/ 1200468 w 1200744"/>
                  <a:gd name="connsiteY64" fmla="*/ 586314 h 1046508"/>
                  <a:gd name="connsiteX65" fmla="*/ 1166618 w 1200744"/>
                  <a:gd name="connsiteY65" fmla="*/ 629292 h 1046508"/>
                  <a:gd name="connsiteX66" fmla="*/ 1104900 w 1200744"/>
                  <a:gd name="connsiteY66" fmla="*/ 636624 h 1046508"/>
                  <a:gd name="connsiteX67" fmla="*/ 1104900 w 1200744"/>
                  <a:gd name="connsiteY67" fmla="*/ 817908 h 1046508"/>
                  <a:gd name="connsiteX68" fmla="*/ 971550 w 1200744"/>
                  <a:gd name="connsiteY68" fmla="*/ 946496 h 1046508"/>
                  <a:gd name="connsiteX69" fmla="*/ 752889 w 1200744"/>
                  <a:gd name="connsiteY69" fmla="*/ 946496 h 1046508"/>
                  <a:gd name="connsiteX70" fmla="*/ 749140 w 1200744"/>
                  <a:gd name="connsiteY70" fmla="*/ 965065 h 1046508"/>
                  <a:gd name="connsiteX71" fmla="*/ 626271 w 1200744"/>
                  <a:gd name="connsiteY71" fmla="*/ 1046508 h 1046508"/>
                  <a:gd name="connsiteX72" fmla="*/ 533770 w 1200744"/>
                  <a:gd name="connsiteY72" fmla="*/ 1046508 h 1046508"/>
                  <a:gd name="connsiteX73" fmla="*/ 410901 w 1200744"/>
                  <a:gd name="connsiteY73" fmla="*/ 965065 h 1046508"/>
                  <a:gd name="connsiteX74" fmla="*/ 407153 w 1200744"/>
                  <a:gd name="connsiteY74" fmla="*/ 946496 h 1046508"/>
                  <a:gd name="connsiteX75" fmla="*/ 190500 w 1200744"/>
                  <a:gd name="connsiteY75" fmla="*/ 946496 h 1046508"/>
                  <a:gd name="connsiteX76" fmla="*/ 59532 w 1200744"/>
                  <a:gd name="connsiteY76" fmla="*/ 825052 h 1046508"/>
                  <a:gd name="connsiteX77" fmla="*/ 59432 w 1200744"/>
                  <a:gd name="connsiteY77" fmla="*/ 710643 h 1046508"/>
                  <a:gd name="connsiteX78" fmla="*/ 48816 w 1200744"/>
                  <a:gd name="connsiteY78" fmla="*/ 710643 h 1046508"/>
                  <a:gd name="connsiteX79" fmla="*/ 14298 w 1200744"/>
                  <a:gd name="connsiteY79" fmla="*/ 696345 h 1046508"/>
                  <a:gd name="connsiteX80" fmla="*/ 0 w 1200744"/>
                  <a:gd name="connsiteY80" fmla="*/ 661828 h 1046508"/>
                  <a:gd name="connsiteX81" fmla="*/ 14298 w 1200744"/>
                  <a:gd name="connsiteY81" fmla="*/ 627310 h 1046508"/>
                  <a:gd name="connsiteX82" fmla="*/ 48816 w 1200744"/>
                  <a:gd name="connsiteY82" fmla="*/ 613012 h 1046508"/>
                  <a:gd name="connsiteX83" fmla="*/ 59346 w 1200744"/>
                  <a:gd name="connsiteY83" fmla="*/ 613012 h 1046508"/>
                  <a:gd name="connsiteX84" fmla="*/ 59247 w 1200744"/>
                  <a:gd name="connsiteY84" fmla="*/ 501147 h 1046508"/>
                  <a:gd name="connsiteX85" fmla="*/ 48816 w 1200744"/>
                  <a:gd name="connsiteY85" fmla="*/ 501147 h 1046508"/>
                  <a:gd name="connsiteX86" fmla="*/ 14298 w 1200744"/>
                  <a:gd name="connsiteY86" fmla="*/ 486849 h 1046508"/>
                  <a:gd name="connsiteX87" fmla="*/ 0 w 1200744"/>
                  <a:gd name="connsiteY87" fmla="*/ 452332 h 1046508"/>
                  <a:gd name="connsiteX88" fmla="*/ 14298 w 1200744"/>
                  <a:gd name="connsiteY88" fmla="*/ 417814 h 1046508"/>
                  <a:gd name="connsiteX89" fmla="*/ 48816 w 1200744"/>
                  <a:gd name="connsiteY89" fmla="*/ 403516 h 1046508"/>
                  <a:gd name="connsiteX90" fmla="*/ 59161 w 1200744"/>
                  <a:gd name="connsiteY90" fmla="*/ 403516 h 1046508"/>
                  <a:gd name="connsiteX91" fmla="*/ 59063 w 1200744"/>
                  <a:gd name="connsiteY91" fmla="*/ 291651 h 1046508"/>
                  <a:gd name="connsiteX92" fmla="*/ 48816 w 1200744"/>
                  <a:gd name="connsiteY92" fmla="*/ 291651 h 1046508"/>
                  <a:gd name="connsiteX93" fmla="*/ 14298 w 1200744"/>
                  <a:gd name="connsiteY93" fmla="*/ 277353 h 1046508"/>
                  <a:gd name="connsiteX94" fmla="*/ 0 w 1200744"/>
                  <a:gd name="connsiteY94" fmla="*/ 242836 h 1046508"/>
                  <a:gd name="connsiteX95" fmla="*/ 14298 w 1200744"/>
                  <a:gd name="connsiteY95" fmla="*/ 208318 h 1046508"/>
                  <a:gd name="connsiteX96" fmla="*/ 48816 w 1200744"/>
                  <a:gd name="connsiteY96" fmla="*/ 194020 h 1046508"/>
                  <a:gd name="connsiteX97" fmla="*/ 58977 w 1200744"/>
                  <a:gd name="connsiteY97" fmla="*/ 194020 h 1046508"/>
                  <a:gd name="connsiteX98" fmla="*/ 58806 w 1200744"/>
                  <a:gd name="connsiteY98"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78682 w 1200744"/>
                  <a:gd name="connsiteY34" fmla="*/ 240221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1157493 w 1200744"/>
                  <a:gd name="connsiteY45" fmla="*/ 347675 h 1046508"/>
                  <a:gd name="connsiteX46" fmla="*/ 1200471 w 1200744"/>
                  <a:gd name="connsiteY46" fmla="*/ 381525 h 1046508"/>
                  <a:gd name="connsiteX47" fmla="*/ 1200470 w 1200744"/>
                  <a:gd name="connsiteY47" fmla="*/ 381526 h 1046508"/>
                  <a:gd name="connsiteX48" fmla="*/ 1166620 w 1200744"/>
                  <a:gd name="connsiteY48" fmla="*/ 424503 h 1046508"/>
                  <a:gd name="connsiteX49" fmla="*/ 883444 w 1200744"/>
                  <a:gd name="connsiteY49" fmla="*/ 458146 h 1046508"/>
                  <a:gd name="connsiteX50" fmla="*/ 883444 w 1200744"/>
                  <a:gd name="connsiteY50" fmla="*/ 506141 h 1046508"/>
                  <a:gd name="connsiteX51" fmla="*/ 792956 w 1200744"/>
                  <a:gd name="connsiteY51" fmla="*/ 516892 h 1046508"/>
                  <a:gd name="connsiteX52" fmla="*/ 792956 w 1200744"/>
                  <a:gd name="connsiteY52" fmla="*/ 468897 h 1046508"/>
                  <a:gd name="connsiteX53" fmla="*/ 688181 w 1200744"/>
                  <a:gd name="connsiteY53" fmla="*/ 481345 h 1046508"/>
                  <a:gd name="connsiteX54" fmla="*/ 688181 w 1200744"/>
                  <a:gd name="connsiteY54" fmla="*/ 529340 h 1046508"/>
                  <a:gd name="connsiteX55" fmla="*/ 418176 w 1200744"/>
                  <a:gd name="connsiteY55" fmla="*/ 561418 h 1046508"/>
                  <a:gd name="connsiteX56" fmla="*/ 392350 w 1200744"/>
                  <a:gd name="connsiteY56" fmla="*/ 575897 h 1046508"/>
                  <a:gd name="connsiteX57" fmla="*/ 384326 w 1200744"/>
                  <a:gd name="connsiteY57" fmla="*/ 604396 h 1046508"/>
                  <a:gd name="connsiteX58" fmla="*/ 398804 w 1200744"/>
                  <a:gd name="connsiteY58" fmla="*/ 630221 h 1046508"/>
                  <a:gd name="connsiteX59" fmla="*/ 427304 w 1200744"/>
                  <a:gd name="connsiteY59" fmla="*/ 638245 h 1046508"/>
                  <a:gd name="connsiteX60" fmla="*/ 1104900 w 1200744"/>
                  <a:gd name="connsiteY60" fmla="*/ 557742 h 1046508"/>
                  <a:gd name="connsiteX61" fmla="*/ 1104900 w 1200744"/>
                  <a:gd name="connsiteY61" fmla="*/ 558713 h 1046508"/>
                  <a:gd name="connsiteX62" fmla="*/ 1157491 w 1200744"/>
                  <a:gd name="connsiteY62" fmla="*/ 552464 h 1046508"/>
                  <a:gd name="connsiteX63" fmla="*/ 1200469 w 1200744"/>
                  <a:gd name="connsiteY63" fmla="*/ 586314 h 1046508"/>
                  <a:gd name="connsiteX64" fmla="*/ 1200468 w 1200744"/>
                  <a:gd name="connsiteY64" fmla="*/ 586314 h 1046508"/>
                  <a:gd name="connsiteX65" fmla="*/ 1166618 w 1200744"/>
                  <a:gd name="connsiteY65" fmla="*/ 629292 h 1046508"/>
                  <a:gd name="connsiteX66" fmla="*/ 1104900 w 1200744"/>
                  <a:gd name="connsiteY66" fmla="*/ 636624 h 1046508"/>
                  <a:gd name="connsiteX67" fmla="*/ 1104900 w 1200744"/>
                  <a:gd name="connsiteY67" fmla="*/ 817908 h 1046508"/>
                  <a:gd name="connsiteX68" fmla="*/ 971550 w 1200744"/>
                  <a:gd name="connsiteY68" fmla="*/ 946496 h 1046508"/>
                  <a:gd name="connsiteX69" fmla="*/ 752889 w 1200744"/>
                  <a:gd name="connsiteY69" fmla="*/ 946496 h 1046508"/>
                  <a:gd name="connsiteX70" fmla="*/ 749140 w 1200744"/>
                  <a:gd name="connsiteY70" fmla="*/ 965065 h 1046508"/>
                  <a:gd name="connsiteX71" fmla="*/ 626271 w 1200744"/>
                  <a:gd name="connsiteY71" fmla="*/ 1046508 h 1046508"/>
                  <a:gd name="connsiteX72" fmla="*/ 533770 w 1200744"/>
                  <a:gd name="connsiteY72" fmla="*/ 1046508 h 1046508"/>
                  <a:gd name="connsiteX73" fmla="*/ 410901 w 1200744"/>
                  <a:gd name="connsiteY73" fmla="*/ 965065 h 1046508"/>
                  <a:gd name="connsiteX74" fmla="*/ 407153 w 1200744"/>
                  <a:gd name="connsiteY74" fmla="*/ 946496 h 1046508"/>
                  <a:gd name="connsiteX75" fmla="*/ 190500 w 1200744"/>
                  <a:gd name="connsiteY75" fmla="*/ 946496 h 1046508"/>
                  <a:gd name="connsiteX76" fmla="*/ 59532 w 1200744"/>
                  <a:gd name="connsiteY76" fmla="*/ 825052 h 1046508"/>
                  <a:gd name="connsiteX77" fmla="*/ 59432 w 1200744"/>
                  <a:gd name="connsiteY77" fmla="*/ 710643 h 1046508"/>
                  <a:gd name="connsiteX78" fmla="*/ 48816 w 1200744"/>
                  <a:gd name="connsiteY78" fmla="*/ 710643 h 1046508"/>
                  <a:gd name="connsiteX79" fmla="*/ 14298 w 1200744"/>
                  <a:gd name="connsiteY79" fmla="*/ 696345 h 1046508"/>
                  <a:gd name="connsiteX80" fmla="*/ 0 w 1200744"/>
                  <a:gd name="connsiteY80" fmla="*/ 661828 h 1046508"/>
                  <a:gd name="connsiteX81" fmla="*/ 14298 w 1200744"/>
                  <a:gd name="connsiteY81" fmla="*/ 627310 h 1046508"/>
                  <a:gd name="connsiteX82" fmla="*/ 48816 w 1200744"/>
                  <a:gd name="connsiteY82" fmla="*/ 613012 h 1046508"/>
                  <a:gd name="connsiteX83" fmla="*/ 59346 w 1200744"/>
                  <a:gd name="connsiteY83" fmla="*/ 613012 h 1046508"/>
                  <a:gd name="connsiteX84" fmla="*/ 59247 w 1200744"/>
                  <a:gd name="connsiteY84" fmla="*/ 501147 h 1046508"/>
                  <a:gd name="connsiteX85" fmla="*/ 48816 w 1200744"/>
                  <a:gd name="connsiteY85" fmla="*/ 501147 h 1046508"/>
                  <a:gd name="connsiteX86" fmla="*/ 14298 w 1200744"/>
                  <a:gd name="connsiteY86" fmla="*/ 486849 h 1046508"/>
                  <a:gd name="connsiteX87" fmla="*/ 0 w 1200744"/>
                  <a:gd name="connsiteY87" fmla="*/ 452332 h 1046508"/>
                  <a:gd name="connsiteX88" fmla="*/ 14298 w 1200744"/>
                  <a:gd name="connsiteY88" fmla="*/ 417814 h 1046508"/>
                  <a:gd name="connsiteX89" fmla="*/ 48816 w 1200744"/>
                  <a:gd name="connsiteY89" fmla="*/ 403516 h 1046508"/>
                  <a:gd name="connsiteX90" fmla="*/ 59161 w 1200744"/>
                  <a:gd name="connsiteY90" fmla="*/ 403516 h 1046508"/>
                  <a:gd name="connsiteX91" fmla="*/ 59063 w 1200744"/>
                  <a:gd name="connsiteY91" fmla="*/ 291651 h 1046508"/>
                  <a:gd name="connsiteX92" fmla="*/ 48816 w 1200744"/>
                  <a:gd name="connsiteY92" fmla="*/ 291651 h 1046508"/>
                  <a:gd name="connsiteX93" fmla="*/ 14298 w 1200744"/>
                  <a:gd name="connsiteY93" fmla="*/ 277353 h 1046508"/>
                  <a:gd name="connsiteX94" fmla="*/ 0 w 1200744"/>
                  <a:gd name="connsiteY94" fmla="*/ 242836 h 1046508"/>
                  <a:gd name="connsiteX95" fmla="*/ 14298 w 1200744"/>
                  <a:gd name="connsiteY95" fmla="*/ 208318 h 1046508"/>
                  <a:gd name="connsiteX96" fmla="*/ 48816 w 1200744"/>
                  <a:gd name="connsiteY96" fmla="*/ 194020 h 1046508"/>
                  <a:gd name="connsiteX97" fmla="*/ 58977 w 1200744"/>
                  <a:gd name="connsiteY97" fmla="*/ 194020 h 1046508"/>
                  <a:gd name="connsiteX98" fmla="*/ 58806 w 1200744"/>
                  <a:gd name="connsiteY98" fmla="*/ 0 h 1046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200744" h="1046508">
                    <a:moveTo>
                      <a:pt x="269392" y="583922"/>
                    </a:moveTo>
                    <a:cubicBezTo>
                      <a:pt x="247034" y="583922"/>
                      <a:pt x="228910" y="602046"/>
                      <a:pt x="228910" y="624404"/>
                    </a:cubicBezTo>
                    <a:cubicBezTo>
                      <a:pt x="228910" y="646762"/>
                      <a:pt x="247034" y="664886"/>
                      <a:pt x="269392" y="664886"/>
                    </a:cubicBezTo>
                    <a:cubicBezTo>
                      <a:pt x="291750" y="664886"/>
                      <a:pt x="309874" y="646762"/>
                      <a:pt x="309874" y="624404"/>
                    </a:cubicBezTo>
                    <a:cubicBezTo>
                      <a:pt x="309874" y="602046"/>
                      <a:pt x="291750" y="583922"/>
                      <a:pt x="269392" y="583922"/>
                    </a:cubicBezTo>
                    <a:close/>
                    <a:moveTo>
                      <a:pt x="269392" y="373750"/>
                    </a:moveTo>
                    <a:cubicBezTo>
                      <a:pt x="247034" y="373750"/>
                      <a:pt x="228910" y="391874"/>
                      <a:pt x="228910" y="414232"/>
                    </a:cubicBezTo>
                    <a:cubicBezTo>
                      <a:pt x="228910" y="436590"/>
                      <a:pt x="247034" y="454714"/>
                      <a:pt x="269392" y="454714"/>
                    </a:cubicBezTo>
                    <a:cubicBezTo>
                      <a:pt x="291750" y="454714"/>
                      <a:pt x="309874" y="436590"/>
                      <a:pt x="309874" y="414232"/>
                    </a:cubicBezTo>
                    <a:cubicBezTo>
                      <a:pt x="309874" y="391874"/>
                      <a:pt x="291750" y="373750"/>
                      <a:pt x="269392" y="373750"/>
                    </a:cubicBezTo>
                    <a:close/>
                    <a:moveTo>
                      <a:pt x="269392" y="163063"/>
                    </a:moveTo>
                    <a:cubicBezTo>
                      <a:pt x="247034" y="163063"/>
                      <a:pt x="228910" y="181187"/>
                      <a:pt x="228910" y="203545"/>
                    </a:cubicBezTo>
                    <a:cubicBezTo>
                      <a:pt x="228910" y="225903"/>
                      <a:pt x="247034" y="244027"/>
                      <a:pt x="269392" y="244027"/>
                    </a:cubicBezTo>
                    <a:cubicBezTo>
                      <a:pt x="291750" y="244027"/>
                      <a:pt x="309874" y="225903"/>
                      <a:pt x="309874" y="203545"/>
                    </a:cubicBezTo>
                    <a:cubicBezTo>
                      <a:pt x="309874" y="181187"/>
                      <a:pt x="291750" y="163063"/>
                      <a:pt x="269392" y="163063"/>
                    </a:cubicBezTo>
                    <a:close/>
                    <a:moveTo>
                      <a:pt x="797719" y="0"/>
                    </a:moveTo>
                    <a:lnTo>
                      <a:pt x="883444" y="0"/>
                    </a:lnTo>
                    <a:lnTo>
                      <a:pt x="883444" y="79897"/>
                    </a:lnTo>
                    <a:lnTo>
                      <a:pt x="797719" y="90082"/>
                    </a:lnTo>
                    <a:lnTo>
                      <a:pt x="797719" y="0"/>
                    </a:lnTo>
                    <a:close/>
                    <a:moveTo>
                      <a:pt x="58806" y="0"/>
                    </a:moveTo>
                    <a:lnTo>
                      <a:pt x="692944" y="0"/>
                    </a:lnTo>
                    <a:lnTo>
                      <a:pt x="692944" y="102530"/>
                    </a:lnTo>
                    <a:lnTo>
                      <a:pt x="418176" y="135174"/>
                    </a:lnTo>
                    <a:cubicBezTo>
                      <a:pt x="407569" y="136435"/>
                      <a:pt x="398476" y="141875"/>
                      <a:pt x="392350" y="149653"/>
                    </a:cubicBezTo>
                    <a:lnTo>
                      <a:pt x="384326" y="178152"/>
                    </a:lnTo>
                    <a:lnTo>
                      <a:pt x="398804" y="203977"/>
                    </a:lnTo>
                    <a:cubicBezTo>
                      <a:pt x="406582" y="210103"/>
                      <a:pt x="416696" y="213262"/>
                      <a:pt x="427304" y="212001"/>
                    </a:cubicBezTo>
                    <a:lnTo>
                      <a:pt x="1104900" y="131498"/>
                    </a:lnTo>
                    <a:lnTo>
                      <a:pt x="1104900" y="134851"/>
                    </a:lnTo>
                    <a:lnTo>
                      <a:pt x="1157493" y="128603"/>
                    </a:lnTo>
                    <a:cubicBezTo>
                      <a:pt x="1178709" y="126082"/>
                      <a:pt x="1197951" y="141237"/>
                      <a:pt x="1200471" y="162453"/>
                    </a:cubicBezTo>
                    <a:lnTo>
                      <a:pt x="1200470" y="162453"/>
                    </a:lnTo>
                    <a:cubicBezTo>
                      <a:pt x="1202991" y="183669"/>
                      <a:pt x="1187836" y="202910"/>
                      <a:pt x="1166620" y="205431"/>
                    </a:cubicBezTo>
                    <a:lnTo>
                      <a:pt x="878682" y="240221"/>
                    </a:lnTo>
                    <a:lnTo>
                      <a:pt x="883444" y="298972"/>
                    </a:lnTo>
                    <a:lnTo>
                      <a:pt x="792956" y="309723"/>
                    </a:lnTo>
                    <a:lnTo>
                      <a:pt x="792956" y="265459"/>
                    </a:lnTo>
                    <a:lnTo>
                      <a:pt x="688181" y="265459"/>
                    </a:lnTo>
                    <a:lnTo>
                      <a:pt x="688181" y="322171"/>
                    </a:lnTo>
                    <a:lnTo>
                      <a:pt x="418176" y="354249"/>
                    </a:lnTo>
                    <a:cubicBezTo>
                      <a:pt x="407569" y="355510"/>
                      <a:pt x="398476" y="360950"/>
                      <a:pt x="392350" y="368728"/>
                    </a:cubicBezTo>
                    <a:lnTo>
                      <a:pt x="384326" y="397227"/>
                    </a:lnTo>
                    <a:lnTo>
                      <a:pt x="398804" y="423052"/>
                    </a:lnTo>
                    <a:cubicBezTo>
                      <a:pt x="406582" y="429178"/>
                      <a:pt x="416696" y="432337"/>
                      <a:pt x="427304" y="431076"/>
                    </a:cubicBezTo>
                    <a:lnTo>
                      <a:pt x="1157493" y="347675"/>
                    </a:lnTo>
                    <a:cubicBezTo>
                      <a:pt x="1178709" y="345155"/>
                      <a:pt x="1197950" y="360310"/>
                      <a:pt x="1200471" y="381525"/>
                    </a:cubicBezTo>
                    <a:lnTo>
                      <a:pt x="1200470" y="381526"/>
                    </a:lnTo>
                    <a:cubicBezTo>
                      <a:pt x="1202991" y="402741"/>
                      <a:pt x="1187836" y="421983"/>
                      <a:pt x="1166620" y="424503"/>
                    </a:cubicBezTo>
                    <a:lnTo>
                      <a:pt x="883444" y="458146"/>
                    </a:lnTo>
                    <a:lnTo>
                      <a:pt x="883444" y="506141"/>
                    </a:lnTo>
                    <a:lnTo>
                      <a:pt x="792956" y="516892"/>
                    </a:lnTo>
                    <a:lnTo>
                      <a:pt x="792956" y="468897"/>
                    </a:lnTo>
                    <a:lnTo>
                      <a:pt x="688181" y="481345"/>
                    </a:lnTo>
                    <a:lnTo>
                      <a:pt x="688181" y="529340"/>
                    </a:lnTo>
                    <a:lnTo>
                      <a:pt x="418176" y="561418"/>
                    </a:lnTo>
                    <a:cubicBezTo>
                      <a:pt x="407569" y="562679"/>
                      <a:pt x="398476" y="568119"/>
                      <a:pt x="392350" y="575897"/>
                    </a:cubicBezTo>
                    <a:lnTo>
                      <a:pt x="384326" y="604396"/>
                    </a:lnTo>
                    <a:lnTo>
                      <a:pt x="398804" y="630221"/>
                    </a:lnTo>
                    <a:cubicBezTo>
                      <a:pt x="406582" y="636347"/>
                      <a:pt x="416696" y="639506"/>
                      <a:pt x="427304" y="638245"/>
                    </a:cubicBezTo>
                    <a:lnTo>
                      <a:pt x="1104900" y="557742"/>
                    </a:lnTo>
                    <a:lnTo>
                      <a:pt x="1104900" y="558713"/>
                    </a:lnTo>
                    <a:lnTo>
                      <a:pt x="1157491" y="552464"/>
                    </a:lnTo>
                    <a:cubicBezTo>
                      <a:pt x="1178707" y="549944"/>
                      <a:pt x="1197948" y="565099"/>
                      <a:pt x="1200469" y="586314"/>
                    </a:cubicBezTo>
                    <a:lnTo>
                      <a:pt x="1200468" y="586314"/>
                    </a:lnTo>
                    <a:cubicBezTo>
                      <a:pt x="1202989" y="607530"/>
                      <a:pt x="1187834" y="626772"/>
                      <a:pt x="1166618" y="629292"/>
                    </a:cubicBezTo>
                    <a:lnTo>
                      <a:pt x="1104900" y="636624"/>
                    </a:lnTo>
                    <a:lnTo>
                      <a:pt x="1104900" y="817908"/>
                    </a:lnTo>
                    <a:lnTo>
                      <a:pt x="971550" y="946496"/>
                    </a:lnTo>
                    <a:lnTo>
                      <a:pt x="752889" y="946496"/>
                    </a:lnTo>
                    <a:lnTo>
                      <a:pt x="749140" y="965065"/>
                    </a:lnTo>
                    <a:cubicBezTo>
                      <a:pt x="728897" y="1012926"/>
                      <a:pt x="681506" y="1046508"/>
                      <a:pt x="626271" y="1046508"/>
                    </a:cubicBezTo>
                    <a:lnTo>
                      <a:pt x="533770" y="1046508"/>
                    </a:lnTo>
                    <a:cubicBezTo>
                      <a:pt x="478536" y="1046508"/>
                      <a:pt x="431145" y="1012926"/>
                      <a:pt x="410901" y="965065"/>
                    </a:cubicBezTo>
                    <a:lnTo>
                      <a:pt x="407153" y="946496"/>
                    </a:lnTo>
                    <a:lnTo>
                      <a:pt x="190500" y="946496"/>
                    </a:lnTo>
                    <a:lnTo>
                      <a:pt x="59532" y="825052"/>
                    </a:lnTo>
                    <a:cubicBezTo>
                      <a:pt x="59499" y="786916"/>
                      <a:pt x="59465" y="748779"/>
                      <a:pt x="59432" y="710643"/>
                    </a:cubicBezTo>
                    <a:lnTo>
                      <a:pt x="48816" y="710643"/>
                    </a:lnTo>
                    <a:cubicBezTo>
                      <a:pt x="35336" y="710643"/>
                      <a:pt x="23132" y="705179"/>
                      <a:pt x="14298" y="696345"/>
                    </a:cubicBezTo>
                    <a:lnTo>
                      <a:pt x="0" y="661828"/>
                    </a:lnTo>
                    <a:lnTo>
                      <a:pt x="14298" y="627310"/>
                    </a:lnTo>
                    <a:cubicBezTo>
                      <a:pt x="23132" y="618476"/>
                      <a:pt x="35336" y="613012"/>
                      <a:pt x="48816" y="613012"/>
                    </a:cubicBezTo>
                    <a:lnTo>
                      <a:pt x="59346" y="613012"/>
                    </a:lnTo>
                    <a:cubicBezTo>
                      <a:pt x="59313" y="575724"/>
                      <a:pt x="59280" y="538435"/>
                      <a:pt x="59247" y="501147"/>
                    </a:cubicBezTo>
                    <a:lnTo>
                      <a:pt x="48816" y="501147"/>
                    </a:lnTo>
                    <a:cubicBezTo>
                      <a:pt x="35336" y="501147"/>
                      <a:pt x="23132" y="495683"/>
                      <a:pt x="14298" y="486849"/>
                    </a:cubicBezTo>
                    <a:lnTo>
                      <a:pt x="0" y="452332"/>
                    </a:lnTo>
                    <a:lnTo>
                      <a:pt x="14298" y="417814"/>
                    </a:lnTo>
                    <a:cubicBezTo>
                      <a:pt x="23132" y="408980"/>
                      <a:pt x="35336" y="403516"/>
                      <a:pt x="48816" y="403516"/>
                    </a:cubicBezTo>
                    <a:lnTo>
                      <a:pt x="59161" y="403516"/>
                    </a:lnTo>
                    <a:cubicBezTo>
                      <a:pt x="59128" y="366228"/>
                      <a:pt x="59096" y="328939"/>
                      <a:pt x="59063" y="291651"/>
                    </a:cubicBezTo>
                    <a:lnTo>
                      <a:pt x="48816" y="291651"/>
                    </a:lnTo>
                    <a:cubicBezTo>
                      <a:pt x="35336" y="291651"/>
                      <a:pt x="23132" y="286187"/>
                      <a:pt x="14298" y="277353"/>
                    </a:cubicBezTo>
                    <a:lnTo>
                      <a:pt x="0" y="242836"/>
                    </a:lnTo>
                    <a:lnTo>
                      <a:pt x="14298" y="208318"/>
                    </a:lnTo>
                    <a:cubicBezTo>
                      <a:pt x="23132" y="199484"/>
                      <a:pt x="35336" y="194020"/>
                      <a:pt x="48816" y="194020"/>
                    </a:cubicBezTo>
                    <a:lnTo>
                      <a:pt x="58977" y="194020"/>
                    </a:lnTo>
                    <a:lnTo>
                      <a:pt x="58806"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201" name="Freeform 88">
                <a:extLst>
                  <a:ext uri="{FF2B5EF4-FFF2-40B4-BE49-F238E27FC236}">
                    <a16:creationId xmlns:a16="http://schemas.microsoft.com/office/drawing/2014/main" id="{71638FA9-4216-4778-814E-991C7DCA2553}"/>
                  </a:ext>
                </a:extLst>
              </p:cNvPr>
              <p:cNvSpPr/>
              <p:nvPr/>
            </p:nvSpPr>
            <p:spPr>
              <a:xfrm>
                <a:off x="4242295" y="1685754"/>
                <a:ext cx="3701002" cy="3743106"/>
              </a:xfrm>
              <a:custGeom>
                <a:avLst/>
                <a:gdLst>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0346 w 3701002"/>
                  <a:gd name="connsiteY11" fmla="*/ 3114359 h 3743106"/>
                  <a:gd name="connsiteX12" fmla="*/ 2659635 w 3701002"/>
                  <a:gd name="connsiteY12" fmla="*/ 3107286 h 3743106"/>
                  <a:gd name="connsiteX13" fmla="*/ 3122601 w 3701002"/>
                  <a:gd name="connsiteY13" fmla="*/ 2107732 h 3743106"/>
                  <a:gd name="connsiteX14" fmla="*/ 1850392 w 3701002"/>
                  <a:gd name="connsiteY14" fmla="*/ 812383 h 3743106"/>
                  <a:gd name="connsiteX15" fmla="*/ 578183 w 3701002"/>
                  <a:gd name="connsiteY15" fmla="*/ 2107732 h 3743106"/>
                  <a:gd name="connsiteX16" fmla="*/ 950805 w 3701002"/>
                  <a:gd name="connsiteY16" fmla="*/ 3023682 h 3743106"/>
                  <a:gd name="connsiteX17" fmla="*/ 1028685 w 3701002"/>
                  <a:gd name="connsiteY17" fmla="*/ 3095752 h 3743106"/>
                  <a:gd name="connsiteX18" fmla="*/ 1145044 w 3701002"/>
                  <a:gd name="connsiteY18" fmla="*/ 3252006 h 3743106"/>
                  <a:gd name="connsiteX19" fmla="*/ 1289824 w 3701002"/>
                  <a:gd name="connsiteY19" fmla="*/ 3549186 h 3743106"/>
                  <a:gd name="connsiteX20" fmla="*/ 1131709 w 3701002"/>
                  <a:gd name="connsiteY20" fmla="*/ 3739686 h 3743106"/>
                  <a:gd name="connsiteX21" fmla="*/ 881519 w 3701002"/>
                  <a:gd name="connsiteY21" fmla="*/ 3637451 h 3743106"/>
                  <a:gd name="connsiteX22" fmla="*/ 771664 w 3701002"/>
                  <a:gd name="connsiteY22" fmla="*/ 3290106 h 3743106"/>
                  <a:gd name="connsiteX23" fmla="*/ 377329 w 3701002"/>
                  <a:gd name="connsiteY23" fmla="*/ 3103416 h 3743106"/>
                  <a:gd name="connsiteX24" fmla="*/ 344944 w 3701002"/>
                  <a:gd name="connsiteY24" fmla="*/ 2482386 h 3743106"/>
                  <a:gd name="connsiteX25" fmla="*/ 139 w 3701002"/>
                  <a:gd name="connsiteY25" fmla="*/ 1970576 h 3743106"/>
                  <a:gd name="connsiteX26" fmla="*/ 451624 w 3701002"/>
                  <a:gd name="connsiteY26" fmla="*/ 1403521 h 3743106"/>
                  <a:gd name="connsiteX27" fmla="*/ 496709 w 3701002"/>
                  <a:gd name="connsiteY27" fmla="*/ 659301 h 3743106"/>
                  <a:gd name="connsiteX28" fmla="*/ 1199019 w 3701002"/>
                  <a:gd name="connsiteY28" fmla="*/ 517061 h 3743106"/>
                  <a:gd name="connsiteX29" fmla="*/ 1831479 w 3701002"/>
                  <a:gd name="connsiteY29"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028685 w 3701002"/>
                  <a:gd name="connsiteY16" fmla="*/ 3095752 h 3743106"/>
                  <a:gd name="connsiteX17" fmla="*/ 1145044 w 3701002"/>
                  <a:gd name="connsiteY17" fmla="*/ 3252006 h 3743106"/>
                  <a:gd name="connsiteX18" fmla="*/ 1289824 w 3701002"/>
                  <a:gd name="connsiteY18" fmla="*/ 3549186 h 3743106"/>
                  <a:gd name="connsiteX19" fmla="*/ 1131709 w 3701002"/>
                  <a:gd name="connsiteY19" fmla="*/ 3739686 h 3743106"/>
                  <a:gd name="connsiteX20" fmla="*/ 881519 w 3701002"/>
                  <a:gd name="connsiteY20" fmla="*/ 3637451 h 3743106"/>
                  <a:gd name="connsiteX21" fmla="*/ 771664 w 3701002"/>
                  <a:gd name="connsiteY21" fmla="*/ 3290106 h 3743106"/>
                  <a:gd name="connsiteX22" fmla="*/ 377329 w 3701002"/>
                  <a:gd name="connsiteY22" fmla="*/ 3103416 h 3743106"/>
                  <a:gd name="connsiteX23" fmla="*/ 344944 w 3701002"/>
                  <a:gd name="connsiteY23" fmla="*/ 2482386 h 3743106"/>
                  <a:gd name="connsiteX24" fmla="*/ 139 w 3701002"/>
                  <a:gd name="connsiteY24" fmla="*/ 1970576 h 3743106"/>
                  <a:gd name="connsiteX25" fmla="*/ 451624 w 3701002"/>
                  <a:gd name="connsiteY25" fmla="*/ 1403521 h 3743106"/>
                  <a:gd name="connsiteX26" fmla="*/ 496709 w 3701002"/>
                  <a:gd name="connsiteY26" fmla="*/ 659301 h 3743106"/>
                  <a:gd name="connsiteX27" fmla="*/ 1199019 w 3701002"/>
                  <a:gd name="connsiteY27" fmla="*/ 517061 h 3743106"/>
                  <a:gd name="connsiteX28" fmla="*/ 1831479 w 3701002"/>
                  <a:gd name="connsiteY28"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145044 w 3701002"/>
                  <a:gd name="connsiteY16" fmla="*/ 3252006 h 3743106"/>
                  <a:gd name="connsiteX17" fmla="*/ 1289824 w 3701002"/>
                  <a:gd name="connsiteY17" fmla="*/ 3549186 h 3743106"/>
                  <a:gd name="connsiteX18" fmla="*/ 1131709 w 3701002"/>
                  <a:gd name="connsiteY18" fmla="*/ 3739686 h 3743106"/>
                  <a:gd name="connsiteX19" fmla="*/ 881519 w 3701002"/>
                  <a:gd name="connsiteY19" fmla="*/ 3637451 h 3743106"/>
                  <a:gd name="connsiteX20" fmla="*/ 771664 w 3701002"/>
                  <a:gd name="connsiteY20" fmla="*/ 3290106 h 3743106"/>
                  <a:gd name="connsiteX21" fmla="*/ 377329 w 3701002"/>
                  <a:gd name="connsiteY21" fmla="*/ 3103416 h 3743106"/>
                  <a:gd name="connsiteX22" fmla="*/ 344944 w 3701002"/>
                  <a:gd name="connsiteY22" fmla="*/ 2482386 h 3743106"/>
                  <a:gd name="connsiteX23" fmla="*/ 139 w 3701002"/>
                  <a:gd name="connsiteY23" fmla="*/ 1970576 h 3743106"/>
                  <a:gd name="connsiteX24" fmla="*/ 451624 w 3701002"/>
                  <a:gd name="connsiteY24" fmla="*/ 1403521 h 3743106"/>
                  <a:gd name="connsiteX25" fmla="*/ 496709 w 3701002"/>
                  <a:gd name="connsiteY25" fmla="*/ 659301 h 3743106"/>
                  <a:gd name="connsiteX26" fmla="*/ 1199019 w 3701002"/>
                  <a:gd name="connsiteY26" fmla="*/ 517061 h 3743106"/>
                  <a:gd name="connsiteX27" fmla="*/ 1831479 w 3701002"/>
                  <a:gd name="connsiteY27"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145044 w 3701002"/>
                  <a:gd name="connsiteY16" fmla="*/ 3252006 h 3743106"/>
                  <a:gd name="connsiteX17" fmla="*/ 1289824 w 3701002"/>
                  <a:gd name="connsiteY17" fmla="*/ 3549186 h 3743106"/>
                  <a:gd name="connsiteX18" fmla="*/ 1131709 w 3701002"/>
                  <a:gd name="connsiteY18" fmla="*/ 3739686 h 3743106"/>
                  <a:gd name="connsiteX19" fmla="*/ 881519 w 3701002"/>
                  <a:gd name="connsiteY19" fmla="*/ 3637451 h 3743106"/>
                  <a:gd name="connsiteX20" fmla="*/ 771664 w 3701002"/>
                  <a:gd name="connsiteY20" fmla="*/ 3290106 h 3743106"/>
                  <a:gd name="connsiteX21" fmla="*/ 377329 w 3701002"/>
                  <a:gd name="connsiteY21" fmla="*/ 3103416 h 3743106"/>
                  <a:gd name="connsiteX22" fmla="*/ 344944 w 3701002"/>
                  <a:gd name="connsiteY22" fmla="*/ 2482386 h 3743106"/>
                  <a:gd name="connsiteX23" fmla="*/ 139 w 3701002"/>
                  <a:gd name="connsiteY23" fmla="*/ 1970576 h 3743106"/>
                  <a:gd name="connsiteX24" fmla="*/ 451624 w 3701002"/>
                  <a:gd name="connsiteY24" fmla="*/ 1403521 h 3743106"/>
                  <a:gd name="connsiteX25" fmla="*/ 496709 w 3701002"/>
                  <a:gd name="connsiteY25" fmla="*/ 659301 h 3743106"/>
                  <a:gd name="connsiteX26" fmla="*/ 1199019 w 3701002"/>
                  <a:gd name="connsiteY26" fmla="*/ 517061 h 3743106"/>
                  <a:gd name="connsiteX27" fmla="*/ 1831479 w 3701002"/>
                  <a:gd name="connsiteY27" fmla="*/ 171 h 3743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701002" h="3743106">
                    <a:moveTo>
                      <a:pt x="1831479" y="171"/>
                    </a:moveTo>
                    <a:cubicBezTo>
                      <a:pt x="2193958" y="-9460"/>
                      <a:pt x="2228989" y="388262"/>
                      <a:pt x="2478544" y="516426"/>
                    </a:cubicBezTo>
                    <a:cubicBezTo>
                      <a:pt x="2724924" y="638240"/>
                      <a:pt x="3031735" y="420753"/>
                      <a:pt x="3214509" y="673906"/>
                    </a:cubicBezTo>
                    <a:cubicBezTo>
                      <a:pt x="3397283" y="927059"/>
                      <a:pt x="3125874" y="1106394"/>
                      <a:pt x="3270389" y="1425746"/>
                    </a:cubicBezTo>
                    <a:cubicBezTo>
                      <a:pt x="3414904" y="1745098"/>
                      <a:pt x="3685678" y="1679112"/>
                      <a:pt x="3700601" y="1942319"/>
                    </a:cubicBezTo>
                    <a:cubicBezTo>
                      <a:pt x="3712349" y="2221401"/>
                      <a:pt x="3463112" y="2181714"/>
                      <a:pt x="3354844" y="2512866"/>
                    </a:cubicBezTo>
                    <a:cubicBezTo>
                      <a:pt x="3238639" y="2836081"/>
                      <a:pt x="3476765" y="2888309"/>
                      <a:pt x="3320872" y="3113258"/>
                    </a:cubicBezTo>
                    <a:cubicBezTo>
                      <a:pt x="3231655" y="3262007"/>
                      <a:pt x="3076132" y="3153476"/>
                      <a:pt x="2933839" y="3291059"/>
                    </a:cubicBezTo>
                    <a:cubicBezTo>
                      <a:pt x="2791546" y="3428642"/>
                      <a:pt x="2888756" y="3603161"/>
                      <a:pt x="2771914" y="3691109"/>
                    </a:cubicBezTo>
                    <a:cubicBezTo>
                      <a:pt x="2688410" y="3783819"/>
                      <a:pt x="2499817" y="3735717"/>
                      <a:pt x="2440444" y="3640626"/>
                    </a:cubicBezTo>
                    <a:cubicBezTo>
                      <a:pt x="2381071" y="3545535"/>
                      <a:pt x="2441714" y="3442506"/>
                      <a:pt x="2501404" y="3320586"/>
                    </a:cubicBezTo>
                    <a:lnTo>
                      <a:pt x="2659635" y="3107286"/>
                    </a:lnTo>
                    <a:cubicBezTo>
                      <a:pt x="2942380" y="2869700"/>
                      <a:pt x="3122601" y="2510145"/>
                      <a:pt x="3122601" y="2107732"/>
                    </a:cubicBezTo>
                    <a:cubicBezTo>
                      <a:pt x="3122601" y="1392331"/>
                      <a:pt x="2553014" y="812383"/>
                      <a:pt x="1850392" y="812383"/>
                    </a:cubicBezTo>
                    <a:cubicBezTo>
                      <a:pt x="1147770" y="812383"/>
                      <a:pt x="578183" y="1392331"/>
                      <a:pt x="578183" y="2107732"/>
                    </a:cubicBezTo>
                    <a:cubicBezTo>
                      <a:pt x="578183" y="2465433"/>
                      <a:pt x="720580" y="2789270"/>
                      <a:pt x="950805" y="3023682"/>
                    </a:cubicBezTo>
                    <a:cubicBezTo>
                      <a:pt x="1039364" y="3104553"/>
                      <a:pt x="1080298" y="3175898"/>
                      <a:pt x="1145044" y="3252006"/>
                    </a:cubicBezTo>
                    <a:cubicBezTo>
                      <a:pt x="1213624" y="3361226"/>
                      <a:pt x="1292047" y="3467906"/>
                      <a:pt x="1289824" y="3549186"/>
                    </a:cubicBezTo>
                    <a:cubicBezTo>
                      <a:pt x="1287602" y="3630466"/>
                      <a:pt x="1199760" y="3724975"/>
                      <a:pt x="1131709" y="3739686"/>
                    </a:cubicBezTo>
                    <a:cubicBezTo>
                      <a:pt x="1063658" y="3754397"/>
                      <a:pt x="935176" y="3721906"/>
                      <a:pt x="881519" y="3637451"/>
                    </a:cubicBezTo>
                    <a:cubicBezTo>
                      <a:pt x="827862" y="3552996"/>
                      <a:pt x="922371" y="3429912"/>
                      <a:pt x="771664" y="3290106"/>
                    </a:cubicBezTo>
                    <a:cubicBezTo>
                      <a:pt x="620957" y="3150300"/>
                      <a:pt x="489724" y="3259626"/>
                      <a:pt x="377329" y="3103416"/>
                    </a:cubicBezTo>
                    <a:cubicBezTo>
                      <a:pt x="245884" y="2847193"/>
                      <a:pt x="472103" y="2764062"/>
                      <a:pt x="344944" y="2482386"/>
                    </a:cubicBezTo>
                    <a:cubicBezTo>
                      <a:pt x="189211" y="2141178"/>
                      <a:pt x="8552" y="2246432"/>
                      <a:pt x="139" y="1970576"/>
                    </a:cubicBezTo>
                    <a:cubicBezTo>
                      <a:pt x="-7481" y="1701865"/>
                      <a:pt x="299012" y="1730017"/>
                      <a:pt x="451624" y="1403521"/>
                    </a:cubicBezTo>
                    <a:cubicBezTo>
                      <a:pt x="528036" y="943675"/>
                      <a:pt x="318168" y="908644"/>
                      <a:pt x="496709" y="659301"/>
                    </a:cubicBezTo>
                    <a:cubicBezTo>
                      <a:pt x="675250" y="409958"/>
                      <a:pt x="956978" y="650728"/>
                      <a:pt x="1199019" y="517061"/>
                    </a:cubicBezTo>
                    <a:cubicBezTo>
                      <a:pt x="1485510" y="418319"/>
                      <a:pt x="1469000" y="9802"/>
                      <a:pt x="1831479" y="171"/>
                    </a:cubicBez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202" name="Rectangle 201">
            <a:extLst>
              <a:ext uri="{FF2B5EF4-FFF2-40B4-BE49-F238E27FC236}">
                <a16:creationId xmlns:a16="http://schemas.microsoft.com/office/drawing/2014/main" id="{22683802-75F6-473A-8B94-953A62AFBFBC}"/>
              </a:ext>
            </a:extLst>
          </p:cNvPr>
          <p:cNvSpPr/>
          <p:nvPr/>
        </p:nvSpPr>
        <p:spPr>
          <a:xfrm>
            <a:off x="1827731" y="5219555"/>
            <a:ext cx="1722161" cy="523220"/>
          </a:xfrm>
          <a:prstGeom prst="rect">
            <a:avLst/>
          </a:prstGeom>
        </p:spPr>
        <p:txBody>
          <a:bodyPr wrap="square">
            <a:sp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prstClr val="black"/>
                </a:solidFill>
                <a:effectLst/>
                <a:uLnTx/>
                <a:uFillTx/>
                <a:latin typeface="+mj-lt"/>
                <a:ea typeface="+mn-ea"/>
                <a:cs typeface="Segoe UI Semilight" panose="020B0402040204020203" pitchFamily="34" charset="0"/>
              </a:rPr>
              <a:t>Future cost of change</a:t>
            </a:r>
          </a:p>
        </p:txBody>
      </p:sp>
      <p:sp>
        <p:nvSpPr>
          <p:cNvPr id="203" name="TextBox 202">
            <a:extLst>
              <a:ext uri="{FF2B5EF4-FFF2-40B4-BE49-F238E27FC236}">
                <a16:creationId xmlns:a16="http://schemas.microsoft.com/office/drawing/2014/main" id="{3EE75F51-C7B9-42A5-B15F-9D9CDD9FEBDA}"/>
              </a:ext>
            </a:extLst>
          </p:cNvPr>
          <p:cNvSpPr txBox="1"/>
          <p:nvPr/>
        </p:nvSpPr>
        <p:spPr>
          <a:xfrm>
            <a:off x="2110273" y="4839518"/>
            <a:ext cx="1160895" cy="369332"/>
          </a:xfrm>
          <a:prstGeom prst="rect">
            <a:avLst/>
          </a:prstGeom>
          <a:solidFill>
            <a:schemeClr val="bg1"/>
          </a:solidFill>
        </p:spPr>
        <p:txBody>
          <a:bodyPr wrap="none" rtlCol="0">
            <a:spAutoFit/>
          </a:bodyPr>
          <a:lstStyle>
            <a:defPPr>
              <a:defRPr lang="en-US"/>
            </a:defPPr>
            <a:lvl1pPr defTabSz="914377" fontAlgn="base">
              <a:spcBef>
                <a:spcPct val="0"/>
              </a:spcBef>
              <a:spcAft>
                <a:spcPct val="0"/>
              </a:spcAft>
              <a:defRPr sz="2000" b="1" kern="0">
                <a:solidFill>
                  <a:schemeClr val="accent1"/>
                </a:solidFill>
                <a:cs typeface="Arial" charset="0"/>
              </a:defRPr>
            </a:lvl1pPr>
          </a:lstStyle>
          <a:p>
            <a:pPr marL="0" marR="0" lvl="0" indent="0" algn="l" defTabSz="914377" rtl="0" eaLnBrk="1" fontAlgn="base" latinLnBrk="0" hangingPunct="1">
              <a:lnSpc>
                <a:spcPct val="100000"/>
              </a:lnSpc>
              <a:spcBef>
                <a:spcPct val="0"/>
              </a:spcBef>
              <a:spcAft>
                <a:spcPct val="0"/>
              </a:spcAft>
              <a:buClrTx/>
              <a:buSzTx/>
              <a:buFontTx/>
              <a:buNone/>
              <a:tabLst/>
              <a:defRPr/>
            </a:pPr>
            <a:r>
              <a:rPr lang="en-US" sz="1800">
                <a:solidFill>
                  <a:srgbClr val="0066A1"/>
                </a:solidFill>
                <a:latin typeface="+mj-lt"/>
              </a:rPr>
              <a:t>Lowered</a:t>
            </a:r>
            <a:endParaRPr kumimoji="0" lang="en-US" sz="1800" b="1" i="0" u="none" strike="noStrike" kern="0" cap="none" spc="0" normalizeH="0" baseline="0" noProof="0">
              <a:ln>
                <a:noFill/>
              </a:ln>
              <a:solidFill>
                <a:srgbClr val="0066A1"/>
              </a:solidFill>
              <a:effectLst/>
              <a:uLnTx/>
              <a:uFillTx/>
              <a:latin typeface="+mj-lt"/>
              <a:ea typeface="+mn-ea"/>
              <a:cs typeface="Arial" charset="0"/>
            </a:endParaRPr>
          </a:p>
        </p:txBody>
      </p:sp>
      <p:sp>
        <p:nvSpPr>
          <p:cNvPr id="156" name="Oval 155">
            <a:extLst>
              <a:ext uri="{FF2B5EF4-FFF2-40B4-BE49-F238E27FC236}">
                <a16:creationId xmlns:a16="http://schemas.microsoft.com/office/drawing/2014/main" id="{632BF17A-2639-45F7-A71E-091C20B5B032}"/>
              </a:ext>
            </a:extLst>
          </p:cNvPr>
          <p:cNvSpPr/>
          <p:nvPr/>
        </p:nvSpPr>
        <p:spPr bwMode="auto">
          <a:xfrm>
            <a:off x="463016" y="3950294"/>
            <a:ext cx="914400" cy="914400"/>
          </a:xfrm>
          <a:prstGeom prst="ellipse">
            <a:avLst/>
          </a:prstGeom>
          <a:solidFill>
            <a:schemeClr val="bg1">
              <a:lumMod val="95000"/>
            </a:schemeClr>
          </a:solidFill>
          <a:ln w="38100" cap="flat" cmpd="sng" algn="ctr">
            <a:noFill/>
            <a:prstDash val="solid"/>
            <a:headEnd type="none" w="med" len="med"/>
            <a:tailEnd type="none" w="med" len="med"/>
          </a:ln>
          <a:effectLst>
            <a:innerShdw blurRad="114300">
              <a:prstClr val="black"/>
            </a:innerShdw>
          </a:effectLst>
        </p:spPr>
        <p:txBody>
          <a:bodyPr vert="horz" wrap="square" lIns="0" tIns="0" rIns="0" bIns="0" numCol="1" rtlCol="0" anchor="ctr" anchorCtr="0" compatLnSpc="1">
            <a:prstTxWarp prst="textNoShape">
              <a:avLst/>
            </a:prstTxWarp>
          </a:bodyPr>
          <a:lstStyle/>
          <a:p>
            <a:pPr marL="0" marR="0" lvl="0" indent="0" algn="ctr" defTabSz="932567" rtl="0" eaLnBrk="1" fontAlgn="base" latinLnBrk="0" hangingPunct="1">
              <a:lnSpc>
                <a:spcPct val="100000"/>
              </a:lnSpc>
              <a:spcBef>
                <a:spcPct val="0"/>
              </a:spcBef>
              <a:spcAft>
                <a:spcPct val="0"/>
              </a:spcAft>
              <a:buClrTx/>
              <a:buSzTx/>
              <a:buFontTx/>
              <a:buNone/>
              <a:tabLst/>
              <a:defRPr/>
            </a:pPr>
            <a:r>
              <a:rPr lang="en-US" sz="2000" spc="-102">
                <a:ln w="3175">
                  <a:noFill/>
                </a:ln>
                <a:solidFill>
                  <a:srgbClr val="00573B"/>
                </a:solidFill>
                <a:latin typeface="+mj-lt"/>
                <a:cs typeface="Segoe UI Semilight" panose="020B0402040204020203" pitchFamily="34" charset="0"/>
              </a:rPr>
              <a:t>40</a:t>
            </a:r>
            <a:r>
              <a:rPr kumimoji="0" lang="en-US" sz="2000" b="0" i="0" u="none" strike="noStrike" kern="1200" cap="none" spc="-102" normalizeH="0" baseline="0" noProof="0">
                <a:ln w="3175">
                  <a:noFill/>
                </a:ln>
                <a:solidFill>
                  <a:srgbClr val="00573B"/>
                </a:solidFill>
                <a:effectLst/>
                <a:uLnTx/>
                <a:uFillTx/>
                <a:latin typeface="+mj-lt"/>
                <a:ea typeface="+mn-ea"/>
                <a:cs typeface="Segoe UI Semilight" panose="020B0402040204020203" pitchFamily="34" charset="0"/>
              </a:rPr>
              <a:t>%</a:t>
            </a:r>
          </a:p>
        </p:txBody>
      </p:sp>
      <p:sp>
        <p:nvSpPr>
          <p:cNvPr id="157" name="Oval 156">
            <a:extLst>
              <a:ext uri="{FF2B5EF4-FFF2-40B4-BE49-F238E27FC236}">
                <a16:creationId xmlns:a16="http://schemas.microsoft.com/office/drawing/2014/main" id="{7AA4F19D-4710-411B-A7BD-0B070F8FECF8}"/>
              </a:ext>
            </a:extLst>
          </p:cNvPr>
          <p:cNvSpPr/>
          <p:nvPr/>
        </p:nvSpPr>
        <p:spPr bwMode="auto">
          <a:xfrm>
            <a:off x="4159524" y="3950003"/>
            <a:ext cx="914400" cy="914400"/>
          </a:xfrm>
          <a:prstGeom prst="ellipse">
            <a:avLst/>
          </a:prstGeom>
          <a:solidFill>
            <a:schemeClr val="bg1">
              <a:lumMod val="95000"/>
            </a:schemeClr>
          </a:solidFill>
          <a:ln w="38100" cap="flat" cmpd="sng" algn="ctr">
            <a:noFill/>
            <a:prstDash val="solid"/>
            <a:headEnd type="none" w="med" len="med"/>
            <a:tailEnd type="none" w="med" len="med"/>
          </a:ln>
          <a:effectLst>
            <a:innerShdw blurRad="114300">
              <a:prstClr val="black"/>
            </a:innerShdw>
          </a:effectLst>
        </p:spPr>
        <p:txBody>
          <a:bodyPr vert="horz" wrap="square" lIns="0" tIns="0" rIns="0" bIns="0" numCol="1" rtlCol="0" anchor="ctr" anchorCtr="0" compatLnSpc="1">
            <a:prstTxWarp prst="textNoShape">
              <a:avLst/>
            </a:prstTxWarp>
          </a:bodyPr>
          <a:lstStyle/>
          <a:p>
            <a:pPr marL="0" marR="0" lvl="0" indent="0" algn="ctr" defTabSz="932567"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102" normalizeH="0" baseline="0" noProof="0">
                <a:ln w="3175">
                  <a:noFill/>
                </a:ln>
                <a:solidFill>
                  <a:srgbClr val="00573B"/>
                </a:solidFill>
                <a:effectLst/>
                <a:uLnTx/>
                <a:uFillTx/>
                <a:latin typeface="+mj-lt"/>
                <a:ea typeface="+mn-ea"/>
                <a:cs typeface="Segoe UI Semilight" panose="020B0402040204020203" pitchFamily="34" charset="0"/>
              </a:rPr>
              <a:t>20%</a:t>
            </a:r>
          </a:p>
        </p:txBody>
      </p:sp>
      <p:sp>
        <p:nvSpPr>
          <p:cNvPr id="158" name="Oval 157">
            <a:extLst>
              <a:ext uri="{FF2B5EF4-FFF2-40B4-BE49-F238E27FC236}">
                <a16:creationId xmlns:a16="http://schemas.microsoft.com/office/drawing/2014/main" id="{6DEC0123-88C2-49D1-B192-6623921A8D55}"/>
              </a:ext>
            </a:extLst>
          </p:cNvPr>
          <p:cNvSpPr/>
          <p:nvPr/>
        </p:nvSpPr>
        <p:spPr bwMode="auto">
          <a:xfrm>
            <a:off x="2268608" y="3955306"/>
            <a:ext cx="914400" cy="914400"/>
          </a:xfrm>
          <a:prstGeom prst="ellipse">
            <a:avLst/>
          </a:prstGeom>
          <a:solidFill>
            <a:schemeClr val="bg1">
              <a:lumMod val="95000"/>
            </a:schemeClr>
          </a:solidFill>
          <a:ln w="38100" cap="flat" cmpd="sng" algn="ctr">
            <a:noFill/>
            <a:prstDash val="solid"/>
            <a:headEnd type="none" w="med" len="med"/>
            <a:tailEnd type="none" w="med" len="med"/>
          </a:ln>
          <a:effectLst>
            <a:innerShdw blurRad="114300">
              <a:prstClr val="black"/>
            </a:innerShdw>
          </a:effectLst>
        </p:spPr>
        <p:txBody>
          <a:bodyPr vert="horz" wrap="square" lIns="0" tIns="0" rIns="0" bIns="0" numCol="1" rtlCol="0" anchor="ctr" anchorCtr="0" compatLnSpc="1">
            <a:prstTxWarp prst="textNoShape">
              <a:avLst/>
            </a:prstTxWarp>
          </a:bodyPr>
          <a:lstStyle/>
          <a:p>
            <a:pPr marL="0" marR="0" lvl="0" indent="0" algn="ctr" defTabSz="932567"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102" normalizeH="0" baseline="0" noProof="0">
                <a:ln w="3175">
                  <a:noFill/>
                </a:ln>
                <a:solidFill>
                  <a:srgbClr val="00573B"/>
                </a:solidFill>
                <a:effectLst/>
                <a:uLnTx/>
                <a:uFillTx/>
                <a:latin typeface="+mj-lt"/>
                <a:ea typeface="+mn-ea"/>
                <a:cs typeface="Segoe UI Semilight" panose="020B0402040204020203" pitchFamily="34" charset="0"/>
              </a:rPr>
              <a:t>15%</a:t>
            </a:r>
          </a:p>
        </p:txBody>
      </p:sp>
      <p:sp>
        <p:nvSpPr>
          <p:cNvPr id="159" name="Rectangle 158">
            <a:extLst>
              <a:ext uri="{FF2B5EF4-FFF2-40B4-BE49-F238E27FC236}">
                <a16:creationId xmlns:a16="http://schemas.microsoft.com/office/drawing/2014/main" id="{639D08FC-8E56-4198-A0DC-3826577039C1}"/>
              </a:ext>
            </a:extLst>
          </p:cNvPr>
          <p:cNvSpPr/>
          <p:nvPr/>
        </p:nvSpPr>
        <p:spPr bwMode="auto">
          <a:xfrm>
            <a:off x="6376715" y="2237330"/>
            <a:ext cx="5256485" cy="572952"/>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123" fontAlgn="base">
              <a:spcBef>
                <a:spcPct val="0"/>
              </a:spcBef>
              <a:spcAft>
                <a:spcPct val="0"/>
              </a:spcAft>
            </a:pPr>
            <a:r>
              <a:rPr lang="en-US" sz="1400" kern="0">
                <a:solidFill>
                  <a:prstClr val="black"/>
                </a:solidFill>
                <a:cs typeface="Arial" panose="020B0604020202020204" pitchFamily="34" charset="0"/>
              </a:rPr>
              <a:t>Consolidate  product portfolio by converting multiple variations of SPIA plans (800+) to 200+ plans</a:t>
            </a:r>
          </a:p>
        </p:txBody>
      </p:sp>
      <p:grpSp>
        <p:nvGrpSpPr>
          <p:cNvPr id="160" name="Group 159">
            <a:extLst>
              <a:ext uri="{FF2B5EF4-FFF2-40B4-BE49-F238E27FC236}">
                <a16:creationId xmlns:a16="http://schemas.microsoft.com/office/drawing/2014/main" id="{3ED12105-F192-4083-9910-8FAA9EC845FF}"/>
              </a:ext>
            </a:extLst>
          </p:cNvPr>
          <p:cNvGrpSpPr/>
          <p:nvPr/>
        </p:nvGrpSpPr>
        <p:grpSpPr>
          <a:xfrm>
            <a:off x="5840168" y="4379280"/>
            <a:ext cx="474070" cy="474070"/>
            <a:chOff x="6447430" y="2675492"/>
            <a:chExt cx="474070" cy="474070"/>
          </a:xfrm>
        </p:grpSpPr>
        <p:sp>
          <p:nvSpPr>
            <p:cNvPr id="161" name="Oval 160">
              <a:extLst>
                <a:ext uri="{FF2B5EF4-FFF2-40B4-BE49-F238E27FC236}">
                  <a16:creationId xmlns:a16="http://schemas.microsoft.com/office/drawing/2014/main" id="{5E8B7344-480F-4784-964F-D0DE07D64234}"/>
                </a:ext>
              </a:extLst>
            </p:cNvPr>
            <p:cNvSpPr/>
            <p:nvPr/>
          </p:nvSpPr>
          <p:spPr>
            <a:xfrm>
              <a:off x="6447430" y="2675492"/>
              <a:ext cx="474070" cy="474070"/>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white"/>
                </a:solidFill>
                <a:effectLst/>
                <a:uLnTx/>
                <a:uFillTx/>
                <a:latin typeface="Verdana"/>
                <a:ea typeface="+mn-ea"/>
                <a:cs typeface="+mn-cs"/>
              </a:endParaRPr>
            </a:p>
          </p:txBody>
        </p:sp>
        <p:grpSp>
          <p:nvGrpSpPr>
            <p:cNvPr id="162" name="Group 161">
              <a:extLst>
                <a:ext uri="{FF2B5EF4-FFF2-40B4-BE49-F238E27FC236}">
                  <a16:creationId xmlns:a16="http://schemas.microsoft.com/office/drawing/2014/main" id="{5AFBE7C3-CE04-44D1-AB76-3D9F57E04114}"/>
                </a:ext>
              </a:extLst>
            </p:cNvPr>
            <p:cNvGrpSpPr/>
            <p:nvPr/>
          </p:nvGrpSpPr>
          <p:grpSpPr>
            <a:xfrm>
              <a:off x="6518178" y="2715380"/>
              <a:ext cx="333474" cy="369629"/>
              <a:chOff x="3114466" y="105602"/>
              <a:chExt cx="5971657" cy="6619048"/>
            </a:xfrm>
            <a:solidFill>
              <a:schemeClr val="accent5"/>
            </a:solidFill>
          </p:grpSpPr>
          <p:sp>
            <p:nvSpPr>
              <p:cNvPr id="163" name="Oval 162">
                <a:extLst>
                  <a:ext uri="{FF2B5EF4-FFF2-40B4-BE49-F238E27FC236}">
                    <a16:creationId xmlns:a16="http://schemas.microsoft.com/office/drawing/2014/main" id="{FB5125B4-6696-4CCB-A87A-E2A45249C420}"/>
                  </a:ext>
                </a:extLst>
              </p:cNvPr>
              <p:cNvSpPr/>
              <p:nvPr/>
            </p:nvSpPr>
            <p:spPr>
              <a:xfrm>
                <a:off x="5744819" y="745435"/>
                <a:ext cx="695738" cy="695738"/>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64" name="Oval 163">
                <a:extLst>
                  <a:ext uri="{FF2B5EF4-FFF2-40B4-BE49-F238E27FC236}">
                    <a16:creationId xmlns:a16="http://schemas.microsoft.com/office/drawing/2014/main" id="{235BDA36-AF21-4748-A61B-7D82AB293FF5}"/>
                  </a:ext>
                </a:extLst>
              </p:cNvPr>
              <p:cNvSpPr/>
              <p:nvPr/>
            </p:nvSpPr>
            <p:spPr>
              <a:xfrm>
                <a:off x="6626711" y="1319213"/>
                <a:ext cx="628234" cy="62823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65" name="Oval 164">
                <a:extLst>
                  <a:ext uri="{FF2B5EF4-FFF2-40B4-BE49-F238E27FC236}">
                    <a16:creationId xmlns:a16="http://schemas.microsoft.com/office/drawing/2014/main" id="{F6374E02-7F94-4151-9DA6-E2D0338C5240}"/>
                  </a:ext>
                </a:extLst>
              </p:cNvPr>
              <p:cNvSpPr/>
              <p:nvPr/>
            </p:nvSpPr>
            <p:spPr>
              <a:xfrm>
                <a:off x="4921736" y="1319213"/>
                <a:ext cx="628234" cy="62823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66" name="Oval 165">
                <a:extLst>
                  <a:ext uri="{FF2B5EF4-FFF2-40B4-BE49-F238E27FC236}">
                    <a16:creationId xmlns:a16="http://schemas.microsoft.com/office/drawing/2014/main" id="{9F4E033D-1C15-4FE5-9E67-51C1ED361EB0}"/>
                  </a:ext>
                </a:extLst>
              </p:cNvPr>
              <p:cNvSpPr/>
              <p:nvPr/>
            </p:nvSpPr>
            <p:spPr>
              <a:xfrm>
                <a:off x="4140684" y="1766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67" name="Oval 166">
                <a:extLst>
                  <a:ext uri="{FF2B5EF4-FFF2-40B4-BE49-F238E27FC236}">
                    <a16:creationId xmlns:a16="http://schemas.microsoft.com/office/drawing/2014/main" id="{DBDC9B92-6189-4D2D-9D93-9A6B8F50DA21}"/>
                  </a:ext>
                </a:extLst>
              </p:cNvPr>
              <p:cNvSpPr/>
              <p:nvPr/>
            </p:nvSpPr>
            <p:spPr>
              <a:xfrm>
                <a:off x="7510049" y="1766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68" name="Oval 167">
                <a:extLst>
                  <a:ext uri="{FF2B5EF4-FFF2-40B4-BE49-F238E27FC236}">
                    <a16:creationId xmlns:a16="http://schemas.microsoft.com/office/drawing/2014/main" id="{01541CB5-7C86-46E6-BCDC-CFBC81B00657}"/>
                  </a:ext>
                </a:extLst>
              </p:cNvPr>
              <p:cNvSpPr/>
              <p:nvPr/>
            </p:nvSpPr>
            <p:spPr>
              <a:xfrm>
                <a:off x="7716285" y="2579410"/>
                <a:ext cx="612706" cy="61270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69" name="Oval 168">
                <a:extLst>
                  <a:ext uri="{FF2B5EF4-FFF2-40B4-BE49-F238E27FC236}">
                    <a16:creationId xmlns:a16="http://schemas.microsoft.com/office/drawing/2014/main" id="{1441B903-1467-4DA1-8FC0-EF5DF1D4023C}"/>
                  </a:ext>
                </a:extLst>
              </p:cNvPr>
              <p:cNvSpPr/>
              <p:nvPr/>
            </p:nvSpPr>
            <p:spPr>
              <a:xfrm>
                <a:off x="3849963" y="2569471"/>
                <a:ext cx="612706" cy="61270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70" name="Oval 169">
                <a:extLst>
                  <a:ext uri="{FF2B5EF4-FFF2-40B4-BE49-F238E27FC236}">
                    <a16:creationId xmlns:a16="http://schemas.microsoft.com/office/drawing/2014/main" id="{5EC395AB-7BFD-4D87-A55D-3BD647B11A5C}"/>
                  </a:ext>
                </a:extLst>
              </p:cNvPr>
              <p:cNvSpPr/>
              <p:nvPr/>
            </p:nvSpPr>
            <p:spPr>
              <a:xfrm>
                <a:off x="3740632" y="1416532"/>
                <a:ext cx="394046" cy="39404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204" name="Oval 203">
                <a:extLst>
                  <a:ext uri="{FF2B5EF4-FFF2-40B4-BE49-F238E27FC236}">
                    <a16:creationId xmlns:a16="http://schemas.microsoft.com/office/drawing/2014/main" id="{3F01AE2C-80CD-42B2-BC24-D4E3E7C9B791}"/>
                  </a:ext>
                </a:extLst>
              </p:cNvPr>
              <p:cNvSpPr/>
              <p:nvPr/>
            </p:nvSpPr>
            <p:spPr>
              <a:xfrm>
                <a:off x="8054215" y="1416532"/>
                <a:ext cx="394046" cy="39404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205" name="Oval 204">
                <a:extLst>
                  <a:ext uri="{FF2B5EF4-FFF2-40B4-BE49-F238E27FC236}">
                    <a16:creationId xmlns:a16="http://schemas.microsoft.com/office/drawing/2014/main" id="{151E8E83-3C60-4E7D-BBA3-B35B1C539EC7}"/>
                  </a:ext>
                </a:extLst>
              </p:cNvPr>
              <p:cNvSpPr/>
              <p:nvPr/>
            </p:nvSpPr>
            <p:spPr>
              <a:xfrm>
                <a:off x="5878581" y="105602"/>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206" name="Oval 205">
                <a:extLst>
                  <a:ext uri="{FF2B5EF4-FFF2-40B4-BE49-F238E27FC236}">
                    <a16:creationId xmlns:a16="http://schemas.microsoft.com/office/drawing/2014/main" id="{904B5F33-D7E2-4EA2-8265-E22B80AF4E4D}"/>
                  </a:ext>
                </a:extLst>
              </p:cNvPr>
              <p:cNvSpPr/>
              <p:nvPr/>
            </p:nvSpPr>
            <p:spPr>
              <a:xfrm>
                <a:off x="3114466" y="3419473"/>
                <a:ext cx="319296" cy="31929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207" name="Oval 206">
                <a:extLst>
                  <a:ext uri="{FF2B5EF4-FFF2-40B4-BE49-F238E27FC236}">
                    <a16:creationId xmlns:a16="http://schemas.microsoft.com/office/drawing/2014/main" id="{732BBF5F-90C2-457B-BA64-8A1AD1C62141}"/>
                  </a:ext>
                </a:extLst>
              </p:cNvPr>
              <p:cNvSpPr/>
              <p:nvPr/>
            </p:nvSpPr>
            <p:spPr>
              <a:xfrm>
                <a:off x="3794675" y="5116270"/>
                <a:ext cx="282026" cy="28202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208" name="Oval 207">
                <a:extLst>
                  <a:ext uri="{FF2B5EF4-FFF2-40B4-BE49-F238E27FC236}">
                    <a16:creationId xmlns:a16="http://schemas.microsoft.com/office/drawing/2014/main" id="{E0A3F78B-CC8D-4D63-A220-1D346AE2006C}"/>
                  </a:ext>
                </a:extLst>
              </p:cNvPr>
              <p:cNvSpPr/>
              <p:nvPr/>
            </p:nvSpPr>
            <p:spPr>
              <a:xfrm>
                <a:off x="4640020" y="5060156"/>
                <a:ext cx="342902" cy="3429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209" name="Oval 208">
                <a:extLst>
                  <a:ext uri="{FF2B5EF4-FFF2-40B4-BE49-F238E27FC236}">
                    <a16:creationId xmlns:a16="http://schemas.microsoft.com/office/drawing/2014/main" id="{B1A356AC-40F8-4910-9684-1DCCD754405E}"/>
                  </a:ext>
                </a:extLst>
              </p:cNvPr>
              <p:cNvSpPr/>
              <p:nvPr/>
            </p:nvSpPr>
            <p:spPr>
              <a:xfrm>
                <a:off x="4155592" y="4790040"/>
                <a:ext cx="373546" cy="37354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210" name="Oval 209">
                <a:extLst>
                  <a:ext uri="{FF2B5EF4-FFF2-40B4-BE49-F238E27FC236}">
                    <a16:creationId xmlns:a16="http://schemas.microsoft.com/office/drawing/2014/main" id="{334A3464-7800-46EA-9016-42231F15A80F}"/>
                  </a:ext>
                </a:extLst>
              </p:cNvPr>
              <p:cNvSpPr/>
              <p:nvPr/>
            </p:nvSpPr>
            <p:spPr>
              <a:xfrm>
                <a:off x="3892206" y="4042948"/>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211" name="Oval 210">
                <a:extLst>
                  <a:ext uri="{FF2B5EF4-FFF2-40B4-BE49-F238E27FC236}">
                    <a16:creationId xmlns:a16="http://schemas.microsoft.com/office/drawing/2014/main" id="{A53282E3-CB82-4D4F-88DD-3DC1D2F0CEE2}"/>
                  </a:ext>
                </a:extLst>
              </p:cNvPr>
              <p:cNvSpPr/>
              <p:nvPr/>
            </p:nvSpPr>
            <p:spPr>
              <a:xfrm>
                <a:off x="7758528" y="4052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212" name="Oval 211">
                <a:extLst>
                  <a:ext uri="{FF2B5EF4-FFF2-40B4-BE49-F238E27FC236}">
                    <a16:creationId xmlns:a16="http://schemas.microsoft.com/office/drawing/2014/main" id="{9CE95228-E287-4EC5-A18F-42227B7CBD6A}"/>
                  </a:ext>
                </a:extLst>
              </p:cNvPr>
              <p:cNvSpPr/>
              <p:nvPr/>
            </p:nvSpPr>
            <p:spPr>
              <a:xfrm>
                <a:off x="3632338" y="3395454"/>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213" name="Oval 212">
                <a:extLst>
                  <a:ext uri="{FF2B5EF4-FFF2-40B4-BE49-F238E27FC236}">
                    <a16:creationId xmlns:a16="http://schemas.microsoft.com/office/drawing/2014/main" id="{9F316F1B-CEE6-4D1F-BD5A-7B69AC185509}"/>
                  </a:ext>
                </a:extLst>
              </p:cNvPr>
              <p:cNvSpPr/>
              <p:nvPr/>
            </p:nvSpPr>
            <p:spPr>
              <a:xfrm>
                <a:off x="8122650" y="3395454"/>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214" name="Oval 213">
                <a:extLst>
                  <a:ext uri="{FF2B5EF4-FFF2-40B4-BE49-F238E27FC236}">
                    <a16:creationId xmlns:a16="http://schemas.microsoft.com/office/drawing/2014/main" id="{2683C3D8-1877-4BC7-9BC2-8FD11EC49BD1}"/>
                  </a:ext>
                </a:extLst>
              </p:cNvPr>
              <p:cNvSpPr/>
              <p:nvPr/>
            </p:nvSpPr>
            <p:spPr>
              <a:xfrm>
                <a:off x="8747366" y="3412330"/>
                <a:ext cx="338757" cy="338757"/>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215" name="Oval 214">
                <a:extLst>
                  <a:ext uri="{FF2B5EF4-FFF2-40B4-BE49-F238E27FC236}">
                    <a16:creationId xmlns:a16="http://schemas.microsoft.com/office/drawing/2014/main" id="{D037270F-6300-4D73-8590-6076874EFF95}"/>
                  </a:ext>
                </a:extLst>
              </p:cNvPr>
              <p:cNvSpPr/>
              <p:nvPr/>
            </p:nvSpPr>
            <p:spPr>
              <a:xfrm>
                <a:off x="7659444" y="4792108"/>
                <a:ext cx="372514" cy="37251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216" name="Oval 215">
                <a:extLst>
                  <a:ext uri="{FF2B5EF4-FFF2-40B4-BE49-F238E27FC236}">
                    <a16:creationId xmlns:a16="http://schemas.microsoft.com/office/drawing/2014/main" id="{70CBDF30-1360-4752-A817-2B756A2D808A}"/>
                  </a:ext>
                </a:extLst>
              </p:cNvPr>
              <p:cNvSpPr/>
              <p:nvPr/>
            </p:nvSpPr>
            <p:spPr>
              <a:xfrm>
                <a:off x="7208355" y="5062538"/>
                <a:ext cx="341242" cy="34124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217" name="Oval 216">
                <a:extLst>
                  <a:ext uri="{FF2B5EF4-FFF2-40B4-BE49-F238E27FC236}">
                    <a16:creationId xmlns:a16="http://schemas.microsoft.com/office/drawing/2014/main" id="{61D152B7-0B0A-4144-9897-6AD693F6A389}"/>
                  </a:ext>
                </a:extLst>
              </p:cNvPr>
              <p:cNvSpPr/>
              <p:nvPr/>
            </p:nvSpPr>
            <p:spPr>
              <a:xfrm>
                <a:off x="8113230" y="5122069"/>
                <a:ext cx="274566" cy="27456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218" name="Freeform 87">
                <a:extLst>
                  <a:ext uri="{FF2B5EF4-FFF2-40B4-BE49-F238E27FC236}">
                    <a16:creationId xmlns:a16="http://schemas.microsoft.com/office/drawing/2014/main" id="{FBCD4EBB-7CA7-4742-BF5E-9753BD4EE444}"/>
                  </a:ext>
                </a:extLst>
              </p:cNvPr>
              <p:cNvSpPr/>
              <p:nvPr/>
            </p:nvSpPr>
            <p:spPr>
              <a:xfrm>
                <a:off x="5507831" y="5678142"/>
                <a:ext cx="1200744" cy="1046508"/>
              </a:xfrm>
              <a:custGeom>
                <a:avLst/>
                <a:gdLst>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58806 w 1200744"/>
                  <a:gd name="connsiteY19" fmla="*/ 0 h 1046508"/>
                  <a:gd name="connsiteX20" fmla="*/ 692944 w 1200744"/>
                  <a:gd name="connsiteY20" fmla="*/ 0 h 1046508"/>
                  <a:gd name="connsiteX21" fmla="*/ 692944 w 1200744"/>
                  <a:gd name="connsiteY21" fmla="*/ 102530 h 1046508"/>
                  <a:gd name="connsiteX22" fmla="*/ 418176 w 1200744"/>
                  <a:gd name="connsiteY22" fmla="*/ 135174 h 1046508"/>
                  <a:gd name="connsiteX23" fmla="*/ 392350 w 1200744"/>
                  <a:gd name="connsiteY23" fmla="*/ 149653 h 1046508"/>
                  <a:gd name="connsiteX24" fmla="*/ 384326 w 1200744"/>
                  <a:gd name="connsiteY24" fmla="*/ 178152 h 1046508"/>
                  <a:gd name="connsiteX25" fmla="*/ 398804 w 1200744"/>
                  <a:gd name="connsiteY25" fmla="*/ 203977 h 1046508"/>
                  <a:gd name="connsiteX26" fmla="*/ 427304 w 1200744"/>
                  <a:gd name="connsiteY26" fmla="*/ 212001 h 1046508"/>
                  <a:gd name="connsiteX27" fmla="*/ 1104900 w 1200744"/>
                  <a:gd name="connsiteY27" fmla="*/ 131498 h 1046508"/>
                  <a:gd name="connsiteX28" fmla="*/ 1104900 w 1200744"/>
                  <a:gd name="connsiteY28" fmla="*/ 134851 h 1046508"/>
                  <a:gd name="connsiteX29" fmla="*/ 1157493 w 1200744"/>
                  <a:gd name="connsiteY29" fmla="*/ 128603 h 1046508"/>
                  <a:gd name="connsiteX30" fmla="*/ 1200471 w 1200744"/>
                  <a:gd name="connsiteY30" fmla="*/ 162453 h 1046508"/>
                  <a:gd name="connsiteX31" fmla="*/ 1200470 w 1200744"/>
                  <a:gd name="connsiteY31" fmla="*/ 162453 h 1046508"/>
                  <a:gd name="connsiteX32" fmla="*/ 1166620 w 1200744"/>
                  <a:gd name="connsiteY32" fmla="*/ 205431 h 1046508"/>
                  <a:gd name="connsiteX33" fmla="*/ 892471 w 1200744"/>
                  <a:gd name="connsiteY33" fmla="*/ 238001 h 1046508"/>
                  <a:gd name="connsiteX34" fmla="*/ 883444 w 1200744"/>
                  <a:gd name="connsiteY34" fmla="*/ 235459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688181 w 1200744"/>
                  <a:gd name="connsiteY45" fmla="*/ 400083 h 1046508"/>
                  <a:gd name="connsiteX46" fmla="*/ 688181 w 1200744"/>
                  <a:gd name="connsiteY46" fmla="*/ 403433 h 1046508"/>
                  <a:gd name="connsiteX47" fmla="*/ 792956 w 1200744"/>
                  <a:gd name="connsiteY47" fmla="*/ 390985 h 1046508"/>
                  <a:gd name="connsiteX48" fmla="*/ 792956 w 1200744"/>
                  <a:gd name="connsiteY48" fmla="*/ 387635 h 1046508"/>
                  <a:gd name="connsiteX49" fmla="*/ 883444 w 1200744"/>
                  <a:gd name="connsiteY49" fmla="*/ 376884 h 1046508"/>
                  <a:gd name="connsiteX50" fmla="*/ 883444 w 1200744"/>
                  <a:gd name="connsiteY50" fmla="*/ 380235 h 1046508"/>
                  <a:gd name="connsiteX51" fmla="*/ 1157493 w 1200744"/>
                  <a:gd name="connsiteY51" fmla="*/ 347675 h 1046508"/>
                  <a:gd name="connsiteX52" fmla="*/ 1200471 w 1200744"/>
                  <a:gd name="connsiteY52" fmla="*/ 381525 h 1046508"/>
                  <a:gd name="connsiteX53" fmla="*/ 1200470 w 1200744"/>
                  <a:gd name="connsiteY53" fmla="*/ 381526 h 1046508"/>
                  <a:gd name="connsiteX54" fmla="*/ 1166620 w 1200744"/>
                  <a:gd name="connsiteY54" fmla="*/ 424503 h 1046508"/>
                  <a:gd name="connsiteX55" fmla="*/ 883444 w 1200744"/>
                  <a:gd name="connsiteY55" fmla="*/ 458146 h 1046508"/>
                  <a:gd name="connsiteX56" fmla="*/ 883444 w 1200744"/>
                  <a:gd name="connsiteY56" fmla="*/ 506141 h 1046508"/>
                  <a:gd name="connsiteX57" fmla="*/ 792956 w 1200744"/>
                  <a:gd name="connsiteY57" fmla="*/ 516892 h 1046508"/>
                  <a:gd name="connsiteX58" fmla="*/ 792956 w 1200744"/>
                  <a:gd name="connsiteY58" fmla="*/ 468897 h 1046508"/>
                  <a:gd name="connsiteX59" fmla="*/ 688181 w 1200744"/>
                  <a:gd name="connsiteY59" fmla="*/ 481345 h 1046508"/>
                  <a:gd name="connsiteX60" fmla="*/ 688181 w 1200744"/>
                  <a:gd name="connsiteY60" fmla="*/ 529340 h 1046508"/>
                  <a:gd name="connsiteX61" fmla="*/ 418176 w 1200744"/>
                  <a:gd name="connsiteY61" fmla="*/ 561418 h 1046508"/>
                  <a:gd name="connsiteX62" fmla="*/ 392350 w 1200744"/>
                  <a:gd name="connsiteY62" fmla="*/ 575897 h 1046508"/>
                  <a:gd name="connsiteX63" fmla="*/ 384326 w 1200744"/>
                  <a:gd name="connsiteY63" fmla="*/ 604396 h 1046508"/>
                  <a:gd name="connsiteX64" fmla="*/ 398804 w 1200744"/>
                  <a:gd name="connsiteY64" fmla="*/ 630221 h 1046508"/>
                  <a:gd name="connsiteX65" fmla="*/ 427304 w 1200744"/>
                  <a:gd name="connsiteY65" fmla="*/ 638245 h 1046508"/>
                  <a:gd name="connsiteX66" fmla="*/ 1104900 w 1200744"/>
                  <a:gd name="connsiteY66" fmla="*/ 557742 h 1046508"/>
                  <a:gd name="connsiteX67" fmla="*/ 1104900 w 1200744"/>
                  <a:gd name="connsiteY67" fmla="*/ 558713 h 1046508"/>
                  <a:gd name="connsiteX68" fmla="*/ 1157491 w 1200744"/>
                  <a:gd name="connsiteY68" fmla="*/ 552464 h 1046508"/>
                  <a:gd name="connsiteX69" fmla="*/ 1200469 w 1200744"/>
                  <a:gd name="connsiteY69" fmla="*/ 586314 h 1046508"/>
                  <a:gd name="connsiteX70" fmla="*/ 1200468 w 1200744"/>
                  <a:gd name="connsiteY70" fmla="*/ 586314 h 1046508"/>
                  <a:gd name="connsiteX71" fmla="*/ 1166618 w 1200744"/>
                  <a:gd name="connsiteY71" fmla="*/ 629292 h 1046508"/>
                  <a:gd name="connsiteX72" fmla="*/ 1104900 w 1200744"/>
                  <a:gd name="connsiteY72" fmla="*/ 636624 h 1046508"/>
                  <a:gd name="connsiteX73" fmla="*/ 1104900 w 1200744"/>
                  <a:gd name="connsiteY73" fmla="*/ 817908 h 1046508"/>
                  <a:gd name="connsiteX74" fmla="*/ 971550 w 1200744"/>
                  <a:gd name="connsiteY74" fmla="*/ 946496 h 1046508"/>
                  <a:gd name="connsiteX75" fmla="*/ 752889 w 1200744"/>
                  <a:gd name="connsiteY75" fmla="*/ 946496 h 1046508"/>
                  <a:gd name="connsiteX76" fmla="*/ 749140 w 1200744"/>
                  <a:gd name="connsiteY76" fmla="*/ 965065 h 1046508"/>
                  <a:gd name="connsiteX77" fmla="*/ 626271 w 1200744"/>
                  <a:gd name="connsiteY77" fmla="*/ 1046508 h 1046508"/>
                  <a:gd name="connsiteX78" fmla="*/ 533770 w 1200744"/>
                  <a:gd name="connsiteY78" fmla="*/ 1046508 h 1046508"/>
                  <a:gd name="connsiteX79" fmla="*/ 410901 w 1200744"/>
                  <a:gd name="connsiteY79" fmla="*/ 965065 h 1046508"/>
                  <a:gd name="connsiteX80" fmla="*/ 407153 w 1200744"/>
                  <a:gd name="connsiteY80" fmla="*/ 946496 h 1046508"/>
                  <a:gd name="connsiteX81" fmla="*/ 190500 w 1200744"/>
                  <a:gd name="connsiteY81" fmla="*/ 946496 h 1046508"/>
                  <a:gd name="connsiteX82" fmla="*/ 59532 w 1200744"/>
                  <a:gd name="connsiteY82" fmla="*/ 825052 h 1046508"/>
                  <a:gd name="connsiteX83" fmla="*/ 59432 w 1200744"/>
                  <a:gd name="connsiteY83" fmla="*/ 710643 h 1046508"/>
                  <a:gd name="connsiteX84" fmla="*/ 48816 w 1200744"/>
                  <a:gd name="connsiteY84" fmla="*/ 710643 h 1046508"/>
                  <a:gd name="connsiteX85" fmla="*/ 14298 w 1200744"/>
                  <a:gd name="connsiteY85" fmla="*/ 696345 h 1046508"/>
                  <a:gd name="connsiteX86" fmla="*/ 0 w 1200744"/>
                  <a:gd name="connsiteY86" fmla="*/ 661828 h 1046508"/>
                  <a:gd name="connsiteX87" fmla="*/ 14298 w 1200744"/>
                  <a:gd name="connsiteY87" fmla="*/ 627310 h 1046508"/>
                  <a:gd name="connsiteX88" fmla="*/ 48816 w 1200744"/>
                  <a:gd name="connsiteY88" fmla="*/ 613012 h 1046508"/>
                  <a:gd name="connsiteX89" fmla="*/ 59346 w 1200744"/>
                  <a:gd name="connsiteY89" fmla="*/ 613012 h 1046508"/>
                  <a:gd name="connsiteX90" fmla="*/ 59247 w 1200744"/>
                  <a:gd name="connsiteY90" fmla="*/ 501147 h 1046508"/>
                  <a:gd name="connsiteX91" fmla="*/ 48816 w 1200744"/>
                  <a:gd name="connsiteY91" fmla="*/ 501147 h 1046508"/>
                  <a:gd name="connsiteX92" fmla="*/ 14298 w 1200744"/>
                  <a:gd name="connsiteY92" fmla="*/ 486849 h 1046508"/>
                  <a:gd name="connsiteX93" fmla="*/ 0 w 1200744"/>
                  <a:gd name="connsiteY93" fmla="*/ 452332 h 1046508"/>
                  <a:gd name="connsiteX94" fmla="*/ 14298 w 1200744"/>
                  <a:gd name="connsiteY94" fmla="*/ 417814 h 1046508"/>
                  <a:gd name="connsiteX95" fmla="*/ 48816 w 1200744"/>
                  <a:gd name="connsiteY95" fmla="*/ 403516 h 1046508"/>
                  <a:gd name="connsiteX96" fmla="*/ 59161 w 1200744"/>
                  <a:gd name="connsiteY96" fmla="*/ 403516 h 1046508"/>
                  <a:gd name="connsiteX97" fmla="*/ 59063 w 1200744"/>
                  <a:gd name="connsiteY97" fmla="*/ 291651 h 1046508"/>
                  <a:gd name="connsiteX98" fmla="*/ 48816 w 1200744"/>
                  <a:gd name="connsiteY98" fmla="*/ 291651 h 1046508"/>
                  <a:gd name="connsiteX99" fmla="*/ 14298 w 1200744"/>
                  <a:gd name="connsiteY99" fmla="*/ 277353 h 1046508"/>
                  <a:gd name="connsiteX100" fmla="*/ 0 w 1200744"/>
                  <a:gd name="connsiteY100" fmla="*/ 242836 h 1046508"/>
                  <a:gd name="connsiteX101" fmla="*/ 14298 w 1200744"/>
                  <a:gd name="connsiteY101" fmla="*/ 208318 h 1046508"/>
                  <a:gd name="connsiteX102" fmla="*/ 48816 w 1200744"/>
                  <a:gd name="connsiteY102" fmla="*/ 194020 h 1046508"/>
                  <a:gd name="connsiteX103" fmla="*/ 58977 w 1200744"/>
                  <a:gd name="connsiteY103" fmla="*/ 19402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792956 w 1200744"/>
                  <a:gd name="connsiteY49" fmla="*/ 387635 h 1046508"/>
                  <a:gd name="connsiteX50" fmla="*/ 883444 w 1200744"/>
                  <a:gd name="connsiteY50" fmla="*/ 376884 h 1046508"/>
                  <a:gd name="connsiteX51" fmla="*/ 1157493 w 1200744"/>
                  <a:gd name="connsiteY51" fmla="*/ 347675 h 1046508"/>
                  <a:gd name="connsiteX52" fmla="*/ 1200471 w 1200744"/>
                  <a:gd name="connsiteY52" fmla="*/ 381525 h 1046508"/>
                  <a:gd name="connsiteX53" fmla="*/ 1200470 w 1200744"/>
                  <a:gd name="connsiteY53" fmla="*/ 381526 h 1046508"/>
                  <a:gd name="connsiteX54" fmla="*/ 1166620 w 1200744"/>
                  <a:gd name="connsiteY54" fmla="*/ 424503 h 1046508"/>
                  <a:gd name="connsiteX55" fmla="*/ 883444 w 1200744"/>
                  <a:gd name="connsiteY55" fmla="*/ 458146 h 1046508"/>
                  <a:gd name="connsiteX56" fmla="*/ 883444 w 1200744"/>
                  <a:gd name="connsiteY56" fmla="*/ 506141 h 1046508"/>
                  <a:gd name="connsiteX57" fmla="*/ 792956 w 1200744"/>
                  <a:gd name="connsiteY57" fmla="*/ 516892 h 1046508"/>
                  <a:gd name="connsiteX58" fmla="*/ 792956 w 1200744"/>
                  <a:gd name="connsiteY58" fmla="*/ 468897 h 1046508"/>
                  <a:gd name="connsiteX59" fmla="*/ 688181 w 1200744"/>
                  <a:gd name="connsiteY59" fmla="*/ 481345 h 1046508"/>
                  <a:gd name="connsiteX60" fmla="*/ 688181 w 1200744"/>
                  <a:gd name="connsiteY60" fmla="*/ 529340 h 1046508"/>
                  <a:gd name="connsiteX61" fmla="*/ 418176 w 1200744"/>
                  <a:gd name="connsiteY61" fmla="*/ 561418 h 1046508"/>
                  <a:gd name="connsiteX62" fmla="*/ 392350 w 1200744"/>
                  <a:gd name="connsiteY62" fmla="*/ 575897 h 1046508"/>
                  <a:gd name="connsiteX63" fmla="*/ 384326 w 1200744"/>
                  <a:gd name="connsiteY63" fmla="*/ 604396 h 1046508"/>
                  <a:gd name="connsiteX64" fmla="*/ 398804 w 1200744"/>
                  <a:gd name="connsiteY64" fmla="*/ 630221 h 1046508"/>
                  <a:gd name="connsiteX65" fmla="*/ 427304 w 1200744"/>
                  <a:gd name="connsiteY65" fmla="*/ 638245 h 1046508"/>
                  <a:gd name="connsiteX66" fmla="*/ 1104900 w 1200744"/>
                  <a:gd name="connsiteY66" fmla="*/ 557742 h 1046508"/>
                  <a:gd name="connsiteX67" fmla="*/ 1104900 w 1200744"/>
                  <a:gd name="connsiteY67" fmla="*/ 558713 h 1046508"/>
                  <a:gd name="connsiteX68" fmla="*/ 1157491 w 1200744"/>
                  <a:gd name="connsiteY68" fmla="*/ 552464 h 1046508"/>
                  <a:gd name="connsiteX69" fmla="*/ 1200469 w 1200744"/>
                  <a:gd name="connsiteY69" fmla="*/ 586314 h 1046508"/>
                  <a:gd name="connsiteX70" fmla="*/ 1200468 w 1200744"/>
                  <a:gd name="connsiteY70" fmla="*/ 586314 h 1046508"/>
                  <a:gd name="connsiteX71" fmla="*/ 1166618 w 1200744"/>
                  <a:gd name="connsiteY71" fmla="*/ 629292 h 1046508"/>
                  <a:gd name="connsiteX72" fmla="*/ 1104900 w 1200744"/>
                  <a:gd name="connsiteY72" fmla="*/ 636624 h 1046508"/>
                  <a:gd name="connsiteX73" fmla="*/ 1104900 w 1200744"/>
                  <a:gd name="connsiteY73" fmla="*/ 817908 h 1046508"/>
                  <a:gd name="connsiteX74" fmla="*/ 971550 w 1200744"/>
                  <a:gd name="connsiteY74" fmla="*/ 946496 h 1046508"/>
                  <a:gd name="connsiteX75" fmla="*/ 752889 w 1200744"/>
                  <a:gd name="connsiteY75" fmla="*/ 946496 h 1046508"/>
                  <a:gd name="connsiteX76" fmla="*/ 749140 w 1200744"/>
                  <a:gd name="connsiteY76" fmla="*/ 965065 h 1046508"/>
                  <a:gd name="connsiteX77" fmla="*/ 626271 w 1200744"/>
                  <a:gd name="connsiteY77" fmla="*/ 1046508 h 1046508"/>
                  <a:gd name="connsiteX78" fmla="*/ 533770 w 1200744"/>
                  <a:gd name="connsiteY78" fmla="*/ 1046508 h 1046508"/>
                  <a:gd name="connsiteX79" fmla="*/ 410901 w 1200744"/>
                  <a:gd name="connsiteY79" fmla="*/ 965065 h 1046508"/>
                  <a:gd name="connsiteX80" fmla="*/ 407153 w 1200744"/>
                  <a:gd name="connsiteY80" fmla="*/ 946496 h 1046508"/>
                  <a:gd name="connsiteX81" fmla="*/ 190500 w 1200744"/>
                  <a:gd name="connsiteY81" fmla="*/ 946496 h 1046508"/>
                  <a:gd name="connsiteX82" fmla="*/ 59532 w 1200744"/>
                  <a:gd name="connsiteY82" fmla="*/ 825052 h 1046508"/>
                  <a:gd name="connsiteX83" fmla="*/ 59432 w 1200744"/>
                  <a:gd name="connsiteY83" fmla="*/ 710643 h 1046508"/>
                  <a:gd name="connsiteX84" fmla="*/ 48816 w 1200744"/>
                  <a:gd name="connsiteY84" fmla="*/ 710643 h 1046508"/>
                  <a:gd name="connsiteX85" fmla="*/ 14298 w 1200744"/>
                  <a:gd name="connsiteY85" fmla="*/ 696345 h 1046508"/>
                  <a:gd name="connsiteX86" fmla="*/ 0 w 1200744"/>
                  <a:gd name="connsiteY86" fmla="*/ 661828 h 1046508"/>
                  <a:gd name="connsiteX87" fmla="*/ 14298 w 1200744"/>
                  <a:gd name="connsiteY87" fmla="*/ 627310 h 1046508"/>
                  <a:gd name="connsiteX88" fmla="*/ 48816 w 1200744"/>
                  <a:gd name="connsiteY88" fmla="*/ 613012 h 1046508"/>
                  <a:gd name="connsiteX89" fmla="*/ 59346 w 1200744"/>
                  <a:gd name="connsiteY89" fmla="*/ 613012 h 1046508"/>
                  <a:gd name="connsiteX90" fmla="*/ 59247 w 1200744"/>
                  <a:gd name="connsiteY90" fmla="*/ 501147 h 1046508"/>
                  <a:gd name="connsiteX91" fmla="*/ 48816 w 1200744"/>
                  <a:gd name="connsiteY91" fmla="*/ 501147 h 1046508"/>
                  <a:gd name="connsiteX92" fmla="*/ 14298 w 1200744"/>
                  <a:gd name="connsiteY92" fmla="*/ 486849 h 1046508"/>
                  <a:gd name="connsiteX93" fmla="*/ 0 w 1200744"/>
                  <a:gd name="connsiteY93" fmla="*/ 452332 h 1046508"/>
                  <a:gd name="connsiteX94" fmla="*/ 14298 w 1200744"/>
                  <a:gd name="connsiteY94" fmla="*/ 417814 h 1046508"/>
                  <a:gd name="connsiteX95" fmla="*/ 48816 w 1200744"/>
                  <a:gd name="connsiteY95" fmla="*/ 403516 h 1046508"/>
                  <a:gd name="connsiteX96" fmla="*/ 59161 w 1200744"/>
                  <a:gd name="connsiteY96" fmla="*/ 403516 h 1046508"/>
                  <a:gd name="connsiteX97" fmla="*/ 59063 w 1200744"/>
                  <a:gd name="connsiteY97" fmla="*/ 291651 h 1046508"/>
                  <a:gd name="connsiteX98" fmla="*/ 48816 w 1200744"/>
                  <a:gd name="connsiteY98" fmla="*/ 291651 h 1046508"/>
                  <a:gd name="connsiteX99" fmla="*/ 14298 w 1200744"/>
                  <a:gd name="connsiteY99" fmla="*/ 277353 h 1046508"/>
                  <a:gd name="connsiteX100" fmla="*/ 0 w 1200744"/>
                  <a:gd name="connsiteY100" fmla="*/ 242836 h 1046508"/>
                  <a:gd name="connsiteX101" fmla="*/ 14298 w 1200744"/>
                  <a:gd name="connsiteY101" fmla="*/ 208318 h 1046508"/>
                  <a:gd name="connsiteX102" fmla="*/ 48816 w 1200744"/>
                  <a:gd name="connsiteY102" fmla="*/ 194020 h 1046508"/>
                  <a:gd name="connsiteX103" fmla="*/ 58977 w 1200744"/>
                  <a:gd name="connsiteY103" fmla="*/ 194020 h 1046508"/>
                  <a:gd name="connsiteX104" fmla="*/ 58806 w 1200744"/>
                  <a:gd name="connsiteY104"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792956 w 1200744"/>
                  <a:gd name="connsiteY49" fmla="*/ 387635 h 1046508"/>
                  <a:gd name="connsiteX50" fmla="*/ 1157493 w 1200744"/>
                  <a:gd name="connsiteY50" fmla="*/ 347675 h 1046508"/>
                  <a:gd name="connsiteX51" fmla="*/ 1200471 w 1200744"/>
                  <a:gd name="connsiteY51" fmla="*/ 381525 h 1046508"/>
                  <a:gd name="connsiteX52" fmla="*/ 1200470 w 1200744"/>
                  <a:gd name="connsiteY52" fmla="*/ 381526 h 1046508"/>
                  <a:gd name="connsiteX53" fmla="*/ 1166620 w 1200744"/>
                  <a:gd name="connsiteY53" fmla="*/ 424503 h 1046508"/>
                  <a:gd name="connsiteX54" fmla="*/ 883444 w 1200744"/>
                  <a:gd name="connsiteY54" fmla="*/ 458146 h 1046508"/>
                  <a:gd name="connsiteX55" fmla="*/ 883444 w 1200744"/>
                  <a:gd name="connsiteY55" fmla="*/ 506141 h 1046508"/>
                  <a:gd name="connsiteX56" fmla="*/ 792956 w 1200744"/>
                  <a:gd name="connsiteY56" fmla="*/ 516892 h 1046508"/>
                  <a:gd name="connsiteX57" fmla="*/ 792956 w 1200744"/>
                  <a:gd name="connsiteY57" fmla="*/ 468897 h 1046508"/>
                  <a:gd name="connsiteX58" fmla="*/ 688181 w 1200744"/>
                  <a:gd name="connsiteY58" fmla="*/ 481345 h 1046508"/>
                  <a:gd name="connsiteX59" fmla="*/ 688181 w 1200744"/>
                  <a:gd name="connsiteY59" fmla="*/ 529340 h 1046508"/>
                  <a:gd name="connsiteX60" fmla="*/ 418176 w 1200744"/>
                  <a:gd name="connsiteY60" fmla="*/ 561418 h 1046508"/>
                  <a:gd name="connsiteX61" fmla="*/ 392350 w 1200744"/>
                  <a:gd name="connsiteY61" fmla="*/ 575897 h 1046508"/>
                  <a:gd name="connsiteX62" fmla="*/ 384326 w 1200744"/>
                  <a:gd name="connsiteY62" fmla="*/ 604396 h 1046508"/>
                  <a:gd name="connsiteX63" fmla="*/ 398804 w 1200744"/>
                  <a:gd name="connsiteY63" fmla="*/ 630221 h 1046508"/>
                  <a:gd name="connsiteX64" fmla="*/ 427304 w 1200744"/>
                  <a:gd name="connsiteY64" fmla="*/ 638245 h 1046508"/>
                  <a:gd name="connsiteX65" fmla="*/ 1104900 w 1200744"/>
                  <a:gd name="connsiteY65" fmla="*/ 557742 h 1046508"/>
                  <a:gd name="connsiteX66" fmla="*/ 1104900 w 1200744"/>
                  <a:gd name="connsiteY66" fmla="*/ 558713 h 1046508"/>
                  <a:gd name="connsiteX67" fmla="*/ 1157491 w 1200744"/>
                  <a:gd name="connsiteY67" fmla="*/ 552464 h 1046508"/>
                  <a:gd name="connsiteX68" fmla="*/ 1200469 w 1200744"/>
                  <a:gd name="connsiteY68" fmla="*/ 586314 h 1046508"/>
                  <a:gd name="connsiteX69" fmla="*/ 1200468 w 1200744"/>
                  <a:gd name="connsiteY69" fmla="*/ 586314 h 1046508"/>
                  <a:gd name="connsiteX70" fmla="*/ 1166618 w 1200744"/>
                  <a:gd name="connsiteY70" fmla="*/ 629292 h 1046508"/>
                  <a:gd name="connsiteX71" fmla="*/ 1104900 w 1200744"/>
                  <a:gd name="connsiteY71" fmla="*/ 636624 h 1046508"/>
                  <a:gd name="connsiteX72" fmla="*/ 1104900 w 1200744"/>
                  <a:gd name="connsiteY72" fmla="*/ 817908 h 1046508"/>
                  <a:gd name="connsiteX73" fmla="*/ 971550 w 1200744"/>
                  <a:gd name="connsiteY73" fmla="*/ 946496 h 1046508"/>
                  <a:gd name="connsiteX74" fmla="*/ 752889 w 1200744"/>
                  <a:gd name="connsiteY74" fmla="*/ 946496 h 1046508"/>
                  <a:gd name="connsiteX75" fmla="*/ 749140 w 1200744"/>
                  <a:gd name="connsiteY75" fmla="*/ 965065 h 1046508"/>
                  <a:gd name="connsiteX76" fmla="*/ 626271 w 1200744"/>
                  <a:gd name="connsiteY76" fmla="*/ 1046508 h 1046508"/>
                  <a:gd name="connsiteX77" fmla="*/ 533770 w 1200744"/>
                  <a:gd name="connsiteY77" fmla="*/ 1046508 h 1046508"/>
                  <a:gd name="connsiteX78" fmla="*/ 410901 w 1200744"/>
                  <a:gd name="connsiteY78" fmla="*/ 965065 h 1046508"/>
                  <a:gd name="connsiteX79" fmla="*/ 407153 w 1200744"/>
                  <a:gd name="connsiteY79" fmla="*/ 946496 h 1046508"/>
                  <a:gd name="connsiteX80" fmla="*/ 190500 w 1200744"/>
                  <a:gd name="connsiteY80" fmla="*/ 946496 h 1046508"/>
                  <a:gd name="connsiteX81" fmla="*/ 59532 w 1200744"/>
                  <a:gd name="connsiteY81" fmla="*/ 825052 h 1046508"/>
                  <a:gd name="connsiteX82" fmla="*/ 59432 w 1200744"/>
                  <a:gd name="connsiteY82" fmla="*/ 710643 h 1046508"/>
                  <a:gd name="connsiteX83" fmla="*/ 48816 w 1200744"/>
                  <a:gd name="connsiteY83" fmla="*/ 710643 h 1046508"/>
                  <a:gd name="connsiteX84" fmla="*/ 14298 w 1200744"/>
                  <a:gd name="connsiteY84" fmla="*/ 696345 h 1046508"/>
                  <a:gd name="connsiteX85" fmla="*/ 0 w 1200744"/>
                  <a:gd name="connsiteY85" fmla="*/ 661828 h 1046508"/>
                  <a:gd name="connsiteX86" fmla="*/ 14298 w 1200744"/>
                  <a:gd name="connsiteY86" fmla="*/ 627310 h 1046508"/>
                  <a:gd name="connsiteX87" fmla="*/ 48816 w 1200744"/>
                  <a:gd name="connsiteY87" fmla="*/ 613012 h 1046508"/>
                  <a:gd name="connsiteX88" fmla="*/ 59346 w 1200744"/>
                  <a:gd name="connsiteY88" fmla="*/ 613012 h 1046508"/>
                  <a:gd name="connsiteX89" fmla="*/ 59247 w 1200744"/>
                  <a:gd name="connsiteY89" fmla="*/ 501147 h 1046508"/>
                  <a:gd name="connsiteX90" fmla="*/ 48816 w 1200744"/>
                  <a:gd name="connsiteY90" fmla="*/ 501147 h 1046508"/>
                  <a:gd name="connsiteX91" fmla="*/ 14298 w 1200744"/>
                  <a:gd name="connsiteY91" fmla="*/ 486849 h 1046508"/>
                  <a:gd name="connsiteX92" fmla="*/ 0 w 1200744"/>
                  <a:gd name="connsiteY92" fmla="*/ 452332 h 1046508"/>
                  <a:gd name="connsiteX93" fmla="*/ 14298 w 1200744"/>
                  <a:gd name="connsiteY93" fmla="*/ 417814 h 1046508"/>
                  <a:gd name="connsiteX94" fmla="*/ 48816 w 1200744"/>
                  <a:gd name="connsiteY94" fmla="*/ 403516 h 1046508"/>
                  <a:gd name="connsiteX95" fmla="*/ 59161 w 1200744"/>
                  <a:gd name="connsiteY95" fmla="*/ 403516 h 1046508"/>
                  <a:gd name="connsiteX96" fmla="*/ 59063 w 1200744"/>
                  <a:gd name="connsiteY96" fmla="*/ 291651 h 1046508"/>
                  <a:gd name="connsiteX97" fmla="*/ 48816 w 1200744"/>
                  <a:gd name="connsiteY97" fmla="*/ 291651 h 1046508"/>
                  <a:gd name="connsiteX98" fmla="*/ 14298 w 1200744"/>
                  <a:gd name="connsiteY98" fmla="*/ 277353 h 1046508"/>
                  <a:gd name="connsiteX99" fmla="*/ 0 w 1200744"/>
                  <a:gd name="connsiteY99" fmla="*/ 242836 h 1046508"/>
                  <a:gd name="connsiteX100" fmla="*/ 14298 w 1200744"/>
                  <a:gd name="connsiteY100" fmla="*/ 208318 h 1046508"/>
                  <a:gd name="connsiteX101" fmla="*/ 48816 w 1200744"/>
                  <a:gd name="connsiteY101" fmla="*/ 194020 h 1046508"/>
                  <a:gd name="connsiteX102" fmla="*/ 58977 w 1200744"/>
                  <a:gd name="connsiteY102" fmla="*/ 194020 h 1046508"/>
                  <a:gd name="connsiteX103" fmla="*/ 58806 w 1200744"/>
                  <a:gd name="connsiteY103"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1157493 w 1200744"/>
                  <a:gd name="connsiteY49" fmla="*/ 347675 h 1046508"/>
                  <a:gd name="connsiteX50" fmla="*/ 1200471 w 1200744"/>
                  <a:gd name="connsiteY50" fmla="*/ 381525 h 1046508"/>
                  <a:gd name="connsiteX51" fmla="*/ 1200470 w 1200744"/>
                  <a:gd name="connsiteY51" fmla="*/ 381526 h 1046508"/>
                  <a:gd name="connsiteX52" fmla="*/ 1166620 w 1200744"/>
                  <a:gd name="connsiteY52" fmla="*/ 424503 h 1046508"/>
                  <a:gd name="connsiteX53" fmla="*/ 883444 w 1200744"/>
                  <a:gd name="connsiteY53" fmla="*/ 458146 h 1046508"/>
                  <a:gd name="connsiteX54" fmla="*/ 883444 w 1200744"/>
                  <a:gd name="connsiteY54" fmla="*/ 506141 h 1046508"/>
                  <a:gd name="connsiteX55" fmla="*/ 792956 w 1200744"/>
                  <a:gd name="connsiteY55" fmla="*/ 516892 h 1046508"/>
                  <a:gd name="connsiteX56" fmla="*/ 792956 w 1200744"/>
                  <a:gd name="connsiteY56" fmla="*/ 468897 h 1046508"/>
                  <a:gd name="connsiteX57" fmla="*/ 688181 w 1200744"/>
                  <a:gd name="connsiteY57" fmla="*/ 481345 h 1046508"/>
                  <a:gd name="connsiteX58" fmla="*/ 688181 w 1200744"/>
                  <a:gd name="connsiteY58" fmla="*/ 529340 h 1046508"/>
                  <a:gd name="connsiteX59" fmla="*/ 418176 w 1200744"/>
                  <a:gd name="connsiteY59" fmla="*/ 561418 h 1046508"/>
                  <a:gd name="connsiteX60" fmla="*/ 392350 w 1200744"/>
                  <a:gd name="connsiteY60" fmla="*/ 575897 h 1046508"/>
                  <a:gd name="connsiteX61" fmla="*/ 384326 w 1200744"/>
                  <a:gd name="connsiteY61" fmla="*/ 604396 h 1046508"/>
                  <a:gd name="connsiteX62" fmla="*/ 398804 w 1200744"/>
                  <a:gd name="connsiteY62" fmla="*/ 630221 h 1046508"/>
                  <a:gd name="connsiteX63" fmla="*/ 427304 w 1200744"/>
                  <a:gd name="connsiteY63" fmla="*/ 638245 h 1046508"/>
                  <a:gd name="connsiteX64" fmla="*/ 1104900 w 1200744"/>
                  <a:gd name="connsiteY64" fmla="*/ 557742 h 1046508"/>
                  <a:gd name="connsiteX65" fmla="*/ 1104900 w 1200744"/>
                  <a:gd name="connsiteY65" fmla="*/ 558713 h 1046508"/>
                  <a:gd name="connsiteX66" fmla="*/ 1157491 w 1200744"/>
                  <a:gd name="connsiteY66" fmla="*/ 552464 h 1046508"/>
                  <a:gd name="connsiteX67" fmla="*/ 1200469 w 1200744"/>
                  <a:gd name="connsiteY67" fmla="*/ 586314 h 1046508"/>
                  <a:gd name="connsiteX68" fmla="*/ 1200468 w 1200744"/>
                  <a:gd name="connsiteY68" fmla="*/ 586314 h 1046508"/>
                  <a:gd name="connsiteX69" fmla="*/ 1166618 w 1200744"/>
                  <a:gd name="connsiteY69" fmla="*/ 629292 h 1046508"/>
                  <a:gd name="connsiteX70" fmla="*/ 1104900 w 1200744"/>
                  <a:gd name="connsiteY70" fmla="*/ 636624 h 1046508"/>
                  <a:gd name="connsiteX71" fmla="*/ 1104900 w 1200744"/>
                  <a:gd name="connsiteY71" fmla="*/ 817908 h 1046508"/>
                  <a:gd name="connsiteX72" fmla="*/ 971550 w 1200744"/>
                  <a:gd name="connsiteY72" fmla="*/ 946496 h 1046508"/>
                  <a:gd name="connsiteX73" fmla="*/ 752889 w 1200744"/>
                  <a:gd name="connsiteY73" fmla="*/ 946496 h 1046508"/>
                  <a:gd name="connsiteX74" fmla="*/ 749140 w 1200744"/>
                  <a:gd name="connsiteY74" fmla="*/ 965065 h 1046508"/>
                  <a:gd name="connsiteX75" fmla="*/ 626271 w 1200744"/>
                  <a:gd name="connsiteY75" fmla="*/ 1046508 h 1046508"/>
                  <a:gd name="connsiteX76" fmla="*/ 533770 w 1200744"/>
                  <a:gd name="connsiteY76" fmla="*/ 1046508 h 1046508"/>
                  <a:gd name="connsiteX77" fmla="*/ 410901 w 1200744"/>
                  <a:gd name="connsiteY77" fmla="*/ 965065 h 1046508"/>
                  <a:gd name="connsiteX78" fmla="*/ 407153 w 1200744"/>
                  <a:gd name="connsiteY78" fmla="*/ 946496 h 1046508"/>
                  <a:gd name="connsiteX79" fmla="*/ 190500 w 1200744"/>
                  <a:gd name="connsiteY79" fmla="*/ 946496 h 1046508"/>
                  <a:gd name="connsiteX80" fmla="*/ 59532 w 1200744"/>
                  <a:gd name="connsiteY80" fmla="*/ 825052 h 1046508"/>
                  <a:gd name="connsiteX81" fmla="*/ 59432 w 1200744"/>
                  <a:gd name="connsiteY81" fmla="*/ 710643 h 1046508"/>
                  <a:gd name="connsiteX82" fmla="*/ 48816 w 1200744"/>
                  <a:gd name="connsiteY82" fmla="*/ 710643 h 1046508"/>
                  <a:gd name="connsiteX83" fmla="*/ 14298 w 1200744"/>
                  <a:gd name="connsiteY83" fmla="*/ 696345 h 1046508"/>
                  <a:gd name="connsiteX84" fmla="*/ 0 w 1200744"/>
                  <a:gd name="connsiteY84" fmla="*/ 661828 h 1046508"/>
                  <a:gd name="connsiteX85" fmla="*/ 14298 w 1200744"/>
                  <a:gd name="connsiteY85" fmla="*/ 627310 h 1046508"/>
                  <a:gd name="connsiteX86" fmla="*/ 48816 w 1200744"/>
                  <a:gd name="connsiteY86" fmla="*/ 613012 h 1046508"/>
                  <a:gd name="connsiteX87" fmla="*/ 59346 w 1200744"/>
                  <a:gd name="connsiteY87" fmla="*/ 613012 h 1046508"/>
                  <a:gd name="connsiteX88" fmla="*/ 59247 w 1200744"/>
                  <a:gd name="connsiteY88" fmla="*/ 501147 h 1046508"/>
                  <a:gd name="connsiteX89" fmla="*/ 48816 w 1200744"/>
                  <a:gd name="connsiteY89" fmla="*/ 501147 h 1046508"/>
                  <a:gd name="connsiteX90" fmla="*/ 14298 w 1200744"/>
                  <a:gd name="connsiteY90" fmla="*/ 486849 h 1046508"/>
                  <a:gd name="connsiteX91" fmla="*/ 0 w 1200744"/>
                  <a:gd name="connsiteY91" fmla="*/ 452332 h 1046508"/>
                  <a:gd name="connsiteX92" fmla="*/ 14298 w 1200744"/>
                  <a:gd name="connsiteY92" fmla="*/ 417814 h 1046508"/>
                  <a:gd name="connsiteX93" fmla="*/ 48816 w 1200744"/>
                  <a:gd name="connsiteY93" fmla="*/ 403516 h 1046508"/>
                  <a:gd name="connsiteX94" fmla="*/ 59161 w 1200744"/>
                  <a:gd name="connsiteY94" fmla="*/ 403516 h 1046508"/>
                  <a:gd name="connsiteX95" fmla="*/ 59063 w 1200744"/>
                  <a:gd name="connsiteY95" fmla="*/ 291651 h 1046508"/>
                  <a:gd name="connsiteX96" fmla="*/ 48816 w 1200744"/>
                  <a:gd name="connsiteY96" fmla="*/ 291651 h 1046508"/>
                  <a:gd name="connsiteX97" fmla="*/ 14298 w 1200744"/>
                  <a:gd name="connsiteY97" fmla="*/ 277353 h 1046508"/>
                  <a:gd name="connsiteX98" fmla="*/ 0 w 1200744"/>
                  <a:gd name="connsiteY98" fmla="*/ 242836 h 1046508"/>
                  <a:gd name="connsiteX99" fmla="*/ 14298 w 1200744"/>
                  <a:gd name="connsiteY99" fmla="*/ 208318 h 1046508"/>
                  <a:gd name="connsiteX100" fmla="*/ 48816 w 1200744"/>
                  <a:gd name="connsiteY100" fmla="*/ 194020 h 1046508"/>
                  <a:gd name="connsiteX101" fmla="*/ 58977 w 1200744"/>
                  <a:gd name="connsiteY101" fmla="*/ 194020 h 1046508"/>
                  <a:gd name="connsiteX102" fmla="*/ 58806 w 1200744"/>
                  <a:gd name="connsiteY102"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1157493 w 1200744"/>
                  <a:gd name="connsiteY48" fmla="*/ 347675 h 1046508"/>
                  <a:gd name="connsiteX49" fmla="*/ 1200471 w 1200744"/>
                  <a:gd name="connsiteY49" fmla="*/ 381525 h 1046508"/>
                  <a:gd name="connsiteX50" fmla="*/ 1200470 w 1200744"/>
                  <a:gd name="connsiteY50" fmla="*/ 381526 h 1046508"/>
                  <a:gd name="connsiteX51" fmla="*/ 1166620 w 1200744"/>
                  <a:gd name="connsiteY51" fmla="*/ 424503 h 1046508"/>
                  <a:gd name="connsiteX52" fmla="*/ 883444 w 1200744"/>
                  <a:gd name="connsiteY52" fmla="*/ 458146 h 1046508"/>
                  <a:gd name="connsiteX53" fmla="*/ 883444 w 1200744"/>
                  <a:gd name="connsiteY53" fmla="*/ 506141 h 1046508"/>
                  <a:gd name="connsiteX54" fmla="*/ 792956 w 1200744"/>
                  <a:gd name="connsiteY54" fmla="*/ 516892 h 1046508"/>
                  <a:gd name="connsiteX55" fmla="*/ 792956 w 1200744"/>
                  <a:gd name="connsiteY55" fmla="*/ 468897 h 1046508"/>
                  <a:gd name="connsiteX56" fmla="*/ 688181 w 1200744"/>
                  <a:gd name="connsiteY56" fmla="*/ 481345 h 1046508"/>
                  <a:gd name="connsiteX57" fmla="*/ 688181 w 1200744"/>
                  <a:gd name="connsiteY57" fmla="*/ 529340 h 1046508"/>
                  <a:gd name="connsiteX58" fmla="*/ 418176 w 1200744"/>
                  <a:gd name="connsiteY58" fmla="*/ 561418 h 1046508"/>
                  <a:gd name="connsiteX59" fmla="*/ 392350 w 1200744"/>
                  <a:gd name="connsiteY59" fmla="*/ 575897 h 1046508"/>
                  <a:gd name="connsiteX60" fmla="*/ 384326 w 1200744"/>
                  <a:gd name="connsiteY60" fmla="*/ 604396 h 1046508"/>
                  <a:gd name="connsiteX61" fmla="*/ 398804 w 1200744"/>
                  <a:gd name="connsiteY61" fmla="*/ 630221 h 1046508"/>
                  <a:gd name="connsiteX62" fmla="*/ 427304 w 1200744"/>
                  <a:gd name="connsiteY62" fmla="*/ 638245 h 1046508"/>
                  <a:gd name="connsiteX63" fmla="*/ 1104900 w 1200744"/>
                  <a:gd name="connsiteY63" fmla="*/ 557742 h 1046508"/>
                  <a:gd name="connsiteX64" fmla="*/ 1104900 w 1200744"/>
                  <a:gd name="connsiteY64" fmla="*/ 558713 h 1046508"/>
                  <a:gd name="connsiteX65" fmla="*/ 1157491 w 1200744"/>
                  <a:gd name="connsiteY65" fmla="*/ 552464 h 1046508"/>
                  <a:gd name="connsiteX66" fmla="*/ 1200469 w 1200744"/>
                  <a:gd name="connsiteY66" fmla="*/ 586314 h 1046508"/>
                  <a:gd name="connsiteX67" fmla="*/ 1200468 w 1200744"/>
                  <a:gd name="connsiteY67" fmla="*/ 586314 h 1046508"/>
                  <a:gd name="connsiteX68" fmla="*/ 1166618 w 1200744"/>
                  <a:gd name="connsiteY68" fmla="*/ 629292 h 1046508"/>
                  <a:gd name="connsiteX69" fmla="*/ 1104900 w 1200744"/>
                  <a:gd name="connsiteY69" fmla="*/ 636624 h 1046508"/>
                  <a:gd name="connsiteX70" fmla="*/ 1104900 w 1200744"/>
                  <a:gd name="connsiteY70" fmla="*/ 817908 h 1046508"/>
                  <a:gd name="connsiteX71" fmla="*/ 971550 w 1200744"/>
                  <a:gd name="connsiteY71" fmla="*/ 946496 h 1046508"/>
                  <a:gd name="connsiteX72" fmla="*/ 752889 w 1200744"/>
                  <a:gd name="connsiteY72" fmla="*/ 946496 h 1046508"/>
                  <a:gd name="connsiteX73" fmla="*/ 749140 w 1200744"/>
                  <a:gd name="connsiteY73" fmla="*/ 965065 h 1046508"/>
                  <a:gd name="connsiteX74" fmla="*/ 626271 w 1200744"/>
                  <a:gd name="connsiteY74" fmla="*/ 1046508 h 1046508"/>
                  <a:gd name="connsiteX75" fmla="*/ 533770 w 1200744"/>
                  <a:gd name="connsiteY75" fmla="*/ 1046508 h 1046508"/>
                  <a:gd name="connsiteX76" fmla="*/ 410901 w 1200744"/>
                  <a:gd name="connsiteY76" fmla="*/ 965065 h 1046508"/>
                  <a:gd name="connsiteX77" fmla="*/ 407153 w 1200744"/>
                  <a:gd name="connsiteY77" fmla="*/ 946496 h 1046508"/>
                  <a:gd name="connsiteX78" fmla="*/ 190500 w 1200744"/>
                  <a:gd name="connsiteY78" fmla="*/ 946496 h 1046508"/>
                  <a:gd name="connsiteX79" fmla="*/ 59532 w 1200744"/>
                  <a:gd name="connsiteY79" fmla="*/ 825052 h 1046508"/>
                  <a:gd name="connsiteX80" fmla="*/ 59432 w 1200744"/>
                  <a:gd name="connsiteY80" fmla="*/ 710643 h 1046508"/>
                  <a:gd name="connsiteX81" fmla="*/ 48816 w 1200744"/>
                  <a:gd name="connsiteY81" fmla="*/ 710643 h 1046508"/>
                  <a:gd name="connsiteX82" fmla="*/ 14298 w 1200744"/>
                  <a:gd name="connsiteY82" fmla="*/ 696345 h 1046508"/>
                  <a:gd name="connsiteX83" fmla="*/ 0 w 1200744"/>
                  <a:gd name="connsiteY83" fmla="*/ 661828 h 1046508"/>
                  <a:gd name="connsiteX84" fmla="*/ 14298 w 1200744"/>
                  <a:gd name="connsiteY84" fmla="*/ 627310 h 1046508"/>
                  <a:gd name="connsiteX85" fmla="*/ 48816 w 1200744"/>
                  <a:gd name="connsiteY85" fmla="*/ 613012 h 1046508"/>
                  <a:gd name="connsiteX86" fmla="*/ 59346 w 1200744"/>
                  <a:gd name="connsiteY86" fmla="*/ 613012 h 1046508"/>
                  <a:gd name="connsiteX87" fmla="*/ 59247 w 1200744"/>
                  <a:gd name="connsiteY87" fmla="*/ 501147 h 1046508"/>
                  <a:gd name="connsiteX88" fmla="*/ 48816 w 1200744"/>
                  <a:gd name="connsiteY88" fmla="*/ 501147 h 1046508"/>
                  <a:gd name="connsiteX89" fmla="*/ 14298 w 1200744"/>
                  <a:gd name="connsiteY89" fmla="*/ 486849 h 1046508"/>
                  <a:gd name="connsiteX90" fmla="*/ 0 w 1200744"/>
                  <a:gd name="connsiteY90" fmla="*/ 452332 h 1046508"/>
                  <a:gd name="connsiteX91" fmla="*/ 14298 w 1200744"/>
                  <a:gd name="connsiteY91" fmla="*/ 417814 h 1046508"/>
                  <a:gd name="connsiteX92" fmla="*/ 48816 w 1200744"/>
                  <a:gd name="connsiteY92" fmla="*/ 403516 h 1046508"/>
                  <a:gd name="connsiteX93" fmla="*/ 59161 w 1200744"/>
                  <a:gd name="connsiteY93" fmla="*/ 403516 h 1046508"/>
                  <a:gd name="connsiteX94" fmla="*/ 59063 w 1200744"/>
                  <a:gd name="connsiteY94" fmla="*/ 291651 h 1046508"/>
                  <a:gd name="connsiteX95" fmla="*/ 48816 w 1200744"/>
                  <a:gd name="connsiteY95" fmla="*/ 291651 h 1046508"/>
                  <a:gd name="connsiteX96" fmla="*/ 14298 w 1200744"/>
                  <a:gd name="connsiteY96" fmla="*/ 277353 h 1046508"/>
                  <a:gd name="connsiteX97" fmla="*/ 0 w 1200744"/>
                  <a:gd name="connsiteY97" fmla="*/ 242836 h 1046508"/>
                  <a:gd name="connsiteX98" fmla="*/ 14298 w 1200744"/>
                  <a:gd name="connsiteY98" fmla="*/ 208318 h 1046508"/>
                  <a:gd name="connsiteX99" fmla="*/ 48816 w 1200744"/>
                  <a:gd name="connsiteY99" fmla="*/ 194020 h 1046508"/>
                  <a:gd name="connsiteX100" fmla="*/ 58977 w 1200744"/>
                  <a:gd name="connsiteY100" fmla="*/ 194020 h 1046508"/>
                  <a:gd name="connsiteX101" fmla="*/ 58806 w 1200744"/>
                  <a:gd name="connsiteY101"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1157493 w 1200744"/>
                  <a:gd name="connsiteY47" fmla="*/ 347675 h 1046508"/>
                  <a:gd name="connsiteX48" fmla="*/ 1200471 w 1200744"/>
                  <a:gd name="connsiteY48" fmla="*/ 381525 h 1046508"/>
                  <a:gd name="connsiteX49" fmla="*/ 1200470 w 1200744"/>
                  <a:gd name="connsiteY49" fmla="*/ 381526 h 1046508"/>
                  <a:gd name="connsiteX50" fmla="*/ 1166620 w 1200744"/>
                  <a:gd name="connsiteY50" fmla="*/ 424503 h 1046508"/>
                  <a:gd name="connsiteX51" fmla="*/ 883444 w 1200744"/>
                  <a:gd name="connsiteY51" fmla="*/ 458146 h 1046508"/>
                  <a:gd name="connsiteX52" fmla="*/ 883444 w 1200744"/>
                  <a:gd name="connsiteY52" fmla="*/ 506141 h 1046508"/>
                  <a:gd name="connsiteX53" fmla="*/ 792956 w 1200744"/>
                  <a:gd name="connsiteY53" fmla="*/ 516892 h 1046508"/>
                  <a:gd name="connsiteX54" fmla="*/ 792956 w 1200744"/>
                  <a:gd name="connsiteY54" fmla="*/ 468897 h 1046508"/>
                  <a:gd name="connsiteX55" fmla="*/ 688181 w 1200744"/>
                  <a:gd name="connsiteY55" fmla="*/ 481345 h 1046508"/>
                  <a:gd name="connsiteX56" fmla="*/ 688181 w 1200744"/>
                  <a:gd name="connsiteY56" fmla="*/ 529340 h 1046508"/>
                  <a:gd name="connsiteX57" fmla="*/ 418176 w 1200744"/>
                  <a:gd name="connsiteY57" fmla="*/ 561418 h 1046508"/>
                  <a:gd name="connsiteX58" fmla="*/ 392350 w 1200744"/>
                  <a:gd name="connsiteY58" fmla="*/ 575897 h 1046508"/>
                  <a:gd name="connsiteX59" fmla="*/ 384326 w 1200744"/>
                  <a:gd name="connsiteY59" fmla="*/ 604396 h 1046508"/>
                  <a:gd name="connsiteX60" fmla="*/ 398804 w 1200744"/>
                  <a:gd name="connsiteY60" fmla="*/ 630221 h 1046508"/>
                  <a:gd name="connsiteX61" fmla="*/ 427304 w 1200744"/>
                  <a:gd name="connsiteY61" fmla="*/ 638245 h 1046508"/>
                  <a:gd name="connsiteX62" fmla="*/ 1104900 w 1200744"/>
                  <a:gd name="connsiteY62" fmla="*/ 557742 h 1046508"/>
                  <a:gd name="connsiteX63" fmla="*/ 1104900 w 1200744"/>
                  <a:gd name="connsiteY63" fmla="*/ 558713 h 1046508"/>
                  <a:gd name="connsiteX64" fmla="*/ 1157491 w 1200744"/>
                  <a:gd name="connsiteY64" fmla="*/ 552464 h 1046508"/>
                  <a:gd name="connsiteX65" fmla="*/ 1200469 w 1200744"/>
                  <a:gd name="connsiteY65" fmla="*/ 586314 h 1046508"/>
                  <a:gd name="connsiteX66" fmla="*/ 1200468 w 1200744"/>
                  <a:gd name="connsiteY66" fmla="*/ 586314 h 1046508"/>
                  <a:gd name="connsiteX67" fmla="*/ 1166618 w 1200744"/>
                  <a:gd name="connsiteY67" fmla="*/ 629292 h 1046508"/>
                  <a:gd name="connsiteX68" fmla="*/ 1104900 w 1200744"/>
                  <a:gd name="connsiteY68" fmla="*/ 636624 h 1046508"/>
                  <a:gd name="connsiteX69" fmla="*/ 1104900 w 1200744"/>
                  <a:gd name="connsiteY69" fmla="*/ 817908 h 1046508"/>
                  <a:gd name="connsiteX70" fmla="*/ 971550 w 1200744"/>
                  <a:gd name="connsiteY70" fmla="*/ 946496 h 1046508"/>
                  <a:gd name="connsiteX71" fmla="*/ 752889 w 1200744"/>
                  <a:gd name="connsiteY71" fmla="*/ 946496 h 1046508"/>
                  <a:gd name="connsiteX72" fmla="*/ 749140 w 1200744"/>
                  <a:gd name="connsiteY72" fmla="*/ 965065 h 1046508"/>
                  <a:gd name="connsiteX73" fmla="*/ 626271 w 1200744"/>
                  <a:gd name="connsiteY73" fmla="*/ 1046508 h 1046508"/>
                  <a:gd name="connsiteX74" fmla="*/ 533770 w 1200744"/>
                  <a:gd name="connsiteY74" fmla="*/ 1046508 h 1046508"/>
                  <a:gd name="connsiteX75" fmla="*/ 410901 w 1200744"/>
                  <a:gd name="connsiteY75" fmla="*/ 965065 h 1046508"/>
                  <a:gd name="connsiteX76" fmla="*/ 407153 w 1200744"/>
                  <a:gd name="connsiteY76" fmla="*/ 946496 h 1046508"/>
                  <a:gd name="connsiteX77" fmla="*/ 190500 w 1200744"/>
                  <a:gd name="connsiteY77" fmla="*/ 946496 h 1046508"/>
                  <a:gd name="connsiteX78" fmla="*/ 59532 w 1200744"/>
                  <a:gd name="connsiteY78" fmla="*/ 825052 h 1046508"/>
                  <a:gd name="connsiteX79" fmla="*/ 59432 w 1200744"/>
                  <a:gd name="connsiteY79" fmla="*/ 710643 h 1046508"/>
                  <a:gd name="connsiteX80" fmla="*/ 48816 w 1200744"/>
                  <a:gd name="connsiteY80" fmla="*/ 710643 h 1046508"/>
                  <a:gd name="connsiteX81" fmla="*/ 14298 w 1200744"/>
                  <a:gd name="connsiteY81" fmla="*/ 696345 h 1046508"/>
                  <a:gd name="connsiteX82" fmla="*/ 0 w 1200744"/>
                  <a:gd name="connsiteY82" fmla="*/ 661828 h 1046508"/>
                  <a:gd name="connsiteX83" fmla="*/ 14298 w 1200744"/>
                  <a:gd name="connsiteY83" fmla="*/ 627310 h 1046508"/>
                  <a:gd name="connsiteX84" fmla="*/ 48816 w 1200744"/>
                  <a:gd name="connsiteY84" fmla="*/ 613012 h 1046508"/>
                  <a:gd name="connsiteX85" fmla="*/ 59346 w 1200744"/>
                  <a:gd name="connsiteY85" fmla="*/ 613012 h 1046508"/>
                  <a:gd name="connsiteX86" fmla="*/ 59247 w 1200744"/>
                  <a:gd name="connsiteY86" fmla="*/ 501147 h 1046508"/>
                  <a:gd name="connsiteX87" fmla="*/ 48816 w 1200744"/>
                  <a:gd name="connsiteY87" fmla="*/ 501147 h 1046508"/>
                  <a:gd name="connsiteX88" fmla="*/ 14298 w 1200744"/>
                  <a:gd name="connsiteY88" fmla="*/ 486849 h 1046508"/>
                  <a:gd name="connsiteX89" fmla="*/ 0 w 1200744"/>
                  <a:gd name="connsiteY89" fmla="*/ 452332 h 1046508"/>
                  <a:gd name="connsiteX90" fmla="*/ 14298 w 1200744"/>
                  <a:gd name="connsiteY90" fmla="*/ 417814 h 1046508"/>
                  <a:gd name="connsiteX91" fmla="*/ 48816 w 1200744"/>
                  <a:gd name="connsiteY91" fmla="*/ 403516 h 1046508"/>
                  <a:gd name="connsiteX92" fmla="*/ 59161 w 1200744"/>
                  <a:gd name="connsiteY92" fmla="*/ 403516 h 1046508"/>
                  <a:gd name="connsiteX93" fmla="*/ 59063 w 1200744"/>
                  <a:gd name="connsiteY93" fmla="*/ 291651 h 1046508"/>
                  <a:gd name="connsiteX94" fmla="*/ 48816 w 1200744"/>
                  <a:gd name="connsiteY94" fmla="*/ 291651 h 1046508"/>
                  <a:gd name="connsiteX95" fmla="*/ 14298 w 1200744"/>
                  <a:gd name="connsiteY95" fmla="*/ 277353 h 1046508"/>
                  <a:gd name="connsiteX96" fmla="*/ 0 w 1200744"/>
                  <a:gd name="connsiteY96" fmla="*/ 242836 h 1046508"/>
                  <a:gd name="connsiteX97" fmla="*/ 14298 w 1200744"/>
                  <a:gd name="connsiteY97" fmla="*/ 208318 h 1046508"/>
                  <a:gd name="connsiteX98" fmla="*/ 48816 w 1200744"/>
                  <a:gd name="connsiteY98" fmla="*/ 194020 h 1046508"/>
                  <a:gd name="connsiteX99" fmla="*/ 58977 w 1200744"/>
                  <a:gd name="connsiteY99" fmla="*/ 194020 h 1046508"/>
                  <a:gd name="connsiteX100" fmla="*/ 58806 w 1200744"/>
                  <a:gd name="connsiteY100"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1157493 w 1200744"/>
                  <a:gd name="connsiteY46" fmla="*/ 347675 h 1046508"/>
                  <a:gd name="connsiteX47" fmla="*/ 1200471 w 1200744"/>
                  <a:gd name="connsiteY47" fmla="*/ 381525 h 1046508"/>
                  <a:gd name="connsiteX48" fmla="*/ 1200470 w 1200744"/>
                  <a:gd name="connsiteY48" fmla="*/ 381526 h 1046508"/>
                  <a:gd name="connsiteX49" fmla="*/ 1166620 w 1200744"/>
                  <a:gd name="connsiteY49" fmla="*/ 424503 h 1046508"/>
                  <a:gd name="connsiteX50" fmla="*/ 883444 w 1200744"/>
                  <a:gd name="connsiteY50" fmla="*/ 458146 h 1046508"/>
                  <a:gd name="connsiteX51" fmla="*/ 883444 w 1200744"/>
                  <a:gd name="connsiteY51" fmla="*/ 506141 h 1046508"/>
                  <a:gd name="connsiteX52" fmla="*/ 792956 w 1200744"/>
                  <a:gd name="connsiteY52" fmla="*/ 516892 h 1046508"/>
                  <a:gd name="connsiteX53" fmla="*/ 792956 w 1200744"/>
                  <a:gd name="connsiteY53" fmla="*/ 468897 h 1046508"/>
                  <a:gd name="connsiteX54" fmla="*/ 688181 w 1200744"/>
                  <a:gd name="connsiteY54" fmla="*/ 481345 h 1046508"/>
                  <a:gd name="connsiteX55" fmla="*/ 688181 w 1200744"/>
                  <a:gd name="connsiteY55" fmla="*/ 529340 h 1046508"/>
                  <a:gd name="connsiteX56" fmla="*/ 418176 w 1200744"/>
                  <a:gd name="connsiteY56" fmla="*/ 561418 h 1046508"/>
                  <a:gd name="connsiteX57" fmla="*/ 392350 w 1200744"/>
                  <a:gd name="connsiteY57" fmla="*/ 575897 h 1046508"/>
                  <a:gd name="connsiteX58" fmla="*/ 384326 w 1200744"/>
                  <a:gd name="connsiteY58" fmla="*/ 604396 h 1046508"/>
                  <a:gd name="connsiteX59" fmla="*/ 398804 w 1200744"/>
                  <a:gd name="connsiteY59" fmla="*/ 630221 h 1046508"/>
                  <a:gd name="connsiteX60" fmla="*/ 427304 w 1200744"/>
                  <a:gd name="connsiteY60" fmla="*/ 638245 h 1046508"/>
                  <a:gd name="connsiteX61" fmla="*/ 1104900 w 1200744"/>
                  <a:gd name="connsiteY61" fmla="*/ 557742 h 1046508"/>
                  <a:gd name="connsiteX62" fmla="*/ 1104900 w 1200744"/>
                  <a:gd name="connsiteY62" fmla="*/ 558713 h 1046508"/>
                  <a:gd name="connsiteX63" fmla="*/ 1157491 w 1200744"/>
                  <a:gd name="connsiteY63" fmla="*/ 552464 h 1046508"/>
                  <a:gd name="connsiteX64" fmla="*/ 1200469 w 1200744"/>
                  <a:gd name="connsiteY64" fmla="*/ 586314 h 1046508"/>
                  <a:gd name="connsiteX65" fmla="*/ 1200468 w 1200744"/>
                  <a:gd name="connsiteY65" fmla="*/ 586314 h 1046508"/>
                  <a:gd name="connsiteX66" fmla="*/ 1166618 w 1200744"/>
                  <a:gd name="connsiteY66" fmla="*/ 629292 h 1046508"/>
                  <a:gd name="connsiteX67" fmla="*/ 1104900 w 1200744"/>
                  <a:gd name="connsiteY67" fmla="*/ 636624 h 1046508"/>
                  <a:gd name="connsiteX68" fmla="*/ 1104900 w 1200744"/>
                  <a:gd name="connsiteY68" fmla="*/ 817908 h 1046508"/>
                  <a:gd name="connsiteX69" fmla="*/ 971550 w 1200744"/>
                  <a:gd name="connsiteY69" fmla="*/ 946496 h 1046508"/>
                  <a:gd name="connsiteX70" fmla="*/ 752889 w 1200744"/>
                  <a:gd name="connsiteY70" fmla="*/ 946496 h 1046508"/>
                  <a:gd name="connsiteX71" fmla="*/ 749140 w 1200744"/>
                  <a:gd name="connsiteY71" fmla="*/ 965065 h 1046508"/>
                  <a:gd name="connsiteX72" fmla="*/ 626271 w 1200744"/>
                  <a:gd name="connsiteY72" fmla="*/ 1046508 h 1046508"/>
                  <a:gd name="connsiteX73" fmla="*/ 533770 w 1200744"/>
                  <a:gd name="connsiteY73" fmla="*/ 1046508 h 1046508"/>
                  <a:gd name="connsiteX74" fmla="*/ 410901 w 1200744"/>
                  <a:gd name="connsiteY74" fmla="*/ 965065 h 1046508"/>
                  <a:gd name="connsiteX75" fmla="*/ 407153 w 1200744"/>
                  <a:gd name="connsiteY75" fmla="*/ 946496 h 1046508"/>
                  <a:gd name="connsiteX76" fmla="*/ 190500 w 1200744"/>
                  <a:gd name="connsiteY76" fmla="*/ 946496 h 1046508"/>
                  <a:gd name="connsiteX77" fmla="*/ 59532 w 1200744"/>
                  <a:gd name="connsiteY77" fmla="*/ 825052 h 1046508"/>
                  <a:gd name="connsiteX78" fmla="*/ 59432 w 1200744"/>
                  <a:gd name="connsiteY78" fmla="*/ 710643 h 1046508"/>
                  <a:gd name="connsiteX79" fmla="*/ 48816 w 1200744"/>
                  <a:gd name="connsiteY79" fmla="*/ 710643 h 1046508"/>
                  <a:gd name="connsiteX80" fmla="*/ 14298 w 1200744"/>
                  <a:gd name="connsiteY80" fmla="*/ 696345 h 1046508"/>
                  <a:gd name="connsiteX81" fmla="*/ 0 w 1200744"/>
                  <a:gd name="connsiteY81" fmla="*/ 661828 h 1046508"/>
                  <a:gd name="connsiteX82" fmla="*/ 14298 w 1200744"/>
                  <a:gd name="connsiteY82" fmla="*/ 627310 h 1046508"/>
                  <a:gd name="connsiteX83" fmla="*/ 48816 w 1200744"/>
                  <a:gd name="connsiteY83" fmla="*/ 613012 h 1046508"/>
                  <a:gd name="connsiteX84" fmla="*/ 59346 w 1200744"/>
                  <a:gd name="connsiteY84" fmla="*/ 613012 h 1046508"/>
                  <a:gd name="connsiteX85" fmla="*/ 59247 w 1200744"/>
                  <a:gd name="connsiteY85" fmla="*/ 501147 h 1046508"/>
                  <a:gd name="connsiteX86" fmla="*/ 48816 w 1200744"/>
                  <a:gd name="connsiteY86" fmla="*/ 501147 h 1046508"/>
                  <a:gd name="connsiteX87" fmla="*/ 14298 w 1200744"/>
                  <a:gd name="connsiteY87" fmla="*/ 486849 h 1046508"/>
                  <a:gd name="connsiteX88" fmla="*/ 0 w 1200744"/>
                  <a:gd name="connsiteY88" fmla="*/ 452332 h 1046508"/>
                  <a:gd name="connsiteX89" fmla="*/ 14298 w 1200744"/>
                  <a:gd name="connsiteY89" fmla="*/ 417814 h 1046508"/>
                  <a:gd name="connsiteX90" fmla="*/ 48816 w 1200744"/>
                  <a:gd name="connsiteY90" fmla="*/ 403516 h 1046508"/>
                  <a:gd name="connsiteX91" fmla="*/ 59161 w 1200744"/>
                  <a:gd name="connsiteY91" fmla="*/ 403516 h 1046508"/>
                  <a:gd name="connsiteX92" fmla="*/ 59063 w 1200744"/>
                  <a:gd name="connsiteY92" fmla="*/ 291651 h 1046508"/>
                  <a:gd name="connsiteX93" fmla="*/ 48816 w 1200744"/>
                  <a:gd name="connsiteY93" fmla="*/ 291651 h 1046508"/>
                  <a:gd name="connsiteX94" fmla="*/ 14298 w 1200744"/>
                  <a:gd name="connsiteY94" fmla="*/ 277353 h 1046508"/>
                  <a:gd name="connsiteX95" fmla="*/ 0 w 1200744"/>
                  <a:gd name="connsiteY95" fmla="*/ 242836 h 1046508"/>
                  <a:gd name="connsiteX96" fmla="*/ 14298 w 1200744"/>
                  <a:gd name="connsiteY96" fmla="*/ 208318 h 1046508"/>
                  <a:gd name="connsiteX97" fmla="*/ 48816 w 1200744"/>
                  <a:gd name="connsiteY97" fmla="*/ 194020 h 1046508"/>
                  <a:gd name="connsiteX98" fmla="*/ 58977 w 1200744"/>
                  <a:gd name="connsiteY98" fmla="*/ 194020 h 1046508"/>
                  <a:gd name="connsiteX99" fmla="*/ 58806 w 1200744"/>
                  <a:gd name="connsiteY99"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83444 w 1200744"/>
                  <a:gd name="connsiteY34" fmla="*/ 235459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1157493 w 1200744"/>
                  <a:gd name="connsiteY45" fmla="*/ 347675 h 1046508"/>
                  <a:gd name="connsiteX46" fmla="*/ 1200471 w 1200744"/>
                  <a:gd name="connsiteY46" fmla="*/ 381525 h 1046508"/>
                  <a:gd name="connsiteX47" fmla="*/ 1200470 w 1200744"/>
                  <a:gd name="connsiteY47" fmla="*/ 381526 h 1046508"/>
                  <a:gd name="connsiteX48" fmla="*/ 1166620 w 1200744"/>
                  <a:gd name="connsiteY48" fmla="*/ 424503 h 1046508"/>
                  <a:gd name="connsiteX49" fmla="*/ 883444 w 1200744"/>
                  <a:gd name="connsiteY49" fmla="*/ 458146 h 1046508"/>
                  <a:gd name="connsiteX50" fmla="*/ 883444 w 1200744"/>
                  <a:gd name="connsiteY50" fmla="*/ 506141 h 1046508"/>
                  <a:gd name="connsiteX51" fmla="*/ 792956 w 1200744"/>
                  <a:gd name="connsiteY51" fmla="*/ 516892 h 1046508"/>
                  <a:gd name="connsiteX52" fmla="*/ 792956 w 1200744"/>
                  <a:gd name="connsiteY52" fmla="*/ 468897 h 1046508"/>
                  <a:gd name="connsiteX53" fmla="*/ 688181 w 1200744"/>
                  <a:gd name="connsiteY53" fmla="*/ 481345 h 1046508"/>
                  <a:gd name="connsiteX54" fmla="*/ 688181 w 1200744"/>
                  <a:gd name="connsiteY54" fmla="*/ 529340 h 1046508"/>
                  <a:gd name="connsiteX55" fmla="*/ 418176 w 1200744"/>
                  <a:gd name="connsiteY55" fmla="*/ 561418 h 1046508"/>
                  <a:gd name="connsiteX56" fmla="*/ 392350 w 1200744"/>
                  <a:gd name="connsiteY56" fmla="*/ 575897 h 1046508"/>
                  <a:gd name="connsiteX57" fmla="*/ 384326 w 1200744"/>
                  <a:gd name="connsiteY57" fmla="*/ 604396 h 1046508"/>
                  <a:gd name="connsiteX58" fmla="*/ 398804 w 1200744"/>
                  <a:gd name="connsiteY58" fmla="*/ 630221 h 1046508"/>
                  <a:gd name="connsiteX59" fmla="*/ 427304 w 1200744"/>
                  <a:gd name="connsiteY59" fmla="*/ 638245 h 1046508"/>
                  <a:gd name="connsiteX60" fmla="*/ 1104900 w 1200744"/>
                  <a:gd name="connsiteY60" fmla="*/ 557742 h 1046508"/>
                  <a:gd name="connsiteX61" fmla="*/ 1104900 w 1200744"/>
                  <a:gd name="connsiteY61" fmla="*/ 558713 h 1046508"/>
                  <a:gd name="connsiteX62" fmla="*/ 1157491 w 1200744"/>
                  <a:gd name="connsiteY62" fmla="*/ 552464 h 1046508"/>
                  <a:gd name="connsiteX63" fmla="*/ 1200469 w 1200744"/>
                  <a:gd name="connsiteY63" fmla="*/ 586314 h 1046508"/>
                  <a:gd name="connsiteX64" fmla="*/ 1200468 w 1200744"/>
                  <a:gd name="connsiteY64" fmla="*/ 586314 h 1046508"/>
                  <a:gd name="connsiteX65" fmla="*/ 1166618 w 1200744"/>
                  <a:gd name="connsiteY65" fmla="*/ 629292 h 1046508"/>
                  <a:gd name="connsiteX66" fmla="*/ 1104900 w 1200744"/>
                  <a:gd name="connsiteY66" fmla="*/ 636624 h 1046508"/>
                  <a:gd name="connsiteX67" fmla="*/ 1104900 w 1200744"/>
                  <a:gd name="connsiteY67" fmla="*/ 817908 h 1046508"/>
                  <a:gd name="connsiteX68" fmla="*/ 971550 w 1200744"/>
                  <a:gd name="connsiteY68" fmla="*/ 946496 h 1046508"/>
                  <a:gd name="connsiteX69" fmla="*/ 752889 w 1200744"/>
                  <a:gd name="connsiteY69" fmla="*/ 946496 h 1046508"/>
                  <a:gd name="connsiteX70" fmla="*/ 749140 w 1200744"/>
                  <a:gd name="connsiteY70" fmla="*/ 965065 h 1046508"/>
                  <a:gd name="connsiteX71" fmla="*/ 626271 w 1200744"/>
                  <a:gd name="connsiteY71" fmla="*/ 1046508 h 1046508"/>
                  <a:gd name="connsiteX72" fmla="*/ 533770 w 1200744"/>
                  <a:gd name="connsiteY72" fmla="*/ 1046508 h 1046508"/>
                  <a:gd name="connsiteX73" fmla="*/ 410901 w 1200744"/>
                  <a:gd name="connsiteY73" fmla="*/ 965065 h 1046508"/>
                  <a:gd name="connsiteX74" fmla="*/ 407153 w 1200744"/>
                  <a:gd name="connsiteY74" fmla="*/ 946496 h 1046508"/>
                  <a:gd name="connsiteX75" fmla="*/ 190500 w 1200744"/>
                  <a:gd name="connsiteY75" fmla="*/ 946496 h 1046508"/>
                  <a:gd name="connsiteX76" fmla="*/ 59532 w 1200744"/>
                  <a:gd name="connsiteY76" fmla="*/ 825052 h 1046508"/>
                  <a:gd name="connsiteX77" fmla="*/ 59432 w 1200744"/>
                  <a:gd name="connsiteY77" fmla="*/ 710643 h 1046508"/>
                  <a:gd name="connsiteX78" fmla="*/ 48816 w 1200744"/>
                  <a:gd name="connsiteY78" fmla="*/ 710643 h 1046508"/>
                  <a:gd name="connsiteX79" fmla="*/ 14298 w 1200744"/>
                  <a:gd name="connsiteY79" fmla="*/ 696345 h 1046508"/>
                  <a:gd name="connsiteX80" fmla="*/ 0 w 1200744"/>
                  <a:gd name="connsiteY80" fmla="*/ 661828 h 1046508"/>
                  <a:gd name="connsiteX81" fmla="*/ 14298 w 1200744"/>
                  <a:gd name="connsiteY81" fmla="*/ 627310 h 1046508"/>
                  <a:gd name="connsiteX82" fmla="*/ 48816 w 1200744"/>
                  <a:gd name="connsiteY82" fmla="*/ 613012 h 1046508"/>
                  <a:gd name="connsiteX83" fmla="*/ 59346 w 1200744"/>
                  <a:gd name="connsiteY83" fmla="*/ 613012 h 1046508"/>
                  <a:gd name="connsiteX84" fmla="*/ 59247 w 1200744"/>
                  <a:gd name="connsiteY84" fmla="*/ 501147 h 1046508"/>
                  <a:gd name="connsiteX85" fmla="*/ 48816 w 1200744"/>
                  <a:gd name="connsiteY85" fmla="*/ 501147 h 1046508"/>
                  <a:gd name="connsiteX86" fmla="*/ 14298 w 1200744"/>
                  <a:gd name="connsiteY86" fmla="*/ 486849 h 1046508"/>
                  <a:gd name="connsiteX87" fmla="*/ 0 w 1200744"/>
                  <a:gd name="connsiteY87" fmla="*/ 452332 h 1046508"/>
                  <a:gd name="connsiteX88" fmla="*/ 14298 w 1200744"/>
                  <a:gd name="connsiteY88" fmla="*/ 417814 h 1046508"/>
                  <a:gd name="connsiteX89" fmla="*/ 48816 w 1200744"/>
                  <a:gd name="connsiteY89" fmla="*/ 403516 h 1046508"/>
                  <a:gd name="connsiteX90" fmla="*/ 59161 w 1200744"/>
                  <a:gd name="connsiteY90" fmla="*/ 403516 h 1046508"/>
                  <a:gd name="connsiteX91" fmla="*/ 59063 w 1200744"/>
                  <a:gd name="connsiteY91" fmla="*/ 291651 h 1046508"/>
                  <a:gd name="connsiteX92" fmla="*/ 48816 w 1200744"/>
                  <a:gd name="connsiteY92" fmla="*/ 291651 h 1046508"/>
                  <a:gd name="connsiteX93" fmla="*/ 14298 w 1200744"/>
                  <a:gd name="connsiteY93" fmla="*/ 277353 h 1046508"/>
                  <a:gd name="connsiteX94" fmla="*/ 0 w 1200744"/>
                  <a:gd name="connsiteY94" fmla="*/ 242836 h 1046508"/>
                  <a:gd name="connsiteX95" fmla="*/ 14298 w 1200744"/>
                  <a:gd name="connsiteY95" fmla="*/ 208318 h 1046508"/>
                  <a:gd name="connsiteX96" fmla="*/ 48816 w 1200744"/>
                  <a:gd name="connsiteY96" fmla="*/ 194020 h 1046508"/>
                  <a:gd name="connsiteX97" fmla="*/ 58977 w 1200744"/>
                  <a:gd name="connsiteY97" fmla="*/ 194020 h 1046508"/>
                  <a:gd name="connsiteX98" fmla="*/ 58806 w 1200744"/>
                  <a:gd name="connsiteY98"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78682 w 1200744"/>
                  <a:gd name="connsiteY34" fmla="*/ 240221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1157493 w 1200744"/>
                  <a:gd name="connsiteY45" fmla="*/ 347675 h 1046508"/>
                  <a:gd name="connsiteX46" fmla="*/ 1200471 w 1200744"/>
                  <a:gd name="connsiteY46" fmla="*/ 381525 h 1046508"/>
                  <a:gd name="connsiteX47" fmla="*/ 1200470 w 1200744"/>
                  <a:gd name="connsiteY47" fmla="*/ 381526 h 1046508"/>
                  <a:gd name="connsiteX48" fmla="*/ 1166620 w 1200744"/>
                  <a:gd name="connsiteY48" fmla="*/ 424503 h 1046508"/>
                  <a:gd name="connsiteX49" fmla="*/ 883444 w 1200744"/>
                  <a:gd name="connsiteY49" fmla="*/ 458146 h 1046508"/>
                  <a:gd name="connsiteX50" fmla="*/ 883444 w 1200744"/>
                  <a:gd name="connsiteY50" fmla="*/ 506141 h 1046508"/>
                  <a:gd name="connsiteX51" fmla="*/ 792956 w 1200744"/>
                  <a:gd name="connsiteY51" fmla="*/ 516892 h 1046508"/>
                  <a:gd name="connsiteX52" fmla="*/ 792956 w 1200744"/>
                  <a:gd name="connsiteY52" fmla="*/ 468897 h 1046508"/>
                  <a:gd name="connsiteX53" fmla="*/ 688181 w 1200744"/>
                  <a:gd name="connsiteY53" fmla="*/ 481345 h 1046508"/>
                  <a:gd name="connsiteX54" fmla="*/ 688181 w 1200744"/>
                  <a:gd name="connsiteY54" fmla="*/ 529340 h 1046508"/>
                  <a:gd name="connsiteX55" fmla="*/ 418176 w 1200744"/>
                  <a:gd name="connsiteY55" fmla="*/ 561418 h 1046508"/>
                  <a:gd name="connsiteX56" fmla="*/ 392350 w 1200744"/>
                  <a:gd name="connsiteY56" fmla="*/ 575897 h 1046508"/>
                  <a:gd name="connsiteX57" fmla="*/ 384326 w 1200744"/>
                  <a:gd name="connsiteY57" fmla="*/ 604396 h 1046508"/>
                  <a:gd name="connsiteX58" fmla="*/ 398804 w 1200744"/>
                  <a:gd name="connsiteY58" fmla="*/ 630221 h 1046508"/>
                  <a:gd name="connsiteX59" fmla="*/ 427304 w 1200744"/>
                  <a:gd name="connsiteY59" fmla="*/ 638245 h 1046508"/>
                  <a:gd name="connsiteX60" fmla="*/ 1104900 w 1200744"/>
                  <a:gd name="connsiteY60" fmla="*/ 557742 h 1046508"/>
                  <a:gd name="connsiteX61" fmla="*/ 1104900 w 1200744"/>
                  <a:gd name="connsiteY61" fmla="*/ 558713 h 1046508"/>
                  <a:gd name="connsiteX62" fmla="*/ 1157491 w 1200744"/>
                  <a:gd name="connsiteY62" fmla="*/ 552464 h 1046508"/>
                  <a:gd name="connsiteX63" fmla="*/ 1200469 w 1200744"/>
                  <a:gd name="connsiteY63" fmla="*/ 586314 h 1046508"/>
                  <a:gd name="connsiteX64" fmla="*/ 1200468 w 1200744"/>
                  <a:gd name="connsiteY64" fmla="*/ 586314 h 1046508"/>
                  <a:gd name="connsiteX65" fmla="*/ 1166618 w 1200744"/>
                  <a:gd name="connsiteY65" fmla="*/ 629292 h 1046508"/>
                  <a:gd name="connsiteX66" fmla="*/ 1104900 w 1200744"/>
                  <a:gd name="connsiteY66" fmla="*/ 636624 h 1046508"/>
                  <a:gd name="connsiteX67" fmla="*/ 1104900 w 1200744"/>
                  <a:gd name="connsiteY67" fmla="*/ 817908 h 1046508"/>
                  <a:gd name="connsiteX68" fmla="*/ 971550 w 1200744"/>
                  <a:gd name="connsiteY68" fmla="*/ 946496 h 1046508"/>
                  <a:gd name="connsiteX69" fmla="*/ 752889 w 1200744"/>
                  <a:gd name="connsiteY69" fmla="*/ 946496 h 1046508"/>
                  <a:gd name="connsiteX70" fmla="*/ 749140 w 1200744"/>
                  <a:gd name="connsiteY70" fmla="*/ 965065 h 1046508"/>
                  <a:gd name="connsiteX71" fmla="*/ 626271 w 1200744"/>
                  <a:gd name="connsiteY71" fmla="*/ 1046508 h 1046508"/>
                  <a:gd name="connsiteX72" fmla="*/ 533770 w 1200744"/>
                  <a:gd name="connsiteY72" fmla="*/ 1046508 h 1046508"/>
                  <a:gd name="connsiteX73" fmla="*/ 410901 w 1200744"/>
                  <a:gd name="connsiteY73" fmla="*/ 965065 h 1046508"/>
                  <a:gd name="connsiteX74" fmla="*/ 407153 w 1200744"/>
                  <a:gd name="connsiteY74" fmla="*/ 946496 h 1046508"/>
                  <a:gd name="connsiteX75" fmla="*/ 190500 w 1200744"/>
                  <a:gd name="connsiteY75" fmla="*/ 946496 h 1046508"/>
                  <a:gd name="connsiteX76" fmla="*/ 59532 w 1200744"/>
                  <a:gd name="connsiteY76" fmla="*/ 825052 h 1046508"/>
                  <a:gd name="connsiteX77" fmla="*/ 59432 w 1200744"/>
                  <a:gd name="connsiteY77" fmla="*/ 710643 h 1046508"/>
                  <a:gd name="connsiteX78" fmla="*/ 48816 w 1200744"/>
                  <a:gd name="connsiteY78" fmla="*/ 710643 h 1046508"/>
                  <a:gd name="connsiteX79" fmla="*/ 14298 w 1200744"/>
                  <a:gd name="connsiteY79" fmla="*/ 696345 h 1046508"/>
                  <a:gd name="connsiteX80" fmla="*/ 0 w 1200744"/>
                  <a:gd name="connsiteY80" fmla="*/ 661828 h 1046508"/>
                  <a:gd name="connsiteX81" fmla="*/ 14298 w 1200744"/>
                  <a:gd name="connsiteY81" fmla="*/ 627310 h 1046508"/>
                  <a:gd name="connsiteX82" fmla="*/ 48816 w 1200744"/>
                  <a:gd name="connsiteY82" fmla="*/ 613012 h 1046508"/>
                  <a:gd name="connsiteX83" fmla="*/ 59346 w 1200744"/>
                  <a:gd name="connsiteY83" fmla="*/ 613012 h 1046508"/>
                  <a:gd name="connsiteX84" fmla="*/ 59247 w 1200744"/>
                  <a:gd name="connsiteY84" fmla="*/ 501147 h 1046508"/>
                  <a:gd name="connsiteX85" fmla="*/ 48816 w 1200744"/>
                  <a:gd name="connsiteY85" fmla="*/ 501147 h 1046508"/>
                  <a:gd name="connsiteX86" fmla="*/ 14298 w 1200744"/>
                  <a:gd name="connsiteY86" fmla="*/ 486849 h 1046508"/>
                  <a:gd name="connsiteX87" fmla="*/ 0 w 1200744"/>
                  <a:gd name="connsiteY87" fmla="*/ 452332 h 1046508"/>
                  <a:gd name="connsiteX88" fmla="*/ 14298 w 1200744"/>
                  <a:gd name="connsiteY88" fmla="*/ 417814 h 1046508"/>
                  <a:gd name="connsiteX89" fmla="*/ 48816 w 1200744"/>
                  <a:gd name="connsiteY89" fmla="*/ 403516 h 1046508"/>
                  <a:gd name="connsiteX90" fmla="*/ 59161 w 1200744"/>
                  <a:gd name="connsiteY90" fmla="*/ 403516 h 1046508"/>
                  <a:gd name="connsiteX91" fmla="*/ 59063 w 1200744"/>
                  <a:gd name="connsiteY91" fmla="*/ 291651 h 1046508"/>
                  <a:gd name="connsiteX92" fmla="*/ 48816 w 1200744"/>
                  <a:gd name="connsiteY92" fmla="*/ 291651 h 1046508"/>
                  <a:gd name="connsiteX93" fmla="*/ 14298 w 1200744"/>
                  <a:gd name="connsiteY93" fmla="*/ 277353 h 1046508"/>
                  <a:gd name="connsiteX94" fmla="*/ 0 w 1200744"/>
                  <a:gd name="connsiteY94" fmla="*/ 242836 h 1046508"/>
                  <a:gd name="connsiteX95" fmla="*/ 14298 w 1200744"/>
                  <a:gd name="connsiteY95" fmla="*/ 208318 h 1046508"/>
                  <a:gd name="connsiteX96" fmla="*/ 48816 w 1200744"/>
                  <a:gd name="connsiteY96" fmla="*/ 194020 h 1046508"/>
                  <a:gd name="connsiteX97" fmla="*/ 58977 w 1200744"/>
                  <a:gd name="connsiteY97" fmla="*/ 194020 h 1046508"/>
                  <a:gd name="connsiteX98" fmla="*/ 58806 w 1200744"/>
                  <a:gd name="connsiteY98" fmla="*/ 0 h 1046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200744" h="1046508">
                    <a:moveTo>
                      <a:pt x="269392" y="583922"/>
                    </a:moveTo>
                    <a:cubicBezTo>
                      <a:pt x="247034" y="583922"/>
                      <a:pt x="228910" y="602046"/>
                      <a:pt x="228910" y="624404"/>
                    </a:cubicBezTo>
                    <a:cubicBezTo>
                      <a:pt x="228910" y="646762"/>
                      <a:pt x="247034" y="664886"/>
                      <a:pt x="269392" y="664886"/>
                    </a:cubicBezTo>
                    <a:cubicBezTo>
                      <a:pt x="291750" y="664886"/>
                      <a:pt x="309874" y="646762"/>
                      <a:pt x="309874" y="624404"/>
                    </a:cubicBezTo>
                    <a:cubicBezTo>
                      <a:pt x="309874" y="602046"/>
                      <a:pt x="291750" y="583922"/>
                      <a:pt x="269392" y="583922"/>
                    </a:cubicBezTo>
                    <a:close/>
                    <a:moveTo>
                      <a:pt x="269392" y="373750"/>
                    </a:moveTo>
                    <a:cubicBezTo>
                      <a:pt x="247034" y="373750"/>
                      <a:pt x="228910" y="391874"/>
                      <a:pt x="228910" y="414232"/>
                    </a:cubicBezTo>
                    <a:cubicBezTo>
                      <a:pt x="228910" y="436590"/>
                      <a:pt x="247034" y="454714"/>
                      <a:pt x="269392" y="454714"/>
                    </a:cubicBezTo>
                    <a:cubicBezTo>
                      <a:pt x="291750" y="454714"/>
                      <a:pt x="309874" y="436590"/>
                      <a:pt x="309874" y="414232"/>
                    </a:cubicBezTo>
                    <a:cubicBezTo>
                      <a:pt x="309874" y="391874"/>
                      <a:pt x="291750" y="373750"/>
                      <a:pt x="269392" y="373750"/>
                    </a:cubicBezTo>
                    <a:close/>
                    <a:moveTo>
                      <a:pt x="269392" y="163063"/>
                    </a:moveTo>
                    <a:cubicBezTo>
                      <a:pt x="247034" y="163063"/>
                      <a:pt x="228910" y="181187"/>
                      <a:pt x="228910" y="203545"/>
                    </a:cubicBezTo>
                    <a:cubicBezTo>
                      <a:pt x="228910" y="225903"/>
                      <a:pt x="247034" y="244027"/>
                      <a:pt x="269392" y="244027"/>
                    </a:cubicBezTo>
                    <a:cubicBezTo>
                      <a:pt x="291750" y="244027"/>
                      <a:pt x="309874" y="225903"/>
                      <a:pt x="309874" y="203545"/>
                    </a:cubicBezTo>
                    <a:cubicBezTo>
                      <a:pt x="309874" y="181187"/>
                      <a:pt x="291750" y="163063"/>
                      <a:pt x="269392" y="163063"/>
                    </a:cubicBezTo>
                    <a:close/>
                    <a:moveTo>
                      <a:pt x="797719" y="0"/>
                    </a:moveTo>
                    <a:lnTo>
                      <a:pt x="883444" y="0"/>
                    </a:lnTo>
                    <a:lnTo>
                      <a:pt x="883444" y="79897"/>
                    </a:lnTo>
                    <a:lnTo>
                      <a:pt x="797719" y="90082"/>
                    </a:lnTo>
                    <a:lnTo>
                      <a:pt x="797719" y="0"/>
                    </a:lnTo>
                    <a:close/>
                    <a:moveTo>
                      <a:pt x="58806" y="0"/>
                    </a:moveTo>
                    <a:lnTo>
                      <a:pt x="692944" y="0"/>
                    </a:lnTo>
                    <a:lnTo>
                      <a:pt x="692944" y="102530"/>
                    </a:lnTo>
                    <a:lnTo>
                      <a:pt x="418176" y="135174"/>
                    </a:lnTo>
                    <a:cubicBezTo>
                      <a:pt x="407569" y="136435"/>
                      <a:pt x="398476" y="141875"/>
                      <a:pt x="392350" y="149653"/>
                    </a:cubicBezTo>
                    <a:lnTo>
                      <a:pt x="384326" y="178152"/>
                    </a:lnTo>
                    <a:lnTo>
                      <a:pt x="398804" y="203977"/>
                    </a:lnTo>
                    <a:cubicBezTo>
                      <a:pt x="406582" y="210103"/>
                      <a:pt x="416696" y="213262"/>
                      <a:pt x="427304" y="212001"/>
                    </a:cubicBezTo>
                    <a:lnTo>
                      <a:pt x="1104900" y="131498"/>
                    </a:lnTo>
                    <a:lnTo>
                      <a:pt x="1104900" y="134851"/>
                    </a:lnTo>
                    <a:lnTo>
                      <a:pt x="1157493" y="128603"/>
                    </a:lnTo>
                    <a:cubicBezTo>
                      <a:pt x="1178709" y="126082"/>
                      <a:pt x="1197951" y="141237"/>
                      <a:pt x="1200471" y="162453"/>
                    </a:cubicBezTo>
                    <a:lnTo>
                      <a:pt x="1200470" y="162453"/>
                    </a:lnTo>
                    <a:cubicBezTo>
                      <a:pt x="1202991" y="183669"/>
                      <a:pt x="1187836" y="202910"/>
                      <a:pt x="1166620" y="205431"/>
                    </a:cubicBezTo>
                    <a:lnTo>
                      <a:pt x="878682" y="240221"/>
                    </a:lnTo>
                    <a:lnTo>
                      <a:pt x="883444" y="298972"/>
                    </a:lnTo>
                    <a:lnTo>
                      <a:pt x="792956" y="309723"/>
                    </a:lnTo>
                    <a:lnTo>
                      <a:pt x="792956" y="265459"/>
                    </a:lnTo>
                    <a:lnTo>
                      <a:pt x="688181" y="265459"/>
                    </a:lnTo>
                    <a:lnTo>
                      <a:pt x="688181" y="322171"/>
                    </a:lnTo>
                    <a:lnTo>
                      <a:pt x="418176" y="354249"/>
                    </a:lnTo>
                    <a:cubicBezTo>
                      <a:pt x="407569" y="355510"/>
                      <a:pt x="398476" y="360950"/>
                      <a:pt x="392350" y="368728"/>
                    </a:cubicBezTo>
                    <a:lnTo>
                      <a:pt x="384326" y="397227"/>
                    </a:lnTo>
                    <a:lnTo>
                      <a:pt x="398804" y="423052"/>
                    </a:lnTo>
                    <a:cubicBezTo>
                      <a:pt x="406582" y="429178"/>
                      <a:pt x="416696" y="432337"/>
                      <a:pt x="427304" y="431076"/>
                    </a:cubicBezTo>
                    <a:lnTo>
                      <a:pt x="1157493" y="347675"/>
                    </a:lnTo>
                    <a:cubicBezTo>
                      <a:pt x="1178709" y="345155"/>
                      <a:pt x="1197950" y="360310"/>
                      <a:pt x="1200471" y="381525"/>
                    </a:cubicBezTo>
                    <a:lnTo>
                      <a:pt x="1200470" y="381526"/>
                    </a:lnTo>
                    <a:cubicBezTo>
                      <a:pt x="1202991" y="402741"/>
                      <a:pt x="1187836" y="421983"/>
                      <a:pt x="1166620" y="424503"/>
                    </a:cubicBezTo>
                    <a:lnTo>
                      <a:pt x="883444" y="458146"/>
                    </a:lnTo>
                    <a:lnTo>
                      <a:pt x="883444" y="506141"/>
                    </a:lnTo>
                    <a:lnTo>
                      <a:pt x="792956" y="516892"/>
                    </a:lnTo>
                    <a:lnTo>
                      <a:pt x="792956" y="468897"/>
                    </a:lnTo>
                    <a:lnTo>
                      <a:pt x="688181" y="481345"/>
                    </a:lnTo>
                    <a:lnTo>
                      <a:pt x="688181" y="529340"/>
                    </a:lnTo>
                    <a:lnTo>
                      <a:pt x="418176" y="561418"/>
                    </a:lnTo>
                    <a:cubicBezTo>
                      <a:pt x="407569" y="562679"/>
                      <a:pt x="398476" y="568119"/>
                      <a:pt x="392350" y="575897"/>
                    </a:cubicBezTo>
                    <a:lnTo>
                      <a:pt x="384326" y="604396"/>
                    </a:lnTo>
                    <a:lnTo>
                      <a:pt x="398804" y="630221"/>
                    </a:lnTo>
                    <a:cubicBezTo>
                      <a:pt x="406582" y="636347"/>
                      <a:pt x="416696" y="639506"/>
                      <a:pt x="427304" y="638245"/>
                    </a:cubicBezTo>
                    <a:lnTo>
                      <a:pt x="1104900" y="557742"/>
                    </a:lnTo>
                    <a:lnTo>
                      <a:pt x="1104900" y="558713"/>
                    </a:lnTo>
                    <a:lnTo>
                      <a:pt x="1157491" y="552464"/>
                    </a:lnTo>
                    <a:cubicBezTo>
                      <a:pt x="1178707" y="549944"/>
                      <a:pt x="1197948" y="565099"/>
                      <a:pt x="1200469" y="586314"/>
                    </a:cubicBezTo>
                    <a:lnTo>
                      <a:pt x="1200468" y="586314"/>
                    </a:lnTo>
                    <a:cubicBezTo>
                      <a:pt x="1202989" y="607530"/>
                      <a:pt x="1187834" y="626772"/>
                      <a:pt x="1166618" y="629292"/>
                    </a:cubicBezTo>
                    <a:lnTo>
                      <a:pt x="1104900" y="636624"/>
                    </a:lnTo>
                    <a:lnTo>
                      <a:pt x="1104900" y="817908"/>
                    </a:lnTo>
                    <a:lnTo>
                      <a:pt x="971550" y="946496"/>
                    </a:lnTo>
                    <a:lnTo>
                      <a:pt x="752889" y="946496"/>
                    </a:lnTo>
                    <a:lnTo>
                      <a:pt x="749140" y="965065"/>
                    </a:lnTo>
                    <a:cubicBezTo>
                      <a:pt x="728897" y="1012926"/>
                      <a:pt x="681506" y="1046508"/>
                      <a:pt x="626271" y="1046508"/>
                    </a:cubicBezTo>
                    <a:lnTo>
                      <a:pt x="533770" y="1046508"/>
                    </a:lnTo>
                    <a:cubicBezTo>
                      <a:pt x="478536" y="1046508"/>
                      <a:pt x="431145" y="1012926"/>
                      <a:pt x="410901" y="965065"/>
                    </a:cubicBezTo>
                    <a:lnTo>
                      <a:pt x="407153" y="946496"/>
                    </a:lnTo>
                    <a:lnTo>
                      <a:pt x="190500" y="946496"/>
                    </a:lnTo>
                    <a:lnTo>
                      <a:pt x="59532" y="825052"/>
                    </a:lnTo>
                    <a:cubicBezTo>
                      <a:pt x="59499" y="786916"/>
                      <a:pt x="59465" y="748779"/>
                      <a:pt x="59432" y="710643"/>
                    </a:cubicBezTo>
                    <a:lnTo>
                      <a:pt x="48816" y="710643"/>
                    </a:lnTo>
                    <a:cubicBezTo>
                      <a:pt x="35336" y="710643"/>
                      <a:pt x="23132" y="705179"/>
                      <a:pt x="14298" y="696345"/>
                    </a:cubicBezTo>
                    <a:lnTo>
                      <a:pt x="0" y="661828"/>
                    </a:lnTo>
                    <a:lnTo>
                      <a:pt x="14298" y="627310"/>
                    </a:lnTo>
                    <a:cubicBezTo>
                      <a:pt x="23132" y="618476"/>
                      <a:pt x="35336" y="613012"/>
                      <a:pt x="48816" y="613012"/>
                    </a:cubicBezTo>
                    <a:lnTo>
                      <a:pt x="59346" y="613012"/>
                    </a:lnTo>
                    <a:cubicBezTo>
                      <a:pt x="59313" y="575724"/>
                      <a:pt x="59280" y="538435"/>
                      <a:pt x="59247" y="501147"/>
                    </a:cubicBezTo>
                    <a:lnTo>
                      <a:pt x="48816" y="501147"/>
                    </a:lnTo>
                    <a:cubicBezTo>
                      <a:pt x="35336" y="501147"/>
                      <a:pt x="23132" y="495683"/>
                      <a:pt x="14298" y="486849"/>
                    </a:cubicBezTo>
                    <a:lnTo>
                      <a:pt x="0" y="452332"/>
                    </a:lnTo>
                    <a:lnTo>
                      <a:pt x="14298" y="417814"/>
                    </a:lnTo>
                    <a:cubicBezTo>
                      <a:pt x="23132" y="408980"/>
                      <a:pt x="35336" y="403516"/>
                      <a:pt x="48816" y="403516"/>
                    </a:cubicBezTo>
                    <a:lnTo>
                      <a:pt x="59161" y="403516"/>
                    </a:lnTo>
                    <a:cubicBezTo>
                      <a:pt x="59128" y="366228"/>
                      <a:pt x="59096" y="328939"/>
                      <a:pt x="59063" y="291651"/>
                    </a:cubicBezTo>
                    <a:lnTo>
                      <a:pt x="48816" y="291651"/>
                    </a:lnTo>
                    <a:cubicBezTo>
                      <a:pt x="35336" y="291651"/>
                      <a:pt x="23132" y="286187"/>
                      <a:pt x="14298" y="277353"/>
                    </a:cubicBezTo>
                    <a:lnTo>
                      <a:pt x="0" y="242836"/>
                    </a:lnTo>
                    <a:lnTo>
                      <a:pt x="14298" y="208318"/>
                    </a:lnTo>
                    <a:cubicBezTo>
                      <a:pt x="23132" y="199484"/>
                      <a:pt x="35336" y="194020"/>
                      <a:pt x="48816" y="194020"/>
                    </a:cubicBezTo>
                    <a:lnTo>
                      <a:pt x="58977" y="194020"/>
                    </a:lnTo>
                    <a:lnTo>
                      <a:pt x="58806"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219" name="Freeform 88">
                <a:extLst>
                  <a:ext uri="{FF2B5EF4-FFF2-40B4-BE49-F238E27FC236}">
                    <a16:creationId xmlns:a16="http://schemas.microsoft.com/office/drawing/2014/main" id="{78DCA40C-F958-403F-8C6E-17E1AC802138}"/>
                  </a:ext>
                </a:extLst>
              </p:cNvPr>
              <p:cNvSpPr/>
              <p:nvPr/>
            </p:nvSpPr>
            <p:spPr>
              <a:xfrm>
                <a:off x="4242295" y="1685754"/>
                <a:ext cx="3701002" cy="3743106"/>
              </a:xfrm>
              <a:custGeom>
                <a:avLst/>
                <a:gdLst>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0346 w 3701002"/>
                  <a:gd name="connsiteY11" fmla="*/ 3114359 h 3743106"/>
                  <a:gd name="connsiteX12" fmla="*/ 2659635 w 3701002"/>
                  <a:gd name="connsiteY12" fmla="*/ 3107286 h 3743106"/>
                  <a:gd name="connsiteX13" fmla="*/ 3122601 w 3701002"/>
                  <a:gd name="connsiteY13" fmla="*/ 2107732 h 3743106"/>
                  <a:gd name="connsiteX14" fmla="*/ 1850392 w 3701002"/>
                  <a:gd name="connsiteY14" fmla="*/ 812383 h 3743106"/>
                  <a:gd name="connsiteX15" fmla="*/ 578183 w 3701002"/>
                  <a:gd name="connsiteY15" fmla="*/ 2107732 h 3743106"/>
                  <a:gd name="connsiteX16" fmla="*/ 950805 w 3701002"/>
                  <a:gd name="connsiteY16" fmla="*/ 3023682 h 3743106"/>
                  <a:gd name="connsiteX17" fmla="*/ 1028685 w 3701002"/>
                  <a:gd name="connsiteY17" fmla="*/ 3095752 h 3743106"/>
                  <a:gd name="connsiteX18" fmla="*/ 1145044 w 3701002"/>
                  <a:gd name="connsiteY18" fmla="*/ 3252006 h 3743106"/>
                  <a:gd name="connsiteX19" fmla="*/ 1289824 w 3701002"/>
                  <a:gd name="connsiteY19" fmla="*/ 3549186 h 3743106"/>
                  <a:gd name="connsiteX20" fmla="*/ 1131709 w 3701002"/>
                  <a:gd name="connsiteY20" fmla="*/ 3739686 h 3743106"/>
                  <a:gd name="connsiteX21" fmla="*/ 881519 w 3701002"/>
                  <a:gd name="connsiteY21" fmla="*/ 3637451 h 3743106"/>
                  <a:gd name="connsiteX22" fmla="*/ 771664 w 3701002"/>
                  <a:gd name="connsiteY22" fmla="*/ 3290106 h 3743106"/>
                  <a:gd name="connsiteX23" fmla="*/ 377329 w 3701002"/>
                  <a:gd name="connsiteY23" fmla="*/ 3103416 h 3743106"/>
                  <a:gd name="connsiteX24" fmla="*/ 344944 w 3701002"/>
                  <a:gd name="connsiteY24" fmla="*/ 2482386 h 3743106"/>
                  <a:gd name="connsiteX25" fmla="*/ 139 w 3701002"/>
                  <a:gd name="connsiteY25" fmla="*/ 1970576 h 3743106"/>
                  <a:gd name="connsiteX26" fmla="*/ 451624 w 3701002"/>
                  <a:gd name="connsiteY26" fmla="*/ 1403521 h 3743106"/>
                  <a:gd name="connsiteX27" fmla="*/ 496709 w 3701002"/>
                  <a:gd name="connsiteY27" fmla="*/ 659301 h 3743106"/>
                  <a:gd name="connsiteX28" fmla="*/ 1199019 w 3701002"/>
                  <a:gd name="connsiteY28" fmla="*/ 517061 h 3743106"/>
                  <a:gd name="connsiteX29" fmla="*/ 1831479 w 3701002"/>
                  <a:gd name="connsiteY29"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028685 w 3701002"/>
                  <a:gd name="connsiteY16" fmla="*/ 3095752 h 3743106"/>
                  <a:gd name="connsiteX17" fmla="*/ 1145044 w 3701002"/>
                  <a:gd name="connsiteY17" fmla="*/ 3252006 h 3743106"/>
                  <a:gd name="connsiteX18" fmla="*/ 1289824 w 3701002"/>
                  <a:gd name="connsiteY18" fmla="*/ 3549186 h 3743106"/>
                  <a:gd name="connsiteX19" fmla="*/ 1131709 w 3701002"/>
                  <a:gd name="connsiteY19" fmla="*/ 3739686 h 3743106"/>
                  <a:gd name="connsiteX20" fmla="*/ 881519 w 3701002"/>
                  <a:gd name="connsiteY20" fmla="*/ 3637451 h 3743106"/>
                  <a:gd name="connsiteX21" fmla="*/ 771664 w 3701002"/>
                  <a:gd name="connsiteY21" fmla="*/ 3290106 h 3743106"/>
                  <a:gd name="connsiteX22" fmla="*/ 377329 w 3701002"/>
                  <a:gd name="connsiteY22" fmla="*/ 3103416 h 3743106"/>
                  <a:gd name="connsiteX23" fmla="*/ 344944 w 3701002"/>
                  <a:gd name="connsiteY23" fmla="*/ 2482386 h 3743106"/>
                  <a:gd name="connsiteX24" fmla="*/ 139 w 3701002"/>
                  <a:gd name="connsiteY24" fmla="*/ 1970576 h 3743106"/>
                  <a:gd name="connsiteX25" fmla="*/ 451624 w 3701002"/>
                  <a:gd name="connsiteY25" fmla="*/ 1403521 h 3743106"/>
                  <a:gd name="connsiteX26" fmla="*/ 496709 w 3701002"/>
                  <a:gd name="connsiteY26" fmla="*/ 659301 h 3743106"/>
                  <a:gd name="connsiteX27" fmla="*/ 1199019 w 3701002"/>
                  <a:gd name="connsiteY27" fmla="*/ 517061 h 3743106"/>
                  <a:gd name="connsiteX28" fmla="*/ 1831479 w 3701002"/>
                  <a:gd name="connsiteY28"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145044 w 3701002"/>
                  <a:gd name="connsiteY16" fmla="*/ 3252006 h 3743106"/>
                  <a:gd name="connsiteX17" fmla="*/ 1289824 w 3701002"/>
                  <a:gd name="connsiteY17" fmla="*/ 3549186 h 3743106"/>
                  <a:gd name="connsiteX18" fmla="*/ 1131709 w 3701002"/>
                  <a:gd name="connsiteY18" fmla="*/ 3739686 h 3743106"/>
                  <a:gd name="connsiteX19" fmla="*/ 881519 w 3701002"/>
                  <a:gd name="connsiteY19" fmla="*/ 3637451 h 3743106"/>
                  <a:gd name="connsiteX20" fmla="*/ 771664 w 3701002"/>
                  <a:gd name="connsiteY20" fmla="*/ 3290106 h 3743106"/>
                  <a:gd name="connsiteX21" fmla="*/ 377329 w 3701002"/>
                  <a:gd name="connsiteY21" fmla="*/ 3103416 h 3743106"/>
                  <a:gd name="connsiteX22" fmla="*/ 344944 w 3701002"/>
                  <a:gd name="connsiteY22" fmla="*/ 2482386 h 3743106"/>
                  <a:gd name="connsiteX23" fmla="*/ 139 w 3701002"/>
                  <a:gd name="connsiteY23" fmla="*/ 1970576 h 3743106"/>
                  <a:gd name="connsiteX24" fmla="*/ 451624 w 3701002"/>
                  <a:gd name="connsiteY24" fmla="*/ 1403521 h 3743106"/>
                  <a:gd name="connsiteX25" fmla="*/ 496709 w 3701002"/>
                  <a:gd name="connsiteY25" fmla="*/ 659301 h 3743106"/>
                  <a:gd name="connsiteX26" fmla="*/ 1199019 w 3701002"/>
                  <a:gd name="connsiteY26" fmla="*/ 517061 h 3743106"/>
                  <a:gd name="connsiteX27" fmla="*/ 1831479 w 3701002"/>
                  <a:gd name="connsiteY27"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145044 w 3701002"/>
                  <a:gd name="connsiteY16" fmla="*/ 3252006 h 3743106"/>
                  <a:gd name="connsiteX17" fmla="*/ 1289824 w 3701002"/>
                  <a:gd name="connsiteY17" fmla="*/ 3549186 h 3743106"/>
                  <a:gd name="connsiteX18" fmla="*/ 1131709 w 3701002"/>
                  <a:gd name="connsiteY18" fmla="*/ 3739686 h 3743106"/>
                  <a:gd name="connsiteX19" fmla="*/ 881519 w 3701002"/>
                  <a:gd name="connsiteY19" fmla="*/ 3637451 h 3743106"/>
                  <a:gd name="connsiteX20" fmla="*/ 771664 w 3701002"/>
                  <a:gd name="connsiteY20" fmla="*/ 3290106 h 3743106"/>
                  <a:gd name="connsiteX21" fmla="*/ 377329 w 3701002"/>
                  <a:gd name="connsiteY21" fmla="*/ 3103416 h 3743106"/>
                  <a:gd name="connsiteX22" fmla="*/ 344944 w 3701002"/>
                  <a:gd name="connsiteY22" fmla="*/ 2482386 h 3743106"/>
                  <a:gd name="connsiteX23" fmla="*/ 139 w 3701002"/>
                  <a:gd name="connsiteY23" fmla="*/ 1970576 h 3743106"/>
                  <a:gd name="connsiteX24" fmla="*/ 451624 w 3701002"/>
                  <a:gd name="connsiteY24" fmla="*/ 1403521 h 3743106"/>
                  <a:gd name="connsiteX25" fmla="*/ 496709 w 3701002"/>
                  <a:gd name="connsiteY25" fmla="*/ 659301 h 3743106"/>
                  <a:gd name="connsiteX26" fmla="*/ 1199019 w 3701002"/>
                  <a:gd name="connsiteY26" fmla="*/ 517061 h 3743106"/>
                  <a:gd name="connsiteX27" fmla="*/ 1831479 w 3701002"/>
                  <a:gd name="connsiteY27" fmla="*/ 171 h 3743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701002" h="3743106">
                    <a:moveTo>
                      <a:pt x="1831479" y="171"/>
                    </a:moveTo>
                    <a:cubicBezTo>
                      <a:pt x="2193958" y="-9460"/>
                      <a:pt x="2228989" y="388262"/>
                      <a:pt x="2478544" y="516426"/>
                    </a:cubicBezTo>
                    <a:cubicBezTo>
                      <a:pt x="2724924" y="638240"/>
                      <a:pt x="3031735" y="420753"/>
                      <a:pt x="3214509" y="673906"/>
                    </a:cubicBezTo>
                    <a:cubicBezTo>
                      <a:pt x="3397283" y="927059"/>
                      <a:pt x="3125874" y="1106394"/>
                      <a:pt x="3270389" y="1425746"/>
                    </a:cubicBezTo>
                    <a:cubicBezTo>
                      <a:pt x="3414904" y="1745098"/>
                      <a:pt x="3685678" y="1679112"/>
                      <a:pt x="3700601" y="1942319"/>
                    </a:cubicBezTo>
                    <a:cubicBezTo>
                      <a:pt x="3712349" y="2221401"/>
                      <a:pt x="3463112" y="2181714"/>
                      <a:pt x="3354844" y="2512866"/>
                    </a:cubicBezTo>
                    <a:cubicBezTo>
                      <a:pt x="3238639" y="2836081"/>
                      <a:pt x="3476765" y="2888309"/>
                      <a:pt x="3320872" y="3113258"/>
                    </a:cubicBezTo>
                    <a:cubicBezTo>
                      <a:pt x="3231655" y="3262007"/>
                      <a:pt x="3076132" y="3153476"/>
                      <a:pt x="2933839" y="3291059"/>
                    </a:cubicBezTo>
                    <a:cubicBezTo>
                      <a:pt x="2791546" y="3428642"/>
                      <a:pt x="2888756" y="3603161"/>
                      <a:pt x="2771914" y="3691109"/>
                    </a:cubicBezTo>
                    <a:cubicBezTo>
                      <a:pt x="2688410" y="3783819"/>
                      <a:pt x="2499817" y="3735717"/>
                      <a:pt x="2440444" y="3640626"/>
                    </a:cubicBezTo>
                    <a:cubicBezTo>
                      <a:pt x="2381071" y="3545535"/>
                      <a:pt x="2441714" y="3442506"/>
                      <a:pt x="2501404" y="3320586"/>
                    </a:cubicBezTo>
                    <a:lnTo>
                      <a:pt x="2659635" y="3107286"/>
                    </a:lnTo>
                    <a:cubicBezTo>
                      <a:pt x="2942380" y="2869700"/>
                      <a:pt x="3122601" y="2510145"/>
                      <a:pt x="3122601" y="2107732"/>
                    </a:cubicBezTo>
                    <a:cubicBezTo>
                      <a:pt x="3122601" y="1392331"/>
                      <a:pt x="2553014" y="812383"/>
                      <a:pt x="1850392" y="812383"/>
                    </a:cubicBezTo>
                    <a:cubicBezTo>
                      <a:pt x="1147770" y="812383"/>
                      <a:pt x="578183" y="1392331"/>
                      <a:pt x="578183" y="2107732"/>
                    </a:cubicBezTo>
                    <a:cubicBezTo>
                      <a:pt x="578183" y="2465433"/>
                      <a:pt x="720580" y="2789270"/>
                      <a:pt x="950805" y="3023682"/>
                    </a:cubicBezTo>
                    <a:cubicBezTo>
                      <a:pt x="1039364" y="3104553"/>
                      <a:pt x="1080298" y="3175898"/>
                      <a:pt x="1145044" y="3252006"/>
                    </a:cubicBezTo>
                    <a:cubicBezTo>
                      <a:pt x="1213624" y="3361226"/>
                      <a:pt x="1292047" y="3467906"/>
                      <a:pt x="1289824" y="3549186"/>
                    </a:cubicBezTo>
                    <a:cubicBezTo>
                      <a:pt x="1287602" y="3630466"/>
                      <a:pt x="1199760" y="3724975"/>
                      <a:pt x="1131709" y="3739686"/>
                    </a:cubicBezTo>
                    <a:cubicBezTo>
                      <a:pt x="1063658" y="3754397"/>
                      <a:pt x="935176" y="3721906"/>
                      <a:pt x="881519" y="3637451"/>
                    </a:cubicBezTo>
                    <a:cubicBezTo>
                      <a:pt x="827862" y="3552996"/>
                      <a:pt x="922371" y="3429912"/>
                      <a:pt x="771664" y="3290106"/>
                    </a:cubicBezTo>
                    <a:cubicBezTo>
                      <a:pt x="620957" y="3150300"/>
                      <a:pt x="489724" y="3259626"/>
                      <a:pt x="377329" y="3103416"/>
                    </a:cubicBezTo>
                    <a:cubicBezTo>
                      <a:pt x="245884" y="2847193"/>
                      <a:pt x="472103" y="2764062"/>
                      <a:pt x="344944" y="2482386"/>
                    </a:cubicBezTo>
                    <a:cubicBezTo>
                      <a:pt x="189211" y="2141178"/>
                      <a:pt x="8552" y="2246432"/>
                      <a:pt x="139" y="1970576"/>
                    </a:cubicBezTo>
                    <a:cubicBezTo>
                      <a:pt x="-7481" y="1701865"/>
                      <a:pt x="299012" y="1730017"/>
                      <a:pt x="451624" y="1403521"/>
                    </a:cubicBezTo>
                    <a:cubicBezTo>
                      <a:pt x="528036" y="943675"/>
                      <a:pt x="318168" y="908644"/>
                      <a:pt x="496709" y="659301"/>
                    </a:cubicBezTo>
                    <a:cubicBezTo>
                      <a:pt x="675250" y="409958"/>
                      <a:pt x="956978" y="650728"/>
                      <a:pt x="1199019" y="517061"/>
                    </a:cubicBezTo>
                    <a:cubicBezTo>
                      <a:pt x="1485510" y="418319"/>
                      <a:pt x="1469000" y="9802"/>
                      <a:pt x="1831479" y="171"/>
                    </a:cubicBez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grpSp>
      </p:grpSp>
    </p:spTree>
    <p:extLst>
      <p:ext uri="{BB962C8B-B14F-4D97-AF65-F5344CB8AC3E}">
        <p14:creationId xmlns:p14="http://schemas.microsoft.com/office/powerpoint/2010/main" val="68310539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273122" y="4276815"/>
            <a:ext cx="5413179" cy="902234"/>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white"/>
              </a:solidFill>
              <a:effectLst/>
              <a:uLnTx/>
              <a:uFillTx/>
              <a:latin typeface="+mj-lt"/>
              <a:ea typeface="+mn-ea"/>
              <a:cs typeface="+mn-cs"/>
            </a:endParaRPr>
          </a:p>
        </p:txBody>
      </p:sp>
      <p:cxnSp>
        <p:nvCxnSpPr>
          <p:cNvPr id="4" name="Straight Connector 3"/>
          <p:cNvCxnSpPr/>
          <p:nvPr/>
        </p:nvCxnSpPr>
        <p:spPr>
          <a:xfrm>
            <a:off x="6082488" y="2391891"/>
            <a:ext cx="0" cy="3607272"/>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D91448EC-F5C0-4D68-AE7C-2B8A25EA94DA}"/>
              </a:ext>
            </a:extLst>
          </p:cNvPr>
          <p:cNvSpPr>
            <a:spLocks noGrp="1"/>
          </p:cNvSpPr>
          <p:nvPr>
            <p:ph type="title"/>
          </p:nvPr>
        </p:nvSpPr>
        <p:spPr/>
        <p:txBody>
          <a:bodyPr/>
          <a:lstStyle/>
          <a:p>
            <a:r>
              <a:rPr lang="en-US"/>
              <a:t>Management of Closed Book @ Global life insurer</a:t>
            </a:r>
            <a:endParaRPr lang="en-GB"/>
          </a:p>
        </p:txBody>
      </p:sp>
      <p:sp>
        <p:nvSpPr>
          <p:cNvPr id="2" name="Text Placeholder 1"/>
          <p:cNvSpPr>
            <a:spLocks noGrp="1"/>
          </p:cNvSpPr>
          <p:nvPr>
            <p:ph type="body" sz="quarter" idx="10"/>
          </p:nvPr>
        </p:nvSpPr>
        <p:spPr/>
        <p:txBody>
          <a:bodyPr/>
          <a:lstStyle/>
          <a:p>
            <a:r>
              <a:rPr lang="en-US" sz="2000" b="0"/>
              <a:t>Migration of Closed book from legacy to modern platform and providing </a:t>
            </a:r>
            <a:r>
              <a:rPr lang="en-US" sz="2000" b="0" err="1"/>
              <a:t>BPaaS</a:t>
            </a:r>
            <a:endParaRPr lang="en-IN" sz="2000" b="0"/>
          </a:p>
        </p:txBody>
      </p:sp>
      <p:sp>
        <p:nvSpPr>
          <p:cNvPr id="20" name="Rectangle 19"/>
          <p:cNvSpPr/>
          <p:nvPr/>
        </p:nvSpPr>
        <p:spPr>
          <a:xfrm>
            <a:off x="0" y="1361805"/>
            <a:ext cx="12191999" cy="458772"/>
          </a:xfrm>
          <a:prstGeom prst="rect">
            <a:avLst/>
          </a:prstGeom>
          <a:solidFill>
            <a:srgbClr val="0070C0"/>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274320" tIns="91440" rIns="91440" bIns="91440" numCol="1" spcCol="0" rtlCol="0" fromWordArt="0" anchor="ctr" anchorCtr="0" forceAA="0" compatLnSpc="1">
            <a:prstTxWarp prst="textNoShape">
              <a:avLst/>
            </a:prstTxWarp>
            <a:noAutofit/>
          </a:bodyPr>
          <a:lstStyle/>
          <a:p>
            <a:pPr marL="0" lvl="2" algn="ctr"/>
            <a:r>
              <a:rPr lang="en-US" sz="2000" b="1" kern="0">
                <a:solidFill>
                  <a:prstClr val="white"/>
                </a:solidFill>
                <a:latin typeface="+mj-lt"/>
              </a:rPr>
              <a:t>Pensions Closed Book – Migration, Modernization and BizOps</a:t>
            </a:r>
          </a:p>
        </p:txBody>
      </p:sp>
      <p:sp>
        <p:nvSpPr>
          <p:cNvPr id="21" name="Rectangle 20"/>
          <p:cNvSpPr/>
          <p:nvPr/>
        </p:nvSpPr>
        <p:spPr>
          <a:xfrm>
            <a:off x="50812" y="5384998"/>
            <a:ext cx="1722161" cy="738664"/>
          </a:xfrm>
          <a:prstGeom prst="rect">
            <a:avLst/>
          </a:prstGeom>
        </p:spPr>
        <p:txBody>
          <a:bodyPr wrap="square">
            <a:sp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mj-lt"/>
                <a:ea typeface="+mn-ea"/>
                <a:cs typeface="Segoe UI Semilight" panose="020B0402040204020203" pitchFamily="34" charset="0"/>
              </a:rPr>
              <a:t>FTE reduction over a 10-year period</a:t>
            </a:r>
          </a:p>
        </p:txBody>
      </p:sp>
      <p:sp>
        <p:nvSpPr>
          <p:cNvPr id="22" name="TextBox 21"/>
          <p:cNvSpPr txBox="1"/>
          <p:nvPr/>
        </p:nvSpPr>
        <p:spPr>
          <a:xfrm>
            <a:off x="452622" y="4108968"/>
            <a:ext cx="2331087" cy="400110"/>
          </a:xfrm>
          <a:prstGeom prst="rect">
            <a:avLst/>
          </a:prstGeom>
          <a:solidFill>
            <a:schemeClr val="bg1"/>
          </a:solidFill>
        </p:spPr>
        <p:txBody>
          <a:bodyPr wrap="none" rtlCol="0">
            <a:spAutoFit/>
          </a:bodyPr>
          <a:lstStyle>
            <a:defPPr>
              <a:defRPr lang="en-US"/>
            </a:defPPr>
            <a:lvl1pPr defTabSz="914377" fontAlgn="base">
              <a:spcBef>
                <a:spcPct val="0"/>
              </a:spcBef>
              <a:spcAft>
                <a:spcPct val="0"/>
              </a:spcAft>
              <a:defRPr sz="2000" b="1" kern="0">
                <a:solidFill>
                  <a:schemeClr val="accent1"/>
                </a:solidFill>
                <a:cs typeface="Arial" charset="0"/>
              </a:defRPr>
            </a:lvl1p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a:ln>
                  <a:noFill/>
                </a:ln>
                <a:solidFill>
                  <a:srgbClr val="0066A1"/>
                </a:solidFill>
                <a:effectLst/>
                <a:uLnTx/>
                <a:uFillTx/>
                <a:latin typeface="+mj-lt"/>
                <a:ea typeface="+mn-ea"/>
                <a:cs typeface="Arial" charset="0"/>
              </a:rPr>
              <a:t>Projected Results</a:t>
            </a:r>
          </a:p>
        </p:txBody>
      </p:sp>
      <p:sp>
        <p:nvSpPr>
          <p:cNvPr id="23" name="TextBox 22"/>
          <p:cNvSpPr txBox="1"/>
          <p:nvPr/>
        </p:nvSpPr>
        <p:spPr>
          <a:xfrm>
            <a:off x="8388939" y="1922688"/>
            <a:ext cx="1192955" cy="400110"/>
          </a:xfrm>
          <a:prstGeom prst="rect">
            <a:avLst/>
          </a:prstGeom>
          <a:noFill/>
        </p:spPr>
        <p:txBody>
          <a:bodyPr wrap="none" rtlCol="0">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a:ln>
                  <a:noFill/>
                </a:ln>
                <a:solidFill>
                  <a:srgbClr val="A626AA"/>
                </a:solidFill>
                <a:effectLst/>
                <a:uLnTx/>
                <a:uFillTx/>
                <a:latin typeface="+mj-lt"/>
                <a:ea typeface="+mn-ea"/>
                <a:cs typeface="Arial" charset="0"/>
              </a:rPr>
              <a:t>Solution</a:t>
            </a:r>
          </a:p>
        </p:txBody>
      </p:sp>
      <p:sp>
        <p:nvSpPr>
          <p:cNvPr id="24" name="Rectangle 23"/>
          <p:cNvSpPr/>
          <p:nvPr/>
        </p:nvSpPr>
        <p:spPr bwMode="auto">
          <a:xfrm>
            <a:off x="376238" y="2017562"/>
            <a:ext cx="5502589" cy="1753239"/>
          </a:xfrm>
          <a:prstGeom prst="rect">
            <a:avLst/>
          </a:prstGeom>
          <a:noFill/>
          <a:ln>
            <a:noFill/>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225425" marR="0" indent="-225425" defTabSz="932123" fontAlgn="base">
              <a:lnSpc>
                <a:spcPct val="100000"/>
              </a:lnSpc>
              <a:spcBef>
                <a:spcPts val="600"/>
              </a:spcBef>
              <a:spcAft>
                <a:spcPts val="600"/>
              </a:spcAft>
              <a:buClr>
                <a:srgbClr val="0066A1"/>
              </a:buClr>
              <a:buSzPct val="80000"/>
              <a:buFont typeface="Lucida Sans Unicode" panose="020B0602030504020204" pitchFamily="34" charset="0"/>
              <a:buChar char="▶"/>
              <a:tabLst>
                <a:tab pos="177800" algn="l"/>
              </a:tabLst>
              <a:defRPr/>
            </a:pPr>
            <a:r>
              <a:rPr lang="en-US" sz="1400" kern="0" dirty="0">
                <a:solidFill>
                  <a:prstClr val="black"/>
                </a:solidFill>
                <a:cs typeface="Arial" panose="020B0604020202020204" pitchFamily="34" charset="0"/>
              </a:rPr>
              <a:t>Revenue from closed book declining faster than expenses</a:t>
            </a:r>
          </a:p>
          <a:p>
            <a:pPr marL="225425" marR="0" indent="-225425" defTabSz="932123" fontAlgn="base">
              <a:lnSpc>
                <a:spcPct val="100000"/>
              </a:lnSpc>
              <a:spcBef>
                <a:spcPts val="600"/>
              </a:spcBef>
              <a:spcAft>
                <a:spcPts val="600"/>
              </a:spcAft>
              <a:buClr>
                <a:srgbClr val="0066A1"/>
              </a:buClr>
              <a:buSzPct val="80000"/>
              <a:buFont typeface="Lucida Sans Unicode" panose="020B0602030504020204" pitchFamily="34" charset="0"/>
              <a:buChar char="▶"/>
              <a:tabLst>
                <a:tab pos="177800" algn="l"/>
              </a:tabLst>
              <a:defRPr/>
            </a:pPr>
            <a:r>
              <a:rPr lang="en-US" sz="1400" kern="0" dirty="0">
                <a:solidFill>
                  <a:prstClr val="black"/>
                </a:solidFill>
                <a:cs typeface="Arial" panose="020B0604020202020204" pitchFamily="34" charset="0"/>
              </a:rPr>
              <a:t>Multiple legacy pension admin systems leading to high Mainframe costs</a:t>
            </a:r>
          </a:p>
          <a:p>
            <a:pPr marL="225425" marR="0" indent="-225425" defTabSz="932123" fontAlgn="base">
              <a:lnSpc>
                <a:spcPct val="100000"/>
              </a:lnSpc>
              <a:spcBef>
                <a:spcPts val="600"/>
              </a:spcBef>
              <a:spcAft>
                <a:spcPts val="600"/>
              </a:spcAft>
              <a:buClr>
                <a:srgbClr val="0066A1"/>
              </a:buClr>
              <a:buSzPct val="80000"/>
              <a:buFont typeface="Lucida Sans Unicode" panose="020B0602030504020204" pitchFamily="34" charset="0"/>
              <a:buChar char="▶"/>
              <a:tabLst>
                <a:tab pos="177800" algn="l"/>
              </a:tabLst>
              <a:defRPr/>
            </a:pPr>
            <a:r>
              <a:rPr lang="en-US" sz="1400" kern="0" dirty="0">
                <a:solidFill>
                  <a:prstClr val="black"/>
                </a:solidFill>
                <a:cs typeface="Arial" panose="020B0604020202020204" pitchFamily="34" charset="0"/>
              </a:rPr>
              <a:t>840+ existing staff supporting IT systems and ops</a:t>
            </a:r>
          </a:p>
          <a:p>
            <a:pPr marL="225425" marR="0" indent="-225425" defTabSz="932123" fontAlgn="base">
              <a:lnSpc>
                <a:spcPct val="100000"/>
              </a:lnSpc>
              <a:spcBef>
                <a:spcPts val="600"/>
              </a:spcBef>
              <a:spcAft>
                <a:spcPts val="600"/>
              </a:spcAft>
              <a:buClr>
                <a:srgbClr val="0066A1"/>
              </a:buClr>
              <a:buSzPct val="80000"/>
              <a:buFont typeface="Lucida Sans Unicode" panose="020B0602030504020204" pitchFamily="34" charset="0"/>
              <a:buChar char="▶"/>
              <a:tabLst>
                <a:tab pos="177800" algn="l"/>
              </a:tabLst>
              <a:defRPr/>
            </a:pPr>
            <a:r>
              <a:rPr lang="en-US" sz="1400" kern="0" dirty="0">
                <a:solidFill>
                  <a:prstClr val="black"/>
                </a:solidFill>
                <a:cs typeface="Arial" panose="020B0604020202020204" pitchFamily="34" charset="0"/>
              </a:rPr>
              <a:t>Closed Book with 1.5M+ policies</a:t>
            </a:r>
          </a:p>
        </p:txBody>
      </p:sp>
      <p:sp>
        <p:nvSpPr>
          <p:cNvPr id="26" name="Rectangle 25"/>
          <p:cNvSpPr/>
          <p:nvPr/>
        </p:nvSpPr>
        <p:spPr bwMode="auto">
          <a:xfrm>
            <a:off x="6400552" y="2381594"/>
            <a:ext cx="5222296" cy="457200"/>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indent="0" defTabSz="932123" fontAlgn="base">
              <a:lnSpc>
                <a:spcPct val="100000"/>
              </a:lnSpc>
              <a:spcBef>
                <a:spcPct val="0"/>
              </a:spcBef>
              <a:spcAft>
                <a:spcPct val="0"/>
              </a:spcAft>
              <a:buClrTx/>
              <a:buSzTx/>
              <a:buFontTx/>
              <a:buNone/>
              <a:tabLst/>
              <a:defRPr/>
            </a:pPr>
            <a:r>
              <a:rPr lang="en-US" sz="1400" kern="0">
                <a:solidFill>
                  <a:prstClr val="black"/>
                </a:solidFill>
                <a:cs typeface="Arial" panose="020B0604020202020204" pitchFamily="34" charset="0"/>
              </a:rPr>
              <a:t>Sapiens Consolidation Master platform to replace legacy Policy Admin systems</a:t>
            </a:r>
          </a:p>
        </p:txBody>
      </p:sp>
      <p:sp>
        <p:nvSpPr>
          <p:cNvPr id="29" name="Rectangle 28"/>
          <p:cNvSpPr/>
          <p:nvPr/>
        </p:nvSpPr>
        <p:spPr bwMode="auto">
          <a:xfrm>
            <a:off x="6400552" y="4252080"/>
            <a:ext cx="5222296" cy="457200"/>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indent="0" defTabSz="932123" fontAlgn="base">
              <a:lnSpc>
                <a:spcPct val="100000"/>
              </a:lnSpc>
              <a:spcBef>
                <a:spcPct val="0"/>
              </a:spcBef>
              <a:spcAft>
                <a:spcPct val="0"/>
              </a:spcAft>
              <a:buClrTx/>
              <a:buSzTx/>
              <a:buFontTx/>
              <a:buNone/>
              <a:tabLst/>
              <a:defRPr/>
            </a:pPr>
            <a:r>
              <a:rPr lang="en-US" sz="1400" kern="0" dirty="0">
                <a:solidFill>
                  <a:prstClr val="black"/>
                </a:solidFill>
                <a:cs typeface="Arial" panose="020B0604020202020204" pitchFamily="34" charset="0"/>
              </a:rPr>
              <a:t>Pega for auto-enroll and self-service for IFAs and Group scheme admins</a:t>
            </a:r>
          </a:p>
        </p:txBody>
      </p:sp>
      <p:sp>
        <p:nvSpPr>
          <p:cNvPr id="35" name="Rectangle 34"/>
          <p:cNvSpPr/>
          <p:nvPr/>
        </p:nvSpPr>
        <p:spPr bwMode="auto">
          <a:xfrm>
            <a:off x="6400552" y="4841860"/>
            <a:ext cx="5222296" cy="457200"/>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indent="0" defTabSz="932123" fontAlgn="base">
              <a:lnSpc>
                <a:spcPct val="100000"/>
              </a:lnSpc>
              <a:spcBef>
                <a:spcPct val="0"/>
              </a:spcBef>
              <a:spcAft>
                <a:spcPct val="0"/>
              </a:spcAft>
              <a:buClrTx/>
              <a:buSzTx/>
              <a:buFontTx/>
              <a:buNone/>
              <a:tabLst/>
              <a:defRPr/>
            </a:pPr>
            <a:r>
              <a:rPr lang="en-US" sz="1400" kern="0">
                <a:solidFill>
                  <a:prstClr val="black"/>
                </a:solidFill>
                <a:cs typeface="Arial" panose="020B0604020202020204" pitchFamily="34" charset="0"/>
              </a:rPr>
              <a:t>Leverage Atos CX Labs to drive efficient customer journeys and channel-shift</a:t>
            </a:r>
          </a:p>
        </p:txBody>
      </p:sp>
      <p:sp>
        <p:nvSpPr>
          <p:cNvPr id="39" name="Rectangle 38"/>
          <p:cNvSpPr/>
          <p:nvPr/>
        </p:nvSpPr>
        <p:spPr bwMode="auto">
          <a:xfrm>
            <a:off x="6400552" y="5502514"/>
            <a:ext cx="5222296" cy="457200"/>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indent="0" defTabSz="932123" fontAlgn="base">
              <a:lnSpc>
                <a:spcPct val="100000"/>
              </a:lnSpc>
              <a:spcBef>
                <a:spcPct val="0"/>
              </a:spcBef>
              <a:spcAft>
                <a:spcPct val="0"/>
              </a:spcAft>
              <a:buClrTx/>
              <a:buSzTx/>
              <a:buFontTx/>
              <a:buNone/>
              <a:tabLst/>
              <a:defRPr/>
            </a:pPr>
            <a:r>
              <a:rPr lang="en-US" sz="1400" kern="0">
                <a:solidFill>
                  <a:prstClr val="black"/>
                </a:solidFill>
                <a:cs typeface="Arial" panose="020B0604020202020204" pitchFamily="34" charset="0"/>
              </a:rPr>
              <a:t>Process improvement through the deployment of virtual software robots and analytics</a:t>
            </a:r>
          </a:p>
        </p:txBody>
      </p:sp>
      <p:grpSp>
        <p:nvGrpSpPr>
          <p:cNvPr id="7" name="Group 6"/>
          <p:cNvGrpSpPr/>
          <p:nvPr/>
        </p:nvGrpSpPr>
        <p:grpSpPr>
          <a:xfrm>
            <a:off x="5842516" y="2394132"/>
            <a:ext cx="474070" cy="474070"/>
            <a:chOff x="6447430" y="2675492"/>
            <a:chExt cx="474070" cy="474070"/>
          </a:xfrm>
        </p:grpSpPr>
        <p:sp>
          <p:nvSpPr>
            <p:cNvPr id="6" name="Oval 5"/>
            <p:cNvSpPr/>
            <p:nvPr/>
          </p:nvSpPr>
          <p:spPr>
            <a:xfrm>
              <a:off x="6447430" y="2675492"/>
              <a:ext cx="474070" cy="474070"/>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white"/>
                </a:solidFill>
                <a:effectLst/>
                <a:uLnTx/>
                <a:uFillTx/>
                <a:latin typeface="+mj-lt"/>
                <a:ea typeface="+mn-ea"/>
                <a:cs typeface="+mn-cs"/>
              </a:endParaRPr>
            </a:p>
          </p:txBody>
        </p:sp>
        <p:grpSp>
          <p:nvGrpSpPr>
            <p:cNvPr id="28" name="Group 27"/>
            <p:cNvGrpSpPr/>
            <p:nvPr/>
          </p:nvGrpSpPr>
          <p:grpSpPr>
            <a:xfrm>
              <a:off x="6518177" y="2715380"/>
              <a:ext cx="333474" cy="369626"/>
              <a:chOff x="3114466" y="105602"/>
              <a:chExt cx="5971657" cy="6619048"/>
            </a:xfrm>
            <a:solidFill>
              <a:schemeClr val="accent5"/>
            </a:solidFill>
          </p:grpSpPr>
          <p:sp>
            <p:nvSpPr>
              <p:cNvPr id="31" name="Oval 30"/>
              <p:cNvSpPr/>
              <p:nvPr/>
            </p:nvSpPr>
            <p:spPr>
              <a:xfrm>
                <a:off x="5744819" y="745435"/>
                <a:ext cx="695738" cy="695738"/>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34" name="Oval 33"/>
              <p:cNvSpPr/>
              <p:nvPr/>
            </p:nvSpPr>
            <p:spPr>
              <a:xfrm>
                <a:off x="6626711" y="1319213"/>
                <a:ext cx="628234" cy="62823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41" name="Oval 40"/>
              <p:cNvSpPr/>
              <p:nvPr/>
            </p:nvSpPr>
            <p:spPr>
              <a:xfrm>
                <a:off x="4921736" y="1319213"/>
                <a:ext cx="628234" cy="62823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42" name="Oval 41"/>
              <p:cNvSpPr/>
              <p:nvPr/>
            </p:nvSpPr>
            <p:spPr>
              <a:xfrm>
                <a:off x="4140684" y="1766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43" name="Oval 42"/>
              <p:cNvSpPr/>
              <p:nvPr/>
            </p:nvSpPr>
            <p:spPr>
              <a:xfrm>
                <a:off x="7510049" y="1766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44" name="Oval 43"/>
              <p:cNvSpPr/>
              <p:nvPr/>
            </p:nvSpPr>
            <p:spPr>
              <a:xfrm>
                <a:off x="7716285" y="2579410"/>
                <a:ext cx="612706" cy="61270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45" name="Oval 44"/>
              <p:cNvSpPr/>
              <p:nvPr/>
            </p:nvSpPr>
            <p:spPr>
              <a:xfrm>
                <a:off x="3849963" y="2569471"/>
                <a:ext cx="612706" cy="61270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46" name="Oval 45"/>
              <p:cNvSpPr/>
              <p:nvPr/>
            </p:nvSpPr>
            <p:spPr>
              <a:xfrm>
                <a:off x="3740632" y="1416532"/>
                <a:ext cx="394046" cy="39404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47" name="Oval 46"/>
              <p:cNvSpPr/>
              <p:nvPr/>
            </p:nvSpPr>
            <p:spPr>
              <a:xfrm>
                <a:off x="8054215" y="1416532"/>
                <a:ext cx="394046" cy="39404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48" name="Oval 47"/>
              <p:cNvSpPr/>
              <p:nvPr/>
            </p:nvSpPr>
            <p:spPr>
              <a:xfrm>
                <a:off x="5878581" y="105602"/>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49" name="Oval 48"/>
              <p:cNvSpPr/>
              <p:nvPr/>
            </p:nvSpPr>
            <p:spPr>
              <a:xfrm>
                <a:off x="3114466" y="3419473"/>
                <a:ext cx="319296" cy="31929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50" name="Oval 49"/>
              <p:cNvSpPr/>
              <p:nvPr/>
            </p:nvSpPr>
            <p:spPr>
              <a:xfrm>
                <a:off x="3794675" y="5116270"/>
                <a:ext cx="282026" cy="28202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51" name="Oval 50"/>
              <p:cNvSpPr/>
              <p:nvPr/>
            </p:nvSpPr>
            <p:spPr>
              <a:xfrm>
                <a:off x="4640020" y="5060156"/>
                <a:ext cx="342902" cy="3429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52" name="Oval 51"/>
              <p:cNvSpPr/>
              <p:nvPr/>
            </p:nvSpPr>
            <p:spPr>
              <a:xfrm>
                <a:off x="4155592" y="4790040"/>
                <a:ext cx="373546" cy="37354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53" name="Oval 52"/>
              <p:cNvSpPr/>
              <p:nvPr/>
            </p:nvSpPr>
            <p:spPr>
              <a:xfrm>
                <a:off x="3892206" y="4042948"/>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54" name="Oval 53"/>
              <p:cNvSpPr/>
              <p:nvPr/>
            </p:nvSpPr>
            <p:spPr>
              <a:xfrm>
                <a:off x="7758528" y="4052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55" name="Oval 54"/>
              <p:cNvSpPr/>
              <p:nvPr/>
            </p:nvSpPr>
            <p:spPr>
              <a:xfrm>
                <a:off x="3632338" y="3395454"/>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56" name="Oval 55"/>
              <p:cNvSpPr/>
              <p:nvPr/>
            </p:nvSpPr>
            <p:spPr>
              <a:xfrm>
                <a:off x="8122650" y="3395454"/>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57" name="Oval 56"/>
              <p:cNvSpPr/>
              <p:nvPr/>
            </p:nvSpPr>
            <p:spPr>
              <a:xfrm>
                <a:off x="8747366" y="3412330"/>
                <a:ext cx="338757" cy="338757"/>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58" name="Oval 57"/>
              <p:cNvSpPr/>
              <p:nvPr/>
            </p:nvSpPr>
            <p:spPr>
              <a:xfrm>
                <a:off x="7659444" y="4792108"/>
                <a:ext cx="372514" cy="37251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59" name="Oval 58"/>
              <p:cNvSpPr/>
              <p:nvPr/>
            </p:nvSpPr>
            <p:spPr>
              <a:xfrm>
                <a:off x="7208355" y="5062538"/>
                <a:ext cx="341242" cy="34124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60" name="Oval 59"/>
              <p:cNvSpPr/>
              <p:nvPr/>
            </p:nvSpPr>
            <p:spPr>
              <a:xfrm>
                <a:off x="8113230" y="5122069"/>
                <a:ext cx="274566" cy="27456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61" name="Freeform 60"/>
              <p:cNvSpPr/>
              <p:nvPr/>
            </p:nvSpPr>
            <p:spPr>
              <a:xfrm>
                <a:off x="5507831" y="5678142"/>
                <a:ext cx="1200744" cy="1046508"/>
              </a:xfrm>
              <a:custGeom>
                <a:avLst/>
                <a:gdLst>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58806 w 1200744"/>
                  <a:gd name="connsiteY19" fmla="*/ 0 h 1046508"/>
                  <a:gd name="connsiteX20" fmla="*/ 692944 w 1200744"/>
                  <a:gd name="connsiteY20" fmla="*/ 0 h 1046508"/>
                  <a:gd name="connsiteX21" fmla="*/ 692944 w 1200744"/>
                  <a:gd name="connsiteY21" fmla="*/ 102530 h 1046508"/>
                  <a:gd name="connsiteX22" fmla="*/ 418176 w 1200744"/>
                  <a:gd name="connsiteY22" fmla="*/ 135174 h 1046508"/>
                  <a:gd name="connsiteX23" fmla="*/ 392350 w 1200744"/>
                  <a:gd name="connsiteY23" fmla="*/ 149653 h 1046508"/>
                  <a:gd name="connsiteX24" fmla="*/ 384326 w 1200744"/>
                  <a:gd name="connsiteY24" fmla="*/ 178152 h 1046508"/>
                  <a:gd name="connsiteX25" fmla="*/ 398804 w 1200744"/>
                  <a:gd name="connsiteY25" fmla="*/ 203977 h 1046508"/>
                  <a:gd name="connsiteX26" fmla="*/ 427304 w 1200744"/>
                  <a:gd name="connsiteY26" fmla="*/ 212001 h 1046508"/>
                  <a:gd name="connsiteX27" fmla="*/ 1104900 w 1200744"/>
                  <a:gd name="connsiteY27" fmla="*/ 131498 h 1046508"/>
                  <a:gd name="connsiteX28" fmla="*/ 1104900 w 1200744"/>
                  <a:gd name="connsiteY28" fmla="*/ 134851 h 1046508"/>
                  <a:gd name="connsiteX29" fmla="*/ 1157493 w 1200744"/>
                  <a:gd name="connsiteY29" fmla="*/ 128603 h 1046508"/>
                  <a:gd name="connsiteX30" fmla="*/ 1200471 w 1200744"/>
                  <a:gd name="connsiteY30" fmla="*/ 162453 h 1046508"/>
                  <a:gd name="connsiteX31" fmla="*/ 1200470 w 1200744"/>
                  <a:gd name="connsiteY31" fmla="*/ 162453 h 1046508"/>
                  <a:gd name="connsiteX32" fmla="*/ 1166620 w 1200744"/>
                  <a:gd name="connsiteY32" fmla="*/ 205431 h 1046508"/>
                  <a:gd name="connsiteX33" fmla="*/ 892471 w 1200744"/>
                  <a:gd name="connsiteY33" fmla="*/ 238001 h 1046508"/>
                  <a:gd name="connsiteX34" fmla="*/ 883444 w 1200744"/>
                  <a:gd name="connsiteY34" fmla="*/ 235459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688181 w 1200744"/>
                  <a:gd name="connsiteY45" fmla="*/ 400083 h 1046508"/>
                  <a:gd name="connsiteX46" fmla="*/ 688181 w 1200744"/>
                  <a:gd name="connsiteY46" fmla="*/ 403433 h 1046508"/>
                  <a:gd name="connsiteX47" fmla="*/ 792956 w 1200744"/>
                  <a:gd name="connsiteY47" fmla="*/ 390985 h 1046508"/>
                  <a:gd name="connsiteX48" fmla="*/ 792956 w 1200744"/>
                  <a:gd name="connsiteY48" fmla="*/ 387635 h 1046508"/>
                  <a:gd name="connsiteX49" fmla="*/ 883444 w 1200744"/>
                  <a:gd name="connsiteY49" fmla="*/ 376884 h 1046508"/>
                  <a:gd name="connsiteX50" fmla="*/ 883444 w 1200744"/>
                  <a:gd name="connsiteY50" fmla="*/ 380235 h 1046508"/>
                  <a:gd name="connsiteX51" fmla="*/ 1157493 w 1200744"/>
                  <a:gd name="connsiteY51" fmla="*/ 347675 h 1046508"/>
                  <a:gd name="connsiteX52" fmla="*/ 1200471 w 1200744"/>
                  <a:gd name="connsiteY52" fmla="*/ 381525 h 1046508"/>
                  <a:gd name="connsiteX53" fmla="*/ 1200470 w 1200744"/>
                  <a:gd name="connsiteY53" fmla="*/ 381526 h 1046508"/>
                  <a:gd name="connsiteX54" fmla="*/ 1166620 w 1200744"/>
                  <a:gd name="connsiteY54" fmla="*/ 424503 h 1046508"/>
                  <a:gd name="connsiteX55" fmla="*/ 883444 w 1200744"/>
                  <a:gd name="connsiteY55" fmla="*/ 458146 h 1046508"/>
                  <a:gd name="connsiteX56" fmla="*/ 883444 w 1200744"/>
                  <a:gd name="connsiteY56" fmla="*/ 506141 h 1046508"/>
                  <a:gd name="connsiteX57" fmla="*/ 792956 w 1200744"/>
                  <a:gd name="connsiteY57" fmla="*/ 516892 h 1046508"/>
                  <a:gd name="connsiteX58" fmla="*/ 792956 w 1200744"/>
                  <a:gd name="connsiteY58" fmla="*/ 468897 h 1046508"/>
                  <a:gd name="connsiteX59" fmla="*/ 688181 w 1200744"/>
                  <a:gd name="connsiteY59" fmla="*/ 481345 h 1046508"/>
                  <a:gd name="connsiteX60" fmla="*/ 688181 w 1200744"/>
                  <a:gd name="connsiteY60" fmla="*/ 529340 h 1046508"/>
                  <a:gd name="connsiteX61" fmla="*/ 418176 w 1200744"/>
                  <a:gd name="connsiteY61" fmla="*/ 561418 h 1046508"/>
                  <a:gd name="connsiteX62" fmla="*/ 392350 w 1200744"/>
                  <a:gd name="connsiteY62" fmla="*/ 575897 h 1046508"/>
                  <a:gd name="connsiteX63" fmla="*/ 384326 w 1200744"/>
                  <a:gd name="connsiteY63" fmla="*/ 604396 h 1046508"/>
                  <a:gd name="connsiteX64" fmla="*/ 398804 w 1200744"/>
                  <a:gd name="connsiteY64" fmla="*/ 630221 h 1046508"/>
                  <a:gd name="connsiteX65" fmla="*/ 427304 w 1200744"/>
                  <a:gd name="connsiteY65" fmla="*/ 638245 h 1046508"/>
                  <a:gd name="connsiteX66" fmla="*/ 1104900 w 1200744"/>
                  <a:gd name="connsiteY66" fmla="*/ 557742 h 1046508"/>
                  <a:gd name="connsiteX67" fmla="*/ 1104900 w 1200744"/>
                  <a:gd name="connsiteY67" fmla="*/ 558713 h 1046508"/>
                  <a:gd name="connsiteX68" fmla="*/ 1157491 w 1200744"/>
                  <a:gd name="connsiteY68" fmla="*/ 552464 h 1046508"/>
                  <a:gd name="connsiteX69" fmla="*/ 1200469 w 1200744"/>
                  <a:gd name="connsiteY69" fmla="*/ 586314 h 1046508"/>
                  <a:gd name="connsiteX70" fmla="*/ 1200468 w 1200744"/>
                  <a:gd name="connsiteY70" fmla="*/ 586314 h 1046508"/>
                  <a:gd name="connsiteX71" fmla="*/ 1166618 w 1200744"/>
                  <a:gd name="connsiteY71" fmla="*/ 629292 h 1046508"/>
                  <a:gd name="connsiteX72" fmla="*/ 1104900 w 1200744"/>
                  <a:gd name="connsiteY72" fmla="*/ 636624 h 1046508"/>
                  <a:gd name="connsiteX73" fmla="*/ 1104900 w 1200744"/>
                  <a:gd name="connsiteY73" fmla="*/ 817908 h 1046508"/>
                  <a:gd name="connsiteX74" fmla="*/ 971550 w 1200744"/>
                  <a:gd name="connsiteY74" fmla="*/ 946496 h 1046508"/>
                  <a:gd name="connsiteX75" fmla="*/ 752889 w 1200744"/>
                  <a:gd name="connsiteY75" fmla="*/ 946496 h 1046508"/>
                  <a:gd name="connsiteX76" fmla="*/ 749140 w 1200744"/>
                  <a:gd name="connsiteY76" fmla="*/ 965065 h 1046508"/>
                  <a:gd name="connsiteX77" fmla="*/ 626271 w 1200744"/>
                  <a:gd name="connsiteY77" fmla="*/ 1046508 h 1046508"/>
                  <a:gd name="connsiteX78" fmla="*/ 533770 w 1200744"/>
                  <a:gd name="connsiteY78" fmla="*/ 1046508 h 1046508"/>
                  <a:gd name="connsiteX79" fmla="*/ 410901 w 1200744"/>
                  <a:gd name="connsiteY79" fmla="*/ 965065 h 1046508"/>
                  <a:gd name="connsiteX80" fmla="*/ 407153 w 1200744"/>
                  <a:gd name="connsiteY80" fmla="*/ 946496 h 1046508"/>
                  <a:gd name="connsiteX81" fmla="*/ 190500 w 1200744"/>
                  <a:gd name="connsiteY81" fmla="*/ 946496 h 1046508"/>
                  <a:gd name="connsiteX82" fmla="*/ 59532 w 1200744"/>
                  <a:gd name="connsiteY82" fmla="*/ 825052 h 1046508"/>
                  <a:gd name="connsiteX83" fmla="*/ 59432 w 1200744"/>
                  <a:gd name="connsiteY83" fmla="*/ 710643 h 1046508"/>
                  <a:gd name="connsiteX84" fmla="*/ 48816 w 1200744"/>
                  <a:gd name="connsiteY84" fmla="*/ 710643 h 1046508"/>
                  <a:gd name="connsiteX85" fmla="*/ 14298 w 1200744"/>
                  <a:gd name="connsiteY85" fmla="*/ 696345 h 1046508"/>
                  <a:gd name="connsiteX86" fmla="*/ 0 w 1200744"/>
                  <a:gd name="connsiteY86" fmla="*/ 661828 h 1046508"/>
                  <a:gd name="connsiteX87" fmla="*/ 14298 w 1200744"/>
                  <a:gd name="connsiteY87" fmla="*/ 627310 h 1046508"/>
                  <a:gd name="connsiteX88" fmla="*/ 48816 w 1200744"/>
                  <a:gd name="connsiteY88" fmla="*/ 613012 h 1046508"/>
                  <a:gd name="connsiteX89" fmla="*/ 59346 w 1200744"/>
                  <a:gd name="connsiteY89" fmla="*/ 613012 h 1046508"/>
                  <a:gd name="connsiteX90" fmla="*/ 59247 w 1200744"/>
                  <a:gd name="connsiteY90" fmla="*/ 501147 h 1046508"/>
                  <a:gd name="connsiteX91" fmla="*/ 48816 w 1200744"/>
                  <a:gd name="connsiteY91" fmla="*/ 501147 h 1046508"/>
                  <a:gd name="connsiteX92" fmla="*/ 14298 w 1200744"/>
                  <a:gd name="connsiteY92" fmla="*/ 486849 h 1046508"/>
                  <a:gd name="connsiteX93" fmla="*/ 0 w 1200744"/>
                  <a:gd name="connsiteY93" fmla="*/ 452332 h 1046508"/>
                  <a:gd name="connsiteX94" fmla="*/ 14298 w 1200744"/>
                  <a:gd name="connsiteY94" fmla="*/ 417814 h 1046508"/>
                  <a:gd name="connsiteX95" fmla="*/ 48816 w 1200744"/>
                  <a:gd name="connsiteY95" fmla="*/ 403516 h 1046508"/>
                  <a:gd name="connsiteX96" fmla="*/ 59161 w 1200744"/>
                  <a:gd name="connsiteY96" fmla="*/ 403516 h 1046508"/>
                  <a:gd name="connsiteX97" fmla="*/ 59063 w 1200744"/>
                  <a:gd name="connsiteY97" fmla="*/ 291651 h 1046508"/>
                  <a:gd name="connsiteX98" fmla="*/ 48816 w 1200744"/>
                  <a:gd name="connsiteY98" fmla="*/ 291651 h 1046508"/>
                  <a:gd name="connsiteX99" fmla="*/ 14298 w 1200744"/>
                  <a:gd name="connsiteY99" fmla="*/ 277353 h 1046508"/>
                  <a:gd name="connsiteX100" fmla="*/ 0 w 1200744"/>
                  <a:gd name="connsiteY100" fmla="*/ 242836 h 1046508"/>
                  <a:gd name="connsiteX101" fmla="*/ 14298 w 1200744"/>
                  <a:gd name="connsiteY101" fmla="*/ 208318 h 1046508"/>
                  <a:gd name="connsiteX102" fmla="*/ 48816 w 1200744"/>
                  <a:gd name="connsiteY102" fmla="*/ 194020 h 1046508"/>
                  <a:gd name="connsiteX103" fmla="*/ 58977 w 1200744"/>
                  <a:gd name="connsiteY103" fmla="*/ 19402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792956 w 1200744"/>
                  <a:gd name="connsiteY49" fmla="*/ 387635 h 1046508"/>
                  <a:gd name="connsiteX50" fmla="*/ 883444 w 1200744"/>
                  <a:gd name="connsiteY50" fmla="*/ 376884 h 1046508"/>
                  <a:gd name="connsiteX51" fmla="*/ 1157493 w 1200744"/>
                  <a:gd name="connsiteY51" fmla="*/ 347675 h 1046508"/>
                  <a:gd name="connsiteX52" fmla="*/ 1200471 w 1200744"/>
                  <a:gd name="connsiteY52" fmla="*/ 381525 h 1046508"/>
                  <a:gd name="connsiteX53" fmla="*/ 1200470 w 1200744"/>
                  <a:gd name="connsiteY53" fmla="*/ 381526 h 1046508"/>
                  <a:gd name="connsiteX54" fmla="*/ 1166620 w 1200744"/>
                  <a:gd name="connsiteY54" fmla="*/ 424503 h 1046508"/>
                  <a:gd name="connsiteX55" fmla="*/ 883444 w 1200744"/>
                  <a:gd name="connsiteY55" fmla="*/ 458146 h 1046508"/>
                  <a:gd name="connsiteX56" fmla="*/ 883444 w 1200744"/>
                  <a:gd name="connsiteY56" fmla="*/ 506141 h 1046508"/>
                  <a:gd name="connsiteX57" fmla="*/ 792956 w 1200744"/>
                  <a:gd name="connsiteY57" fmla="*/ 516892 h 1046508"/>
                  <a:gd name="connsiteX58" fmla="*/ 792956 w 1200744"/>
                  <a:gd name="connsiteY58" fmla="*/ 468897 h 1046508"/>
                  <a:gd name="connsiteX59" fmla="*/ 688181 w 1200744"/>
                  <a:gd name="connsiteY59" fmla="*/ 481345 h 1046508"/>
                  <a:gd name="connsiteX60" fmla="*/ 688181 w 1200744"/>
                  <a:gd name="connsiteY60" fmla="*/ 529340 h 1046508"/>
                  <a:gd name="connsiteX61" fmla="*/ 418176 w 1200744"/>
                  <a:gd name="connsiteY61" fmla="*/ 561418 h 1046508"/>
                  <a:gd name="connsiteX62" fmla="*/ 392350 w 1200744"/>
                  <a:gd name="connsiteY62" fmla="*/ 575897 h 1046508"/>
                  <a:gd name="connsiteX63" fmla="*/ 384326 w 1200744"/>
                  <a:gd name="connsiteY63" fmla="*/ 604396 h 1046508"/>
                  <a:gd name="connsiteX64" fmla="*/ 398804 w 1200744"/>
                  <a:gd name="connsiteY64" fmla="*/ 630221 h 1046508"/>
                  <a:gd name="connsiteX65" fmla="*/ 427304 w 1200744"/>
                  <a:gd name="connsiteY65" fmla="*/ 638245 h 1046508"/>
                  <a:gd name="connsiteX66" fmla="*/ 1104900 w 1200744"/>
                  <a:gd name="connsiteY66" fmla="*/ 557742 h 1046508"/>
                  <a:gd name="connsiteX67" fmla="*/ 1104900 w 1200744"/>
                  <a:gd name="connsiteY67" fmla="*/ 558713 h 1046508"/>
                  <a:gd name="connsiteX68" fmla="*/ 1157491 w 1200744"/>
                  <a:gd name="connsiteY68" fmla="*/ 552464 h 1046508"/>
                  <a:gd name="connsiteX69" fmla="*/ 1200469 w 1200744"/>
                  <a:gd name="connsiteY69" fmla="*/ 586314 h 1046508"/>
                  <a:gd name="connsiteX70" fmla="*/ 1200468 w 1200744"/>
                  <a:gd name="connsiteY70" fmla="*/ 586314 h 1046508"/>
                  <a:gd name="connsiteX71" fmla="*/ 1166618 w 1200744"/>
                  <a:gd name="connsiteY71" fmla="*/ 629292 h 1046508"/>
                  <a:gd name="connsiteX72" fmla="*/ 1104900 w 1200744"/>
                  <a:gd name="connsiteY72" fmla="*/ 636624 h 1046508"/>
                  <a:gd name="connsiteX73" fmla="*/ 1104900 w 1200744"/>
                  <a:gd name="connsiteY73" fmla="*/ 817908 h 1046508"/>
                  <a:gd name="connsiteX74" fmla="*/ 971550 w 1200744"/>
                  <a:gd name="connsiteY74" fmla="*/ 946496 h 1046508"/>
                  <a:gd name="connsiteX75" fmla="*/ 752889 w 1200744"/>
                  <a:gd name="connsiteY75" fmla="*/ 946496 h 1046508"/>
                  <a:gd name="connsiteX76" fmla="*/ 749140 w 1200744"/>
                  <a:gd name="connsiteY76" fmla="*/ 965065 h 1046508"/>
                  <a:gd name="connsiteX77" fmla="*/ 626271 w 1200744"/>
                  <a:gd name="connsiteY77" fmla="*/ 1046508 h 1046508"/>
                  <a:gd name="connsiteX78" fmla="*/ 533770 w 1200744"/>
                  <a:gd name="connsiteY78" fmla="*/ 1046508 h 1046508"/>
                  <a:gd name="connsiteX79" fmla="*/ 410901 w 1200744"/>
                  <a:gd name="connsiteY79" fmla="*/ 965065 h 1046508"/>
                  <a:gd name="connsiteX80" fmla="*/ 407153 w 1200744"/>
                  <a:gd name="connsiteY80" fmla="*/ 946496 h 1046508"/>
                  <a:gd name="connsiteX81" fmla="*/ 190500 w 1200744"/>
                  <a:gd name="connsiteY81" fmla="*/ 946496 h 1046508"/>
                  <a:gd name="connsiteX82" fmla="*/ 59532 w 1200744"/>
                  <a:gd name="connsiteY82" fmla="*/ 825052 h 1046508"/>
                  <a:gd name="connsiteX83" fmla="*/ 59432 w 1200744"/>
                  <a:gd name="connsiteY83" fmla="*/ 710643 h 1046508"/>
                  <a:gd name="connsiteX84" fmla="*/ 48816 w 1200744"/>
                  <a:gd name="connsiteY84" fmla="*/ 710643 h 1046508"/>
                  <a:gd name="connsiteX85" fmla="*/ 14298 w 1200744"/>
                  <a:gd name="connsiteY85" fmla="*/ 696345 h 1046508"/>
                  <a:gd name="connsiteX86" fmla="*/ 0 w 1200744"/>
                  <a:gd name="connsiteY86" fmla="*/ 661828 h 1046508"/>
                  <a:gd name="connsiteX87" fmla="*/ 14298 w 1200744"/>
                  <a:gd name="connsiteY87" fmla="*/ 627310 h 1046508"/>
                  <a:gd name="connsiteX88" fmla="*/ 48816 w 1200744"/>
                  <a:gd name="connsiteY88" fmla="*/ 613012 h 1046508"/>
                  <a:gd name="connsiteX89" fmla="*/ 59346 w 1200744"/>
                  <a:gd name="connsiteY89" fmla="*/ 613012 h 1046508"/>
                  <a:gd name="connsiteX90" fmla="*/ 59247 w 1200744"/>
                  <a:gd name="connsiteY90" fmla="*/ 501147 h 1046508"/>
                  <a:gd name="connsiteX91" fmla="*/ 48816 w 1200744"/>
                  <a:gd name="connsiteY91" fmla="*/ 501147 h 1046508"/>
                  <a:gd name="connsiteX92" fmla="*/ 14298 w 1200744"/>
                  <a:gd name="connsiteY92" fmla="*/ 486849 h 1046508"/>
                  <a:gd name="connsiteX93" fmla="*/ 0 w 1200744"/>
                  <a:gd name="connsiteY93" fmla="*/ 452332 h 1046508"/>
                  <a:gd name="connsiteX94" fmla="*/ 14298 w 1200744"/>
                  <a:gd name="connsiteY94" fmla="*/ 417814 h 1046508"/>
                  <a:gd name="connsiteX95" fmla="*/ 48816 w 1200744"/>
                  <a:gd name="connsiteY95" fmla="*/ 403516 h 1046508"/>
                  <a:gd name="connsiteX96" fmla="*/ 59161 w 1200744"/>
                  <a:gd name="connsiteY96" fmla="*/ 403516 h 1046508"/>
                  <a:gd name="connsiteX97" fmla="*/ 59063 w 1200744"/>
                  <a:gd name="connsiteY97" fmla="*/ 291651 h 1046508"/>
                  <a:gd name="connsiteX98" fmla="*/ 48816 w 1200744"/>
                  <a:gd name="connsiteY98" fmla="*/ 291651 h 1046508"/>
                  <a:gd name="connsiteX99" fmla="*/ 14298 w 1200744"/>
                  <a:gd name="connsiteY99" fmla="*/ 277353 h 1046508"/>
                  <a:gd name="connsiteX100" fmla="*/ 0 w 1200744"/>
                  <a:gd name="connsiteY100" fmla="*/ 242836 h 1046508"/>
                  <a:gd name="connsiteX101" fmla="*/ 14298 w 1200744"/>
                  <a:gd name="connsiteY101" fmla="*/ 208318 h 1046508"/>
                  <a:gd name="connsiteX102" fmla="*/ 48816 w 1200744"/>
                  <a:gd name="connsiteY102" fmla="*/ 194020 h 1046508"/>
                  <a:gd name="connsiteX103" fmla="*/ 58977 w 1200744"/>
                  <a:gd name="connsiteY103" fmla="*/ 194020 h 1046508"/>
                  <a:gd name="connsiteX104" fmla="*/ 58806 w 1200744"/>
                  <a:gd name="connsiteY104"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792956 w 1200744"/>
                  <a:gd name="connsiteY49" fmla="*/ 387635 h 1046508"/>
                  <a:gd name="connsiteX50" fmla="*/ 1157493 w 1200744"/>
                  <a:gd name="connsiteY50" fmla="*/ 347675 h 1046508"/>
                  <a:gd name="connsiteX51" fmla="*/ 1200471 w 1200744"/>
                  <a:gd name="connsiteY51" fmla="*/ 381525 h 1046508"/>
                  <a:gd name="connsiteX52" fmla="*/ 1200470 w 1200744"/>
                  <a:gd name="connsiteY52" fmla="*/ 381526 h 1046508"/>
                  <a:gd name="connsiteX53" fmla="*/ 1166620 w 1200744"/>
                  <a:gd name="connsiteY53" fmla="*/ 424503 h 1046508"/>
                  <a:gd name="connsiteX54" fmla="*/ 883444 w 1200744"/>
                  <a:gd name="connsiteY54" fmla="*/ 458146 h 1046508"/>
                  <a:gd name="connsiteX55" fmla="*/ 883444 w 1200744"/>
                  <a:gd name="connsiteY55" fmla="*/ 506141 h 1046508"/>
                  <a:gd name="connsiteX56" fmla="*/ 792956 w 1200744"/>
                  <a:gd name="connsiteY56" fmla="*/ 516892 h 1046508"/>
                  <a:gd name="connsiteX57" fmla="*/ 792956 w 1200744"/>
                  <a:gd name="connsiteY57" fmla="*/ 468897 h 1046508"/>
                  <a:gd name="connsiteX58" fmla="*/ 688181 w 1200744"/>
                  <a:gd name="connsiteY58" fmla="*/ 481345 h 1046508"/>
                  <a:gd name="connsiteX59" fmla="*/ 688181 w 1200744"/>
                  <a:gd name="connsiteY59" fmla="*/ 529340 h 1046508"/>
                  <a:gd name="connsiteX60" fmla="*/ 418176 w 1200744"/>
                  <a:gd name="connsiteY60" fmla="*/ 561418 h 1046508"/>
                  <a:gd name="connsiteX61" fmla="*/ 392350 w 1200744"/>
                  <a:gd name="connsiteY61" fmla="*/ 575897 h 1046508"/>
                  <a:gd name="connsiteX62" fmla="*/ 384326 w 1200744"/>
                  <a:gd name="connsiteY62" fmla="*/ 604396 h 1046508"/>
                  <a:gd name="connsiteX63" fmla="*/ 398804 w 1200744"/>
                  <a:gd name="connsiteY63" fmla="*/ 630221 h 1046508"/>
                  <a:gd name="connsiteX64" fmla="*/ 427304 w 1200744"/>
                  <a:gd name="connsiteY64" fmla="*/ 638245 h 1046508"/>
                  <a:gd name="connsiteX65" fmla="*/ 1104900 w 1200744"/>
                  <a:gd name="connsiteY65" fmla="*/ 557742 h 1046508"/>
                  <a:gd name="connsiteX66" fmla="*/ 1104900 w 1200744"/>
                  <a:gd name="connsiteY66" fmla="*/ 558713 h 1046508"/>
                  <a:gd name="connsiteX67" fmla="*/ 1157491 w 1200744"/>
                  <a:gd name="connsiteY67" fmla="*/ 552464 h 1046508"/>
                  <a:gd name="connsiteX68" fmla="*/ 1200469 w 1200744"/>
                  <a:gd name="connsiteY68" fmla="*/ 586314 h 1046508"/>
                  <a:gd name="connsiteX69" fmla="*/ 1200468 w 1200744"/>
                  <a:gd name="connsiteY69" fmla="*/ 586314 h 1046508"/>
                  <a:gd name="connsiteX70" fmla="*/ 1166618 w 1200744"/>
                  <a:gd name="connsiteY70" fmla="*/ 629292 h 1046508"/>
                  <a:gd name="connsiteX71" fmla="*/ 1104900 w 1200744"/>
                  <a:gd name="connsiteY71" fmla="*/ 636624 h 1046508"/>
                  <a:gd name="connsiteX72" fmla="*/ 1104900 w 1200744"/>
                  <a:gd name="connsiteY72" fmla="*/ 817908 h 1046508"/>
                  <a:gd name="connsiteX73" fmla="*/ 971550 w 1200744"/>
                  <a:gd name="connsiteY73" fmla="*/ 946496 h 1046508"/>
                  <a:gd name="connsiteX74" fmla="*/ 752889 w 1200744"/>
                  <a:gd name="connsiteY74" fmla="*/ 946496 h 1046508"/>
                  <a:gd name="connsiteX75" fmla="*/ 749140 w 1200744"/>
                  <a:gd name="connsiteY75" fmla="*/ 965065 h 1046508"/>
                  <a:gd name="connsiteX76" fmla="*/ 626271 w 1200744"/>
                  <a:gd name="connsiteY76" fmla="*/ 1046508 h 1046508"/>
                  <a:gd name="connsiteX77" fmla="*/ 533770 w 1200744"/>
                  <a:gd name="connsiteY77" fmla="*/ 1046508 h 1046508"/>
                  <a:gd name="connsiteX78" fmla="*/ 410901 w 1200744"/>
                  <a:gd name="connsiteY78" fmla="*/ 965065 h 1046508"/>
                  <a:gd name="connsiteX79" fmla="*/ 407153 w 1200744"/>
                  <a:gd name="connsiteY79" fmla="*/ 946496 h 1046508"/>
                  <a:gd name="connsiteX80" fmla="*/ 190500 w 1200744"/>
                  <a:gd name="connsiteY80" fmla="*/ 946496 h 1046508"/>
                  <a:gd name="connsiteX81" fmla="*/ 59532 w 1200744"/>
                  <a:gd name="connsiteY81" fmla="*/ 825052 h 1046508"/>
                  <a:gd name="connsiteX82" fmla="*/ 59432 w 1200744"/>
                  <a:gd name="connsiteY82" fmla="*/ 710643 h 1046508"/>
                  <a:gd name="connsiteX83" fmla="*/ 48816 w 1200744"/>
                  <a:gd name="connsiteY83" fmla="*/ 710643 h 1046508"/>
                  <a:gd name="connsiteX84" fmla="*/ 14298 w 1200744"/>
                  <a:gd name="connsiteY84" fmla="*/ 696345 h 1046508"/>
                  <a:gd name="connsiteX85" fmla="*/ 0 w 1200744"/>
                  <a:gd name="connsiteY85" fmla="*/ 661828 h 1046508"/>
                  <a:gd name="connsiteX86" fmla="*/ 14298 w 1200744"/>
                  <a:gd name="connsiteY86" fmla="*/ 627310 h 1046508"/>
                  <a:gd name="connsiteX87" fmla="*/ 48816 w 1200744"/>
                  <a:gd name="connsiteY87" fmla="*/ 613012 h 1046508"/>
                  <a:gd name="connsiteX88" fmla="*/ 59346 w 1200744"/>
                  <a:gd name="connsiteY88" fmla="*/ 613012 h 1046508"/>
                  <a:gd name="connsiteX89" fmla="*/ 59247 w 1200744"/>
                  <a:gd name="connsiteY89" fmla="*/ 501147 h 1046508"/>
                  <a:gd name="connsiteX90" fmla="*/ 48816 w 1200744"/>
                  <a:gd name="connsiteY90" fmla="*/ 501147 h 1046508"/>
                  <a:gd name="connsiteX91" fmla="*/ 14298 w 1200744"/>
                  <a:gd name="connsiteY91" fmla="*/ 486849 h 1046508"/>
                  <a:gd name="connsiteX92" fmla="*/ 0 w 1200744"/>
                  <a:gd name="connsiteY92" fmla="*/ 452332 h 1046508"/>
                  <a:gd name="connsiteX93" fmla="*/ 14298 w 1200744"/>
                  <a:gd name="connsiteY93" fmla="*/ 417814 h 1046508"/>
                  <a:gd name="connsiteX94" fmla="*/ 48816 w 1200744"/>
                  <a:gd name="connsiteY94" fmla="*/ 403516 h 1046508"/>
                  <a:gd name="connsiteX95" fmla="*/ 59161 w 1200744"/>
                  <a:gd name="connsiteY95" fmla="*/ 403516 h 1046508"/>
                  <a:gd name="connsiteX96" fmla="*/ 59063 w 1200744"/>
                  <a:gd name="connsiteY96" fmla="*/ 291651 h 1046508"/>
                  <a:gd name="connsiteX97" fmla="*/ 48816 w 1200744"/>
                  <a:gd name="connsiteY97" fmla="*/ 291651 h 1046508"/>
                  <a:gd name="connsiteX98" fmla="*/ 14298 w 1200744"/>
                  <a:gd name="connsiteY98" fmla="*/ 277353 h 1046508"/>
                  <a:gd name="connsiteX99" fmla="*/ 0 w 1200744"/>
                  <a:gd name="connsiteY99" fmla="*/ 242836 h 1046508"/>
                  <a:gd name="connsiteX100" fmla="*/ 14298 w 1200744"/>
                  <a:gd name="connsiteY100" fmla="*/ 208318 h 1046508"/>
                  <a:gd name="connsiteX101" fmla="*/ 48816 w 1200744"/>
                  <a:gd name="connsiteY101" fmla="*/ 194020 h 1046508"/>
                  <a:gd name="connsiteX102" fmla="*/ 58977 w 1200744"/>
                  <a:gd name="connsiteY102" fmla="*/ 194020 h 1046508"/>
                  <a:gd name="connsiteX103" fmla="*/ 58806 w 1200744"/>
                  <a:gd name="connsiteY103"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1157493 w 1200744"/>
                  <a:gd name="connsiteY49" fmla="*/ 347675 h 1046508"/>
                  <a:gd name="connsiteX50" fmla="*/ 1200471 w 1200744"/>
                  <a:gd name="connsiteY50" fmla="*/ 381525 h 1046508"/>
                  <a:gd name="connsiteX51" fmla="*/ 1200470 w 1200744"/>
                  <a:gd name="connsiteY51" fmla="*/ 381526 h 1046508"/>
                  <a:gd name="connsiteX52" fmla="*/ 1166620 w 1200744"/>
                  <a:gd name="connsiteY52" fmla="*/ 424503 h 1046508"/>
                  <a:gd name="connsiteX53" fmla="*/ 883444 w 1200744"/>
                  <a:gd name="connsiteY53" fmla="*/ 458146 h 1046508"/>
                  <a:gd name="connsiteX54" fmla="*/ 883444 w 1200744"/>
                  <a:gd name="connsiteY54" fmla="*/ 506141 h 1046508"/>
                  <a:gd name="connsiteX55" fmla="*/ 792956 w 1200744"/>
                  <a:gd name="connsiteY55" fmla="*/ 516892 h 1046508"/>
                  <a:gd name="connsiteX56" fmla="*/ 792956 w 1200744"/>
                  <a:gd name="connsiteY56" fmla="*/ 468897 h 1046508"/>
                  <a:gd name="connsiteX57" fmla="*/ 688181 w 1200744"/>
                  <a:gd name="connsiteY57" fmla="*/ 481345 h 1046508"/>
                  <a:gd name="connsiteX58" fmla="*/ 688181 w 1200744"/>
                  <a:gd name="connsiteY58" fmla="*/ 529340 h 1046508"/>
                  <a:gd name="connsiteX59" fmla="*/ 418176 w 1200744"/>
                  <a:gd name="connsiteY59" fmla="*/ 561418 h 1046508"/>
                  <a:gd name="connsiteX60" fmla="*/ 392350 w 1200744"/>
                  <a:gd name="connsiteY60" fmla="*/ 575897 h 1046508"/>
                  <a:gd name="connsiteX61" fmla="*/ 384326 w 1200744"/>
                  <a:gd name="connsiteY61" fmla="*/ 604396 h 1046508"/>
                  <a:gd name="connsiteX62" fmla="*/ 398804 w 1200744"/>
                  <a:gd name="connsiteY62" fmla="*/ 630221 h 1046508"/>
                  <a:gd name="connsiteX63" fmla="*/ 427304 w 1200744"/>
                  <a:gd name="connsiteY63" fmla="*/ 638245 h 1046508"/>
                  <a:gd name="connsiteX64" fmla="*/ 1104900 w 1200744"/>
                  <a:gd name="connsiteY64" fmla="*/ 557742 h 1046508"/>
                  <a:gd name="connsiteX65" fmla="*/ 1104900 w 1200744"/>
                  <a:gd name="connsiteY65" fmla="*/ 558713 h 1046508"/>
                  <a:gd name="connsiteX66" fmla="*/ 1157491 w 1200744"/>
                  <a:gd name="connsiteY66" fmla="*/ 552464 h 1046508"/>
                  <a:gd name="connsiteX67" fmla="*/ 1200469 w 1200744"/>
                  <a:gd name="connsiteY67" fmla="*/ 586314 h 1046508"/>
                  <a:gd name="connsiteX68" fmla="*/ 1200468 w 1200744"/>
                  <a:gd name="connsiteY68" fmla="*/ 586314 h 1046508"/>
                  <a:gd name="connsiteX69" fmla="*/ 1166618 w 1200744"/>
                  <a:gd name="connsiteY69" fmla="*/ 629292 h 1046508"/>
                  <a:gd name="connsiteX70" fmla="*/ 1104900 w 1200744"/>
                  <a:gd name="connsiteY70" fmla="*/ 636624 h 1046508"/>
                  <a:gd name="connsiteX71" fmla="*/ 1104900 w 1200744"/>
                  <a:gd name="connsiteY71" fmla="*/ 817908 h 1046508"/>
                  <a:gd name="connsiteX72" fmla="*/ 971550 w 1200744"/>
                  <a:gd name="connsiteY72" fmla="*/ 946496 h 1046508"/>
                  <a:gd name="connsiteX73" fmla="*/ 752889 w 1200744"/>
                  <a:gd name="connsiteY73" fmla="*/ 946496 h 1046508"/>
                  <a:gd name="connsiteX74" fmla="*/ 749140 w 1200744"/>
                  <a:gd name="connsiteY74" fmla="*/ 965065 h 1046508"/>
                  <a:gd name="connsiteX75" fmla="*/ 626271 w 1200744"/>
                  <a:gd name="connsiteY75" fmla="*/ 1046508 h 1046508"/>
                  <a:gd name="connsiteX76" fmla="*/ 533770 w 1200744"/>
                  <a:gd name="connsiteY76" fmla="*/ 1046508 h 1046508"/>
                  <a:gd name="connsiteX77" fmla="*/ 410901 w 1200744"/>
                  <a:gd name="connsiteY77" fmla="*/ 965065 h 1046508"/>
                  <a:gd name="connsiteX78" fmla="*/ 407153 w 1200744"/>
                  <a:gd name="connsiteY78" fmla="*/ 946496 h 1046508"/>
                  <a:gd name="connsiteX79" fmla="*/ 190500 w 1200744"/>
                  <a:gd name="connsiteY79" fmla="*/ 946496 h 1046508"/>
                  <a:gd name="connsiteX80" fmla="*/ 59532 w 1200744"/>
                  <a:gd name="connsiteY80" fmla="*/ 825052 h 1046508"/>
                  <a:gd name="connsiteX81" fmla="*/ 59432 w 1200744"/>
                  <a:gd name="connsiteY81" fmla="*/ 710643 h 1046508"/>
                  <a:gd name="connsiteX82" fmla="*/ 48816 w 1200744"/>
                  <a:gd name="connsiteY82" fmla="*/ 710643 h 1046508"/>
                  <a:gd name="connsiteX83" fmla="*/ 14298 w 1200744"/>
                  <a:gd name="connsiteY83" fmla="*/ 696345 h 1046508"/>
                  <a:gd name="connsiteX84" fmla="*/ 0 w 1200744"/>
                  <a:gd name="connsiteY84" fmla="*/ 661828 h 1046508"/>
                  <a:gd name="connsiteX85" fmla="*/ 14298 w 1200744"/>
                  <a:gd name="connsiteY85" fmla="*/ 627310 h 1046508"/>
                  <a:gd name="connsiteX86" fmla="*/ 48816 w 1200744"/>
                  <a:gd name="connsiteY86" fmla="*/ 613012 h 1046508"/>
                  <a:gd name="connsiteX87" fmla="*/ 59346 w 1200744"/>
                  <a:gd name="connsiteY87" fmla="*/ 613012 h 1046508"/>
                  <a:gd name="connsiteX88" fmla="*/ 59247 w 1200744"/>
                  <a:gd name="connsiteY88" fmla="*/ 501147 h 1046508"/>
                  <a:gd name="connsiteX89" fmla="*/ 48816 w 1200744"/>
                  <a:gd name="connsiteY89" fmla="*/ 501147 h 1046508"/>
                  <a:gd name="connsiteX90" fmla="*/ 14298 w 1200744"/>
                  <a:gd name="connsiteY90" fmla="*/ 486849 h 1046508"/>
                  <a:gd name="connsiteX91" fmla="*/ 0 w 1200744"/>
                  <a:gd name="connsiteY91" fmla="*/ 452332 h 1046508"/>
                  <a:gd name="connsiteX92" fmla="*/ 14298 w 1200744"/>
                  <a:gd name="connsiteY92" fmla="*/ 417814 h 1046508"/>
                  <a:gd name="connsiteX93" fmla="*/ 48816 w 1200744"/>
                  <a:gd name="connsiteY93" fmla="*/ 403516 h 1046508"/>
                  <a:gd name="connsiteX94" fmla="*/ 59161 w 1200744"/>
                  <a:gd name="connsiteY94" fmla="*/ 403516 h 1046508"/>
                  <a:gd name="connsiteX95" fmla="*/ 59063 w 1200744"/>
                  <a:gd name="connsiteY95" fmla="*/ 291651 h 1046508"/>
                  <a:gd name="connsiteX96" fmla="*/ 48816 w 1200744"/>
                  <a:gd name="connsiteY96" fmla="*/ 291651 h 1046508"/>
                  <a:gd name="connsiteX97" fmla="*/ 14298 w 1200744"/>
                  <a:gd name="connsiteY97" fmla="*/ 277353 h 1046508"/>
                  <a:gd name="connsiteX98" fmla="*/ 0 w 1200744"/>
                  <a:gd name="connsiteY98" fmla="*/ 242836 h 1046508"/>
                  <a:gd name="connsiteX99" fmla="*/ 14298 w 1200744"/>
                  <a:gd name="connsiteY99" fmla="*/ 208318 h 1046508"/>
                  <a:gd name="connsiteX100" fmla="*/ 48816 w 1200744"/>
                  <a:gd name="connsiteY100" fmla="*/ 194020 h 1046508"/>
                  <a:gd name="connsiteX101" fmla="*/ 58977 w 1200744"/>
                  <a:gd name="connsiteY101" fmla="*/ 194020 h 1046508"/>
                  <a:gd name="connsiteX102" fmla="*/ 58806 w 1200744"/>
                  <a:gd name="connsiteY102"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1157493 w 1200744"/>
                  <a:gd name="connsiteY48" fmla="*/ 347675 h 1046508"/>
                  <a:gd name="connsiteX49" fmla="*/ 1200471 w 1200744"/>
                  <a:gd name="connsiteY49" fmla="*/ 381525 h 1046508"/>
                  <a:gd name="connsiteX50" fmla="*/ 1200470 w 1200744"/>
                  <a:gd name="connsiteY50" fmla="*/ 381526 h 1046508"/>
                  <a:gd name="connsiteX51" fmla="*/ 1166620 w 1200744"/>
                  <a:gd name="connsiteY51" fmla="*/ 424503 h 1046508"/>
                  <a:gd name="connsiteX52" fmla="*/ 883444 w 1200744"/>
                  <a:gd name="connsiteY52" fmla="*/ 458146 h 1046508"/>
                  <a:gd name="connsiteX53" fmla="*/ 883444 w 1200744"/>
                  <a:gd name="connsiteY53" fmla="*/ 506141 h 1046508"/>
                  <a:gd name="connsiteX54" fmla="*/ 792956 w 1200744"/>
                  <a:gd name="connsiteY54" fmla="*/ 516892 h 1046508"/>
                  <a:gd name="connsiteX55" fmla="*/ 792956 w 1200744"/>
                  <a:gd name="connsiteY55" fmla="*/ 468897 h 1046508"/>
                  <a:gd name="connsiteX56" fmla="*/ 688181 w 1200744"/>
                  <a:gd name="connsiteY56" fmla="*/ 481345 h 1046508"/>
                  <a:gd name="connsiteX57" fmla="*/ 688181 w 1200744"/>
                  <a:gd name="connsiteY57" fmla="*/ 529340 h 1046508"/>
                  <a:gd name="connsiteX58" fmla="*/ 418176 w 1200744"/>
                  <a:gd name="connsiteY58" fmla="*/ 561418 h 1046508"/>
                  <a:gd name="connsiteX59" fmla="*/ 392350 w 1200744"/>
                  <a:gd name="connsiteY59" fmla="*/ 575897 h 1046508"/>
                  <a:gd name="connsiteX60" fmla="*/ 384326 w 1200744"/>
                  <a:gd name="connsiteY60" fmla="*/ 604396 h 1046508"/>
                  <a:gd name="connsiteX61" fmla="*/ 398804 w 1200744"/>
                  <a:gd name="connsiteY61" fmla="*/ 630221 h 1046508"/>
                  <a:gd name="connsiteX62" fmla="*/ 427304 w 1200744"/>
                  <a:gd name="connsiteY62" fmla="*/ 638245 h 1046508"/>
                  <a:gd name="connsiteX63" fmla="*/ 1104900 w 1200744"/>
                  <a:gd name="connsiteY63" fmla="*/ 557742 h 1046508"/>
                  <a:gd name="connsiteX64" fmla="*/ 1104900 w 1200744"/>
                  <a:gd name="connsiteY64" fmla="*/ 558713 h 1046508"/>
                  <a:gd name="connsiteX65" fmla="*/ 1157491 w 1200744"/>
                  <a:gd name="connsiteY65" fmla="*/ 552464 h 1046508"/>
                  <a:gd name="connsiteX66" fmla="*/ 1200469 w 1200744"/>
                  <a:gd name="connsiteY66" fmla="*/ 586314 h 1046508"/>
                  <a:gd name="connsiteX67" fmla="*/ 1200468 w 1200744"/>
                  <a:gd name="connsiteY67" fmla="*/ 586314 h 1046508"/>
                  <a:gd name="connsiteX68" fmla="*/ 1166618 w 1200744"/>
                  <a:gd name="connsiteY68" fmla="*/ 629292 h 1046508"/>
                  <a:gd name="connsiteX69" fmla="*/ 1104900 w 1200744"/>
                  <a:gd name="connsiteY69" fmla="*/ 636624 h 1046508"/>
                  <a:gd name="connsiteX70" fmla="*/ 1104900 w 1200744"/>
                  <a:gd name="connsiteY70" fmla="*/ 817908 h 1046508"/>
                  <a:gd name="connsiteX71" fmla="*/ 971550 w 1200744"/>
                  <a:gd name="connsiteY71" fmla="*/ 946496 h 1046508"/>
                  <a:gd name="connsiteX72" fmla="*/ 752889 w 1200744"/>
                  <a:gd name="connsiteY72" fmla="*/ 946496 h 1046508"/>
                  <a:gd name="connsiteX73" fmla="*/ 749140 w 1200744"/>
                  <a:gd name="connsiteY73" fmla="*/ 965065 h 1046508"/>
                  <a:gd name="connsiteX74" fmla="*/ 626271 w 1200744"/>
                  <a:gd name="connsiteY74" fmla="*/ 1046508 h 1046508"/>
                  <a:gd name="connsiteX75" fmla="*/ 533770 w 1200744"/>
                  <a:gd name="connsiteY75" fmla="*/ 1046508 h 1046508"/>
                  <a:gd name="connsiteX76" fmla="*/ 410901 w 1200744"/>
                  <a:gd name="connsiteY76" fmla="*/ 965065 h 1046508"/>
                  <a:gd name="connsiteX77" fmla="*/ 407153 w 1200744"/>
                  <a:gd name="connsiteY77" fmla="*/ 946496 h 1046508"/>
                  <a:gd name="connsiteX78" fmla="*/ 190500 w 1200744"/>
                  <a:gd name="connsiteY78" fmla="*/ 946496 h 1046508"/>
                  <a:gd name="connsiteX79" fmla="*/ 59532 w 1200744"/>
                  <a:gd name="connsiteY79" fmla="*/ 825052 h 1046508"/>
                  <a:gd name="connsiteX80" fmla="*/ 59432 w 1200744"/>
                  <a:gd name="connsiteY80" fmla="*/ 710643 h 1046508"/>
                  <a:gd name="connsiteX81" fmla="*/ 48816 w 1200744"/>
                  <a:gd name="connsiteY81" fmla="*/ 710643 h 1046508"/>
                  <a:gd name="connsiteX82" fmla="*/ 14298 w 1200744"/>
                  <a:gd name="connsiteY82" fmla="*/ 696345 h 1046508"/>
                  <a:gd name="connsiteX83" fmla="*/ 0 w 1200744"/>
                  <a:gd name="connsiteY83" fmla="*/ 661828 h 1046508"/>
                  <a:gd name="connsiteX84" fmla="*/ 14298 w 1200744"/>
                  <a:gd name="connsiteY84" fmla="*/ 627310 h 1046508"/>
                  <a:gd name="connsiteX85" fmla="*/ 48816 w 1200744"/>
                  <a:gd name="connsiteY85" fmla="*/ 613012 h 1046508"/>
                  <a:gd name="connsiteX86" fmla="*/ 59346 w 1200744"/>
                  <a:gd name="connsiteY86" fmla="*/ 613012 h 1046508"/>
                  <a:gd name="connsiteX87" fmla="*/ 59247 w 1200744"/>
                  <a:gd name="connsiteY87" fmla="*/ 501147 h 1046508"/>
                  <a:gd name="connsiteX88" fmla="*/ 48816 w 1200744"/>
                  <a:gd name="connsiteY88" fmla="*/ 501147 h 1046508"/>
                  <a:gd name="connsiteX89" fmla="*/ 14298 w 1200744"/>
                  <a:gd name="connsiteY89" fmla="*/ 486849 h 1046508"/>
                  <a:gd name="connsiteX90" fmla="*/ 0 w 1200744"/>
                  <a:gd name="connsiteY90" fmla="*/ 452332 h 1046508"/>
                  <a:gd name="connsiteX91" fmla="*/ 14298 w 1200744"/>
                  <a:gd name="connsiteY91" fmla="*/ 417814 h 1046508"/>
                  <a:gd name="connsiteX92" fmla="*/ 48816 w 1200744"/>
                  <a:gd name="connsiteY92" fmla="*/ 403516 h 1046508"/>
                  <a:gd name="connsiteX93" fmla="*/ 59161 w 1200744"/>
                  <a:gd name="connsiteY93" fmla="*/ 403516 h 1046508"/>
                  <a:gd name="connsiteX94" fmla="*/ 59063 w 1200744"/>
                  <a:gd name="connsiteY94" fmla="*/ 291651 h 1046508"/>
                  <a:gd name="connsiteX95" fmla="*/ 48816 w 1200744"/>
                  <a:gd name="connsiteY95" fmla="*/ 291651 h 1046508"/>
                  <a:gd name="connsiteX96" fmla="*/ 14298 w 1200744"/>
                  <a:gd name="connsiteY96" fmla="*/ 277353 h 1046508"/>
                  <a:gd name="connsiteX97" fmla="*/ 0 w 1200744"/>
                  <a:gd name="connsiteY97" fmla="*/ 242836 h 1046508"/>
                  <a:gd name="connsiteX98" fmla="*/ 14298 w 1200744"/>
                  <a:gd name="connsiteY98" fmla="*/ 208318 h 1046508"/>
                  <a:gd name="connsiteX99" fmla="*/ 48816 w 1200744"/>
                  <a:gd name="connsiteY99" fmla="*/ 194020 h 1046508"/>
                  <a:gd name="connsiteX100" fmla="*/ 58977 w 1200744"/>
                  <a:gd name="connsiteY100" fmla="*/ 194020 h 1046508"/>
                  <a:gd name="connsiteX101" fmla="*/ 58806 w 1200744"/>
                  <a:gd name="connsiteY101"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1157493 w 1200744"/>
                  <a:gd name="connsiteY47" fmla="*/ 347675 h 1046508"/>
                  <a:gd name="connsiteX48" fmla="*/ 1200471 w 1200744"/>
                  <a:gd name="connsiteY48" fmla="*/ 381525 h 1046508"/>
                  <a:gd name="connsiteX49" fmla="*/ 1200470 w 1200744"/>
                  <a:gd name="connsiteY49" fmla="*/ 381526 h 1046508"/>
                  <a:gd name="connsiteX50" fmla="*/ 1166620 w 1200744"/>
                  <a:gd name="connsiteY50" fmla="*/ 424503 h 1046508"/>
                  <a:gd name="connsiteX51" fmla="*/ 883444 w 1200744"/>
                  <a:gd name="connsiteY51" fmla="*/ 458146 h 1046508"/>
                  <a:gd name="connsiteX52" fmla="*/ 883444 w 1200744"/>
                  <a:gd name="connsiteY52" fmla="*/ 506141 h 1046508"/>
                  <a:gd name="connsiteX53" fmla="*/ 792956 w 1200744"/>
                  <a:gd name="connsiteY53" fmla="*/ 516892 h 1046508"/>
                  <a:gd name="connsiteX54" fmla="*/ 792956 w 1200744"/>
                  <a:gd name="connsiteY54" fmla="*/ 468897 h 1046508"/>
                  <a:gd name="connsiteX55" fmla="*/ 688181 w 1200744"/>
                  <a:gd name="connsiteY55" fmla="*/ 481345 h 1046508"/>
                  <a:gd name="connsiteX56" fmla="*/ 688181 w 1200744"/>
                  <a:gd name="connsiteY56" fmla="*/ 529340 h 1046508"/>
                  <a:gd name="connsiteX57" fmla="*/ 418176 w 1200744"/>
                  <a:gd name="connsiteY57" fmla="*/ 561418 h 1046508"/>
                  <a:gd name="connsiteX58" fmla="*/ 392350 w 1200744"/>
                  <a:gd name="connsiteY58" fmla="*/ 575897 h 1046508"/>
                  <a:gd name="connsiteX59" fmla="*/ 384326 w 1200744"/>
                  <a:gd name="connsiteY59" fmla="*/ 604396 h 1046508"/>
                  <a:gd name="connsiteX60" fmla="*/ 398804 w 1200744"/>
                  <a:gd name="connsiteY60" fmla="*/ 630221 h 1046508"/>
                  <a:gd name="connsiteX61" fmla="*/ 427304 w 1200744"/>
                  <a:gd name="connsiteY61" fmla="*/ 638245 h 1046508"/>
                  <a:gd name="connsiteX62" fmla="*/ 1104900 w 1200744"/>
                  <a:gd name="connsiteY62" fmla="*/ 557742 h 1046508"/>
                  <a:gd name="connsiteX63" fmla="*/ 1104900 w 1200744"/>
                  <a:gd name="connsiteY63" fmla="*/ 558713 h 1046508"/>
                  <a:gd name="connsiteX64" fmla="*/ 1157491 w 1200744"/>
                  <a:gd name="connsiteY64" fmla="*/ 552464 h 1046508"/>
                  <a:gd name="connsiteX65" fmla="*/ 1200469 w 1200744"/>
                  <a:gd name="connsiteY65" fmla="*/ 586314 h 1046508"/>
                  <a:gd name="connsiteX66" fmla="*/ 1200468 w 1200744"/>
                  <a:gd name="connsiteY66" fmla="*/ 586314 h 1046508"/>
                  <a:gd name="connsiteX67" fmla="*/ 1166618 w 1200744"/>
                  <a:gd name="connsiteY67" fmla="*/ 629292 h 1046508"/>
                  <a:gd name="connsiteX68" fmla="*/ 1104900 w 1200744"/>
                  <a:gd name="connsiteY68" fmla="*/ 636624 h 1046508"/>
                  <a:gd name="connsiteX69" fmla="*/ 1104900 w 1200744"/>
                  <a:gd name="connsiteY69" fmla="*/ 817908 h 1046508"/>
                  <a:gd name="connsiteX70" fmla="*/ 971550 w 1200744"/>
                  <a:gd name="connsiteY70" fmla="*/ 946496 h 1046508"/>
                  <a:gd name="connsiteX71" fmla="*/ 752889 w 1200744"/>
                  <a:gd name="connsiteY71" fmla="*/ 946496 h 1046508"/>
                  <a:gd name="connsiteX72" fmla="*/ 749140 w 1200744"/>
                  <a:gd name="connsiteY72" fmla="*/ 965065 h 1046508"/>
                  <a:gd name="connsiteX73" fmla="*/ 626271 w 1200744"/>
                  <a:gd name="connsiteY73" fmla="*/ 1046508 h 1046508"/>
                  <a:gd name="connsiteX74" fmla="*/ 533770 w 1200744"/>
                  <a:gd name="connsiteY74" fmla="*/ 1046508 h 1046508"/>
                  <a:gd name="connsiteX75" fmla="*/ 410901 w 1200744"/>
                  <a:gd name="connsiteY75" fmla="*/ 965065 h 1046508"/>
                  <a:gd name="connsiteX76" fmla="*/ 407153 w 1200744"/>
                  <a:gd name="connsiteY76" fmla="*/ 946496 h 1046508"/>
                  <a:gd name="connsiteX77" fmla="*/ 190500 w 1200744"/>
                  <a:gd name="connsiteY77" fmla="*/ 946496 h 1046508"/>
                  <a:gd name="connsiteX78" fmla="*/ 59532 w 1200744"/>
                  <a:gd name="connsiteY78" fmla="*/ 825052 h 1046508"/>
                  <a:gd name="connsiteX79" fmla="*/ 59432 w 1200744"/>
                  <a:gd name="connsiteY79" fmla="*/ 710643 h 1046508"/>
                  <a:gd name="connsiteX80" fmla="*/ 48816 w 1200744"/>
                  <a:gd name="connsiteY80" fmla="*/ 710643 h 1046508"/>
                  <a:gd name="connsiteX81" fmla="*/ 14298 w 1200744"/>
                  <a:gd name="connsiteY81" fmla="*/ 696345 h 1046508"/>
                  <a:gd name="connsiteX82" fmla="*/ 0 w 1200744"/>
                  <a:gd name="connsiteY82" fmla="*/ 661828 h 1046508"/>
                  <a:gd name="connsiteX83" fmla="*/ 14298 w 1200744"/>
                  <a:gd name="connsiteY83" fmla="*/ 627310 h 1046508"/>
                  <a:gd name="connsiteX84" fmla="*/ 48816 w 1200744"/>
                  <a:gd name="connsiteY84" fmla="*/ 613012 h 1046508"/>
                  <a:gd name="connsiteX85" fmla="*/ 59346 w 1200744"/>
                  <a:gd name="connsiteY85" fmla="*/ 613012 h 1046508"/>
                  <a:gd name="connsiteX86" fmla="*/ 59247 w 1200744"/>
                  <a:gd name="connsiteY86" fmla="*/ 501147 h 1046508"/>
                  <a:gd name="connsiteX87" fmla="*/ 48816 w 1200744"/>
                  <a:gd name="connsiteY87" fmla="*/ 501147 h 1046508"/>
                  <a:gd name="connsiteX88" fmla="*/ 14298 w 1200744"/>
                  <a:gd name="connsiteY88" fmla="*/ 486849 h 1046508"/>
                  <a:gd name="connsiteX89" fmla="*/ 0 w 1200744"/>
                  <a:gd name="connsiteY89" fmla="*/ 452332 h 1046508"/>
                  <a:gd name="connsiteX90" fmla="*/ 14298 w 1200744"/>
                  <a:gd name="connsiteY90" fmla="*/ 417814 h 1046508"/>
                  <a:gd name="connsiteX91" fmla="*/ 48816 w 1200744"/>
                  <a:gd name="connsiteY91" fmla="*/ 403516 h 1046508"/>
                  <a:gd name="connsiteX92" fmla="*/ 59161 w 1200744"/>
                  <a:gd name="connsiteY92" fmla="*/ 403516 h 1046508"/>
                  <a:gd name="connsiteX93" fmla="*/ 59063 w 1200744"/>
                  <a:gd name="connsiteY93" fmla="*/ 291651 h 1046508"/>
                  <a:gd name="connsiteX94" fmla="*/ 48816 w 1200744"/>
                  <a:gd name="connsiteY94" fmla="*/ 291651 h 1046508"/>
                  <a:gd name="connsiteX95" fmla="*/ 14298 w 1200744"/>
                  <a:gd name="connsiteY95" fmla="*/ 277353 h 1046508"/>
                  <a:gd name="connsiteX96" fmla="*/ 0 w 1200744"/>
                  <a:gd name="connsiteY96" fmla="*/ 242836 h 1046508"/>
                  <a:gd name="connsiteX97" fmla="*/ 14298 w 1200744"/>
                  <a:gd name="connsiteY97" fmla="*/ 208318 h 1046508"/>
                  <a:gd name="connsiteX98" fmla="*/ 48816 w 1200744"/>
                  <a:gd name="connsiteY98" fmla="*/ 194020 h 1046508"/>
                  <a:gd name="connsiteX99" fmla="*/ 58977 w 1200744"/>
                  <a:gd name="connsiteY99" fmla="*/ 194020 h 1046508"/>
                  <a:gd name="connsiteX100" fmla="*/ 58806 w 1200744"/>
                  <a:gd name="connsiteY100"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1157493 w 1200744"/>
                  <a:gd name="connsiteY46" fmla="*/ 347675 h 1046508"/>
                  <a:gd name="connsiteX47" fmla="*/ 1200471 w 1200744"/>
                  <a:gd name="connsiteY47" fmla="*/ 381525 h 1046508"/>
                  <a:gd name="connsiteX48" fmla="*/ 1200470 w 1200744"/>
                  <a:gd name="connsiteY48" fmla="*/ 381526 h 1046508"/>
                  <a:gd name="connsiteX49" fmla="*/ 1166620 w 1200744"/>
                  <a:gd name="connsiteY49" fmla="*/ 424503 h 1046508"/>
                  <a:gd name="connsiteX50" fmla="*/ 883444 w 1200744"/>
                  <a:gd name="connsiteY50" fmla="*/ 458146 h 1046508"/>
                  <a:gd name="connsiteX51" fmla="*/ 883444 w 1200744"/>
                  <a:gd name="connsiteY51" fmla="*/ 506141 h 1046508"/>
                  <a:gd name="connsiteX52" fmla="*/ 792956 w 1200744"/>
                  <a:gd name="connsiteY52" fmla="*/ 516892 h 1046508"/>
                  <a:gd name="connsiteX53" fmla="*/ 792956 w 1200744"/>
                  <a:gd name="connsiteY53" fmla="*/ 468897 h 1046508"/>
                  <a:gd name="connsiteX54" fmla="*/ 688181 w 1200744"/>
                  <a:gd name="connsiteY54" fmla="*/ 481345 h 1046508"/>
                  <a:gd name="connsiteX55" fmla="*/ 688181 w 1200744"/>
                  <a:gd name="connsiteY55" fmla="*/ 529340 h 1046508"/>
                  <a:gd name="connsiteX56" fmla="*/ 418176 w 1200744"/>
                  <a:gd name="connsiteY56" fmla="*/ 561418 h 1046508"/>
                  <a:gd name="connsiteX57" fmla="*/ 392350 w 1200744"/>
                  <a:gd name="connsiteY57" fmla="*/ 575897 h 1046508"/>
                  <a:gd name="connsiteX58" fmla="*/ 384326 w 1200744"/>
                  <a:gd name="connsiteY58" fmla="*/ 604396 h 1046508"/>
                  <a:gd name="connsiteX59" fmla="*/ 398804 w 1200744"/>
                  <a:gd name="connsiteY59" fmla="*/ 630221 h 1046508"/>
                  <a:gd name="connsiteX60" fmla="*/ 427304 w 1200744"/>
                  <a:gd name="connsiteY60" fmla="*/ 638245 h 1046508"/>
                  <a:gd name="connsiteX61" fmla="*/ 1104900 w 1200744"/>
                  <a:gd name="connsiteY61" fmla="*/ 557742 h 1046508"/>
                  <a:gd name="connsiteX62" fmla="*/ 1104900 w 1200744"/>
                  <a:gd name="connsiteY62" fmla="*/ 558713 h 1046508"/>
                  <a:gd name="connsiteX63" fmla="*/ 1157491 w 1200744"/>
                  <a:gd name="connsiteY63" fmla="*/ 552464 h 1046508"/>
                  <a:gd name="connsiteX64" fmla="*/ 1200469 w 1200744"/>
                  <a:gd name="connsiteY64" fmla="*/ 586314 h 1046508"/>
                  <a:gd name="connsiteX65" fmla="*/ 1200468 w 1200744"/>
                  <a:gd name="connsiteY65" fmla="*/ 586314 h 1046508"/>
                  <a:gd name="connsiteX66" fmla="*/ 1166618 w 1200744"/>
                  <a:gd name="connsiteY66" fmla="*/ 629292 h 1046508"/>
                  <a:gd name="connsiteX67" fmla="*/ 1104900 w 1200744"/>
                  <a:gd name="connsiteY67" fmla="*/ 636624 h 1046508"/>
                  <a:gd name="connsiteX68" fmla="*/ 1104900 w 1200744"/>
                  <a:gd name="connsiteY68" fmla="*/ 817908 h 1046508"/>
                  <a:gd name="connsiteX69" fmla="*/ 971550 w 1200744"/>
                  <a:gd name="connsiteY69" fmla="*/ 946496 h 1046508"/>
                  <a:gd name="connsiteX70" fmla="*/ 752889 w 1200744"/>
                  <a:gd name="connsiteY70" fmla="*/ 946496 h 1046508"/>
                  <a:gd name="connsiteX71" fmla="*/ 749140 w 1200744"/>
                  <a:gd name="connsiteY71" fmla="*/ 965065 h 1046508"/>
                  <a:gd name="connsiteX72" fmla="*/ 626271 w 1200744"/>
                  <a:gd name="connsiteY72" fmla="*/ 1046508 h 1046508"/>
                  <a:gd name="connsiteX73" fmla="*/ 533770 w 1200744"/>
                  <a:gd name="connsiteY73" fmla="*/ 1046508 h 1046508"/>
                  <a:gd name="connsiteX74" fmla="*/ 410901 w 1200744"/>
                  <a:gd name="connsiteY74" fmla="*/ 965065 h 1046508"/>
                  <a:gd name="connsiteX75" fmla="*/ 407153 w 1200744"/>
                  <a:gd name="connsiteY75" fmla="*/ 946496 h 1046508"/>
                  <a:gd name="connsiteX76" fmla="*/ 190500 w 1200744"/>
                  <a:gd name="connsiteY76" fmla="*/ 946496 h 1046508"/>
                  <a:gd name="connsiteX77" fmla="*/ 59532 w 1200744"/>
                  <a:gd name="connsiteY77" fmla="*/ 825052 h 1046508"/>
                  <a:gd name="connsiteX78" fmla="*/ 59432 w 1200744"/>
                  <a:gd name="connsiteY78" fmla="*/ 710643 h 1046508"/>
                  <a:gd name="connsiteX79" fmla="*/ 48816 w 1200744"/>
                  <a:gd name="connsiteY79" fmla="*/ 710643 h 1046508"/>
                  <a:gd name="connsiteX80" fmla="*/ 14298 w 1200744"/>
                  <a:gd name="connsiteY80" fmla="*/ 696345 h 1046508"/>
                  <a:gd name="connsiteX81" fmla="*/ 0 w 1200744"/>
                  <a:gd name="connsiteY81" fmla="*/ 661828 h 1046508"/>
                  <a:gd name="connsiteX82" fmla="*/ 14298 w 1200744"/>
                  <a:gd name="connsiteY82" fmla="*/ 627310 h 1046508"/>
                  <a:gd name="connsiteX83" fmla="*/ 48816 w 1200744"/>
                  <a:gd name="connsiteY83" fmla="*/ 613012 h 1046508"/>
                  <a:gd name="connsiteX84" fmla="*/ 59346 w 1200744"/>
                  <a:gd name="connsiteY84" fmla="*/ 613012 h 1046508"/>
                  <a:gd name="connsiteX85" fmla="*/ 59247 w 1200744"/>
                  <a:gd name="connsiteY85" fmla="*/ 501147 h 1046508"/>
                  <a:gd name="connsiteX86" fmla="*/ 48816 w 1200744"/>
                  <a:gd name="connsiteY86" fmla="*/ 501147 h 1046508"/>
                  <a:gd name="connsiteX87" fmla="*/ 14298 w 1200744"/>
                  <a:gd name="connsiteY87" fmla="*/ 486849 h 1046508"/>
                  <a:gd name="connsiteX88" fmla="*/ 0 w 1200744"/>
                  <a:gd name="connsiteY88" fmla="*/ 452332 h 1046508"/>
                  <a:gd name="connsiteX89" fmla="*/ 14298 w 1200744"/>
                  <a:gd name="connsiteY89" fmla="*/ 417814 h 1046508"/>
                  <a:gd name="connsiteX90" fmla="*/ 48816 w 1200744"/>
                  <a:gd name="connsiteY90" fmla="*/ 403516 h 1046508"/>
                  <a:gd name="connsiteX91" fmla="*/ 59161 w 1200744"/>
                  <a:gd name="connsiteY91" fmla="*/ 403516 h 1046508"/>
                  <a:gd name="connsiteX92" fmla="*/ 59063 w 1200744"/>
                  <a:gd name="connsiteY92" fmla="*/ 291651 h 1046508"/>
                  <a:gd name="connsiteX93" fmla="*/ 48816 w 1200744"/>
                  <a:gd name="connsiteY93" fmla="*/ 291651 h 1046508"/>
                  <a:gd name="connsiteX94" fmla="*/ 14298 w 1200744"/>
                  <a:gd name="connsiteY94" fmla="*/ 277353 h 1046508"/>
                  <a:gd name="connsiteX95" fmla="*/ 0 w 1200744"/>
                  <a:gd name="connsiteY95" fmla="*/ 242836 h 1046508"/>
                  <a:gd name="connsiteX96" fmla="*/ 14298 w 1200744"/>
                  <a:gd name="connsiteY96" fmla="*/ 208318 h 1046508"/>
                  <a:gd name="connsiteX97" fmla="*/ 48816 w 1200744"/>
                  <a:gd name="connsiteY97" fmla="*/ 194020 h 1046508"/>
                  <a:gd name="connsiteX98" fmla="*/ 58977 w 1200744"/>
                  <a:gd name="connsiteY98" fmla="*/ 194020 h 1046508"/>
                  <a:gd name="connsiteX99" fmla="*/ 58806 w 1200744"/>
                  <a:gd name="connsiteY99"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83444 w 1200744"/>
                  <a:gd name="connsiteY34" fmla="*/ 235459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1157493 w 1200744"/>
                  <a:gd name="connsiteY45" fmla="*/ 347675 h 1046508"/>
                  <a:gd name="connsiteX46" fmla="*/ 1200471 w 1200744"/>
                  <a:gd name="connsiteY46" fmla="*/ 381525 h 1046508"/>
                  <a:gd name="connsiteX47" fmla="*/ 1200470 w 1200744"/>
                  <a:gd name="connsiteY47" fmla="*/ 381526 h 1046508"/>
                  <a:gd name="connsiteX48" fmla="*/ 1166620 w 1200744"/>
                  <a:gd name="connsiteY48" fmla="*/ 424503 h 1046508"/>
                  <a:gd name="connsiteX49" fmla="*/ 883444 w 1200744"/>
                  <a:gd name="connsiteY49" fmla="*/ 458146 h 1046508"/>
                  <a:gd name="connsiteX50" fmla="*/ 883444 w 1200744"/>
                  <a:gd name="connsiteY50" fmla="*/ 506141 h 1046508"/>
                  <a:gd name="connsiteX51" fmla="*/ 792956 w 1200744"/>
                  <a:gd name="connsiteY51" fmla="*/ 516892 h 1046508"/>
                  <a:gd name="connsiteX52" fmla="*/ 792956 w 1200744"/>
                  <a:gd name="connsiteY52" fmla="*/ 468897 h 1046508"/>
                  <a:gd name="connsiteX53" fmla="*/ 688181 w 1200744"/>
                  <a:gd name="connsiteY53" fmla="*/ 481345 h 1046508"/>
                  <a:gd name="connsiteX54" fmla="*/ 688181 w 1200744"/>
                  <a:gd name="connsiteY54" fmla="*/ 529340 h 1046508"/>
                  <a:gd name="connsiteX55" fmla="*/ 418176 w 1200744"/>
                  <a:gd name="connsiteY55" fmla="*/ 561418 h 1046508"/>
                  <a:gd name="connsiteX56" fmla="*/ 392350 w 1200744"/>
                  <a:gd name="connsiteY56" fmla="*/ 575897 h 1046508"/>
                  <a:gd name="connsiteX57" fmla="*/ 384326 w 1200744"/>
                  <a:gd name="connsiteY57" fmla="*/ 604396 h 1046508"/>
                  <a:gd name="connsiteX58" fmla="*/ 398804 w 1200744"/>
                  <a:gd name="connsiteY58" fmla="*/ 630221 h 1046508"/>
                  <a:gd name="connsiteX59" fmla="*/ 427304 w 1200744"/>
                  <a:gd name="connsiteY59" fmla="*/ 638245 h 1046508"/>
                  <a:gd name="connsiteX60" fmla="*/ 1104900 w 1200744"/>
                  <a:gd name="connsiteY60" fmla="*/ 557742 h 1046508"/>
                  <a:gd name="connsiteX61" fmla="*/ 1104900 w 1200744"/>
                  <a:gd name="connsiteY61" fmla="*/ 558713 h 1046508"/>
                  <a:gd name="connsiteX62" fmla="*/ 1157491 w 1200744"/>
                  <a:gd name="connsiteY62" fmla="*/ 552464 h 1046508"/>
                  <a:gd name="connsiteX63" fmla="*/ 1200469 w 1200744"/>
                  <a:gd name="connsiteY63" fmla="*/ 586314 h 1046508"/>
                  <a:gd name="connsiteX64" fmla="*/ 1200468 w 1200744"/>
                  <a:gd name="connsiteY64" fmla="*/ 586314 h 1046508"/>
                  <a:gd name="connsiteX65" fmla="*/ 1166618 w 1200744"/>
                  <a:gd name="connsiteY65" fmla="*/ 629292 h 1046508"/>
                  <a:gd name="connsiteX66" fmla="*/ 1104900 w 1200744"/>
                  <a:gd name="connsiteY66" fmla="*/ 636624 h 1046508"/>
                  <a:gd name="connsiteX67" fmla="*/ 1104900 w 1200744"/>
                  <a:gd name="connsiteY67" fmla="*/ 817908 h 1046508"/>
                  <a:gd name="connsiteX68" fmla="*/ 971550 w 1200744"/>
                  <a:gd name="connsiteY68" fmla="*/ 946496 h 1046508"/>
                  <a:gd name="connsiteX69" fmla="*/ 752889 w 1200744"/>
                  <a:gd name="connsiteY69" fmla="*/ 946496 h 1046508"/>
                  <a:gd name="connsiteX70" fmla="*/ 749140 w 1200744"/>
                  <a:gd name="connsiteY70" fmla="*/ 965065 h 1046508"/>
                  <a:gd name="connsiteX71" fmla="*/ 626271 w 1200744"/>
                  <a:gd name="connsiteY71" fmla="*/ 1046508 h 1046508"/>
                  <a:gd name="connsiteX72" fmla="*/ 533770 w 1200744"/>
                  <a:gd name="connsiteY72" fmla="*/ 1046508 h 1046508"/>
                  <a:gd name="connsiteX73" fmla="*/ 410901 w 1200744"/>
                  <a:gd name="connsiteY73" fmla="*/ 965065 h 1046508"/>
                  <a:gd name="connsiteX74" fmla="*/ 407153 w 1200744"/>
                  <a:gd name="connsiteY74" fmla="*/ 946496 h 1046508"/>
                  <a:gd name="connsiteX75" fmla="*/ 190500 w 1200744"/>
                  <a:gd name="connsiteY75" fmla="*/ 946496 h 1046508"/>
                  <a:gd name="connsiteX76" fmla="*/ 59532 w 1200744"/>
                  <a:gd name="connsiteY76" fmla="*/ 825052 h 1046508"/>
                  <a:gd name="connsiteX77" fmla="*/ 59432 w 1200744"/>
                  <a:gd name="connsiteY77" fmla="*/ 710643 h 1046508"/>
                  <a:gd name="connsiteX78" fmla="*/ 48816 w 1200744"/>
                  <a:gd name="connsiteY78" fmla="*/ 710643 h 1046508"/>
                  <a:gd name="connsiteX79" fmla="*/ 14298 w 1200744"/>
                  <a:gd name="connsiteY79" fmla="*/ 696345 h 1046508"/>
                  <a:gd name="connsiteX80" fmla="*/ 0 w 1200744"/>
                  <a:gd name="connsiteY80" fmla="*/ 661828 h 1046508"/>
                  <a:gd name="connsiteX81" fmla="*/ 14298 w 1200744"/>
                  <a:gd name="connsiteY81" fmla="*/ 627310 h 1046508"/>
                  <a:gd name="connsiteX82" fmla="*/ 48816 w 1200744"/>
                  <a:gd name="connsiteY82" fmla="*/ 613012 h 1046508"/>
                  <a:gd name="connsiteX83" fmla="*/ 59346 w 1200744"/>
                  <a:gd name="connsiteY83" fmla="*/ 613012 h 1046508"/>
                  <a:gd name="connsiteX84" fmla="*/ 59247 w 1200744"/>
                  <a:gd name="connsiteY84" fmla="*/ 501147 h 1046508"/>
                  <a:gd name="connsiteX85" fmla="*/ 48816 w 1200744"/>
                  <a:gd name="connsiteY85" fmla="*/ 501147 h 1046508"/>
                  <a:gd name="connsiteX86" fmla="*/ 14298 w 1200744"/>
                  <a:gd name="connsiteY86" fmla="*/ 486849 h 1046508"/>
                  <a:gd name="connsiteX87" fmla="*/ 0 w 1200744"/>
                  <a:gd name="connsiteY87" fmla="*/ 452332 h 1046508"/>
                  <a:gd name="connsiteX88" fmla="*/ 14298 w 1200744"/>
                  <a:gd name="connsiteY88" fmla="*/ 417814 h 1046508"/>
                  <a:gd name="connsiteX89" fmla="*/ 48816 w 1200744"/>
                  <a:gd name="connsiteY89" fmla="*/ 403516 h 1046508"/>
                  <a:gd name="connsiteX90" fmla="*/ 59161 w 1200744"/>
                  <a:gd name="connsiteY90" fmla="*/ 403516 h 1046508"/>
                  <a:gd name="connsiteX91" fmla="*/ 59063 w 1200744"/>
                  <a:gd name="connsiteY91" fmla="*/ 291651 h 1046508"/>
                  <a:gd name="connsiteX92" fmla="*/ 48816 w 1200744"/>
                  <a:gd name="connsiteY92" fmla="*/ 291651 h 1046508"/>
                  <a:gd name="connsiteX93" fmla="*/ 14298 w 1200744"/>
                  <a:gd name="connsiteY93" fmla="*/ 277353 h 1046508"/>
                  <a:gd name="connsiteX94" fmla="*/ 0 w 1200744"/>
                  <a:gd name="connsiteY94" fmla="*/ 242836 h 1046508"/>
                  <a:gd name="connsiteX95" fmla="*/ 14298 w 1200744"/>
                  <a:gd name="connsiteY95" fmla="*/ 208318 h 1046508"/>
                  <a:gd name="connsiteX96" fmla="*/ 48816 w 1200744"/>
                  <a:gd name="connsiteY96" fmla="*/ 194020 h 1046508"/>
                  <a:gd name="connsiteX97" fmla="*/ 58977 w 1200744"/>
                  <a:gd name="connsiteY97" fmla="*/ 194020 h 1046508"/>
                  <a:gd name="connsiteX98" fmla="*/ 58806 w 1200744"/>
                  <a:gd name="connsiteY98"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78682 w 1200744"/>
                  <a:gd name="connsiteY34" fmla="*/ 240221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1157493 w 1200744"/>
                  <a:gd name="connsiteY45" fmla="*/ 347675 h 1046508"/>
                  <a:gd name="connsiteX46" fmla="*/ 1200471 w 1200744"/>
                  <a:gd name="connsiteY46" fmla="*/ 381525 h 1046508"/>
                  <a:gd name="connsiteX47" fmla="*/ 1200470 w 1200744"/>
                  <a:gd name="connsiteY47" fmla="*/ 381526 h 1046508"/>
                  <a:gd name="connsiteX48" fmla="*/ 1166620 w 1200744"/>
                  <a:gd name="connsiteY48" fmla="*/ 424503 h 1046508"/>
                  <a:gd name="connsiteX49" fmla="*/ 883444 w 1200744"/>
                  <a:gd name="connsiteY49" fmla="*/ 458146 h 1046508"/>
                  <a:gd name="connsiteX50" fmla="*/ 883444 w 1200744"/>
                  <a:gd name="connsiteY50" fmla="*/ 506141 h 1046508"/>
                  <a:gd name="connsiteX51" fmla="*/ 792956 w 1200744"/>
                  <a:gd name="connsiteY51" fmla="*/ 516892 h 1046508"/>
                  <a:gd name="connsiteX52" fmla="*/ 792956 w 1200744"/>
                  <a:gd name="connsiteY52" fmla="*/ 468897 h 1046508"/>
                  <a:gd name="connsiteX53" fmla="*/ 688181 w 1200744"/>
                  <a:gd name="connsiteY53" fmla="*/ 481345 h 1046508"/>
                  <a:gd name="connsiteX54" fmla="*/ 688181 w 1200744"/>
                  <a:gd name="connsiteY54" fmla="*/ 529340 h 1046508"/>
                  <a:gd name="connsiteX55" fmla="*/ 418176 w 1200744"/>
                  <a:gd name="connsiteY55" fmla="*/ 561418 h 1046508"/>
                  <a:gd name="connsiteX56" fmla="*/ 392350 w 1200744"/>
                  <a:gd name="connsiteY56" fmla="*/ 575897 h 1046508"/>
                  <a:gd name="connsiteX57" fmla="*/ 384326 w 1200744"/>
                  <a:gd name="connsiteY57" fmla="*/ 604396 h 1046508"/>
                  <a:gd name="connsiteX58" fmla="*/ 398804 w 1200744"/>
                  <a:gd name="connsiteY58" fmla="*/ 630221 h 1046508"/>
                  <a:gd name="connsiteX59" fmla="*/ 427304 w 1200744"/>
                  <a:gd name="connsiteY59" fmla="*/ 638245 h 1046508"/>
                  <a:gd name="connsiteX60" fmla="*/ 1104900 w 1200744"/>
                  <a:gd name="connsiteY60" fmla="*/ 557742 h 1046508"/>
                  <a:gd name="connsiteX61" fmla="*/ 1104900 w 1200744"/>
                  <a:gd name="connsiteY61" fmla="*/ 558713 h 1046508"/>
                  <a:gd name="connsiteX62" fmla="*/ 1157491 w 1200744"/>
                  <a:gd name="connsiteY62" fmla="*/ 552464 h 1046508"/>
                  <a:gd name="connsiteX63" fmla="*/ 1200469 w 1200744"/>
                  <a:gd name="connsiteY63" fmla="*/ 586314 h 1046508"/>
                  <a:gd name="connsiteX64" fmla="*/ 1200468 w 1200744"/>
                  <a:gd name="connsiteY64" fmla="*/ 586314 h 1046508"/>
                  <a:gd name="connsiteX65" fmla="*/ 1166618 w 1200744"/>
                  <a:gd name="connsiteY65" fmla="*/ 629292 h 1046508"/>
                  <a:gd name="connsiteX66" fmla="*/ 1104900 w 1200744"/>
                  <a:gd name="connsiteY66" fmla="*/ 636624 h 1046508"/>
                  <a:gd name="connsiteX67" fmla="*/ 1104900 w 1200744"/>
                  <a:gd name="connsiteY67" fmla="*/ 817908 h 1046508"/>
                  <a:gd name="connsiteX68" fmla="*/ 971550 w 1200744"/>
                  <a:gd name="connsiteY68" fmla="*/ 946496 h 1046508"/>
                  <a:gd name="connsiteX69" fmla="*/ 752889 w 1200744"/>
                  <a:gd name="connsiteY69" fmla="*/ 946496 h 1046508"/>
                  <a:gd name="connsiteX70" fmla="*/ 749140 w 1200744"/>
                  <a:gd name="connsiteY70" fmla="*/ 965065 h 1046508"/>
                  <a:gd name="connsiteX71" fmla="*/ 626271 w 1200744"/>
                  <a:gd name="connsiteY71" fmla="*/ 1046508 h 1046508"/>
                  <a:gd name="connsiteX72" fmla="*/ 533770 w 1200744"/>
                  <a:gd name="connsiteY72" fmla="*/ 1046508 h 1046508"/>
                  <a:gd name="connsiteX73" fmla="*/ 410901 w 1200744"/>
                  <a:gd name="connsiteY73" fmla="*/ 965065 h 1046508"/>
                  <a:gd name="connsiteX74" fmla="*/ 407153 w 1200744"/>
                  <a:gd name="connsiteY74" fmla="*/ 946496 h 1046508"/>
                  <a:gd name="connsiteX75" fmla="*/ 190500 w 1200744"/>
                  <a:gd name="connsiteY75" fmla="*/ 946496 h 1046508"/>
                  <a:gd name="connsiteX76" fmla="*/ 59532 w 1200744"/>
                  <a:gd name="connsiteY76" fmla="*/ 825052 h 1046508"/>
                  <a:gd name="connsiteX77" fmla="*/ 59432 w 1200744"/>
                  <a:gd name="connsiteY77" fmla="*/ 710643 h 1046508"/>
                  <a:gd name="connsiteX78" fmla="*/ 48816 w 1200744"/>
                  <a:gd name="connsiteY78" fmla="*/ 710643 h 1046508"/>
                  <a:gd name="connsiteX79" fmla="*/ 14298 w 1200744"/>
                  <a:gd name="connsiteY79" fmla="*/ 696345 h 1046508"/>
                  <a:gd name="connsiteX80" fmla="*/ 0 w 1200744"/>
                  <a:gd name="connsiteY80" fmla="*/ 661828 h 1046508"/>
                  <a:gd name="connsiteX81" fmla="*/ 14298 w 1200744"/>
                  <a:gd name="connsiteY81" fmla="*/ 627310 h 1046508"/>
                  <a:gd name="connsiteX82" fmla="*/ 48816 w 1200744"/>
                  <a:gd name="connsiteY82" fmla="*/ 613012 h 1046508"/>
                  <a:gd name="connsiteX83" fmla="*/ 59346 w 1200744"/>
                  <a:gd name="connsiteY83" fmla="*/ 613012 h 1046508"/>
                  <a:gd name="connsiteX84" fmla="*/ 59247 w 1200744"/>
                  <a:gd name="connsiteY84" fmla="*/ 501147 h 1046508"/>
                  <a:gd name="connsiteX85" fmla="*/ 48816 w 1200744"/>
                  <a:gd name="connsiteY85" fmla="*/ 501147 h 1046508"/>
                  <a:gd name="connsiteX86" fmla="*/ 14298 w 1200744"/>
                  <a:gd name="connsiteY86" fmla="*/ 486849 h 1046508"/>
                  <a:gd name="connsiteX87" fmla="*/ 0 w 1200744"/>
                  <a:gd name="connsiteY87" fmla="*/ 452332 h 1046508"/>
                  <a:gd name="connsiteX88" fmla="*/ 14298 w 1200744"/>
                  <a:gd name="connsiteY88" fmla="*/ 417814 h 1046508"/>
                  <a:gd name="connsiteX89" fmla="*/ 48816 w 1200744"/>
                  <a:gd name="connsiteY89" fmla="*/ 403516 h 1046508"/>
                  <a:gd name="connsiteX90" fmla="*/ 59161 w 1200744"/>
                  <a:gd name="connsiteY90" fmla="*/ 403516 h 1046508"/>
                  <a:gd name="connsiteX91" fmla="*/ 59063 w 1200744"/>
                  <a:gd name="connsiteY91" fmla="*/ 291651 h 1046508"/>
                  <a:gd name="connsiteX92" fmla="*/ 48816 w 1200744"/>
                  <a:gd name="connsiteY92" fmla="*/ 291651 h 1046508"/>
                  <a:gd name="connsiteX93" fmla="*/ 14298 w 1200744"/>
                  <a:gd name="connsiteY93" fmla="*/ 277353 h 1046508"/>
                  <a:gd name="connsiteX94" fmla="*/ 0 w 1200744"/>
                  <a:gd name="connsiteY94" fmla="*/ 242836 h 1046508"/>
                  <a:gd name="connsiteX95" fmla="*/ 14298 w 1200744"/>
                  <a:gd name="connsiteY95" fmla="*/ 208318 h 1046508"/>
                  <a:gd name="connsiteX96" fmla="*/ 48816 w 1200744"/>
                  <a:gd name="connsiteY96" fmla="*/ 194020 h 1046508"/>
                  <a:gd name="connsiteX97" fmla="*/ 58977 w 1200744"/>
                  <a:gd name="connsiteY97" fmla="*/ 194020 h 1046508"/>
                  <a:gd name="connsiteX98" fmla="*/ 58806 w 1200744"/>
                  <a:gd name="connsiteY98" fmla="*/ 0 h 1046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200744" h="1046508">
                    <a:moveTo>
                      <a:pt x="269392" y="583922"/>
                    </a:moveTo>
                    <a:cubicBezTo>
                      <a:pt x="247034" y="583922"/>
                      <a:pt x="228910" y="602046"/>
                      <a:pt x="228910" y="624404"/>
                    </a:cubicBezTo>
                    <a:cubicBezTo>
                      <a:pt x="228910" y="646762"/>
                      <a:pt x="247034" y="664886"/>
                      <a:pt x="269392" y="664886"/>
                    </a:cubicBezTo>
                    <a:cubicBezTo>
                      <a:pt x="291750" y="664886"/>
                      <a:pt x="309874" y="646762"/>
                      <a:pt x="309874" y="624404"/>
                    </a:cubicBezTo>
                    <a:cubicBezTo>
                      <a:pt x="309874" y="602046"/>
                      <a:pt x="291750" y="583922"/>
                      <a:pt x="269392" y="583922"/>
                    </a:cubicBezTo>
                    <a:close/>
                    <a:moveTo>
                      <a:pt x="269392" y="373750"/>
                    </a:moveTo>
                    <a:cubicBezTo>
                      <a:pt x="247034" y="373750"/>
                      <a:pt x="228910" y="391874"/>
                      <a:pt x="228910" y="414232"/>
                    </a:cubicBezTo>
                    <a:cubicBezTo>
                      <a:pt x="228910" y="436590"/>
                      <a:pt x="247034" y="454714"/>
                      <a:pt x="269392" y="454714"/>
                    </a:cubicBezTo>
                    <a:cubicBezTo>
                      <a:pt x="291750" y="454714"/>
                      <a:pt x="309874" y="436590"/>
                      <a:pt x="309874" y="414232"/>
                    </a:cubicBezTo>
                    <a:cubicBezTo>
                      <a:pt x="309874" y="391874"/>
                      <a:pt x="291750" y="373750"/>
                      <a:pt x="269392" y="373750"/>
                    </a:cubicBezTo>
                    <a:close/>
                    <a:moveTo>
                      <a:pt x="269392" y="163063"/>
                    </a:moveTo>
                    <a:cubicBezTo>
                      <a:pt x="247034" y="163063"/>
                      <a:pt x="228910" y="181187"/>
                      <a:pt x="228910" y="203545"/>
                    </a:cubicBezTo>
                    <a:cubicBezTo>
                      <a:pt x="228910" y="225903"/>
                      <a:pt x="247034" y="244027"/>
                      <a:pt x="269392" y="244027"/>
                    </a:cubicBezTo>
                    <a:cubicBezTo>
                      <a:pt x="291750" y="244027"/>
                      <a:pt x="309874" y="225903"/>
                      <a:pt x="309874" y="203545"/>
                    </a:cubicBezTo>
                    <a:cubicBezTo>
                      <a:pt x="309874" y="181187"/>
                      <a:pt x="291750" y="163063"/>
                      <a:pt x="269392" y="163063"/>
                    </a:cubicBezTo>
                    <a:close/>
                    <a:moveTo>
                      <a:pt x="797719" y="0"/>
                    </a:moveTo>
                    <a:lnTo>
                      <a:pt x="883444" y="0"/>
                    </a:lnTo>
                    <a:lnTo>
                      <a:pt x="883444" y="79897"/>
                    </a:lnTo>
                    <a:lnTo>
                      <a:pt x="797719" y="90082"/>
                    </a:lnTo>
                    <a:lnTo>
                      <a:pt x="797719" y="0"/>
                    </a:lnTo>
                    <a:close/>
                    <a:moveTo>
                      <a:pt x="58806" y="0"/>
                    </a:moveTo>
                    <a:lnTo>
                      <a:pt x="692944" y="0"/>
                    </a:lnTo>
                    <a:lnTo>
                      <a:pt x="692944" y="102530"/>
                    </a:lnTo>
                    <a:lnTo>
                      <a:pt x="418176" y="135174"/>
                    </a:lnTo>
                    <a:cubicBezTo>
                      <a:pt x="407569" y="136435"/>
                      <a:pt x="398476" y="141875"/>
                      <a:pt x="392350" y="149653"/>
                    </a:cubicBezTo>
                    <a:lnTo>
                      <a:pt x="384326" y="178152"/>
                    </a:lnTo>
                    <a:lnTo>
                      <a:pt x="398804" y="203977"/>
                    </a:lnTo>
                    <a:cubicBezTo>
                      <a:pt x="406582" y="210103"/>
                      <a:pt x="416696" y="213262"/>
                      <a:pt x="427304" y="212001"/>
                    </a:cubicBezTo>
                    <a:lnTo>
                      <a:pt x="1104900" y="131498"/>
                    </a:lnTo>
                    <a:lnTo>
                      <a:pt x="1104900" y="134851"/>
                    </a:lnTo>
                    <a:lnTo>
                      <a:pt x="1157493" y="128603"/>
                    </a:lnTo>
                    <a:cubicBezTo>
                      <a:pt x="1178709" y="126082"/>
                      <a:pt x="1197951" y="141237"/>
                      <a:pt x="1200471" y="162453"/>
                    </a:cubicBezTo>
                    <a:lnTo>
                      <a:pt x="1200470" y="162453"/>
                    </a:lnTo>
                    <a:cubicBezTo>
                      <a:pt x="1202991" y="183669"/>
                      <a:pt x="1187836" y="202910"/>
                      <a:pt x="1166620" y="205431"/>
                    </a:cubicBezTo>
                    <a:lnTo>
                      <a:pt x="878682" y="240221"/>
                    </a:lnTo>
                    <a:lnTo>
                      <a:pt x="883444" y="298972"/>
                    </a:lnTo>
                    <a:lnTo>
                      <a:pt x="792956" y="309723"/>
                    </a:lnTo>
                    <a:lnTo>
                      <a:pt x="792956" y="265459"/>
                    </a:lnTo>
                    <a:lnTo>
                      <a:pt x="688181" y="265459"/>
                    </a:lnTo>
                    <a:lnTo>
                      <a:pt x="688181" y="322171"/>
                    </a:lnTo>
                    <a:lnTo>
                      <a:pt x="418176" y="354249"/>
                    </a:lnTo>
                    <a:cubicBezTo>
                      <a:pt x="407569" y="355510"/>
                      <a:pt x="398476" y="360950"/>
                      <a:pt x="392350" y="368728"/>
                    </a:cubicBezTo>
                    <a:lnTo>
                      <a:pt x="384326" y="397227"/>
                    </a:lnTo>
                    <a:lnTo>
                      <a:pt x="398804" y="423052"/>
                    </a:lnTo>
                    <a:cubicBezTo>
                      <a:pt x="406582" y="429178"/>
                      <a:pt x="416696" y="432337"/>
                      <a:pt x="427304" y="431076"/>
                    </a:cubicBezTo>
                    <a:lnTo>
                      <a:pt x="1157493" y="347675"/>
                    </a:lnTo>
                    <a:cubicBezTo>
                      <a:pt x="1178709" y="345155"/>
                      <a:pt x="1197950" y="360310"/>
                      <a:pt x="1200471" y="381525"/>
                    </a:cubicBezTo>
                    <a:lnTo>
                      <a:pt x="1200470" y="381526"/>
                    </a:lnTo>
                    <a:cubicBezTo>
                      <a:pt x="1202991" y="402741"/>
                      <a:pt x="1187836" y="421983"/>
                      <a:pt x="1166620" y="424503"/>
                    </a:cubicBezTo>
                    <a:lnTo>
                      <a:pt x="883444" y="458146"/>
                    </a:lnTo>
                    <a:lnTo>
                      <a:pt x="883444" y="506141"/>
                    </a:lnTo>
                    <a:lnTo>
                      <a:pt x="792956" y="516892"/>
                    </a:lnTo>
                    <a:lnTo>
                      <a:pt x="792956" y="468897"/>
                    </a:lnTo>
                    <a:lnTo>
                      <a:pt x="688181" y="481345"/>
                    </a:lnTo>
                    <a:lnTo>
                      <a:pt x="688181" y="529340"/>
                    </a:lnTo>
                    <a:lnTo>
                      <a:pt x="418176" y="561418"/>
                    </a:lnTo>
                    <a:cubicBezTo>
                      <a:pt x="407569" y="562679"/>
                      <a:pt x="398476" y="568119"/>
                      <a:pt x="392350" y="575897"/>
                    </a:cubicBezTo>
                    <a:lnTo>
                      <a:pt x="384326" y="604396"/>
                    </a:lnTo>
                    <a:lnTo>
                      <a:pt x="398804" y="630221"/>
                    </a:lnTo>
                    <a:cubicBezTo>
                      <a:pt x="406582" y="636347"/>
                      <a:pt x="416696" y="639506"/>
                      <a:pt x="427304" y="638245"/>
                    </a:cubicBezTo>
                    <a:lnTo>
                      <a:pt x="1104900" y="557742"/>
                    </a:lnTo>
                    <a:lnTo>
                      <a:pt x="1104900" y="558713"/>
                    </a:lnTo>
                    <a:lnTo>
                      <a:pt x="1157491" y="552464"/>
                    </a:lnTo>
                    <a:cubicBezTo>
                      <a:pt x="1178707" y="549944"/>
                      <a:pt x="1197948" y="565099"/>
                      <a:pt x="1200469" y="586314"/>
                    </a:cubicBezTo>
                    <a:lnTo>
                      <a:pt x="1200468" y="586314"/>
                    </a:lnTo>
                    <a:cubicBezTo>
                      <a:pt x="1202989" y="607530"/>
                      <a:pt x="1187834" y="626772"/>
                      <a:pt x="1166618" y="629292"/>
                    </a:cubicBezTo>
                    <a:lnTo>
                      <a:pt x="1104900" y="636624"/>
                    </a:lnTo>
                    <a:lnTo>
                      <a:pt x="1104900" y="817908"/>
                    </a:lnTo>
                    <a:lnTo>
                      <a:pt x="971550" y="946496"/>
                    </a:lnTo>
                    <a:lnTo>
                      <a:pt x="752889" y="946496"/>
                    </a:lnTo>
                    <a:lnTo>
                      <a:pt x="749140" y="965065"/>
                    </a:lnTo>
                    <a:cubicBezTo>
                      <a:pt x="728897" y="1012926"/>
                      <a:pt x="681506" y="1046508"/>
                      <a:pt x="626271" y="1046508"/>
                    </a:cubicBezTo>
                    <a:lnTo>
                      <a:pt x="533770" y="1046508"/>
                    </a:lnTo>
                    <a:cubicBezTo>
                      <a:pt x="478536" y="1046508"/>
                      <a:pt x="431145" y="1012926"/>
                      <a:pt x="410901" y="965065"/>
                    </a:cubicBezTo>
                    <a:lnTo>
                      <a:pt x="407153" y="946496"/>
                    </a:lnTo>
                    <a:lnTo>
                      <a:pt x="190500" y="946496"/>
                    </a:lnTo>
                    <a:lnTo>
                      <a:pt x="59532" y="825052"/>
                    </a:lnTo>
                    <a:cubicBezTo>
                      <a:pt x="59499" y="786916"/>
                      <a:pt x="59465" y="748779"/>
                      <a:pt x="59432" y="710643"/>
                    </a:cubicBezTo>
                    <a:lnTo>
                      <a:pt x="48816" y="710643"/>
                    </a:lnTo>
                    <a:cubicBezTo>
                      <a:pt x="35336" y="710643"/>
                      <a:pt x="23132" y="705179"/>
                      <a:pt x="14298" y="696345"/>
                    </a:cubicBezTo>
                    <a:lnTo>
                      <a:pt x="0" y="661828"/>
                    </a:lnTo>
                    <a:lnTo>
                      <a:pt x="14298" y="627310"/>
                    </a:lnTo>
                    <a:cubicBezTo>
                      <a:pt x="23132" y="618476"/>
                      <a:pt x="35336" y="613012"/>
                      <a:pt x="48816" y="613012"/>
                    </a:cubicBezTo>
                    <a:lnTo>
                      <a:pt x="59346" y="613012"/>
                    </a:lnTo>
                    <a:cubicBezTo>
                      <a:pt x="59313" y="575724"/>
                      <a:pt x="59280" y="538435"/>
                      <a:pt x="59247" y="501147"/>
                    </a:cubicBezTo>
                    <a:lnTo>
                      <a:pt x="48816" y="501147"/>
                    </a:lnTo>
                    <a:cubicBezTo>
                      <a:pt x="35336" y="501147"/>
                      <a:pt x="23132" y="495683"/>
                      <a:pt x="14298" y="486849"/>
                    </a:cubicBezTo>
                    <a:lnTo>
                      <a:pt x="0" y="452332"/>
                    </a:lnTo>
                    <a:lnTo>
                      <a:pt x="14298" y="417814"/>
                    </a:lnTo>
                    <a:cubicBezTo>
                      <a:pt x="23132" y="408980"/>
                      <a:pt x="35336" y="403516"/>
                      <a:pt x="48816" y="403516"/>
                    </a:cubicBezTo>
                    <a:lnTo>
                      <a:pt x="59161" y="403516"/>
                    </a:lnTo>
                    <a:cubicBezTo>
                      <a:pt x="59128" y="366228"/>
                      <a:pt x="59096" y="328939"/>
                      <a:pt x="59063" y="291651"/>
                    </a:cubicBezTo>
                    <a:lnTo>
                      <a:pt x="48816" y="291651"/>
                    </a:lnTo>
                    <a:cubicBezTo>
                      <a:pt x="35336" y="291651"/>
                      <a:pt x="23132" y="286187"/>
                      <a:pt x="14298" y="277353"/>
                    </a:cubicBezTo>
                    <a:lnTo>
                      <a:pt x="0" y="242836"/>
                    </a:lnTo>
                    <a:lnTo>
                      <a:pt x="14298" y="208318"/>
                    </a:lnTo>
                    <a:cubicBezTo>
                      <a:pt x="23132" y="199484"/>
                      <a:pt x="35336" y="194020"/>
                      <a:pt x="48816" y="194020"/>
                    </a:cubicBezTo>
                    <a:lnTo>
                      <a:pt x="58977" y="194020"/>
                    </a:lnTo>
                    <a:lnTo>
                      <a:pt x="58806"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62" name="Freeform 61"/>
              <p:cNvSpPr/>
              <p:nvPr/>
            </p:nvSpPr>
            <p:spPr>
              <a:xfrm>
                <a:off x="4242295" y="1685754"/>
                <a:ext cx="3701002" cy="3743106"/>
              </a:xfrm>
              <a:custGeom>
                <a:avLst/>
                <a:gdLst>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0346 w 3701002"/>
                  <a:gd name="connsiteY11" fmla="*/ 3114359 h 3743106"/>
                  <a:gd name="connsiteX12" fmla="*/ 2659635 w 3701002"/>
                  <a:gd name="connsiteY12" fmla="*/ 3107286 h 3743106"/>
                  <a:gd name="connsiteX13" fmla="*/ 3122601 w 3701002"/>
                  <a:gd name="connsiteY13" fmla="*/ 2107732 h 3743106"/>
                  <a:gd name="connsiteX14" fmla="*/ 1850392 w 3701002"/>
                  <a:gd name="connsiteY14" fmla="*/ 812383 h 3743106"/>
                  <a:gd name="connsiteX15" fmla="*/ 578183 w 3701002"/>
                  <a:gd name="connsiteY15" fmla="*/ 2107732 h 3743106"/>
                  <a:gd name="connsiteX16" fmla="*/ 950805 w 3701002"/>
                  <a:gd name="connsiteY16" fmla="*/ 3023682 h 3743106"/>
                  <a:gd name="connsiteX17" fmla="*/ 1028685 w 3701002"/>
                  <a:gd name="connsiteY17" fmla="*/ 3095752 h 3743106"/>
                  <a:gd name="connsiteX18" fmla="*/ 1145044 w 3701002"/>
                  <a:gd name="connsiteY18" fmla="*/ 3252006 h 3743106"/>
                  <a:gd name="connsiteX19" fmla="*/ 1289824 w 3701002"/>
                  <a:gd name="connsiteY19" fmla="*/ 3549186 h 3743106"/>
                  <a:gd name="connsiteX20" fmla="*/ 1131709 w 3701002"/>
                  <a:gd name="connsiteY20" fmla="*/ 3739686 h 3743106"/>
                  <a:gd name="connsiteX21" fmla="*/ 881519 w 3701002"/>
                  <a:gd name="connsiteY21" fmla="*/ 3637451 h 3743106"/>
                  <a:gd name="connsiteX22" fmla="*/ 771664 w 3701002"/>
                  <a:gd name="connsiteY22" fmla="*/ 3290106 h 3743106"/>
                  <a:gd name="connsiteX23" fmla="*/ 377329 w 3701002"/>
                  <a:gd name="connsiteY23" fmla="*/ 3103416 h 3743106"/>
                  <a:gd name="connsiteX24" fmla="*/ 344944 w 3701002"/>
                  <a:gd name="connsiteY24" fmla="*/ 2482386 h 3743106"/>
                  <a:gd name="connsiteX25" fmla="*/ 139 w 3701002"/>
                  <a:gd name="connsiteY25" fmla="*/ 1970576 h 3743106"/>
                  <a:gd name="connsiteX26" fmla="*/ 451624 w 3701002"/>
                  <a:gd name="connsiteY26" fmla="*/ 1403521 h 3743106"/>
                  <a:gd name="connsiteX27" fmla="*/ 496709 w 3701002"/>
                  <a:gd name="connsiteY27" fmla="*/ 659301 h 3743106"/>
                  <a:gd name="connsiteX28" fmla="*/ 1199019 w 3701002"/>
                  <a:gd name="connsiteY28" fmla="*/ 517061 h 3743106"/>
                  <a:gd name="connsiteX29" fmla="*/ 1831479 w 3701002"/>
                  <a:gd name="connsiteY29"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028685 w 3701002"/>
                  <a:gd name="connsiteY16" fmla="*/ 3095752 h 3743106"/>
                  <a:gd name="connsiteX17" fmla="*/ 1145044 w 3701002"/>
                  <a:gd name="connsiteY17" fmla="*/ 3252006 h 3743106"/>
                  <a:gd name="connsiteX18" fmla="*/ 1289824 w 3701002"/>
                  <a:gd name="connsiteY18" fmla="*/ 3549186 h 3743106"/>
                  <a:gd name="connsiteX19" fmla="*/ 1131709 w 3701002"/>
                  <a:gd name="connsiteY19" fmla="*/ 3739686 h 3743106"/>
                  <a:gd name="connsiteX20" fmla="*/ 881519 w 3701002"/>
                  <a:gd name="connsiteY20" fmla="*/ 3637451 h 3743106"/>
                  <a:gd name="connsiteX21" fmla="*/ 771664 w 3701002"/>
                  <a:gd name="connsiteY21" fmla="*/ 3290106 h 3743106"/>
                  <a:gd name="connsiteX22" fmla="*/ 377329 w 3701002"/>
                  <a:gd name="connsiteY22" fmla="*/ 3103416 h 3743106"/>
                  <a:gd name="connsiteX23" fmla="*/ 344944 w 3701002"/>
                  <a:gd name="connsiteY23" fmla="*/ 2482386 h 3743106"/>
                  <a:gd name="connsiteX24" fmla="*/ 139 w 3701002"/>
                  <a:gd name="connsiteY24" fmla="*/ 1970576 h 3743106"/>
                  <a:gd name="connsiteX25" fmla="*/ 451624 w 3701002"/>
                  <a:gd name="connsiteY25" fmla="*/ 1403521 h 3743106"/>
                  <a:gd name="connsiteX26" fmla="*/ 496709 w 3701002"/>
                  <a:gd name="connsiteY26" fmla="*/ 659301 h 3743106"/>
                  <a:gd name="connsiteX27" fmla="*/ 1199019 w 3701002"/>
                  <a:gd name="connsiteY27" fmla="*/ 517061 h 3743106"/>
                  <a:gd name="connsiteX28" fmla="*/ 1831479 w 3701002"/>
                  <a:gd name="connsiteY28"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145044 w 3701002"/>
                  <a:gd name="connsiteY16" fmla="*/ 3252006 h 3743106"/>
                  <a:gd name="connsiteX17" fmla="*/ 1289824 w 3701002"/>
                  <a:gd name="connsiteY17" fmla="*/ 3549186 h 3743106"/>
                  <a:gd name="connsiteX18" fmla="*/ 1131709 w 3701002"/>
                  <a:gd name="connsiteY18" fmla="*/ 3739686 h 3743106"/>
                  <a:gd name="connsiteX19" fmla="*/ 881519 w 3701002"/>
                  <a:gd name="connsiteY19" fmla="*/ 3637451 h 3743106"/>
                  <a:gd name="connsiteX20" fmla="*/ 771664 w 3701002"/>
                  <a:gd name="connsiteY20" fmla="*/ 3290106 h 3743106"/>
                  <a:gd name="connsiteX21" fmla="*/ 377329 w 3701002"/>
                  <a:gd name="connsiteY21" fmla="*/ 3103416 h 3743106"/>
                  <a:gd name="connsiteX22" fmla="*/ 344944 w 3701002"/>
                  <a:gd name="connsiteY22" fmla="*/ 2482386 h 3743106"/>
                  <a:gd name="connsiteX23" fmla="*/ 139 w 3701002"/>
                  <a:gd name="connsiteY23" fmla="*/ 1970576 h 3743106"/>
                  <a:gd name="connsiteX24" fmla="*/ 451624 w 3701002"/>
                  <a:gd name="connsiteY24" fmla="*/ 1403521 h 3743106"/>
                  <a:gd name="connsiteX25" fmla="*/ 496709 w 3701002"/>
                  <a:gd name="connsiteY25" fmla="*/ 659301 h 3743106"/>
                  <a:gd name="connsiteX26" fmla="*/ 1199019 w 3701002"/>
                  <a:gd name="connsiteY26" fmla="*/ 517061 h 3743106"/>
                  <a:gd name="connsiteX27" fmla="*/ 1831479 w 3701002"/>
                  <a:gd name="connsiteY27"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145044 w 3701002"/>
                  <a:gd name="connsiteY16" fmla="*/ 3252006 h 3743106"/>
                  <a:gd name="connsiteX17" fmla="*/ 1289824 w 3701002"/>
                  <a:gd name="connsiteY17" fmla="*/ 3549186 h 3743106"/>
                  <a:gd name="connsiteX18" fmla="*/ 1131709 w 3701002"/>
                  <a:gd name="connsiteY18" fmla="*/ 3739686 h 3743106"/>
                  <a:gd name="connsiteX19" fmla="*/ 881519 w 3701002"/>
                  <a:gd name="connsiteY19" fmla="*/ 3637451 h 3743106"/>
                  <a:gd name="connsiteX20" fmla="*/ 771664 w 3701002"/>
                  <a:gd name="connsiteY20" fmla="*/ 3290106 h 3743106"/>
                  <a:gd name="connsiteX21" fmla="*/ 377329 w 3701002"/>
                  <a:gd name="connsiteY21" fmla="*/ 3103416 h 3743106"/>
                  <a:gd name="connsiteX22" fmla="*/ 344944 w 3701002"/>
                  <a:gd name="connsiteY22" fmla="*/ 2482386 h 3743106"/>
                  <a:gd name="connsiteX23" fmla="*/ 139 w 3701002"/>
                  <a:gd name="connsiteY23" fmla="*/ 1970576 h 3743106"/>
                  <a:gd name="connsiteX24" fmla="*/ 451624 w 3701002"/>
                  <a:gd name="connsiteY24" fmla="*/ 1403521 h 3743106"/>
                  <a:gd name="connsiteX25" fmla="*/ 496709 w 3701002"/>
                  <a:gd name="connsiteY25" fmla="*/ 659301 h 3743106"/>
                  <a:gd name="connsiteX26" fmla="*/ 1199019 w 3701002"/>
                  <a:gd name="connsiteY26" fmla="*/ 517061 h 3743106"/>
                  <a:gd name="connsiteX27" fmla="*/ 1831479 w 3701002"/>
                  <a:gd name="connsiteY27" fmla="*/ 171 h 3743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701002" h="3743106">
                    <a:moveTo>
                      <a:pt x="1831479" y="171"/>
                    </a:moveTo>
                    <a:cubicBezTo>
                      <a:pt x="2193958" y="-9460"/>
                      <a:pt x="2228989" y="388262"/>
                      <a:pt x="2478544" y="516426"/>
                    </a:cubicBezTo>
                    <a:cubicBezTo>
                      <a:pt x="2724924" y="638240"/>
                      <a:pt x="3031735" y="420753"/>
                      <a:pt x="3214509" y="673906"/>
                    </a:cubicBezTo>
                    <a:cubicBezTo>
                      <a:pt x="3397283" y="927059"/>
                      <a:pt x="3125874" y="1106394"/>
                      <a:pt x="3270389" y="1425746"/>
                    </a:cubicBezTo>
                    <a:cubicBezTo>
                      <a:pt x="3414904" y="1745098"/>
                      <a:pt x="3685678" y="1679112"/>
                      <a:pt x="3700601" y="1942319"/>
                    </a:cubicBezTo>
                    <a:cubicBezTo>
                      <a:pt x="3712349" y="2221401"/>
                      <a:pt x="3463112" y="2181714"/>
                      <a:pt x="3354844" y="2512866"/>
                    </a:cubicBezTo>
                    <a:cubicBezTo>
                      <a:pt x="3238639" y="2836081"/>
                      <a:pt x="3476765" y="2888309"/>
                      <a:pt x="3320872" y="3113258"/>
                    </a:cubicBezTo>
                    <a:cubicBezTo>
                      <a:pt x="3231655" y="3262007"/>
                      <a:pt x="3076132" y="3153476"/>
                      <a:pt x="2933839" y="3291059"/>
                    </a:cubicBezTo>
                    <a:cubicBezTo>
                      <a:pt x="2791546" y="3428642"/>
                      <a:pt x="2888756" y="3603161"/>
                      <a:pt x="2771914" y="3691109"/>
                    </a:cubicBezTo>
                    <a:cubicBezTo>
                      <a:pt x="2688410" y="3783819"/>
                      <a:pt x="2499817" y="3735717"/>
                      <a:pt x="2440444" y="3640626"/>
                    </a:cubicBezTo>
                    <a:cubicBezTo>
                      <a:pt x="2381071" y="3545535"/>
                      <a:pt x="2441714" y="3442506"/>
                      <a:pt x="2501404" y="3320586"/>
                    </a:cubicBezTo>
                    <a:lnTo>
                      <a:pt x="2659635" y="3107286"/>
                    </a:lnTo>
                    <a:cubicBezTo>
                      <a:pt x="2942380" y="2869700"/>
                      <a:pt x="3122601" y="2510145"/>
                      <a:pt x="3122601" y="2107732"/>
                    </a:cubicBezTo>
                    <a:cubicBezTo>
                      <a:pt x="3122601" y="1392331"/>
                      <a:pt x="2553014" y="812383"/>
                      <a:pt x="1850392" y="812383"/>
                    </a:cubicBezTo>
                    <a:cubicBezTo>
                      <a:pt x="1147770" y="812383"/>
                      <a:pt x="578183" y="1392331"/>
                      <a:pt x="578183" y="2107732"/>
                    </a:cubicBezTo>
                    <a:cubicBezTo>
                      <a:pt x="578183" y="2465433"/>
                      <a:pt x="720580" y="2789270"/>
                      <a:pt x="950805" y="3023682"/>
                    </a:cubicBezTo>
                    <a:cubicBezTo>
                      <a:pt x="1039364" y="3104553"/>
                      <a:pt x="1080298" y="3175898"/>
                      <a:pt x="1145044" y="3252006"/>
                    </a:cubicBezTo>
                    <a:cubicBezTo>
                      <a:pt x="1213624" y="3361226"/>
                      <a:pt x="1292047" y="3467906"/>
                      <a:pt x="1289824" y="3549186"/>
                    </a:cubicBezTo>
                    <a:cubicBezTo>
                      <a:pt x="1287602" y="3630466"/>
                      <a:pt x="1199760" y="3724975"/>
                      <a:pt x="1131709" y="3739686"/>
                    </a:cubicBezTo>
                    <a:cubicBezTo>
                      <a:pt x="1063658" y="3754397"/>
                      <a:pt x="935176" y="3721906"/>
                      <a:pt x="881519" y="3637451"/>
                    </a:cubicBezTo>
                    <a:cubicBezTo>
                      <a:pt x="827862" y="3552996"/>
                      <a:pt x="922371" y="3429912"/>
                      <a:pt x="771664" y="3290106"/>
                    </a:cubicBezTo>
                    <a:cubicBezTo>
                      <a:pt x="620957" y="3150300"/>
                      <a:pt x="489724" y="3259626"/>
                      <a:pt x="377329" y="3103416"/>
                    </a:cubicBezTo>
                    <a:cubicBezTo>
                      <a:pt x="245884" y="2847193"/>
                      <a:pt x="472103" y="2764062"/>
                      <a:pt x="344944" y="2482386"/>
                    </a:cubicBezTo>
                    <a:cubicBezTo>
                      <a:pt x="189211" y="2141178"/>
                      <a:pt x="8552" y="2246432"/>
                      <a:pt x="139" y="1970576"/>
                    </a:cubicBezTo>
                    <a:cubicBezTo>
                      <a:pt x="-7481" y="1701865"/>
                      <a:pt x="299012" y="1730017"/>
                      <a:pt x="451624" y="1403521"/>
                    </a:cubicBezTo>
                    <a:cubicBezTo>
                      <a:pt x="528036" y="943675"/>
                      <a:pt x="318168" y="908644"/>
                      <a:pt x="496709" y="659301"/>
                    </a:cubicBezTo>
                    <a:cubicBezTo>
                      <a:pt x="675250" y="409958"/>
                      <a:pt x="956978" y="650728"/>
                      <a:pt x="1199019" y="517061"/>
                    </a:cubicBezTo>
                    <a:cubicBezTo>
                      <a:pt x="1485510" y="418319"/>
                      <a:pt x="1469000" y="9802"/>
                      <a:pt x="1831479" y="171"/>
                    </a:cubicBez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grpSp>
      </p:grpSp>
      <p:grpSp>
        <p:nvGrpSpPr>
          <p:cNvPr id="63" name="Group 62"/>
          <p:cNvGrpSpPr/>
          <p:nvPr/>
        </p:nvGrpSpPr>
        <p:grpSpPr>
          <a:xfrm>
            <a:off x="5842516" y="3628308"/>
            <a:ext cx="474070" cy="474070"/>
            <a:chOff x="6447430" y="2675492"/>
            <a:chExt cx="474070" cy="474070"/>
          </a:xfrm>
        </p:grpSpPr>
        <p:sp>
          <p:nvSpPr>
            <p:cNvPr id="64" name="Oval 63"/>
            <p:cNvSpPr/>
            <p:nvPr/>
          </p:nvSpPr>
          <p:spPr>
            <a:xfrm>
              <a:off x="6447430" y="2675492"/>
              <a:ext cx="474070" cy="474070"/>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white"/>
                </a:solidFill>
                <a:effectLst/>
                <a:uLnTx/>
                <a:uFillTx/>
                <a:latin typeface="+mj-lt"/>
                <a:ea typeface="+mn-ea"/>
                <a:cs typeface="+mn-cs"/>
              </a:endParaRPr>
            </a:p>
          </p:txBody>
        </p:sp>
        <p:grpSp>
          <p:nvGrpSpPr>
            <p:cNvPr id="65" name="Group 64"/>
            <p:cNvGrpSpPr/>
            <p:nvPr/>
          </p:nvGrpSpPr>
          <p:grpSpPr>
            <a:xfrm>
              <a:off x="6518177" y="2715380"/>
              <a:ext cx="333474" cy="369626"/>
              <a:chOff x="3114466" y="105602"/>
              <a:chExt cx="5971657" cy="6619048"/>
            </a:xfrm>
            <a:solidFill>
              <a:schemeClr val="accent5"/>
            </a:solidFill>
          </p:grpSpPr>
          <p:sp>
            <p:nvSpPr>
              <p:cNvPr id="66" name="Oval 65"/>
              <p:cNvSpPr/>
              <p:nvPr/>
            </p:nvSpPr>
            <p:spPr>
              <a:xfrm>
                <a:off x="5744819" y="745435"/>
                <a:ext cx="695738" cy="695738"/>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67" name="Oval 66"/>
              <p:cNvSpPr/>
              <p:nvPr/>
            </p:nvSpPr>
            <p:spPr>
              <a:xfrm>
                <a:off x="6626711" y="1319213"/>
                <a:ext cx="628234" cy="62823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68" name="Oval 67"/>
              <p:cNvSpPr/>
              <p:nvPr/>
            </p:nvSpPr>
            <p:spPr>
              <a:xfrm>
                <a:off x="4921736" y="1319213"/>
                <a:ext cx="628234" cy="62823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69" name="Oval 68"/>
              <p:cNvSpPr/>
              <p:nvPr/>
            </p:nvSpPr>
            <p:spPr>
              <a:xfrm>
                <a:off x="4140684" y="1766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70" name="Oval 69"/>
              <p:cNvSpPr/>
              <p:nvPr/>
            </p:nvSpPr>
            <p:spPr>
              <a:xfrm>
                <a:off x="7510049" y="1766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71" name="Oval 70"/>
              <p:cNvSpPr/>
              <p:nvPr/>
            </p:nvSpPr>
            <p:spPr>
              <a:xfrm>
                <a:off x="7716285" y="2579410"/>
                <a:ext cx="612706" cy="61270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72" name="Oval 71"/>
              <p:cNvSpPr/>
              <p:nvPr/>
            </p:nvSpPr>
            <p:spPr>
              <a:xfrm>
                <a:off x="3849963" y="2569471"/>
                <a:ext cx="612706" cy="61270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73" name="Oval 72"/>
              <p:cNvSpPr/>
              <p:nvPr/>
            </p:nvSpPr>
            <p:spPr>
              <a:xfrm>
                <a:off x="3740632" y="1416532"/>
                <a:ext cx="394046" cy="39404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74" name="Oval 73"/>
              <p:cNvSpPr/>
              <p:nvPr/>
            </p:nvSpPr>
            <p:spPr>
              <a:xfrm>
                <a:off x="8054215" y="1416532"/>
                <a:ext cx="394046" cy="39404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75" name="Oval 74"/>
              <p:cNvSpPr/>
              <p:nvPr/>
            </p:nvSpPr>
            <p:spPr>
              <a:xfrm>
                <a:off x="5878581" y="105602"/>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76" name="Oval 75"/>
              <p:cNvSpPr/>
              <p:nvPr/>
            </p:nvSpPr>
            <p:spPr>
              <a:xfrm>
                <a:off x="3114466" y="3419473"/>
                <a:ext cx="319296" cy="31929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77" name="Oval 76"/>
              <p:cNvSpPr/>
              <p:nvPr/>
            </p:nvSpPr>
            <p:spPr>
              <a:xfrm>
                <a:off x="3794675" y="5116270"/>
                <a:ext cx="282026" cy="28202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78" name="Oval 77"/>
              <p:cNvSpPr/>
              <p:nvPr/>
            </p:nvSpPr>
            <p:spPr>
              <a:xfrm>
                <a:off x="4640020" y="5060156"/>
                <a:ext cx="342902" cy="3429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79" name="Oval 78"/>
              <p:cNvSpPr/>
              <p:nvPr/>
            </p:nvSpPr>
            <p:spPr>
              <a:xfrm>
                <a:off x="4155592" y="4790040"/>
                <a:ext cx="373546" cy="37354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80" name="Oval 79"/>
              <p:cNvSpPr/>
              <p:nvPr/>
            </p:nvSpPr>
            <p:spPr>
              <a:xfrm>
                <a:off x="3892206" y="4042948"/>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81" name="Oval 80"/>
              <p:cNvSpPr/>
              <p:nvPr/>
            </p:nvSpPr>
            <p:spPr>
              <a:xfrm>
                <a:off x="7758528" y="4052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82" name="Oval 81"/>
              <p:cNvSpPr/>
              <p:nvPr/>
            </p:nvSpPr>
            <p:spPr>
              <a:xfrm>
                <a:off x="3632338" y="3395454"/>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83" name="Oval 82"/>
              <p:cNvSpPr/>
              <p:nvPr/>
            </p:nvSpPr>
            <p:spPr>
              <a:xfrm>
                <a:off x="8122650" y="3395454"/>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84" name="Oval 83"/>
              <p:cNvSpPr/>
              <p:nvPr/>
            </p:nvSpPr>
            <p:spPr>
              <a:xfrm>
                <a:off x="8747366" y="3412330"/>
                <a:ext cx="338757" cy="338757"/>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85" name="Oval 84"/>
              <p:cNvSpPr/>
              <p:nvPr/>
            </p:nvSpPr>
            <p:spPr>
              <a:xfrm>
                <a:off x="7659444" y="4792108"/>
                <a:ext cx="372514" cy="37251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86" name="Oval 85"/>
              <p:cNvSpPr/>
              <p:nvPr/>
            </p:nvSpPr>
            <p:spPr>
              <a:xfrm>
                <a:off x="7208355" y="5062538"/>
                <a:ext cx="341242" cy="34124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87" name="Oval 86"/>
              <p:cNvSpPr/>
              <p:nvPr/>
            </p:nvSpPr>
            <p:spPr>
              <a:xfrm>
                <a:off x="8113230" y="5122069"/>
                <a:ext cx="274566" cy="27456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88" name="Freeform 87"/>
              <p:cNvSpPr/>
              <p:nvPr/>
            </p:nvSpPr>
            <p:spPr>
              <a:xfrm>
                <a:off x="5507831" y="5678142"/>
                <a:ext cx="1200744" cy="1046508"/>
              </a:xfrm>
              <a:custGeom>
                <a:avLst/>
                <a:gdLst>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58806 w 1200744"/>
                  <a:gd name="connsiteY19" fmla="*/ 0 h 1046508"/>
                  <a:gd name="connsiteX20" fmla="*/ 692944 w 1200744"/>
                  <a:gd name="connsiteY20" fmla="*/ 0 h 1046508"/>
                  <a:gd name="connsiteX21" fmla="*/ 692944 w 1200744"/>
                  <a:gd name="connsiteY21" fmla="*/ 102530 h 1046508"/>
                  <a:gd name="connsiteX22" fmla="*/ 418176 w 1200744"/>
                  <a:gd name="connsiteY22" fmla="*/ 135174 h 1046508"/>
                  <a:gd name="connsiteX23" fmla="*/ 392350 w 1200744"/>
                  <a:gd name="connsiteY23" fmla="*/ 149653 h 1046508"/>
                  <a:gd name="connsiteX24" fmla="*/ 384326 w 1200744"/>
                  <a:gd name="connsiteY24" fmla="*/ 178152 h 1046508"/>
                  <a:gd name="connsiteX25" fmla="*/ 398804 w 1200744"/>
                  <a:gd name="connsiteY25" fmla="*/ 203977 h 1046508"/>
                  <a:gd name="connsiteX26" fmla="*/ 427304 w 1200744"/>
                  <a:gd name="connsiteY26" fmla="*/ 212001 h 1046508"/>
                  <a:gd name="connsiteX27" fmla="*/ 1104900 w 1200744"/>
                  <a:gd name="connsiteY27" fmla="*/ 131498 h 1046508"/>
                  <a:gd name="connsiteX28" fmla="*/ 1104900 w 1200744"/>
                  <a:gd name="connsiteY28" fmla="*/ 134851 h 1046508"/>
                  <a:gd name="connsiteX29" fmla="*/ 1157493 w 1200744"/>
                  <a:gd name="connsiteY29" fmla="*/ 128603 h 1046508"/>
                  <a:gd name="connsiteX30" fmla="*/ 1200471 w 1200744"/>
                  <a:gd name="connsiteY30" fmla="*/ 162453 h 1046508"/>
                  <a:gd name="connsiteX31" fmla="*/ 1200470 w 1200744"/>
                  <a:gd name="connsiteY31" fmla="*/ 162453 h 1046508"/>
                  <a:gd name="connsiteX32" fmla="*/ 1166620 w 1200744"/>
                  <a:gd name="connsiteY32" fmla="*/ 205431 h 1046508"/>
                  <a:gd name="connsiteX33" fmla="*/ 892471 w 1200744"/>
                  <a:gd name="connsiteY33" fmla="*/ 238001 h 1046508"/>
                  <a:gd name="connsiteX34" fmla="*/ 883444 w 1200744"/>
                  <a:gd name="connsiteY34" fmla="*/ 235459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688181 w 1200744"/>
                  <a:gd name="connsiteY45" fmla="*/ 400083 h 1046508"/>
                  <a:gd name="connsiteX46" fmla="*/ 688181 w 1200744"/>
                  <a:gd name="connsiteY46" fmla="*/ 403433 h 1046508"/>
                  <a:gd name="connsiteX47" fmla="*/ 792956 w 1200744"/>
                  <a:gd name="connsiteY47" fmla="*/ 390985 h 1046508"/>
                  <a:gd name="connsiteX48" fmla="*/ 792956 w 1200744"/>
                  <a:gd name="connsiteY48" fmla="*/ 387635 h 1046508"/>
                  <a:gd name="connsiteX49" fmla="*/ 883444 w 1200744"/>
                  <a:gd name="connsiteY49" fmla="*/ 376884 h 1046508"/>
                  <a:gd name="connsiteX50" fmla="*/ 883444 w 1200744"/>
                  <a:gd name="connsiteY50" fmla="*/ 380235 h 1046508"/>
                  <a:gd name="connsiteX51" fmla="*/ 1157493 w 1200744"/>
                  <a:gd name="connsiteY51" fmla="*/ 347675 h 1046508"/>
                  <a:gd name="connsiteX52" fmla="*/ 1200471 w 1200744"/>
                  <a:gd name="connsiteY52" fmla="*/ 381525 h 1046508"/>
                  <a:gd name="connsiteX53" fmla="*/ 1200470 w 1200744"/>
                  <a:gd name="connsiteY53" fmla="*/ 381526 h 1046508"/>
                  <a:gd name="connsiteX54" fmla="*/ 1166620 w 1200744"/>
                  <a:gd name="connsiteY54" fmla="*/ 424503 h 1046508"/>
                  <a:gd name="connsiteX55" fmla="*/ 883444 w 1200744"/>
                  <a:gd name="connsiteY55" fmla="*/ 458146 h 1046508"/>
                  <a:gd name="connsiteX56" fmla="*/ 883444 w 1200744"/>
                  <a:gd name="connsiteY56" fmla="*/ 506141 h 1046508"/>
                  <a:gd name="connsiteX57" fmla="*/ 792956 w 1200744"/>
                  <a:gd name="connsiteY57" fmla="*/ 516892 h 1046508"/>
                  <a:gd name="connsiteX58" fmla="*/ 792956 w 1200744"/>
                  <a:gd name="connsiteY58" fmla="*/ 468897 h 1046508"/>
                  <a:gd name="connsiteX59" fmla="*/ 688181 w 1200744"/>
                  <a:gd name="connsiteY59" fmla="*/ 481345 h 1046508"/>
                  <a:gd name="connsiteX60" fmla="*/ 688181 w 1200744"/>
                  <a:gd name="connsiteY60" fmla="*/ 529340 h 1046508"/>
                  <a:gd name="connsiteX61" fmla="*/ 418176 w 1200744"/>
                  <a:gd name="connsiteY61" fmla="*/ 561418 h 1046508"/>
                  <a:gd name="connsiteX62" fmla="*/ 392350 w 1200744"/>
                  <a:gd name="connsiteY62" fmla="*/ 575897 h 1046508"/>
                  <a:gd name="connsiteX63" fmla="*/ 384326 w 1200744"/>
                  <a:gd name="connsiteY63" fmla="*/ 604396 h 1046508"/>
                  <a:gd name="connsiteX64" fmla="*/ 398804 w 1200744"/>
                  <a:gd name="connsiteY64" fmla="*/ 630221 h 1046508"/>
                  <a:gd name="connsiteX65" fmla="*/ 427304 w 1200744"/>
                  <a:gd name="connsiteY65" fmla="*/ 638245 h 1046508"/>
                  <a:gd name="connsiteX66" fmla="*/ 1104900 w 1200744"/>
                  <a:gd name="connsiteY66" fmla="*/ 557742 h 1046508"/>
                  <a:gd name="connsiteX67" fmla="*/ 1104900 w 1200744"/>
                  <a:gd name="connsiteY67" fmla="*/ 558713 h 1046508"/>
                  <a:gd name="connsiteX68" fmla="*/ 1157491 w 1200744"/>
                  <a:gd name="connsiteY68" fmla="*/ 552464 h 1046508"/>
                  <a:gd name="connsiteX69" fmla="*/ 1200469 w 1200744"/>
                  <a:gd name="connsiteY69" fmla="*/ 586314 h 1046508"/>
                  <a:gd name="connsiteX70" fmla="*/ 1200468 w 1200744"/>
                  <a:gd name="connsiteY70" fmla="*/ 586314 h 1046508"/>
                  <a:gd name="connsiteX71" fmla="*/ 1166618 w 1200744"/>
                  <a:gd name="connsiteY71" fmla="*/ 629292 h 1046508"/>
                  <a:gd name="connsiteX72" fmla="*/ 1104900 w 1200744"/>
                  <a:gd name="connsiteY72" fmla="*/ 636624 h 1046508"/>
                  <a:gd name="connsiteX73" fmla="*/ 1104900 w 1200744"/>
                  <a:gd name="connsiteY73" fmla="*/ 817908 h 1046508"/>
                  <a:gd name="connsiteX74" fmla="*/ 971550 w 1200744"/>
                  <a:gd name="connsiteY74" fmla="*/ 946496 h 1046508"/>
                  <a:gd name="connsiteX75" fmla="*/ 752889 w 1200744"/>
                  <a:gd name="connsiteY75" fmla="*/ 946496 h 1046508"/>
                  <a:gd name="connsiteX76" fmla="*/ 749140 w 1200744"/>
                  <a:gd name="connsiteY76" fmla="*/ 965065 h 1046508"/>
                  <a:gd name="connsiteX77" fmla="*/ 626271 w 1200744"/>
                  <a:gd name="connsiteY77" fmla="*/ 1046508 h 1046508"/>
                  <a:gd name="connsiteX78" fmla="*/ 533770 w 1200744"/>
                  <a:gd name="connsiteY78" fmla="*/ 1046508 h 1046508"/>
                  <a:gd name="connsiteX79" fmla="*/ 410901 w 1200744"/>
                  <a:gd name="connsiteY79" fmla="*/ 965065 h 1046508"/>
                  <a:gd name="connsiteX80" fmla="*/ 407153 w 1200744"/>
                  <a:gd name="connsiteY80" fmla="*/ 946496 h 1046508"/>
                  <a:gd name="connsiteX81" fmla="*/ 190500 w 1200744"/>
                  <a:gd name="connsiteY81" fmla="*/ 946496 h 1046508"/>
                  <a:gd name="connsiteX82" fmla="*/ 59532 w 1200744"/>
                  <a:gd name="connsiteY82" fmla="*/ 825052 h 1046508"/>
                  <a:gd name="connsiteX83" fmla="*/ 59432 w 1200744"/>
                  <a:gd name="connsiteY83" fmla="*/ 710643 h 1046508"/>
                  <a:gd name="connsiteX84" fmla="*/ 48816 w 1200744"/>
                  <a:gd name="connsiteY84" fmla="*/ 710643 h 1046508"/>
                  <a:gd name="connsiteX85" fmla="*/ 14298 w 1200744"/>
                  <a:gd name="connsiteY85" fmla="*/ 696345 h 1046508"/>
                  <a:gd name="connsiteX86" fmla="*/ 0 w 1200744"/>
                  <a:gd name="connsiteY86" fmla="*/ 661828 h 1046508"/>
                  <a:gd name="connsiteX87" fmla="*/ 14298 w 1200744"/>
                  <a:gd name="connsiteY87" fmla="*/ 627310 h 1046508"/>
                  <a:gd name="connsiteX88" fmla="*/ 48816 w 1200744"/>
                  <a:gd name="connsiteY88" fmla="*/ 613012 h 1046508"/>
                  <a:gd name="connsiteX89" fmla="*/ 59346 w 1200744"/>
                  <a:gd name="connsiteY89" fmla="*/ 613012 h 1046508"/>
                  <a:gd name="connsiteX90" fmla="*/ 59247 w 1200744"/>
                  <a:gd name="connsiteY90" fmla="*/ 501147 h 1046508"/>
                  <a:gd name="connsiteX91" fmla="*/ 48816 w 1200744"/>
                  <a:gd name="connsiteY91" fmla="*/ 501147 h 1046508"/>
                  <a:gd name="connsiteX92" fmla="*/ 14298 w 1200744"/>
                  <a:gd name="connsiteY92" fmla="*/ 486849 h 1046508"/>
                  <a:gd name="connsiteX93" fmla="*/ 0 w 1200744"/>
                  <a:gd name="connsiteY93" fmla="*/ 452332 h 1046508"/>
                  <a:gd name="connsiteX94" fmla="*/ 14298 w 1200744"/>
                  <a:gd name="connsiteY94" fmla="*/ 417814 h 1046508"/>
                  <a:gd name="connsiteX95" fmla="*/ 48816 w 1200744"/>
                  <a:gd name="connsiteY95" fmla="*/ 403516 h 1046508"/>
                  <a:gd name="connsiteX96" fmla="*/ 59161 w 1200744"/>
                  <a:gd name="connsiteY96" fmla="*/ 403516 h 1046508"/>
                  <a:gd name="connsiteX97" fmla="*/ 59063 w 1200744"/>
                  <a:gd name="connsiteY97" fmla="*/ 291651 h 1046508"/>
                  <a:gd name="connsiteX98" fmla="*/ 48816 w 1200744"/>
                  <a:gd name="connsiteY98" fmla="*/ 291651 h 1046508"/>
                  <a:gd name="connsiteX99" fmla="*/ 14298 w 1200744"/>
                  <a:gd name="connsiteY99" fmla="*/ 277353 h 1046508"/>
                  <a:gd name="connsiteX100" fmla="*/ 0 w 1200744"/>
                  <a:gd name="connsiteY100" fmla="*/ 242836 h 1046508"/>
                  <a:gd name="connsiteX101" fmla="*/ 14298 w 1200744"/>
                  <a:gd name="connsiteY101" fmla="*/ 208318 h 1046508"/>
                  <a:gd name="connsiteX102" fmla="*/ 48816 w 1200744"/>
                  <a:gd name="connsiteY102" fmla="*/ 194020 h 1046508"/>
                  <a:gd name="connsiteX103" fmla="*/ 58977 w 1200744"/>
                  <a:gd name="connsiteY103" fmla="*/ 19402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792956 w 1200744"/>
                  <a:gd name="connsiteY49" fmla="*/ 387635 h 1046508"/>
                  <a:gd name="connsiteX50" fmla="*/ 883444 w 1200744"/>
                  <a:gd name="connsiteY50" fmla="*/ 376884 h 1046508"/>
                  <a:gd name="connsiteX51" fmla="*/ 1157493 w 1200744"/>
                  <a:gd name="connsiteY51" fmla="*/ 347675 h 1046508"/>
                  <a:gd name="connsiteX52" fmla="*/ 1200471 w 1200744"/>
                  <a:gd name="connsiteY52" fmla="*/ 381525 h 1046508"/>
                  <a:gd name="connsiteX53" fmla="*/ 1200470 w 1200744"/>
                  <a:gd name="connsiteY53" fmla="*/ 381526 h 1046508"/>
                  <a:gd name="connsiteX54" fmla="*/ 1166620 w 1200744"/>
                  <a:gd name="connsiteY54" fmla="*/ 424503 h 1046508"/>
                  <a:gd name="connsiteX55" fmla="*/ 883444 w 1200744"/>
                  <a:gd name="connsiteY55" fmla="*/ 458146 h 1046508"/>
                  <a:gd name="connsiteX56" fmla="*/ 883444 w 1200744"/>
                  <a:gd name="connsiteY56" fmla="*/ 506141 h 1046508"/>
                  <a:gd name="connsiteX57" fmla="*/ 792956 w 1200744"/>
                  <a:gd name="connsiteY57" fmla="*/ 516892 h 1046508"/>
                  <a:gd name="connsiteX58" fmla="*/ 792956 w 1200744"/>
                  <a:gd name="connsiteY58" fmla="*/ 468897 h 1046508"/>
                  <a:gd name="connsiteX59" fmla="*/ 688181 w 1200744"/>
                  <a:gd name="connsiteY59" fmla="*/ 481345 h 1046508"/>
                  <a:gd name="connsiteX60" fmla="*/ 688181 w 1200744"/>
                  <a:gd name="connsiteY60" fmla="*/ 529340 h 1046508"/>
                  <a:gd name="connsiteX61" fmla="*/ 418176 w 1200744"/>
                  <a:gd name="connsiteY61" fmla="*/ 561418 h 1046508"/>
                  <a:gd name="connsiteX62" fmla="*/ 392350 w 1200744"/>
                  <a:gd name="connsiteY62" fmla="*/ 575897 h 1046508"/>
                  <a:gd name="connsiteX63" fmla="*/ 384326 w 1200744"/>
                  <a:gd name="connsiteY63" fmla="*/ 604396 h 1046508"/>
                  <a:gd name="connsiteX64" fmla="*/ 398804 w 1200744"/>
                  <a:gd name="connsiteY64" fmla="*/ 630221 h 1046508"/>
                  <a:gd name="connsiteX65" fmla="*/ 427304 w 1200744"/>
                  <a:gd name="connsiteY65" fmla="*/ 638245 h 1046508"/>
                  <a:gd name="connsiteX66" fmla="*/ 1104900 w 1200744"/>
                  <a:gd name="connsiteY66" fmla="*/ 557742 h 1046508"/>
                  <a:gd name="connsiteX67" fmla="*/ 1104900 w 1200744"/>
                  <a:gd name="connsiteY67" fmla="*/ 558713 h 1046508"/>
                  <a:gd name="connsiteX68" fmla="*/ 1157491 w 1200744"/>
                  <a:gd name="connsiteY68" fmla="*/ 552464 h 1046508"/>
                  <a:gd name="connsiteX69" fmla="*/ 1200469 w 1200744"/>
                  <a:gd name="connsiteY69" fmla="*/ 586314 h 1046508"/>
                  <a:gd name="connsiteX70" fmla="*/ 1200468 w 1200744"/>
                  <a:gd name="connsiteY70" fmla="*/ 586314 h 1046508"/>
                  <a:gd name="connsiteX71" fmla="*/ 1166618 w 1200744"/>
                  <a:gd name="connsiteY71" fmla="*/ 629292 h 1046508"/>
                  <a:gd name="connsiteX72" fmla="*/ 1104900 w 1200744"/>
                  <a:gd name="connsiteY72" fmla="*/ 636624 h 1046508"/>
                  <a:gd name="connsiteX73" fmla="*/ 1104900 w 1200744"/>
                  <a:gd name="connsiteY73" fmla="*/ 817908 h 1046508"/>
                  <a:gd name="connsiteX74" fmla="*/ 971550 w 1200744"/>
                  <a:gd name="connsiteY74" fmla="*/ 946496 h 1046508"/>
                  <a:gd name="connsiteX75" fmla="*/ 752889 w 1200744"/>
                  <a:gd name="connsiteY75" fmla="*/ 946496 h 1046508"/>
                  <a:gd name="connsiteX76" fmla="*/ 749140 w 1200744"/>
                  <a:gd name="connsiteY76" fmla="*/ 965065 h 1046508"/>
                  <a:gd name="connsiteX77" fmla="*/ 626271 w 1200744"/>
                  <a:gd name="connsiteY77" fmla="*/ 1046508 h 1046508"/>
                  <a:gd name="connsiteX78" fmla="*/ 533770 w 1200744"/>
                  <a:gd name="connsiteY78" fmla="*/ 1046508 h 1046508"/>
                  <a:gd name="connsiteX79" fmla="*/ 410901 w 1200744"/>
                  <a:gd name="connsiteY79" fmla="*/ 965065 h 1046508"/>
                  <a:gd name="connsiteX80" fmla="*/ 407153 w 1200744"/>
                  <a:gd name="connsiteY80" fmla="*/ 946496 h 1046508"/>
                  <a:gd name="connsiteX81" fmla="*/ 190500 w 1200744"/>
                  <a:gd name="connsiteY81" fmla="*/ 946496 h 1046508"/>
                  <a:gd name="connsiteX82" fmla="*/ 59532 w 1200744"/>
                  <a:gd name="connsiteY82" fmla="*/ 825052 h 1046508"/>
                  <a:gd name="connsiteX83" fmla="*/ 59432 w 1200744"/>
                  <a:gd name="connsiteY83" fmla="*/ 710643 h 1046508"/>
                  <a:gd name="connsiteX84" fmla="*/ 48816 w 1200744"/>
                  <a:gd name="connsiteY84" fmla="*/ 710643 h 1046508"/>
                  <a:gd name="connsiteX85" fmla="*/ 14298 w 1200744"/>
                  <a:gd name="connsiteY85" fmla="*/ 696345 h 1046508"/>
                  <a:gd name="connsiteX86" fmla="*/ 0 w 1200744"/>
                  <a:gd name="connsiteY86" fmla="*/ 661828 h 1046508"/>
                  <a:gd name="connsiteX87" fmla="*/ 14298 w 1200744"/>
                  <a:gd name="connsiteY87" fmla="*/ 627310 h 1046508"/>
                  <a:gd name="connsiteX88" fmla="*/ 48816 w 1200744"/>
                  <a:gd name="connsiteY88" fmla="*/ 613012 h 1046508"/>
                  <a:gd name="connsiteX89" fmla="*/ 59346 w 1200744"/>
                  <a:gd name="connsiteY89" fmla="*/ 613012 h 1046508"/>
                  <a:gd name="connsiteX90" fmla="*/ 59247 w 1200744"/>
                  <a:gd name="connsiteY90" fmla="*/ 501147 h 1046508"/>
                  <a:gd name="connsiteX91" fmla="*/ 48816 w 1200744"/>
                  <a:gd name="connsiteY91" fmla="*/ 501147 h 1046508"/>
                  <a:gd name="connsiteX92" fmla="*/ 14298 w 1200744"/>
                  <a:gd name="connsiteY92" fmla="*/ 486849 h 1046508"/>
                  <a:gd name="connsiteX93" fmla="*/ 0 w 1200744"/>
                  <a:gd name="connsiteY93" fmla="*/ 452332 h 1046508"/>
                  <a:gd name="connsiteX94" fmla="*/ 14298 w 1200744"/>
                  <a:gd name="connsiteY94" fmla="*/ 417814 h 1046508"/>
                  <a:gd name="connsiteX95" fmla="*/ 48816 w 1200744"/>
                  <a:gd name="connsiteY95" fmla="*/ 403516 h 1046508"/>
                  <a:gd name="connsiteX96" fmla="*/ 59161 w 1200744"/>
                  <a:gd name="connsiteY96" fmla="*/ 403516 h 1046508"/>
                  <a:gd name="connsiteX97" fmla="*/ 59063 w 1200744"/>
                  <a:gd name="connsiteY97" fmla="*/ 291651 h 1046508"/>
                  <a:gd name="connsiteX98" fmla="*/ 48816 w 1200744"/>
                  <a:gd name="connsiteY98" fmla="*/ 291651 h 1046508"/>
                  <a:gd name="connsiteX99" fmla="*/ 14298 w 1200744"/>
                  <a:gd name="connsiteY99" fmla="*/ 277353 h 1046508"/>
                  <a:gd name="connsiteX100" fmla="*/ 0 w 1200744"/>
                  <a:gd name="connsiteY100" fmla="*/ 242836 h 1046508"/>
                  <a:gd name="connsiteX101" fmla="*/ 14298 w 1200744"/>
                  <a:gd name="connsiteY101" fmla="*/ 208318 h 1046508"/>
                  <a:gd name="connsiteX102" fmla="*/ 48816 w 1200744"/>
                  <a:gd name="connsiteY102" fmla="*/ 194020 h 1046508"/>
                  <a:gd name="connsiteX103" fmla="*/ 58977 w 1200744"/>
                  <a:gd name="connsiteY103" fmla="*/ 194020 h 1046508"/>
                  <a:gd name="connsiteX104" fmla="*/ 58806 w 1200744"/>
                  <a:gd name="connsiteY104"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792956 w 1200744"/>
                  <a:gd name="connsiteY49" fmla="*/ 387635 h 1046508"/>
                  <a:gd name="connsiteX50" fmla="*/ 1157493 w 1200744"/>
                  <a:gd name="connsiteY50" fmla="*/ 347675 h 1046508"/>
                  <a:gd name="connsiteX51" fmla="*/ 1200471 w 1200744"/>
                  <a:gd name="connsiteY51" fmla="*/ 381525 h 1046508"/>
                  <a:gd name="connsiteX52" fmla="*/ 1200470 w 1200744"/>
                  <a:gd name="connsiteY52" fmla="*/ 381526 h 1046508"/>
                  <a:gd name="connsiteX53" fmla="*/ 1166620 w 1200744"/>
                  <a:gd name="connsiteY53" fmla="*/ 424503 h 1046508"/>
                  <a:gd name="connsiteX54" fmla="*/ 883444 w 1200744"/>
                  <a:gd name="connsiteY54" fmla="*/ 458146 h 1046508"/>
                  <a:gd name="connsiteX55" fmla="*/ 883444 w 1200744"/>
                  <a:gd name="connsiteY55" fmla="*/ 506141 h 1046508"/>
                  <a:gd name="connsiteX56" fmla="*/ 792956 w 1200744"/>
                  <a:gd name="connsiteY56" fmla="*/ 516892 h 1046508"/>
                  <a:gd name="connsiteX57" fmla="*/ 792956 w 1200744"/>
                  <a:gd name="connsiteY57" fmla="*/ 468897 h 1046508"/>
                  <a:gd name="connsiteX58" fmla="*/ 688181 w 1200744"/>
                  <a:gd name="connsiteY58" fmla="*/ 481345 h 1046508"/>
                  <a:gd name="connsiteX59" fmla="*/ 688181 w 1200744"/>
                  <a:gd name="connsiteY59" fmla="*/ 529340 h 1046508"/>
                  <a:gd name="connsiteX60" fmla="*/ 418176 w 1200744"/>
                  <a:gd name="connsiteY60" fmla="*/ 561418 h 1046508"/>
                  <a:gd name="connsiteX61" fmla="*/ 392350 w 1200744"/>
                  <a:gd name="connsiteY61" fmla="*/ 575897 h 1046508"/>
                  <a:gd name="connsiteX62" fmla="*/ 384326 w 1200744"/>
                  <a:gd name="connsiteY62" fmla="*/ 604396 h 1046508"/>
                  <a:gd name="connsiteX63" fmla="*/ 398804 w 1200744"/>
                  <a:gd name="connsiteY63" fmla="*/ 630221 h 1046508"/>
                  <a:gd name="connsiteX64" fmla="*/ 427304 w 1200744"/>
                  <a:gd name="connsiteY64" fmla="*/ 638245 h 1046508"/>
                  <a:gd name="connsiteX65" fmla="*/ 1104900 w 1200744"/>
                  <a:gd name="connsiteY65" fmla="*/ 557742 h 1046508"/>
                  <a:gd name="connsiteX66" fmla="*/ 1104900 w 1200744"/>
                  <a:gd name="connsiteY66" fmla="*/ 558713 h 1046508"/>
                  <a:gd name="connsiteX67" fmla="*/ 1157491 w 1200744"/>
                  <a:gd name="connsiteY67" fmla="*/ 552464 h 1046508"/>
                  <a:gd name="connsiteX68" fmla="*/ 1200469 w 1200744"/>
                  <a:gd name="connsiteY68" fmla="*/ 586314 h 1046508"/>
                  <a:gd name="connsiteX69" fmla="*/ 1200468 w 1200744"/>
                  <a:gd name="connsiteY69" fmla="*/ 586314 h 1046508"/>
                  <a:gd name="connsiteX70" fmla="*/ 1166618 w 1200744"/>
                  <a:gd name="connsiteY70" fmla="*/ 629292 h 1046508"/>
                  <a:gd name="connsiteX71" fmla="*/ 1104900 w 1200744"/>
                  <a:gd name="connsiteY71" fmla="*/ 636624 h 1046508"/>
                  <a:gd name="connsiteX72" fmla="*/ 1104900 w 1200744"/>
                  <a:gd name="connsiteY72" fmla="*/ 817908 h 1046508"/>
                  <a:gd name="connsiteX73" fmla="*/ 971550 w 1200744"/>
                  <a:gd name="connsiteY73" fmla="*/ 946496 h 1046508"/>
                  <a:gd name="connsiteX74" fmla="*/ 752889 w 1200744"/>
                  <a:gd name="connsiteY74" fmla="*/ 946496 h 1046508"/>
                  <a:gd name="connsiteX75" fmla="*/ 749140 w 1200744"/>
                  <a:gd name="connsiteY75" fmla="*/ 965065 h 1046508"/>
                  <a:gd name="connsiteX76" fmla="*/ 626271 w 1200744"/>
                  <a:gd name="connsiteY76" fmla="*/ 1046508 h 1046508"/>
                  <a:gd name="connsiteX77" fmla="*/ 533770 w 1200744"/>
                  <a:gd name="connsiteY77" fmla="*/ 1046508 h 1046508"/>
                  <a:gd name="connsiteX78" fmla="*/ 410901 w 1200744"/>
                  <a:gd name="connsiteY78" fmla="*/ 965065 h 1046508"/>
                  <a:gd name="connsiteX79" fmla="*/ 407153 w 1200744"/>
                  <a:gd name="connsiteY79" fmla="*/ 946496 h 1046508"/>
                  <a:gd name="connsiteX80" fmla="*/ 190500 w 1200744"/>
                  <a:gd name="connsiteY80" fmla="*/ 946496 h 1046508"/>
                  <a:gd name="connsiteX81" fmla="*/ 59532 w 1200744"/>
                  <a:gd name="connsiteY81" fmla="*/ 825052 h 1046508"/>
                  <a:gd name="connsiteX82" fmla="*/ 59432 w 1200744"/>
                  <a:gd name="connsiteY82" fmla="*/ 710643 h 1046508"/>
                  <a:gd name="connsiteX83" fmla="*/ 48816 w 1200744"/>
                  <a:gd name="connsiteY83" fmla="*/ 710643 h 1046508"/>
                  <a:gd name="connsiteX84" fmla="*/ 14298 w 1200744"/>
                  <a:gd name="connsiteY84" fmla="*/ 696345 h 1046508"/>
                  <a:gd name="connsiteX85" fmla="*/ 0 w 1200744"/>
                  <a:gd name="connsiteY85" fmla="*/ 661828 h 1046508"/>
                  <a:gd name="connsiteX86" fmla="*/ 14298 w 1200744"/>
                  <a:gd name="connsiteY86" fmla="*/ 627310 h 1046508"/>
                  <a:gd name="connsiteX87" fmla="*/ 48816 w 1200744"/>
                  <a:gd name="connsiteY87" fmla="*/ 613012 h 1046508"/>
                  <a:gd name="connsiteX88" fmla="*/ 59346 w 1200744"/>
                  <a:gd name="connsiteY88" fmla="*/ 613012 h 1046508"/>
                  <a:gd name="connsiteX89" fmla="*/ 59247 w 1200744"/>
                  <a:gd name="connsiteY89" fmla="*/ 501147 h 1046508"/>
                  <a:gd name="connsiteX90" fmla="*/ 48816 w 1200744"/>
                  <a:gd name="connsiteY90" fmla="*/ 501147 h 1046508"/>
                  <a:gd name="connsiteX91" fmla="*/ 14298 w 1200744"/>
                  <a:gd name="connsiteY91" fmla="*/ 486849 h 1046508"/>
                  <a:gd name="connsiteX92" fmla="*/ 0 w 1200744"/>
                  <a:gd name="connsiteY92" fmla="*/ 452332 h 1046508"/>
                  <a:gd name="connsiteX93" fmla="*/ 14298 w 1200744"/>
                  <a:gd name="connsiteY93" fmla="*/ 417814 h 1046508"/>
                  <a:gd name="connsiteX94" fmla="*/ 48816 w 1200744"/>
                  <a:gd name="connsiteY94" fmla="*/ 403516 h 1046508"/>
                  <a:gd name="connsiteX95" fmla="*/ 59161 w 1200744"/>
                  <a:gd name="connsiteY95" fmla="*/ 403516 h 1046508"/>
                  <a:gd name="connsiteX96" fmla="*/ 59063 w 1200744"/>
                  <a:gd name="connsiteY96" fmla="*/ 291651 h 1046508"/>
                  <a:gd name="connsiteX97" fmla="*/ 48816 w 1200744"/>
                  <a:gd name="connsiteY97" fmla="*/ 291651 h 1046508"/>
                  <a:gd name="connsiteX98" fmla="*/ 14298 w 1200744"/>
                  <a:gd name="connsiteY98" fmla="*/ 277353 h 1046508"/>
                  <a:gd name="connsiteX99" fmla="*/ 0 w 1200744"/>
                  <a:gd name="connsiteY99" fmla="*/ 242836 h 1046508"/>
                  <a:gd name="connsiteX100" fmla="*/ 14298 w 1200744"/>
                  <a:gd name="connsiteY100" fmla="*/ 208318 h 1046508"/>
                  <a:gd name="connsiteX101" fmla="*/ 48816 w 1200744"/>
                  <a:gd name="connsiteY101" fmla="*/ 194020 h 1046508"/>
                  <a:gd name="connsiteX102" fmla="*/ 58977 w 1200744"/>
                  <a:gd name="connsiteY102" fmla="*/ 194020 h 1046508"/>
                  <a:gd name="connsiteX103" fmla="*/ 58806 w 1200744"/>
                  <a:gd name="connsiteY103"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1157493 w 1200744"/>
                  <a:gd name="connsiteY49" fmla="*/ 347675 h 1046508"/>
                  <a:gd name="connsiteX50" fmla="*/ 1200471 w 1200744"/>
                  <a:gd name="connsiteY50" fmla="*/ 381525 h 1046508"/>
                  <a:gd name="connsiteX51" fmla="*/ 1200470 w 1200744"/>
                  <a:gd name="connsiteY51" fmla="*/ 381526 h 1046508"/>
                  <a:gd name="connsiteX52" fmla="*/ 1166620 w 1200744"/>
                  <a:gd name="connsiteY52" fmla="*/ 424503 h 1046508"/>
                  <a:gd name="connsiteX53" fmla="*/ 883444 w 1200744"/>
                  <a:gd name="connsiteY53" fmla="*/ 458146 h 1046508"/>
                  <a:gd name="connsiteX54" fmla="*/ 883444 w 1200744"/>
                  <a:gd name="connsiteY54" fmla="*/ 506141 h 1046508"/>
                  <a:gd name="connsiteX55" fmla="*/ 792956 w 1200744"/>
                  <a:gd name="connsiteY55" fmla="*/ 516892 h 1046508"/>
                  <a:gd name="connsiteX56" fmla="*/ 792956 w 1200744"/>
                  <a:gd name="connsiteY56" fmla="*/ 468897 h 1046508"/>
                  <a:gd name="connsiteX57" fmla="*/ 688181 w 1200744"/>
                  <a:gd name="connsiteY57" fmla="*/ 481345 h 1046508"/>
                  <a:gd name="connsiteX58" fmla="*/ 688181 w 1200744"/>
                  <a:gd name="connsiteY58" fmla="*/ 529340 h 1046508"/>
                  <a:gd name="connsiteX59" fmla="*/ 418176 w 1200744"/>
                  <a:gd name="connsiteY59" fmla="*/ 561418 h 1046508"/>
                  <a:gd name="connsiteX60" fmla="*/ 392350 w 1200744"/>
                  <a:gd name="connsiteY60" fmla="*/ 575897 h 1046508"/>
                  <a:gd name="connsiteX61" fmla="*/ 384326 w 1200744"/>
                  <a:gd name="connsiteY61" fmla="*/ 604396 h 1046508"/>
                  <a:gd name="connsiteX62" fmla="*/ 398804 w 1200744"/>
                  <a:gd name="connsiteY62" fmla="*/ 630221 h 1046508"/>
                  <a:gd name="connsiteX63" fmla="*/ 427304 w 1200744"/>
                  <a:gd name="connsiteY63" fmla="*/ 638245 h 1046508"/>
                  <a:gd name="connsiteX64" fmla="*/ 1104900 w 1200744"/>
                  <a:gd name="connsiteY64" fmla="*/ 557742 h 1046508"/>
                  <a:gd name="connsiteX65" fmla="*/ 1104900 w 1200744"/>
                  <a:gd name="connsiteY65" fmla="*/ 558713 h 1046508"/>
                  <a:gd name="connsiteX66" fmla="*/ 1157491 w 1200744"/>
                  <a:gd name="connsiteY66" fmla="*/ 552464 h 1046508"/>
                  <a:gd name="connsiteX67" fmla="*/ 1200469 w 1200744"/>
                  <a:gd name="connsiteY67" fmla="*/ 586314 h 1046508"/>
                  <a:gd name="connsiteX68" fmla="*/ 1200468 w 1200744"/>
                  <a:gd name="connsiteY68" fmla="*/ 586314 h 1046508"/>
                  <a:gd name="connsiteX69" fmla="*/ 1166618 w 1200744"/>
                  <a:gd name="connsiteY69" fmla="*/ 629292 h 1046508"/>
                  <a:gd name="connsiteX70" fmla="*/ 1104900 w 1200744"/>
                  <a:gd name="connsiteY70" fmla="*/ 636624 h 1046508"/>
                  <a:gd name="connsiteX71" fmla="*/ 1104900 w 1200744"/>
                  <a:gd name="connsiteY71" fmla="*/ 817908 h 1046508"/>
                  <a:gd name="connsiteX72" fmla="*/ 971550 w 1200744"/>
                  <a:gd name="connsiteY72" fmla="*/ 946496 h 1046508"/>
                  <a:gd name="connsiteX73" fmla="*/ 752889 w 1200744"/>
                  <a:gd name="connsiteY73" fmla="*/ 946496 h 1046508"/>
                  <a:gd name="connsiteX74" fmla="*/ 749140 w 1200744"/>
                  <a:gd name="connsiteY74" fmla="*/ 965065 h 1046508"/>
                  <a:gd name="connsiteX75" fmla="*/ 626271 w 1200744"/>
                  <a:gd name="connsiteY75" fmla="*/ 1046508 h 1046508"/>
                  <a:gd name="connsiteX76" fmla="*/ 533770 w 1200744"/>
                  <a:gd name="connsiteY76" fmla="*/ 1046508 h 1046508"/>
                  <a:gd name="connsiteX77" fmla="*/ 410901 w 1200744"/>
                  <a:gd name="connsiteY77" fmla="*/ 965065 h 1046508"/>
                  <a:gd name="connsiteX78" fmla="*/ 407153 w 1200744"/>
                  <a:gd name="connsiteY78" fmla="*/ 946496 h 1046508"/>
                  <a:gd name="connsiteX79" fmla="*/ 190500 w 1200744"/>
                  <a:gd name="connsiteY79" fmla="*/ 946496 h 1046508"/>
                  <a:gd name="connsiteX80" fmla="*/ 59532 w 1200744"/>
                  <a:gd name="connsiteY80" fmla="*/ 825052 h 1046508"/>
                  <a:gd name="connsiteX81" fmla="*/ 59432 w 1200744"/>
                  <a:gd name="connsiteY81" fmla="*/ 710643 h 1046508"/>
                  <a:gd name="connsiteX82" fmla="*/ 48816 w 1200744"/>
                  <a:gd name="connsiteY82" fmla="*/ 710643 h 1046508"/>
                  <a:gd name="connsiteX83" fmla="*/ 14298 w 1200744"/>
                  <a:gd name="connsiteY83" fmla="*/ 696345 h 1046508"/>
                  <a:gd name="connsiteX84" fmla="*/ 0 w 1200744"/>
                  <a:gd name="connsiteY84" fmla="*/ 661828 h 1046508"/>
                  <a:gd name="connsiteX85" fmla="*/ 14298 w 1200744"/>
                  <a:gd name="connsiteY85" fmla="*/ 627310 h 1046508"/>
                  <a:gd name="connsiteX86" fmla="*/ 48816 w 1200744"/>
                  <a:gd name="connsiteY86" fmla="*/ 613012 h 1046508"/>
                  <a:gd name="connsiteX87" fmla="*/ 59346 w 1200744"/>
                  <a:gd name="connsiteY87" fmla="*/ 613012 h 1046508"/>
                  <a:gd name="connsiteX88" fmla="*/ 59247 w 1200744"/>
                  <a:gd name="connsiteY88" fmla="*/ 501147 h 1046508"/>
                  <a:gd name="connsiteX89" fmla="*/ 48816 w 1200744"/>
                  <a:gd name="connsiteY89" fmla="*/ 501147 h 1046508"/>
                  <a:gd name="connsiteX90" fmla="*/ 14298 w 1200744"/>
                  <a:gd name="connsiteY90" fmla="*/ 486849 h 1046508"/>
                  <a:gd name="connsiteX91" fmla="*/ 0 w 1200744"/>
                  <a:gd name="connsiteY91" fmla="*/ 452332 h 1046508"/>
                  <a:gd name="connsiteX92" fmla="*/ 14298 w 1200744"/>
                  <a:gd name="connsiteY92" fmla="*/ 417814 h 1046508"/>
                  <a:gd name="connsiteX93" fmla="*/ 48816 w 1200744"/>
                  <a:gd name="connsiteY93" fmla="*/ 403516 h 1046508"/>
                  <a:gd name="connsiteX94" fmla="*/ 59161 w 1200744"/>
                  <a:gd name="connsiteY94" fmla="*/ 403516 h 1046508"/>
                  <a:gd name="connsiteX95" fmla="*/ 59063 w 1200744"/>
                  <a:gd name="connsiteY95" fmla="*/ 291651 h 1046508"/>
                  <a:gd name="connsiteX96" fmla="*/ 48816 w 1200744"/>
                  <a:gd name="connsiteY96" fmla="*/ 291651 h 1046508"/>
                  <a:gd name="connsiteX97" fmla="*/ 14298 w 1200744"/>
                  <a:gd name="connsiteY97" fmla="*/ 277353 h 1046508"/>
                  <a:gd name="connsiteX98" fmla="*/ 0 w 1200744"/>
                  <a:gd name="connsiteY98" fmla="*/ 242836 h 1046508"/>
                  <a:gd name="connsiteX99" fmla="*/ 14298 w 1200744"/>
                  <a:gd name="connsiteY99" fmla="*/ 208318 h 1046508"/>
                  <a:gd name="connsiteX100" fmla="*/ 48816 w 1200744"/>
                  <a:gd name="connsiteY100" fmla="*/ 194020 h 1046508"/>
                  <a:gd name="connsiteX101" fmla="*/ 58977 w 1200744"/>
                  <a:gd name="connsiteY101" fmla="*/ 194020 h 1046508"/>
                  <a:gd name="connsiteX102" fmla="*/ 58806 w 1200744"/>
                  <a:gd name="connsiteY102"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1157493 w 1200744"/>
                  <a:gd name="connsiteY48" fmla="*/ 347675 h 1046508"/>
                  <a:gd name="connsiteX49" fmla="*/ 1200471 w 1200744"/>
                  <a:gd name="connsiteY49" fmla="*/ 381525 h 1046508"/>
                  <a:gd name="connsiteX50" fmla="*/ 1200470 w 1200744"/>
                  <a:gd name="connsiteY50" fmla="*/ 381526 h 1046508"/>
                  <a:gd name="connsiteX51" fmla="*/ 1166620 w 1200744"/>
                  <a:gd name="connsiteY51" fmla="*/ 424503 h 1046508"/>
                  <a:gd name="connsiteX52" fmla="*/ 883444 w 1200744"/>
                  <a:gd name="connsiteY52" fmla="*/ 458146 h 1046508"/>
                  <a:gd name="connsiteX53" fmla="*/ 883444 w 1200744"/>
                  <a:gd name="connsiteY53" fmla="*/ 506141 h 1046508"/>
                  <a:gd name="connsiteX54" fmla="*/ 792956 w 1200744"/>
                  <a:gd name="connsiteY54" fmla="*/ 516892 h 1046508"/>
                  <a:gd name="connsiteX55" fmla="*/ 792956 w 1200744"/>
                  <a:gd name="connsiteY55" fmla="*/ 468897 h 1046508"/>
                  <a:gd name="connsiteX56" fmla="*/ 688181 w 1200744"/>
                  <a:gd name="connsiteY56" fmla="*/ 481345 h 1046508"/>
                  <a:gd name="connsiteX57" fmla="*/ 688181 w 1200744"/>
                  <a:gd name="connsiteY57" fmla="*/ 529340 h 1046508"/>
                  <a:gd name="connsiteX58" fmla="*/ 418176 w 1200744"/>
                  <a:gd name="connsiteY58" fmla="*/ 561418 h 1046508"/>
                  <a:gd name="connsiteX59" fmla="*/ 392350 w 1200744"/>
                  <a:gd name="connsiteY59" fmla="*/ 575897 h 1046508"/>
                  <a:gd name="connsiteX60" fmla="*/ 384326 w 1200744"/>
                  <a:gd name="connsiteY60" fmla="*/ 604396 h 1046508"/>
                  <a:gd name="connsiteX61" fmla="*/ 398804 w 1200744"/>
                  <a:gd name="connsiteY61" fmla="*/ 630221 h 1046508"/>
                  <a:gd name="connsiteX62" fmla="*/ 427304 w 1200744"/>
                  <a:gd name="connsiteY62" fmla="*/ 638245 h 1046508"/>
                  <a:gd name="connsiteX63" fmla="*/ 1104900 w 1200744"/>
                  <a:gd name="connsiteY63" fmla="*/ 557742 h 1046508"/>
                  <a:gd name="connsiteX64" fmla="*/ 1104900 w 1200744"/>
                  <a:gd name="connsiteY64" fmla="*/ 558713 h 1046508"/>
                  <a:gd name="connsiteX65" fmla="*/ 1157491 w 1200744"/>
                  <a:gd name="connsiteY65" fmla="*/ 552464 h 1046508"/>
                  <a:gd name="connsiteX66" fmla="*/ 1200469 w 1200744"/>
                  <a:gd name="connsiteY66" fmla="*/ 586314 h 1046508"/>
                  <a:gd name="connsiteX67" fmla="*/ 1200468 w 1200744"/>
                  <a:gd name="connsiteY67" fmla="*/ 586314 h 1046508"/>
                  <a:gd name="connsiteX68" fmla="*/ 1166618 w 1200744"/>
                  <a:gd name="connsiteY68" fmla="*/ 629292 h 1046508"/>
                  <a:gd name="connsiteX69" fmla="*/ 1104900 w 1200744"/>
                  <a:gd name="connsiteY69" fmla="*/ 636624 h 1046508"/>
                  <a:gd name="connsiteX70" fmla="*/ 1104900 w 1200744"/>
                  <a:gd name="connsiteY70" fmla="*/ 817908 h 1046508"/>
                  <a:gd name="connsiteX71" fmla="*/ 971550 w 1200744"/>
                  <a:gd name="connsiteY71" fmla="*/ 946496 h 1046508"/>
                  <a:gd name="connsiteX72" fmla="*/ 752889 w 1200744"/>
                  <a:gd name="connsiteY72" fmla="*/ 946496 h 1046508"/>
                  <a:gd name="connsiteX73" fmla="*/ 749140 w 1200744"/>
                  <a:gd name="connsiteY73" fmla="*/ 965065 h 1046508"/>
                  <a:gd name="connsiteX74" fmla="*/ 626271 w 1200744"/>
                  <a:gd name="connsiteY74" fmla="*/ 1046508 h 1046508"/>
                  <a:gd name="connsiteX75" fmla="*/ 533770 w 1200744"/>
                  <a:gd name="connsiteY75" fmla="*/ 1046508 h 1046508"/>
                  <a:gd name="connsiteX76" fmla="*/ 410901 w 1200744"/>
                  <a:gd name="connsiteY76" fmla="*/ 965065 h 1046508"/>
                  <a:gd name="connsiteX77" fmla="*/ 407153 w 1200744"/>
                  <a:gd name="connsiteY77" fmla="*/ 946496 h 1046508"/>
                  <a:gd name="connsiteX78" fmla="*/ 190500 w 1200744"/>
                  <a:gd name="connsiteY78" fmla="*/ 946496 h 1046508"/>
                  <a:gd name="connsiteX79" fmla="*/ 59532 w 1200744"/>
                  <a:gd name="connsiteY79" fmla="*/ 825052 h 1046508"/>
                  <a:gd name="connsiteX80" fmla="*/ 59432 w 1200744"/>
                  <a:gd name="connsiteY80" fmla="*/ 710643 h 1046508"/>
                  <a:gd name="connsiteX81" fmla="*/ 48816 w 1200744"/>
                  <a:gd name="connsiteY81" fmla="*/ 710643 h 1046508"/>
                  <a:gd name="connsiteX82" fmla="*/ 14298 w 1200744"/>
                  <a:gd name="connsiteY82" fmla="*/ 696345 h 1046508"/>
                  <a:gd name="connsiteX83" fmla="*/ 0 w 1200744"/>
                  <a:gd name="connsiteY83" fmla="*/ 661828 h 1046508"/>
                  <a:gd name="connsiteX84" fmla="*/ 14298 w 1200744"/>
                  <a:gd name="connsiteY84" fmla="*/ 627310 h 1046508"/>
                  <a:gd name="connsiteX85" fmla="*/ 48816 w 1200744"/>
                  <a:gd name="connsiteY85" fmla="*/ 613012 h 1046508"/>
                  <a:gd name="connsiteX86" fmla="*/ 59346 w 1200744"/>
                  <a:gd name="connsiteY86" fmla="*/ 613012 h 1046508"/>
                  <a:gd name="connsiteX87" fmla="*/ 59247 w 1200744"/>
                  <a:gd name="connsiteY87" fmla="*/ 501147 h 1046508"/>
                  <a:gd name="connsiteX88" fmla="*/ 48816 w 1200744"/>
                  <a:gd name="connsiteY88" fmla="*/ 501147 h 1046508"/>
                  <a:gd name="connsiteX89" fmla="*/ 14298 w 1200744"/>
                  <a:gd name="connsiteY89" fmla="*/ 486849 h 1046508"/>
                  <a:gd name="connsiteX90" fmla="*/ 0 w 1200744"/>
                  <a:gd name="connsiteY90" fmla="*/ 452332 h 1046508"/>
                  <a:gd name="connsiteX91" fmla="*/ 14298 w 1200744"/>
                  <a:gd name="connsiteY91" fmla="*/ 417814 h 1046508"/>
                  <a:gd name="connsiteX92" fmla="*/ 48816 w 1200744"/>
                  <a:gd name="connsiteY92" fmla="*/ 403516 h 1046508"/>
                  <a:gd name="connsiteX93" fmla="*/ 59161 w 1200744"/>
                  <a:gd name="connsiteY93" fmla="*/ 403516 h 1046508"/>
                  <a:gd name="connsiteX94" fmla="*/ 59063 w 1200744"/>
                  <a:gd name="connsiteY94" fmla="*/ 291651 h 1046508"/>
                  <a:gd name="connsiteX95" fmla="*/ 48816 w 1200744"/>
                  <a:gd name="connsiteY95" fmla="*/ 291651 h 1046508"/>
                  <a:gd name="connsiteX96" fmla="*/ 14298 w 1200744"/>
                  <a:gd name="connsiteY96" fmla="*/ 277353 h 1046508"/>
                  <a:gd name="connsiteX97" fmla="*/ 0 w 1200744"/>
                  <a:gd name="connsiteY97" fmla="*/ 242836 h 1046508"/>
                  <a:gd name="connsiteX98" fmla="*/ 14298 w 1200744"/>
                  <a:gd name="connsiteY98" fmla="*/ 208318 h 1046508"/>
                  <a:gd name="connsiteX99" fmla="*/ 48816 w 1200744"/>
                  <a:gd name="connsiteY99" fmla="*/ 194020 h 1046508"/>
                  <a:gd name="connsiteX100" fmla="*/ 58977 w 1200744"/>
                  <a:gd name="connsiteY100" fmla="*/ 194020 h 1046508"/>
                  <a:gd name="connsiteX101" fmla="*/ 58806 w 1200744"/>
                  <a:gd name="connsiteY101"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1157493 w 1200744"/>
                  <a:gd name="connsiteY47" fmla="*/ 347675 h 1046508"/>
                  <a:gd name="connsiteX48" fmla="*/ 1200471 w 1200744"/>
                  <a:gd name="connsiteY48" fmla="*/ 381525 h 1046508"/>
                  <a:gd name="connsiteX49" fmla="*/ 1200470 w 1200744"/>
                  <a:gd name="connsiteY49" fmla="*/ 381526 h 1046508"/>
                  <a:gd name="connsiteX50" fmla="*/ 1166620 w 1200744"/>
                  <a:gd name="connsiteY50" fmla="*/ 424503 h 1046508"/>
                  <a:gd name="connsiteX51" fmla="*/ 883444 w 1200744"/>
                  <a:gd name="connsiteY51" fmla="*/ 458146 h 1046508"/>
                  <a:gd name="connsiteX52" fmla="*/ 883444 w 1200744"/>
                  <a:gd name="connsiteY52" fmla="*/ 506141 h 1046508"/>
                  <a:gd name="connsiteX53" fmla="*/ 792956 w 1200744"/>
                  <a:gd name="connsiteY53" fmla="*/ 516892 h 1046508"/>
                  <a:gd name="connsiteX54" fmla="*/ 792956 w 1200744"/>
                  <a:gd name="connsiteY54" fmla="*/ 468897 h 1046508"/>
                  <a:gd name="connsiteX55" fmla="*/ 688181 w 1200744"/>
                  <a:gd name="connsiteY55" fmla="*/ 481345 h 1046508"/>
                  <a:gd name="connsiteX56" fmla="*/ 688181 w 1200744"/>
                  <a:gd name="connsiteY56" fmla="*/ 529340 h 1046508"/>
                  <a:gd name="connsiteX57" fmla="*/ 418176 w 1200744"/>
                  <a:gd name="connsiteY57" fmla="*/ 561418 h 1046508"/>
                  <a:gd name="connsiteX58" fmla="*/ 392350 w 1200744"/>
                  <a:gd name="connsiteY58" fmla="*/ 575897 h 1046508"/>
                  <a:gd name="connsiteX59" fmla="*/ 384326 w 1200744"/>
                  <a:gd name="connsiteY59" fmla="*/ 604396 h 1046508"/>
                  <a:gd name="connsiteX60" fmla="*/ 398804 w 1200744"/>
                  <a:gd name="connsiteY60" fmla="*/ 630221 h 1046508"/>
                  <a:gd name="connsiteX61" fmla="*/ 427304 w 1200744"/>
                  <a:gd name="connsiteY61" fmla="*/ 638245 h 1046508"/>
                  <a:gd name="connsiteX62" fmla="*/ 1104900 w 1200744"/>
                  <a:gd name="connsiteY62" fmla="*/ 557742 h 1046508"/>
                  <a:gd name="connsiteX63" fmla="*/ 1104900 w 1200744"/>
                  <a:gd name="connsiteY63" fmla="*/ 558713 h 1046508"/>
                  <a:gd name="connsiteX64" fmla="*/ 1157491 w 1200744"/>
                  <a:gd name="connsiteY64" fmla="*/ 552464 h 1046508"/>
                  <a:gd name="connsiteX65" fmla="*/ 1200469 w 1200744"/>
                  <a:gd name="connsiteY65" fmla="*/ 586314 h 1046508"/>
                  <a:gd name="connsiteX66" fmla="*/ 1200468 w 1200744"/>
                  <a:gd name="connsiteY66" fmla="*/ 586314 h 1046508"/>
                  <a:gd name="connsiteX67" fmla="*/ 1166618 w 1200744"/>
                  <a:gd name="connsiteY67" fmla="*/ 629292 h 1046508"/>
                  <a:gd name="connsiteX68" fmla="*/ 1104900 w 1200744"/>
                  <a:gd name="connsiteY68" fmla="*/ 636624 h 1046508"/>
                  <a:gd name="connsiteX69" fmla="*/ 1104900 w 1200744"/>
                  <a:gd name="connsiteY69" fmla="*/ 817908 h 1046508"/>
                  <a:gd name="connsiteX70" fmla="*/ 971550 w 1200744"/>
                  <a:gd name="connsiteY70" fmla="*/ 946496 h 1046508"/>
                  <a:gd name="connsiteX71" fmla="*/ 752889 w 1200744"/>
                  <a:gd name="connsiteY71" fmla="*/ 946496 h 1046508"/>
                  <a:gd name="connsiteX72" fmla="*/ 749140 w 1200744"/>
                  <a:gd name="connsiteY72" fmla="*/ 965065 h 1046508"/>
                  <a:gd name="connsiteX73" fmla="*/ 626271 w 1200744"/>
                  <a:gd name="connsiteY73" fmla="*/ 1046508 h 1046508"/>
                  <a:gd name="connsiteX74" fmla="*/ 533770 w 1200744"/>
                  <a:gd name="connsiteY74" fmla="*/ 1046508 h 1046508"/>
                  <a:gd name="connsiteX75" fmla="*/ 410901 w 1200744"/>
                  <a:gd name="connsiteY75" fmla="*/ 965065 h 1046508"/>
                  <a:gd name="connsiteX76" fmla="*/ 407153 w 1200744"/>
                  <a:gd name="connsiteY76" fmla="*/ 946496 h 1046508"/>
                  <a:gd name="connsiteX77" fmla="*/ 190500 w 1200744"/>
                  <a:gd name="connsiteY77" fmla="*/ 946496 h 1046508"/>
                  <a:gd name="connsiteX78" fmla="*/ 59532 w 1200744"/>
                  <a:gd name="connsiteY78" fmla="*/ 825052 h 1046508"/>
                  <a:gd name="connsiteX79" fmla="*/ 59432 w 1200744"/>
                  <a:gd name="connsiteY79" fmla="*/ 710643 h 1046508"/>
                  <a:gd name="connsiteX80" fmla="*/ 48816 w 1200744"/>
                  <a:gd name="connsiteY80" fmla="*/ 710643 h 1046508"/>
                  <a:gd name="connsiteX81" fmla="*/ 14298 w 1200744"/>
                  <a:gd name="connsiteY81" fmla="*/ 696345 h 1046508"/>
                  <a:gd name="connsiteX82" fmla="*/ 0 w 1200744"/>
                  <a:gd name="connsiteY82" fmla="*/ 661828 h 1046508"/>
                  <a:gd name="connsiteX83" fmla="*/ 14298 w 1200744"/>
                  <a:gd name="connsiteY83" fmla="*/ 627310 h 1046508"/>
                  <a:gd name="connsiteX84" fmla="*/ 48816 w 1200744"/>
                  <a:gd name="connsiteY84" fmla="*/ 613012 h 1046508"/>
                  <a:gd name="connsiteX85" fmla="*/ 59346 w 1200744"/>
                  <a:gd name="connsiteY85" fmla="*/ 613012 h 1046508"/>
                  <a:gd name="connsiteX86" fmla="*/ 59247 w 1200744"/>
                  <a:gd name="connsiteY86" fmla="*/ 501147 h 1046508"/>
                  <a:gd name="connsiteX87" fmla="*/ 48816 w 1200744"/>
                  <a:gd name="connsiteY87" fmla="*/ 501147 h 1046508"/>
                  <a:gd name="connsiteX88" fmla="*/ 14298 w 1200744"/>
                  <a:gd name="connsiteY88" fmla="*/ 486849 h 1046508"/>
                  <a:gd name="connsiteX89" fmla="*/ 0 w 1200744"/>
                  <a:gd name="connsiteY89" fmla="*/ 452332 h 1046508"/>
                  <a:gd name="connsiteX90" fmla="*/ 14298 w 1200744"/>
                  <a:gd name="connsiteY90" fmla="*/ 417814 h 1046508"/>
                  <a:gd name="connsiteX91" fmla="*/ 48816 w 1200744"/>
                  <a:gd name="connsiteY91" fmla="*/ 403516 h 1046508"/>
                  <a:gd name="connsiteX92" fmla="*/ 59161 w 1200744"/>
                  <a:gd name="connsiteY92" fmla="*/ 403516 h 1046508"/>
                  <a:gd name="connsiteX93" fmla="*/ 59063 w 1200744"/>
                  <a:gd name="connsiteY93" fmla="*/ 291651 h 1046508"/>
                  <a:gd name="connsiteX94" fmla="*/ 48816 w 1200744"/>
                  <a:gd name="connsiteY94" fmla="*/ 291651 h 1046508"/>
                  <a:gd name="connsiteX95" fmla="*/ 14298 w 1200744"/>
                  <a:gd name="connsiteY95" fmla="*/ 277353 h 1046508"/>
                  <a:gd name="connsiteX96" fmla="*/ 0 w 1200744"/>
                  <a:gd name="connsiteY96" fmla="*/ 242836 h 1046508"/>
                  <a:gd name="connsiteX97" fmla="*/ 14298 w 1200744"/>
                  <a:gd name="connsiteY97" fmla="*/ 208318 h 1046508"/>
                  <a:gd name="connsiteX98" fmla="*/ 48816 w 1200744"/>
                  <a:gd name="connsiteY98" fmla="*/ 194020 h 1046508"/>
                  <a:gd name="connsiteX99" fmla="*/ 58977 w 1200744"/>
                  <a:gd name="connsiteY99" fmla="*/ 194020 h 1046508"/>
                  <a:gd name="connsiteX100" fmla="*/ 58806 w 1200744"/>
                  <a:gd name="connsiteY100"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1157493 w 1200744"/>
                  <a:gd name="connsiteY46" fmla="*/ 347675 h 1046508"/>
                  <a:gd name="connsiteX47" fmla="*/ 1200471 w 1200744"/>
                  <a:gd name="connsiteY47" fmla="*/ 381525 h 1046508"/>
                  <a:gd name="connsiteX48" fmla="*/ 1200470 w 1200744"/>
                  <a:gd name="connsiteY48" fmla="*/ 381526 h 1046508"/>
                  <a:gd name="connsiteX49" fmla="*/ 1166620 w 1200744"/>
                  <a:gd name="connsiteY49" fmla="*/ 424503 h 1046508"/>
                  <a:gd name="connsiteX50" fmla="*/ 883444 w 1200744"/>
                  <a:gd name="connsiteY50" fmla="*/ 458146 h 1046508"/>
                  <a:gd name="connsiteX51" fmla="*/ 883444 w 1200744"/>
                  <a:gd name="connsiteY51" fmla="*/ 506141 h 1046508"/>
                  <a:gd name="connsiteX52" fmla="*/ 792956 w 1200744"/>
                  <a:gd name="connsiteY52" fmla="*/ 516892 h 1046508"/>
                  <a:gd name="connsiteX53" fmla="*/ 792956 w 1200744"/>
                  <a:gd name="connsiteY53" fmla="*/ 468897 h 1046508"/>
                  <a:gd name="connsiteX54" fmla="*/ 688181 w 1200744"/>
                  <a:gd name="connsiteY54" fmla="*/ 481345 h 1046508"/>
                  <a:gd name="connsiteX55" fmla="*/ 688181 w 1200744"/>
                  <a:gd name="connsiteY55" fmla="*/ 529340 h 1046508"/>
                  <a:gd name="connsiteX56" fmla="*/ 418176 w 1200744"/>
                  <a:gd name="connsiteY56" fmla="*/ 561418 h 1046508"/>
                  <a:gd name="connsiteX57" fmla="*/ 392350 w 1200744"/>
                  <a:gd name="connsiteY57" fmla="*/ 575897 h 1046508"/>
                  <a:gd name="connsiteX58" fmla="*/ 384326 w 1200744"/>
                  <a:gd name="connsiteY58" fmla="*/ 604396 h 1046508"/>
                  <a:gd name="connsiteX59" fmla="*/ 398804 w 1200744"/>
                  <a:gd name="connsiteY59" fmla="*/ 630221 h 1046508"/>
                  <a:gd name="connsiteX60" fmla="*/ 427304 w 1200744"/>
                  <a:gd name="connsiteY60" fmla="*/ 638245 h 1046508"/>
                  <a:gd name="connsiteX61" fmla="*/ 1104900 w 1200744"/>
                  <a:gd name="connsiteY61" fmla="*/ 557742 h 1046508"/>
                  <a:gd name="connsiteX62" fmla="*/ 1104900 w 1200744"/>
                  <a:gd name="connsiteY62" fmla="*/ 558713 h 1046508"/>
                  <a:gd name="connsiteX63" fmla="*/ 1157491 w 1200744"/>
                  <a:gd name="connsiteY63" fmla="*/ 552464 h 1046508"/>
                  <a:gd name="connsiteX64" fmla="*/ 1200469 w 1200744"/>
                  <a:gd name="connsiteY64" fmla="*/ 586314 h 1046508"/>
                  <a:gd name="connsiteX65" fmla="*/ 1200468 w 1200744"/>
                  <a:gd name="connsiteY65" fmla="*/ 586314 h 1046508"/>
                  <a:gd name="connsiteX66" fmla="*/ 1166618 w 1200744"/>
                  <a:gd name="connsiteY66" fmla="*/ 629292 h 1046508"/>
                  <a:gd name="connsiteX67" fmla="*/ 1104900 w 1200744"/>
                  <a:gd name="connsiteY67" fmla="*/ 636624 h 1046508"/>
                  <a:gd name="connsiteX68" fmla="*/ 1104900 w 1200744"/>
                  <a:gd name="connsiteY68" fmla="*/ 817908 h 1046508"/>
                  <a:gd name="connsiteX69" fmla="*/ 971550 w 1200744"/>
                  <a:gd name="connsiteY69" fmla="*/ 946496 h 1046508"/>
                  <a:gd name="connsiteX70" fmla="*/ 752889 w 1200744"/>
                  <a:gd name="connsiteY70" fmla="*/ 946496 h 1046508"/>
                  <a:gd name="connsiteX71" fmla="*/ 749140 w 1200744"/>
                  <a:gd name="connsiteY71" fmla="*/ 965065 h 1046508"/>
                  <a:gd name="connsiteX72" fmla="*/ 626271 w 1200744"/>
                  <a:gd name="connsiteY72" fmla="*/ 1046508 h 1046508"/>
                  <a:gd name="connsiteX73" fmla="*/ 533770 w 1200744"/>
                  <a:gd name="connsiteY73" fmla="*/ 1046508 h 1046508"/>
                  <a:gd name="connsiteX74" fmla="*/ 410901 w 1200744"/>
                  <a:gd name="connsiteY74" fmla="*/ 965065 h 1046508"/>
                  <a:gd name="connsiteX75" fmla="*/ 407153 w 1200744"/>
                  <a:gd name="connsiteY75" fmla="*/ 946496 h 1046508"/>
                  <a:gd name="connsiteX76" fmla="*/ 190500 w 1200744"/>
                  <a:gd name="connsiteY76" fmla="*/ 946496 h 1046508"/>
                  <a:gd name="connsiteX77" fmla="*/ 59532 w 1200744"/>
                  <a:gd name="connsiteY77" fmla="*/ 825052 h 1046508"/>
                  <a:gd name="connsiteX78" fmla="*/ 59432 w 1200744"/>
                  <a:gd name="connsiteY78" fmla="*/ 710643 h 1046508"/>
                  <a:gd name="connsiteX79" fmla="*/ 48816 w 1200744"/>
                  <a:gd name="connsiteY79" fmla="*/ 710643 h 1046508"/>
                  <a:gd name="connsiteX80" fmla="*/ 14298 w 1200744"/>
                  <a:gd name="connsiteY80" fmla="*/ 696345 h 1046508"/>
                  <a:gd name="connsiteX81" fmla="*/ 0 w 1200744"/>
                  <a:gd name="connsiteY81" fmla="*/ 661828 h 1046508"/>
                  <a:gd name="connsiteX82" fmla="*/ 14298 w 1200744"/>
                  <a:gd name="connsiteY82" fmla="*/ 627310 h 1046508"/>
                  <a:gd name="connsiteX83" fmla="*/ 48816 w 1200744"/>
                  <a:gd name="connsiteY83" fmla="*/ 613012 h 1046508"/>
                  <a:gd name="connsiteX84" fmla="*/ 59346 w 1200744"/>
                  <a:gd name="connsiteY84" fmla="*/ 613012 h 1046508"/>
                  <a:gd name="connsiteX85" fmla="*/ 59247 w 1200744"/>
                  <a:gd name="connsiteY85" fmla="*/ 501147 h 1046508"/>
                  <a:gd name="connsiteX86" fmla="*/ 48816 w 1200744"/>
                  <a:gd name="connsiteY86" fmla="*/ 501147 h 1046508"/>
                  <a:gd name="connsiteX87" fmla="*/ 14298 w 1200744"/>
                  <a:gd name="connsiteY87" fmla="*/ 486849 h 1046508"/>
                  <a:gd name="connsiteX88" fmla="*/ 0 w 1200744"/>
                  <a:gd name="connsiteY88" fmla="*/ 452332 h 1046508"/>
                  <a:gd name="connsiteX89" fmla="*/ 14298 w 1200744"/>
                  <a:gd name="connsiteY89" fmla="*/ 417814 h 1046508"/>
                  <a:gd name="connsiteX90" fmla="*/ 48816 w 1200744"/>
                  <a:gd name="connsiteY90" fmla="*/ 403516 h 1046508"/>
                  <a:gd name="connsiteX91" fmla="*/ 59161 w 1200744"/>
                  <a:gd name="connsiteY91" fmla="*/ 403516 h 1046508"/>
                  <a:gd name="connsiteX92" fmla="*/ 59063 w 1200744"/>
                  <a:gd name="connsiteY92" fmla="*/ 291651 h 1046508"/>
                  <a:gd name="connsiteX93" fmla="*/ 48816 w 1200744"/>
                  <a:gd name="connsiteY93" fmla="*/ 291651 h 1046508"/>
                  <a:gd name="connsiteX94" fmla="*/ 14298 w 1200744"/>
                  <a:gd name="connsiteY94" fmla="*/ 277353 h 1046508"/>
                  <a:gd name="connsiteX95" fmla="*/ 0 w 1200744"/>
                  <a:gd name="connsiteY95" fmla="*/ 242836 h 1046508"/>
                  <a:gd name="connsiteX96" fmla="*/ 14298 w 1200744"/>
                  <a:gd name="connsiteY96" fmla="*/ 208318 h 1046508"/>
                  <a:gd name="connsiteX97" fmla="*/ 48816 w 1200744"/>
                  <a:gd name="connsiteY97" fmla="*/ 194020 h 1046508"/>
                  <a:gd name="connsiteX98" fmla="*/ 58977 w 1200744"/>
                  <a:gd name="connsiteY98" fmla="*/ 194020 h 1046508"/>
                  <a:gd name="connsiteX99" fmla="*/ 58806 w 1200744"/>
                  <a:gd name="connsiteY99"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83444 w 1200744"/>
                  <a:gd name="connsiteY34" fmla="*/ 235459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1157493 w 1200744"/>
                  <a:gd name="connsiteY45" fmla="*/ 347675 h 1046508"/>
                  <a:gd name="connsiteX46" fmla="*/ 1200471 w 1200744"/>
                  <a:gd name="connsiteY46" fmla="*/ 381525 h 1046508"/>
                  <a:gd name="connsiteX47" fmla="*/ 1200470 w 1200744"/>
                  <a:gd name="connsiteY47" fmla="*/ 381526 h 1046508"/>
                  <a:gd name="connsiteX48" fmla="*/ 1166620 w 1200744"/>
                  <a:gd name="connsiteY48" fmla="*/ 424503 h 1046508"/>
                  <a:gd name="connsiteX49" fmla="*/ 883444 w 1200744"/>
                  <a:gd name="connsiteY49" fmla="*/ 458146 h 1046508"/>
                  <a:gd name="connsiteX50" fmla="*/ 883444 w 1200744"/>
                  <a:gd name="connsiteY50" fmla="*/ 506141 h 1046508"/>
                  <a:gd name="connsiteX51" fmla="*/ 792956 w 1200744"/>
                  <a:gd name="connsiteY51" fmla="*/ 516892 h 1046508"/>
                  <a:gd name="connsiteX52" fmla="*/ 792956 w 1200744"/>
                  <a:gd name="connsiteY52" fmla="*/ 468897 h 1046508"/>
                  <a:gd name="connsiteX53" fmla="*/ 688181 w 1200744"/>
                  <a:gd name="connsiteY53" fmla="*/ 481345 h 1046508"/>
                  <a:gd name="connsiteX54" fmla="*/ 688181 w 1200744"/>
                  <a:gd name="connsiteY54" fmla="*/ 529340 h 1046508"/>
                  <a:gd name="connsiteX55" fmla="*/ 418176 w 1200744"/>
                  <a:gd name="connsiteY55" fmla="*/ 561418 h 1046508"/>
                  <a:gd name="connsiteX56" fmla="*/ 392350 w 1200744"/>
                  <a:gd name="connsiteY56" fmla="*/ 575897 h 1046508"/>
                  <a:gd name="connsiteX57" fmla="*/ 384326 w 1200744"/>
                  <a:gd name="connsiteY57" fmla="*/ 604396 h 1046508"/>
                  <a:gd name="connsiteX58" fmla="*/ 398804 w 1200744"/>
                  <a:gd name="connsiteY58" fmla="*/ 630221 h 1046508"/>
                  <a:gd name="connsiteX59" fmla="*/ 427304 w 1200744"/>
                  <a:gd name="connsiteY59" fmla="*/ 638245 h 1046508"/>
                  <a:gd name="connsiteX60" fmla="*/ 1104900 w 1200744"/>
                  <a:gd name="connsiteY60" fmla="*/ 557742 h 1046508"/>
                  <a:gd name="connsiteX61" fmla="*/ 1104900 w 1200744"/>
                  <a:gd name="connsiteY61" fmla="*/ 558713 h 1046508"/>
                  <a:gd name="connsiteX62" fmla="*/ 1157491 w 1200744"/>
                  <a:gd name="connsiteY62" fmla="*/ 552464 h 1046508"/>
                  <a:gd name="connsiteX63" fmla="*/ 1200469 w 1200744"/>
                  <a:gd name="connsiteY63" fmla="*/ 586314 h 1046508"/>
                  <a:gd name="connsiteX64" fmla="*/ 1200468 w 1200744"/>
                  <a:gd name="connsiteY64" fmla="*/ 586314 h 1046508"/>
                  <a:gd name="connsiteX65" fmla="*/ 1166618 w 1200744"/>
                  <a:gd name="connsiteY65" fmla="*/ 629292 h 1046508"/>
                  <a:gd name="connsiteX66" fmla="*/ 1104900 w 1200744"/>
                  <a:gd name="connsiteY66" fmla="*/ 636624 h 1046508"/>
                  <a:gd name="connsiteX67" fmla="*/ 1104900 w 1200744"/>
                  <a:gd name="connsiteY67" fmla="*/ 817908 h 1046508"/>
                  <a:gd name="connsiteX68" fmla="*/ 971550 w 1200744"/>
                  <a:gd name="connsiteY68" fmla="*/ 946496 h 1046508"/>
                  <a:gd name="connsiteX69" fmla="*/ 752889 w 1200744"/>
                  <a:gd name="connsiteY69" fmla="*/ 946496 h 1046508"/>
                  <a:gd name="connsiteX70" fmla="*/ 749140 w 1200744"/>
                  <a:gd name="connsiteY70" fmla="*/ 965065 h 1046508"/>
                  <a:gd name="connsiteX71" fmla="*/ 626271 w 1200744"/>
                  <a:gd name="connsiteY71" fmla="*/ 1046508 h 1046508"/>
                  <a:gd name="connsiteX72" fmla="*/ 533770 w 1200744"/>
                  <a:gd name="connsiteY72" fmla="*/ 1046508 h 1046508"/>
                  <a:gd name="connsiteX73" fmla="*/ 410901 w 1200744"/>
                  <a:gd name="connsiteY73" fmla="*/ 965065 h 1046508"/>
                  <a:gd name="connsiteX74" fmla="*/ 407153 w 1200744"/>
                  <a:gd name="connsiteY74" fmla="*/ 946496 h 1046508"/>
                  <a:gd name="connsiteX75" fmla="*/ 190500 w 1200744"/>
                  <a:gd name="connsiteY75" fmla="*/ 946496 h 1046508"/>
                  <a:gd name="connsiteX76" fmla="*/ 59532 w 1200744"/>
                  <a:gd name="connsiteY76" fmla="*/ 825052 h 1046508"/>
                  <a:gd name="connsiteX77" fmla="*/ 59432 w 1200744"/>
                  <a:gd name="connsiteY77" fmla="*/ 710643 h 1046508"/>
                  <a:gd name="connsiteX78" fmla="*/ 48816 w 1200744"/>
                  <a:gd name="connsiteY78" fmla="*/ 710643 h 1046508"/>
                  <a:gd name="connsiteX79" fmla="*/ 14298 w 1200744"/>
                  <a:gd name="connsiteY79" fmla="*/ 696345 h 1046508"/>
                  <a:gd name="connsiteX80" fmla="*/ 0 w 1200744"/>
                  <a:gd name="connsiteY80" fmla="*/ 661828 h 1046508"/>
                  <a:gd name="connsiteX81" fmla="*/ 14298 w 1200744"/>
                  <a:gd name="connsiteY81" fmla="*/ 627310 h 1046508"/>
                  <a:gd name="connsiteX82" fmla="*/ 48816 w 1200744"/>
                  <a:gd name="connsiteY82" fmla="*/ 613012 h 1046508"/>
                  <a:gd name="connsiteX83" fmla="*/ 59346 w 1200744"/>
                  <a:gd name="connsiteY83" fmla="*/ 613012 h 1046508"/>
                  <a:gd name="connsiteX84" fmla="*/ 59247 w 1200744"/>
                  <a:gd name="connsiteY84" fmla="*/ 501147 h 1046508"/>
                  <a:gd name="connsiteX85" fmla="*/ 48816 w 1200744"/>
                  <a:gd name="connsiteY85" fmla="*/ 501147 h 1046508"/>
                  <a:gd name="connsiteX86" fmla="*/ 14298 w 1200744"/>
                  <a:gd name="connsiteY86" fmla="*/ 486849 h 1046508"/>
                  <a:gd name="connsiteX87" fmla="*/ 0 w 1200744"/>
                  <a:gd name="connsiteY87" fmla="*/ 452332 h 1046508"/>
                  <a:gd name="connsiteX88" fmla="*/ 14298 w 1200744"/>
                  <a:gd name="connsiteY88" fmla="*/ 417814 h 1046508"/>
                  <a:gd name="connsiteX89" fmla="*/ 48816 w 1200744"/>
                  <a:gd name="connsiteY89" fmla="*/ 403516 h 1046508"/>
                  <a:gd name="connsiteX90" fmla="*/ 59161 w 1200744"/>
                  <a:gd name="connsiteY90" fmla="*/ 403516 h 1046508"/>
                  <a:gd name="connsiteX91" fmla="*/ 59063 w 1200744"/>
                  <a:gd name="connsiteY91" fmla="*/ 291651 h 1046508"/>
                  <a:gd name="connsiteX92" fmla="*/ 48816 w 1200744"/>
                  <a:gd name="connsiteY92" fmla="*/ 291651 h 1046508"/>
                  <a:gd name="connsiteX93" fmla="*/ 14298 w 1200744"/>
                  <a:gd name="connsiteY93" fmla="*/ 277353 h 1046508"/>
                  <a:gd name="connsiteX94" fmla="*/ 0 w 1200744"/>
                  <a:gd name="connsiteY94" fmla="*/ 242836 h 1046508"/>
                  <a:gd name="connsiteX95" fmla="*/ 14298 w 1200744"/>
                  <a:gd name="connsiteY95" fmla="*/ 208318 h 1046508"/>
                  <a:gd name="connsiteX96" fmla="*/ 48816 w 1200744"/>
                  <a:gd name="connsiteY96" fmla="*/ 194020 h 1046508"/>
                  <a:gd name="connsiteX97" fmla="*/ 58977 w 1200744"/>
                  <a:gd name="connsiteY97" fmla="*/ 194020 h 1046508"/>
                  <a:gd name="connsiteX98" fmla="*/ 58806 w 1200744"/>
                  <a:gd name="connsiteY98"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78682 w 1200744"/>
                  <a:gd name="connsiteY34" fmla="*/ 240221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1157493 w 1200744"/>
                  <a:gd name="connsiteY45" fmla="*/ 347675 h 1046508"/>
                  <a:gd name="connsiteX46" fmla="*/ 1200471 w 1200744"/>
                  <a:gd name="connsiteY46" fmla="*/ 381525 h 1046508"/>
                  <a:gd name="connsiteX47" fmla="*/ 1200470 w 1200744"/>
                  <a:gd name="connsiteY47" fmla="*/ 381526 h 1046508"/>
                  <a:gd name="connsiteX48" fmla="*/ 1166620 w 1200744"/>
                  <a:gd name="connsiteY48" fmla="*/ 424503 h 1046508"/>
                  <a:gd name="connsiteX49" fmla="*/ 883444 w 1200744"/>
                  <a:gd name="connsiteY49" fmla="*/ 458146 h 1046508"/>
                  <a:gd name="connsiteX50" fmla="*/ 883444 w 1200744"/>
                  <a:gd name="connsiteY50" fmla="*/ 506141 h 1046508"/>
                  <a:gd name="connsiteX51" fmla="*/ 792956 w 1200744"/>
                  <a:gd name="connsiteY51" fmla="*/ 516892 h 1046508"/>
                  <a:gd name="connsiteX52" fmla="*/ 792956 w 1200744"/>
                  <a:gd name="connsiteY52" fmla="*/ 468897 h 1046508"/>
                  <a:gd name="connsiteX53" fmla="*/ 688181 w 1200744"/>
                  <a:gd name="connsiteY53" fmla="*/ 481345 h 1046508"/>
                  <a:gd name="connsiteX54" fmla="*/ 688181 w 1200744"/>
                  <a:gd name="connsiteY54" fmla="*/ 529340 h 1046508"/>
                  <a:gd name="connsiteX55" fmla="*/ 418176 w 1200744"/>
                  <a:gd name="connsiteY55" fmla="*/ 561418 h 1046508"/>
                  <a:gd name="connsiteX56" fmla="*/ 392350 w 1200744"/>
                  <a:gd name="connsiteY56" fmla="*/ 575897 h 1046508"/>
                  <a:gd name="connsiteX57" fmla="*/ 384326 w 1200744"/>
                  <a:gd name="connsiteY57" fmla="*/ 604396 h 1046508"/>
                  <a:gd name="connsiteX58" fmla="*/ 398804 w 1200744"/>
                  <a:gd name="connsiteY58" fmla="*/ 630221 h 1046508"/>
                  <a:gd name="connsiteX59" fmla="*/ 427304 w 1200744"/>
                  <a:gd name="connsiteY59" fmla="*/ 638245 h 1046508"/>
                  <a:gd name="connsiteX60" fmla="*/ 1104900 w 1200744"/>
                  <a:gd name="connsiteY60" fmla="*/ 557742 h 1046508"/>
                  <a:gd name="connsiteX61" fmla="*/ 1104900 w 1200744"/>
                  <a:gd name="connsiteY61" fmla="*/ 558713 h 1046508"/>
                  <a:gd name="connsiteX62" fmla="*/ 1157491 w 1200744"/>
                  <a:gd name="connsiteY62" fmla="*/ 552464 h 1046508"/>
                  <a:gd name="connsiteX63" fmla="*/ 1200469 w 1200744"/>
                  <a:gd name="connsiteY63" fmla="*/ 586314 h 1046508"/>
                  <a:gd name="connsiteX64" fmla="*/ 1200468 w 1200744"/>
                  <a:gd name="connsiteY64" fmla="*/ 586314 h 1046508"/>
                  <a:gd name="connsiteX65" fmla="*/ 1166618 w 1200744"/>
                  <a:gd name="connsiteY65" fmla="*/ 629292 h 1046508"/>
                  <a:gd name="connsiteX66" fmla="*/ 1104900 w 1200744"/>
                  <a:gd name="connsiteY66" fmla="*/ 636624 h 1046508"/>
                  <a:gd name="connsiteX67" fmla="*/ 1104900 w 1200744"/>
                  <a:gd name="connsiteY67" fmla="*/ 817908 h 1046508"/>
                  <a:gd name="connsiteX68" fmla="*/ 971550 w 1200744"/>
                  <a:gd name="connsiteY68" fmla="*/ 946496 h 1046508"/>
                  <a:gd name="connsiteX69" fmla="*/ 752889 w 1200744"/>
                  <a:gd name="connsiteY69" fmla="*/ 946496 h 1046508"/>
                  <a:gd name="connsiteX70" fmla="*/ 749140 w 1200744"/>
                  <a:gd name="connsiteY70" fmla="*/ 965065 h 1046508"/>
                  <a:gd name="connsiteX71" fmla="*/ 626271 w 1200744"/>
                  <a:gd name="connsiteY71" fmla="*/ 1046508 h 1046508"/>
                  <a:gd name="connsiteX72" fmla="*/ 533770 w 1200744"/>
                  <a:gd name="connsiteY72" fmla="*/ 1046508 h 1046508"/>
                  <a:gd name="connsiteX73" fmla="*/ 410901 w 1200744"/>
                  <a:gd name="connsiteY73" fmla="*/ 965065 h 1046508"/>
                  <a:gd name="connsiteX74" fmla="*/ 407153 w 1200744"/>
                  <a:gd name="connsiteY74" fmla="*/ 946496 h 1046508"/>
                  <a:gd name="connsiteX75" fmla="*/ 190500 w 1200744"/>
                  <a:gd name="connsiteY75" fmla="*/ 946496 h 1046508"/>
                  <a:gd name="connsiteX76" fmla="*/ 59532 w 1200744"/>
                  <a:gd name="connsiteY76" fmla="*/ 825052 h 1046508"/>
                  <a:gd name="connsiteX77" fmla="*/ 59432 w 1200744"/>
                  <a:gd name="connsiteY77" fmla="*/ 710643 h 1046508"/>
                  <a:gd name="connsiteX78" fmla="*/ 48816 w 1200744"/>
                  <a:gd name="connsiteY78" fmla="*/ 710643 h 1046508"/>
                  <a:gd name="connsiteX79" fmla="*/ 14298 w 1200744"/>
                  <a:gd name="connsiteY79" fmla="*/ 696345 h 1046508"/>
                  <a:gd name="connsiteX80" fmla="*/ 0 w 1200744"/>
                  <a:gd name="connsiteY80" fmla="*/ 661828 h 1046508"/>
                  <a:gd name="connsiteX81" fmla="*/ 14298 w 1200744"/>
                  <a:gd name="connsiteY81" fmla="*/ 627310 h 1046508"/>
                  <a:gd name="connsiteX82" fmla="*/ 48816 w 1200744"/>
                  <a:gd name="connsiteY82" fmla="*/ 613012 h 1046508"/>
                  <a:gd name="connsiteX83" fmla="*/ 59346 w 1200744"/>
                  <a:gd name="connsiteY83" fmla="*/ 613012 h 1046508"/>
                  <a:gd name="connsiteX84" fmla="*/ 59247 w 1200744"/>
                  <a:gd name="connsiteY84" fmla="*/ 501147 h 1046508"/>
                  <a:gd name="connsiteX85" fmla="*/ 48816 w 1200744"/>
                  <a:gd name="connsiteY85" fmla="*/ 501147 h 1046508"/>
                  <a:gd name="connsiteX86" fmla="*/ 14298 w 1200744"/>
                  <a:gd name="connsiteY86" fmla="*/ 486849 h 1046508"/>
                  <a:gd name="connsiteX87" fmla="*/ 0 w 1200744"/>
                  <a:gd name="connsiteY87" fmla="*/ 452332 h 1046508"/>
                  <a:gd name="connsiteX88" fmla="*/ 14298 w 1200744"/>
                  <a:gd name="connsiteY88" fmla="*/ 417814 h 1046508"/>
                  <a:gd name="connsiteX89" fmla="*/ 48816 w 1200744"/>
                  <a:gd name="connsiteY89" fmla="*/ 403516 h 1046508"/>
                  <a:gd name="connsiteX90" fmla="*/ 59161 w 1200744"/>
                  <a:gd name="connsiteY90" fmla="*/ 403516 h 1046508"/>
                  <a:gd name="connsiteX91" fmla="*/ 59063 w 1200744"/>
                  <a:gd name="connsiteY91" fmla="*/ 291651 h 1046508"/>
                  <a:gd name="connsiteX92" fmla="*/ 48816 w 1200744"/>
                  <a:gd name="connsiteY92" fmla="*/ 291651 h 1046508"/>
                  <a:gd name="connsiteX93" fmla="*/ 14298 w 1200744"/>
                  <a:gd name="connsiteY93" fmla="*/ 277353 h 1046508"/>
                  <a:gd name="connsiteX94" fmla="*/ 0 w 1200744"/>
                  <a:gd name="connsiteY94" fmla="*/ 242836 h 1046508"/>
                  <a:gd name="connsiteX95" fmla="*/ 14298 w 1200744"/>
                  <a:gd name="connsiteY95" fmla="*/ 208318 h 1046508"/>
                  <a:gd name="connsiteX96" fmla="*/ 48816 w 1200744"/>
                  <a:gd name="connsiteY96" fmla="*/ 194020 h 1046508"/>
                  <a:gd name="connsiteX97" fmla="*/ 58977 w 1200744"/>
                  <a:gd name="connsiteY97" fmla="*/ 194020 h 1046508"/>
                  <a:gd name="connsiteX98" fmla="*/ 58806 w 1200744"/>
                  <a:gd name="connsiteY98" fmla="*/ 0 h 1046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200744" h="1046508">
                    <a:moveTo>
                      <a:pt x="269392" y="583922"/>
                    </a:moveTo>
                    <a:cubicBezTo>
                      <a:pt x="247034" y="583922"/>
                      <a:pt x="228910" y="602046"/>
                      <a:pt x="228910" y="624404"/>
                    </a:cubicBezTo>
                    <a:cubicBezTo>
                      <a:pt x="228910" y="646762"/>
                      <a:pt x="247034" y="664886"/>
                      <a:pt x="269392" y="664886"/>
                    </a:cubicBezTo>
                    <a:cubicBezTo>
                      <a:pt x="291750" y="664886"/>
                      <a:pt x="309874" y="646762"/>
                      <a:pt x="309874" y="624404"/>
                    </a:cubicBezTo>
                    <a:cubicBezTo>
                      <a:pt x="309874" y="602046"/>
                      <a:pt x="291750" y="583922"/>
                      <a:pt x="269392" y="583922"/>
                    </a:cubicBezTo>
                    <a:close/>
                    <a:moveTo>
                      <a:pt x="269392" y="373750"/>
                    </a:moveTo>
                    <a:cubicBezTo>
                      <a:pt x="247034" y="373750"/>
                      <a:pt x="228910" y="391874"/>
                      <a:pt x="228910" y="414232"/>
                    </a:cubicBezTo>
                    <a:cubicBezTo>
                      <a:pt x="228910" y="436590"/>
                      <a:pt x="247034" y="454714"/>
                      <a:pt x="269392" y="454714"/>
                    </a:cubicBezTo>
                    <a:cubicBezTo>
                      <a:pt x="291750" y="454714"/>
                      <a:pt x="309874" y="436590"/>
                      <a:pt x="309874" y="414232"/>
                    </a:cubicBezTo>
                    <a:cubicBezTo>
                      <a:pt x="309874" y="391874"/>
                      <a:pt x="291750" y="373750"/>
                      <a:pt x="269392" y="373750"/>
                    </a:cubicBezTo>
                    <a:close/>
                    <a:moveTo>
                      <a:pt x="269392" y="163063"/>
                    </a:moveTo>
                    <a:cubicBezTo>
                      <a:pt x="247034" y="163063"/>
                      <a:pt x="228910" y="181187"/>
                      <a:pt x="228910" y="203545"/>
                    </a:cubicBezTo>
                    <a:cubicBezTo>
                      <a:pt x="228910" y="225903"/>
                      <a:pt x="247034" y="244027"/>
                      <a:pt x="269392" y="244027"/>
                    </a:cubicBezTo>
                    <a:cubicBezTo>
                      <a:pt x="291750" y="244027"/>
                      <a:pt x="309874" y="225903"/>
                      <a:pt x="309874" y="203545"/>
                    </a:cubicBezTo>
                    <a:cubicBezTo>
                      <a:pt x="309874" y="181187"/>
                      <a:pt x="291750" y="163063"/>
                      <a:pt x="269392" y="163063"/>
                    </a:cubicBezTo>
                    <a:close/>
                    <a:moveTo>
                      <a:pt x="797719" y="0"/>
                    </a:moveTo>
                    <a:lnTo>
                      <a:pt x="883444" y="0"/>
                    </a:lnTo>
                    <a:lnTo>
                      <a:pt x="883444" y="79897"/>
                    </a:lnTo>
                    <a:lnTo>
                      <a:pt x="797719" y="90082"/>
                    </a:lnTo>
                    <a:lnTo>
                      <a:pt x="797719" y="0"/>
                    </a:lnTo>
                    <a:close/>
                    <a:moveTo>
                      <a:pt x="58806" y="0"/>
                    </a:moveTo>
                    <a:lnTo>
                      <a:pt x="692944" y="0"/>
                    </a:lnTo>
                    <a:lnTo>
                      <a:pt x="692944" y="102530"/>
                    </a:lnTo>
                    <a:lnTo>
                      <a:pt x="418176" y="135174"/>
                    </a:lnTo>
                    <a:cubicBezTo>
                      <a:pt x="407569" y="136435"/>
                      <a:pt x="398476" y="141875"/>
                      <a:pt x="392350" y="149653"/>
                    </a:cubicBezTo>
                    <a:lnTo>
                      <a:pt x="384326" y="178152"/>
                    </a:lnTo>
                    <a:lnTo>
                      <a:pt x="398804" y="203977"/>
                    </a:lnTo>
                    <a:cubicBezTo>
                      <a:pt x="406582" y="210103"/>
                      <a:pt x="416696" y="213262"/>
                      <a:pt x="427304" y="212001"/>
                    </a:cubicBezTo>
                    <a:lnTo>
                      <a:pt x="1104900" y="131498"/>
                    </a:lnTo>
                    <a:lnTo>
                      <a:pt x="1104900" y="134851"/>
                    </a:lnTo>
                    <a:lnTo>
                      <a:pt x="1157493" y="128603"/>
                    </a:lnTo>
                    <a:cubicBezTo>
                      <a:pt x="1178709" y="126082"/>
                      <a:pt x="1197951" y="141237"/>
                      <a:pt x="1200471" y="162453"/>
                    </a:cubicBezTo>
                    <a:lnTo>
                      <a:pt x="1200470" y="162453"/>
                    </a:lnTo>
                    <a:cubicBezTo>
                      <a:pt x="1202991" y="183669"/>
                      <a:pt x="1187836" y="202910"/>
                      <a:pt x="1166620" y="205431"/>
                    </a:cubicBezTo>
                    <a:lnTo>
                      <a:pt x="878682" y="240221"/>
                    </a:lnTo>
                    <a:lnTo>
                      <a:pt x="883444" y="298972"/>
                    </a:lnTo>
                    <a:lnTo>
                      <a:pt x="792956" y="309723"/>
                    </a:lnTo>
                    <a:lnTo>
                      <a:pt x="792956" y="265459"/>
                    </a:lnTo>
                    <a:lnTo>
                      <a:pt x="688181" y="265459"/>
                    </a:lnTo>
                    <a:lnTo>
                      <a:pt x="688181" y="322171"/>
                    </a:lnTo>
                    <a:lnTo>
                      <a:pt x="418176" y="354249"/>
                    </a:lnTo>
                    <a:cubicBezTo>
                      <a:pt x="407569" y="355510"/>
                      <a:pt x="398476" y="360950"/>
                      <a:pt x="392350" y="368728"/>
                    </a:cubicBezTo>
                    <a:lnTo>
                      <a:pt x="384326" y="397227"/>
                    </a:lnTo>
                    <a:lnTo>
                      <a:pt x="398804" y="423052"/>
                    </a:lnTo>
                    <a:cubicBezTo>
                      <a:pt x="406582" y="429178"/>
                      <a:pt x="416696" y="432337"/>
                      <a:pt x="427304" y="431076"/>
                    </a:cubicBezTo>
                    <a:lnTo>
                      <a:pt x="1157493" y="347675"/>
                    </a:lnTo>
                    <a:cubicBezTo>
                      <a:pt x="1178709" y="345155"/>
                      <a:pt x="1197950" y="360310"/>
                      <a:pt x="1200471" y="381525"/>
                    </a:cubicBezTo>
                    <a:lnTo>
                      <a:pt x="1200470" y="381526"/>
                    </a:lnTo>
                    <a:cubicBezTo>
                      <a:pt x="1202991" y="402741"/>
                      <a:pt x="1187836" y="421983"/>
                      <a:pt x="1166620" y="424503"/>
                    </a:cubicBezTo>
                    <a:lnTo>
                      <a:pt x="883444" y="458146"/>
                    </a:lnTo>
                    <a:lnTo>
                      <a:pt x="883444" y="506141"/>
                    </a:lnTo>
                    <a:lnTo>
                      <a:pt x="792956" y="516892"/>
                    </a:lnTo>
                    <a:lnTo>
                      <a:pt x="792956" y="468897"/>
                    </a:lnTo>
                    <a:lnTo>
                      <a:pt x="688181" y="481345"/>
                    </a:lnTo>
                    <a:lnTo>
                      <a:pt x="688181" y="529340"/>
                    </a:lnTo>
                    <a:lnTo>
                      <a:pt x="418176" y="561418"/>
                    </a:lnTo>
                    <a:cubicBezTo>
                      <a:pt x="407569" y="562679"/>
                      <a:pt x="398476" y="568119"/>
                      <a:pt x="392350" y="575897"/>
                    </a:cubicBezTo>
                    <a:lnTo>
                      <a:pt x="384326" y="604396"/>
                    </a:lnTo>
                    <a:lnTo>
                      <a:pt x="398804" y="630221"/>
                    </a:lnTo>
                    <a:cubicBezTo>
                      <a:pt x="406582" y="636347"/>
                      <a:pt x="416696" y="639506"/>
                      <a:pt x="427304" y="638245"/>
                    </a:cubicBezTo>
                    <a:lnTo>
                      <a:pt x="1104900" y="557742"/>
                    </a:lnTo>
                    <a:lnTo>
                      <a:pt x="1104900" y="558713"/>
                    </a:lnTo>
                    <a:lnTo>
                      <a:pt x="1157491" y="552464"/>
                    </a:lnTo>
                    <a:cubicBezTo>
                      <a:pt x="1178707" y="549944"/>
                      <a:pt x="1197948" y="565099"/>
                      <a:pt x="1200469" y="586314"/>
                    </a:cubicBezTo>
                    <a:lnTo>
                      <a:pt x="1200468" y="586314"/>
                    </a:lnTo>
                    <a:cubicBezTo>
                      <a:pt x="1202989" y="607530"/>
                      <a:pt x="1187834" y="626772"/>
                      <a:pt x="1166618" y="629292"/>
                    </a:cubicBezTo>
                    <a:lnTo>
                      <a:pt x="1104900" y="636624"/>
                    </a:lnTo>
                    <a:lnTo>
                      <a:pt x="1104900" y="817908"/>
                    </a:lnTo>
                    <a:lnTo>
                      <a:pt x="971550" y="946496"/>
                    </a:lnTo>
                    <a:lnTo>
                      <a:pt x="752889" y="946496"/>
                    </a:lnTo>
                    <a:lnTo>
                      <a:pt x="749140" y="965065"/>
                    </a:lnTo>
                    <a:cubicBezTo>
                      <a:pt x="728897" y="1012926"/>
                      <a:pt x="681506" y="1046508"/>
                      <a:pt x="626271" y="1046508"/>
                    </a:cubicBezTo>
                    <a:lnTo>
                      <a:pt x="533770" y="1046508"/>
                    </a:lnTo>
                    <a:cubicBezTo>
                      <a:pt x="478536" y="1046508"/>
                      <a:pt x="431145" y="1012926"/>
                      <a:pt x="410901" y="965065"/>
                    </a:cubicBezTo>
                    <a:lnTo>
                      <a:pt x="407153" y="946496"/>
                    </a:lnTo>
                    <a:lnTo>
                      <a:pt x="190500" y="946496"/>
                    </a:lnTo>
                    <a:lnTo>
                      <a:pt x="59532" y="825052"/>
                    </a:lnTo>
                    <a:cubicBezTo>
                      <a:pt x="59499" y="786916"/>
                      <a:pt x="59465" y="748779"/>
                      <a:pt x="59432" y="710643"/>
                    </a:cubicBezTo>
                    <a:lnTo>
                      <a:pt x="48816" y="710643"/>
                    </a:lnTo>
                    <a:cubicBezTo>
                      <a:pt x="35336" y="710643"/>
                      <a:pt x="23132" y="705179"/>
                      <a:pt x="14298" y="696345"/>
                    </a:cubicBezTo>
                    <a:lnTo>
                      <a:pt x="0" y="661828"/>
                    </a:lnTo>
                    <a:lnTo>
                      <a:pt x="14298" y="627310"/>
                    </a:lnTo>
                    <a:cubicBezTo>
                      <a:pt x="23132" y="618476"/>
                      <a:pt x="35336" y="613012"/>
                      <a:pt x="48816" y="613012"/>
                    </a:cubicBezTo>
                    <a:lnTo>
                      <a:pt x="59346" y="613012"/>
                    </a:lnTo>
                    <a:cubicBezTo>
                      <a:pt x="59313" y="575724"/>
                      <a:pt x="59280" y="538435"/>
                      <a:pt x="59247" y="501147"/>
                    </a:cubicBezTo>
                    <a:lnTo>
                      <a:pt x="48816" y="501147"/>
                    </a:lnTo>
                    <a:cubicBezTo>
                      <a:pt x="35336" y="501147"/>
                      <a:pt x="23132" y="495683"/>
                      <a:pt x="14298" y="486849"/>
                    </a:cubicBezTo>
                    <a:lnTo>
                      <a:pt x="0" y="452332"/>
                    </a:lnTo>
                    <a:lnTo>
                      <a:pt x="14298" y="417814"/>
                    </a:lnTo>
                    <a:cubicBezTo>
                      <a:pt x="23132" y="408980"/>
                      <a:pt x="35336" y="403516"/>
                      <a:pt x="48816" y="403516"/>
                    </a:cubicBezTo>
                    <a:lnTo>
                      <a:pt x="59161" y="403516"/>
                    </a:lnTo>
                    <a:cubicBezTo>
                      <a:pt x="59128" y="366228"/>
                      <a:pt x="59096" y="328939"/>
                      <a:pt x="59063" y="291651"/>
                    </a:cubicBezTo>
                    <a:lnTo>
                      <a:pt x="48816" y="291651"/>
                    </a:lnTo>
                    <a:cubicBezTo>
                      <a:pt x="35336" y="291651"/>
                      <a:pt x="23132" y="286187"/>
                      <a:pt x="14298" y="277353"/>
                    </a:cubicBezTo>
                    <a:lnTo>
                      <a:pt x="0" y="242836"/>
                    </a:lnTo>
                    <a:lnTo>
                      <a:pt x="14298" y="208318"/>
                    </a:lnTo>
                    <a:cubicBezTo>
                      <a:pt x="23132" y="199484"/>
                      <a:pt x="35336" y="194020"/>
                      <a:pt x="48816" y="194020"/>
                    </a:cubicBezTo>
                    <a:lnTo>
                      <a:pt x="58977" y="194020"/>
                    </a:lnTo>
                    <a:lnTo>
                      <a:pt x="58806"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89" name="Freeform 88"/>
              <p:cNvSpPr/>
              <p:nvPr/>
            </p:nvSpPr>
            <p:spPr>
              <a:xfrm>
                <a:off x="4242295" y="1685754"/>
                <a:ext cx="3701002" cy="3743106"/>
              </a:xfrm>
              <a:custGeom>
                <a:avLst/>
                <a:gdLst>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0346 w 3701002"/>
                  <a:gd name="connsiteY11" fmla="*/ 3114359 h 3743106"/>
                  <a:gd name="connsiteX12" fmla="*/ 2659635 w 3701002"/>
                  <a:gd name="connsiteY12" fmla="*/ 3107286 h 3743106"/>
                  <a:gd name="connsiteX13" fmla="*/ 3122601 w 3701002"/>
                  <a:gd name="connsiteY13" fmla="*/ 2107732 h 3743106"/>
                  <a:gd name="connsiteX14" fmla="*/ 1850392 w 3701002"/>
                  <a:gd name="connsiteY14" fmla="*/ 812383 h 3743106"/>
                  <a:gd name="connsiteX15" fmla="*/ 578183 w 3701002"/>
                  <a:gd name="connsiteY15" fmla="*/ 2107732 h 3743106"/>
                  <a:gd name="connsiteX16" fmla="*/ 950805 w 3701002"/>
                  <a:gd name="connsiteY16" fmla="*/ 3023682 h 3743106"/>
                  <a:gd name="connsiteX17" fmla="*/ 1028685 w 3701002"/>
                  <a:gd name="connsiteY17" fmla="*/ 3095752 h 3743106"/>
                  <a:gd name="connsiteX18" fmla="*/ 1145044 w 3701002"/>
                  <a:gd name="connsiteY18" fmla="*/ 3252006 h 3743106"/>
                  <a:gd name="connsiteX19" fmla="*/ 1289824 w 3701002"/>
                  <a:gd name="connsiteY19" fmla="*/ 3549186 h 3743106"/>
                  <a:gd name="connsiteX20" fmla="*/ 1131709 w 3701002"/>
                  <a:gd name="connsiteY20" fmla="*/ 3739686 h 3743106"/>
                  <a:gd name="connsiteX21" fmla="*/ 881519 w 3701002"/>
                  <a:gd name="connsiteY21" fmla="*/ 3637451 h 3743106"/>
                  <a:gd name="connsiteX22" fmla="*/ 771664 w 3701002"/>
                  <a:gd name="connsiteY22" fmla="*/ 3290106 h 3743106"/>
                  <a:gd name="connsiteX23" fmla="*/ 377329 w 3701002"/>
                  <a:gd name="connsiteY23" fmla="*/ 3103416 h 3743106"/>
                  <a:gd name="connsiteX24" fmla="*/ 344944 w 3701002"/>
                  <a:gd name="connsiteY24" fmla="*/ 2482386 h 3743106"/>
                  <a:gd name="connsiteX25" fmla="*/ 139 w 3701002"/>
                  <a:gd name="connsiteY25" fmla="*/ 1970576 h 3743106"/>
                  <a:gd name="connsiteX26" fmla="*/ 451624 w 3701002"/>
                  <a:gd name="connsiteY26" fmla="*/ 1403521 h 3743106"/>
                  <a:gd name="connsiteX27" fmla="*/ 496709 w 3701002"/>
                  <a:gd name="connsiteY27" fmla="*/ 659301 h 3743106"/>
                  <a:gd name="connsiteX28" fmla="*/ 1199019 w 3701002"/>
                  <a:gd name="connsiteY28" fmla="*/ 517061 h 3743106"/>
                  <a:gd name="connsiteX29" fmla="*/ 1831479 w 3701002"/>
                  <a:gd name="connsiteY29"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028685 w 3701002"/>
                  <a:gd name="connsiteY16" fmla="*/ 3095752 h 3743106"/>
                  <a:gd name="connsiteX17" fmla="*/ 1145044 w 3701002"/>
                  <a:gd name="connsiteY17" fmla="*/ 3252006 h 3743106"/>
                  <a:gd name="connsiteX18" fmla="*/ 1289824 w 3701002"/>
                  <a:gd name="connsiteY18" fmla="*/ 3549186 h 3743106"/>
                  <a:gd name="connsiteX19" fmla="*/ 1131709 w 3701002"/>
                  <a:gd name="connsiteY19" fmla="*/ 3739686 h 3743106"/>
                  <a:gd name="connsiteX20" fmla="*/ 881519 w 3701002"/>
                  <a:gd name="connsiteY20" fmla="*/ 3637451 h 3743106"/>
                  <a:gd name="connsiteX21" fmla="*/ 771664 w 3701002"/>
                  <a:gd name="connsiteY21" fmla="*/ 3290106 h 3743106"/>
                  <a:gd name="connsiteX22" fmla="*/ 377329 w 3701002"/>
                  <a:gd name="connsiteY22" fmla="*/ 3103416 h 3743106"/>
                  <a:gd name="connsiteX23" fmla="*/ 344944 w 3701002"/>
                  <a:gd name="connsiteY23" fmla="*/ 2482386 h 3743106"/>
                  <a:gd name="connsiteX24" fmla="*/ 139 w 3701002"/>
                  <a:gd name="connsiteY24" fmla="*/ 1970576 h 3743106"/>
                  <a:gd name="connsiteX25" fmla="*/ 451624 w 3701002"/>
                  <a:gd name="connsiteY25" fmla="*/ 1403521 h 3743106"/>
                  <a:gd name="connsiteX26" fmla="*/ 496709 w 3701002"/>
                  <a:gd name="connsiteY26" fmla="*/ 659301 h 3743106"/>
                  <a:gd name="connsiteX27" fmla="*/ 1199019 w 3701002"/>
                  <a:gd name="connsiteY27" fmla="*/ 517061 h 3743106"/>
                  <a:gd name="connsiteX28" fmla="*/ 1831479 w 3701002"/>
                  <a:gd name="connsiteY28"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145044 w 3701002"/>
                  <a:gd name="connsiteY16" fmla="*/ 3252006 h 3743106"/>
                  <a:gd name="connsiteX17" fmla="*/ 1289824 w 3701002"/>
                  <a:gd name="connsiteY17" fmla="*/ 3549186 h 3743106"/>
                  <a:gd name="connsiteX18" fmla="*/ 1131709 w 3701002"/>
                  <a:gd name="connsiteY18" fmla="*/ 3739686 h 3743106"/>
                  <a:gd name="connsiteX19" fmla="*/ 881519 w 3701002"/>
                  <a:gd name="connsiteY19" fmla="*/ 3637451 h 3743106"/>
                  <a:gd name="connsiteX20" fmla="*/ 771664 w 3701002"/>
                  <a:gd name="connsiteY20" fmla="*/ 3290106 h 3743106"/>
                  <a:gd name="connsiteX21" fmla="*/ 377329 w 3701002"/>
                  <a:gd name="connsiteY21" fmla="*/ 3103416 h 3743106"/>
                  <a:gd name="connsiteX22" fmla="*/ 344944 w 3701002"/>
                  <a:gd name="connsiteY22" fmla="*/ 2482386 h 3743106"/>
                  <a:gd name="connsiteX23" fmla="*/ 139 w 3701002"/>
                  <a:gd name="connsiteY23" fmla="*/ 1970576 h 3743106"/>
                  <a:gd name="connsiteX24" fmla="*/ 451624 w 3701002"/>
                  <a:gd name="connsiteY24" fmla="*/ 1403521 h 3743106"/>
                  <a:gd name="connsiteX25" fmla="*/ 496709 w 3701002"/>
                  <a:gd name="connsiteY25" fmla="*/ 659301 h 3743106"/>
                  <a:gd name="connsiteX26" fmla="*/ 1199019 w 3701002"/>
                  <a:gd name="connsiteY26" fmla="*/ 517061 h 3743106"/>
                  <a:gd name="connsiteX27" fmla="*/ 1831479 w 3701002"/>
                  <a:gd name="connsiteY27"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145044 w 3701002"/>
                  <a:gd name="connsiteY16" fmla="*/ 3252006 h 3743106"/>
                  <a:gd name="connsiteX17" fmla="*/ 1289824 w 3701002"/>
                  <a:gd name="connsiteY17" fmla="*/ 3549186 h 3743106"/>
                  <a:gd name="connsiteX18" fmla="*/ 1131709 w 3701002"/>
                  <a:gd name="connsiteY18" fmla="*/ 3739686 h 3743106"/>
                  <a:gd name="connsiteX19" fmla="*/ 881519 w 3701002"/>
                  <a:gd name="connsiteY19" fmla="*/ 3637451 h 3743106"/>
                  <a:gd name="connsiteX20" fmla="*/ 771664 w 3701002"/>
                  <a:gd name="connsiteY20" fmla="*/ 3290106 h 3743106"/>
                  <a:gd name="connsiteX21" fmla="*/ 377329 w 3701002"/>
                  <a:gd name="connsiteY21" fmla="*/ 3103416 h 3743106"/>
                  <a:gd name="connsiteX22" fmla="*/ 344944 w 3701002"/>
                  <a:gd name="connsiteY22" fmla="*/ 2482386 h 3743106"/>
                  <a:gd name="connsiteX23" fmla="*/ 139 w 3701002"/>
                  <a:gd name="connsiteY23" fmla="*/ 1970576 h 3743106"/>
                  <a:gd name="connsiteX24" fmla="*/ 451624 w 3701002"/>
                  <a:gd name="connsiteY24" fmla="*/ 1403521 h 3743106"/>
                  <a:gd name="connsiteX25" fmla="*/ 496709 w 3701002"/>
                  <a:gd name="connsiteY25" fmla="*/ 659301 h 3743106"/>
                  <a:gd name="connsiteX26" fmla="*/ 1199019 w 3701002"/>
                  <a:gd name="connsiteY26" fmla="*/ 517061 h 3743106"/>
                  <a:gd name="connsiteX27" fmla="*/ 1831479 w 3701002"/>
                  <a:gd name="connsiteY27" fmla="*/ 171 h 3743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701002" h="3743106">
                    <a:moveTo>
                      <a:pt x="1831479" y="171"/>
                    </a:moveTo>
                    <a:cubicBezTo>
                      <a:pt x="2193958" y="-9460"/>
                      <a:pt x="2228989" y="388262"/>
                      <a:pt x="2478544" y="516426"/>
                    </a:cubicBezTo>
                    <a:cubicBezTo>
                      <a:pt x="2724924" y="638240"/>
                      <a:pt x="3031735" y="420753"/>
                      <a:pt x="3214509" y="673906"/>
                    </a:cubicBezTo>
                    <a:cubicBezTo>
                      <a:pt x="3397283" y="927059"/>
                      <a:pt x="3125874" y="1106394"/>
                      <a:pt x="3270389" y="1425746"/>
                    </a:cubicBezTo>
                    <a:cubicBezTo>
                      <a:pt x="3414904" y="1745098"/>
                      <a:pt x="3685678" y="1679112"/>
                      <a:pt x="3700601" y="1942319"/>
                    </a:cubicBezTo>
                    <a:cubicBezTo>
                      <a:pt x="3712349" y="2221401"/>
                      <a:pt x="3463112" y="2181714"/>
                      <a:pt x="3354844" y="2512866"/>
                    </a:cubicBezTo>
                    <a:cubicBezTo>
                      <a:pt x="3238639" y="2836081"/>
                      <a:pt x="3476765" y="2888309"/>
                      <a:pt x="3320872" y="3113258"/>
                    </a:cubicBezTo>
                    <a:cubicBezTo>
                      <a:pt x="3231655" y="3262007"/>
                      <a:pt x="3076132" y="3153476"/>
                      <a:pt x="2933839" y="3291059"/>
                    </a:cubicBezTo>
                    <a:cubicBezTo>
                      <a:pt x="2791546" y="3428642"/>
                      <a:pt x="2888756" y="3603161"/>
                      <a:pt x="2771914" y="3691109"/>
                    </a:cubicBezTo>
                    <a:cubicBezTo>
                      <a:pt x="2688410" y="3783819"/>
                      <a:pt x="2499817" y="3735717"/>
                      <a:pt x="2440444" y="3640626"/>
                    </a:cubicBezTo>
                    <a:cubicBezTo>
                      <a:pt x="2381071" y="3545535"/>
                      <a:pt x="2441714" y="3442506"/>
                      <a:pt x="2501404" y="3320586"/>
                    </a:cubicBezTo>
                    <a:lnTo>
                      <a:pt x="2659635" y="3107286"/>
                    </a:lnTo>
                    <a:cubicBezTo>
                      <a:pt x="2942380" y="2869700"/>
                      <a:pt x="3122601" y="2510145"/>
                      <a:pt x="3122601" y="2107732"/>
                    </a:cubicBezTo>
                    <a:cubicBezTo>
                      <a:pt x="3122601" y="1392331"/>
                      <a:pt x="2553014" y="812383"/>
                      <a:pt x="1850392" y="812383"/>
                    </a:cubicBezTo>
                    <a:cubicBezTo>
                      <a:pt x="1147770" y="812383"/>
                      <a:pt x="578183" y="1392331"/>
                      <a:pt x="578183" y="2107732"/>
                    </a:cubicBezTo>
                    <a:cubicBezTo>
                      <a:pt x="578183" y="2465433"/>
                      <a:pt x="720580" y="2789270"/>
                      <a:pt x="950805" y="3023682"/>
                    </a:cubicBezTo>
                    <a:cubicBezTo>
                      <a:pt x="1039364" y="3104553"/>
                      <a:pt x="1080298" y="3175898"/>
                      <a:pt x="1145044" y="3252006"/>
                    </a:cubicBezTo>
                    <a:cubicBezTo>
                      <a:pt x="1213624" y="3361226"/>
                      <a:pt x="1292047" y="3467906"/>
                      <a:pt x="1289824" y="3549186"/>
                    </a:cubicBezTo>
                    <a:cubicBezTo>
                      <a:pt x="1287602" y="3630466"/>
                      <a:pt x="1199760" y="3724975"/>
                      <a:pt x="1131709" y="3739686"/>
                    </a:cubicBezTo>
                    <a:cubicBezTo>
                      <a:pt x="1063658" y="3754397"/>
                      <a:pt x="935176" y="3721906"/>
                      <a:pt x="881519" y="3637451"/>
                    </a:cubicBezTo>
                    <a:cubicBezTo>
                      <a:pt x="827862" y="3552996"/>
                      <a:pt x="922371" y="3429912"/>
                      <a:pt x="771664" y="3290106"/>
                    </a:cubicBezTo>
                    <a:cubicBezTo>
                      <a:pt x="620957" y="3150300"/>
                      <a:pt x="489724" y="3259626"/>
                      <a:pt x="377329" y="3103416"/>
                    </a:cubicBezTo>
                    <a:cubicBezTo>
                      <a:pt x="245884" y="2847193"/>
                      <a:pt x="472103" y="2764062"/>
                      <a:pt x="344944" y="2482386"/>
                    </a:cubicBezTo>
                    <a:cubicBezTo>
                      <a:pt x="189211" y="2141178"/>
                      <a:pt x="8552" y="2246432"/>
                      <a:pt x="139" y="1970576"/>
                    </a:cubicBezTo>
                    <a:cubicBezTo>
                      <a:pt x="-7481" y="1701865"/>
                      <a:pt x="299012" y="1730017"/>
                      <a:pt x="451624" y="1403521"/>
                    </a:cubicBezTo>
                    <a:cubicBezTo>
                      <a:pt x="528036" y="943675"/>
                      <a:pt x="318168" y="908644"/>
                      <a:pt x="496709" y="659301"/>
                    </a:cubicBezTo>
                    <a:cubicBezTo>
                      <a:pt x="675250" y="409958"/>
                      <a:pt x="956978" y="650728"/>
                      <a:pt x="1199019" y="517061"/>
                    </a:cubicBezTo>
                    <a:cubicBezTo>
                      <a:pt x="1485510" y="418319"/>
                      <a:pt x="1469000" y="9802"/>
                      <a:pt x="1831479" y="171"/>
                    </a:cubicBez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grpSp>
      </p:grpSp>
      <p:grpSp>
        <p:nvGrpSpPr>
          <p:cNvPr id="90" name="Group 89"/>
          <p:cNvGrpSpPr/>
          <p:nvPr/>
        </p:nvGrpSpPr>
        <p:grpSpPr>
          <a:xfrm>
            <a:off x="5842516" y="4245396"/>
            <a:ext cx="474070" cy="474070"/>
            <a:chOff x="6447430" y="2675492"/>
            <a:chExt cx="474070" cy="474070"/>
          </a:xfrm>
        </p:grpSpPr>
        <p:sp>
          <p:nvSpPr>
            <p:cNvPr id="91" name="Oval 90"/>
            <p:cNvSpPr/>
            <p:nvPr/>
          </p:nvSpPr>
          <p:spPr>
            <a:xfrm>
              <a:off x="6447430" y="2675492"/>
              <a:ext cx="474070" cy="474070"/>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white"/>
                </a:solidFill>
                <a:effectLst/>
                <a:uLnTx/>
                <a:uFillTx/>
                <a:latin typeface="+mj-lt"/>
                <a:ea typeface="+mn-ea"/>
                <a:cs typeface="+mn-cs"/>
              </a:endParaRPr>
            </a:p>
          </p:txBody>
        </p:sp>
        <p:grpSp>
          <p:nvGrpSpPr>
            <p:cNvPr id="92" name="Group 91"/>
            <p:cNvGrpSpPr/>
            <p:nvPr/>
          </p:nvGrpSpPr>
          <p:grpSpPr>
            <a:xfrm>
              <a:off x="6518177" y="2715380"/>
              <a:ext cx="333474" cy="369626"/>
              <a:chOff x="3114466" y="105602"/>
              <a:chExt cx="5971657" cy="6619048"/>
            </a:xfrm>
            <a:solidFill>
              <a:schemeClr val="accent5"/>
            </a:solidFill>
          </p:grpSpPr>
          <p:sp>
            <p:nvSpPr>
              <p:cNvPr id="93" name="Oval 92"/>
              <p:cNvSpPr/>
              <p:nvPr/>
            </p:nvSpPr>
            <p:spPr>
              <a:xfrm>
                <a:off x="5744819" y="745435"/>
                <a:ext cx="695738" cy="695738"/>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94" name="Oval 93"/>
              <p:cNvSpPr/>
              <p:nvPr/>
            </p:nvSpPr>
            <p:spPr>
              <a:xfrm>
                <a:off x="6626711" y="1319213"/>
                <a:ext cx="628234" cy="62823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95" name="Oval 94"/>
              <p:cNvSpPr/>
              <p:nvPr/>
            </p:nvSpPr>
            <p:spPr>
              <a:xfrm>
                <a:off x="4921736" y="1319213"/>
                <a:ext cx="628234" cy="62823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96" name="Oval 95"/>
              <p:cNvSpPr/>
              <p:nvPr/>
            </p:nvSpPr>
            <p:spPr>
              <a:xfrm>
                <a:off x="4140684" y="1766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97" name="Oval 96"/>
              <p:cNvSpPr/>
              <p:nvPr/>
            </p:nvSpPr>
            <p:spPr>
              <a:xfrm>
                <a:off x="7510049" y="1766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98" name="Oval 97"/>
              <p:cNvSpPr/>
              <p:nvPr/>
            </p:nvSpPr>
            <p:spPr>
              <a:xfrm>
                <a:off x="7716285" y="2579410"/>
                <a:ext cx="612706" cy="61270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99" name="Oval 98"/>
              <p:cNvSpPr/>
              <p:nvPr/>
            </p:nvSpPr>
            <p:spPr>
              <a:xfrm>
                <a:off x="3849963" y="2569471"/>
                <a:ext cx="612706" cy="61270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00" name="Oval 99"/>
              <p:cNvSpPr/>
              <p:nvPr/>
            </p:nvSpPr>
            <p:spPr>
              <a:xfrm>
                <a:off x="3740632" y="1416532"/>
                <a:ext cx="394046" cy="39404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01" name="Oval 100"/>
              <p:cNvSpPr/>
              <p:nvPr/>
            </p:nvSpPr>
            <p:spPr>
              <a:xfrm>
                <a:off x="8054215" y="1416532"/>
                <a:ext cx="394046" cy="39404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02" name="Oval 101"/>
              <p:cNvSpPr/>
              <p:nvPr/>
            </p:nvSpPr>
            <p:spPr>
              <a:xfrm>
                <a:off x="5878581" y="105602"/>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03" name="Oval 102"/>
              <p:cNvSpPr/>
              <p:nvPr/>
            </p:nvSpPr>
            <p:spPr>
              <a:xfrm>
                <a:off x="3114466" y="3419473"/>
                <a:ext cx="319296" cy="31929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04" name="Oval 103"/>
              <p:cNvSpPr/>
              <p:nvPr/>
            </p:nvSpPr>
            <p:spPr>
              <a:xfrm>
                <a:off x="3794675" y="5116270"/>
                <a:ext cx="282026" cy="28202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05" name="Oval 104"/>
              <p:cNvSpPr/>
              <p:nvPr/>
            </p:nvSpPr>
            <p:spPr>
              <a:xfrm>
                <a:off x="4640020" y="5060156"/>
                <a:ext cx="342902" cy="3429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06" name="Oval 105"/>
              <p:cNvSpPr/>
              <p:nvPr/>
            </p:nvSpPr>
            <p:spPr>
              <a:xfrm>
                <a:off x="4155592" y="4790040"/>
                <a:ext cx="373546" cy="37354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07" name="Oval 106"/>
              <p:cNvSpPr/>
              <p:nvPr/>
            </p:nvSpPr>
            <p:spPr>
              <a:xfrm>
                <a:off x="3892206" y="4042948"/>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08" name="Oval 107"/>
              <p:cNvSpPr/>
              <p:nvPr/>
            </p:nvSpPr>
            <p:spPr>
              <a:xfrm>
                <a:off x="7758528" y="4052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09" name="Oval 108"/>
              <p:cNvSpPr/>
              <p:nvPr/>
            </p:nvSpPr>
            <p:spPr>
              <a:xfrm>
                <a:off x="3632338" y="3395454"/>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10" name="Oval 109"/>
              <p:cNvSpPr/>
              <p:nvPr/>
            </p:nvSpPr>
            <p:spPr>
              <a:xfrm>
                <a:off x="8122650" y="3395454"/>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11" name="Oval 110"/>
              <p:cNvSpPr/>
              <p:nvPr/>
            </p:nvSpPr>
            <p:spPr>
              <a:xfrm>
                <a:off x="8747366" y="3412330"/>
                <a:ext cx="338757" cy="338757"/>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12" name="Oval 111"/>
              <p:cNvSpPr/>
              <p:nvPr/>
            </p:nvSpPr>
            <p:spPr>
              <a:xfrm>
                <a:off x="7659444" y="4792108"/>
                <a:ext cx="372514" cy="37251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13" name="Oval 112"/>
              <p:cNvSpPr/>
              <p:nvPr/>
            </p:nvSpPr>
            <p:spPr>
              <a:xfrm>
                <a:off x="7208355" y="5062538"/>
                <a:ext cx="341242" cy="34124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14" name="Oval 113"/>
              <p:cNvSpPr/>
              <p:nvPr/>
            </p:nvSpPr>
            <p:spPr>
              <a:xfrm>
                <a:off x="8113230" y="5122069"/>
                <a:ext cx="274566" cy="27456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15" name="Freeform 114"/>
              <p:cNvSpPr/>
              <p:nvPr/>
            </p:nvSpPr>
            <p:spPr>
              <a:xfrm>
                <a:off x="5507831" y="5678142"/>
                <a:ext cx="1200744" cy="1046508"/>
              </a:xfrm>
              <a:custGeom>
                <a:avLst/>
                <a:gdLst>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58806 w 1200744"/>
                  <a:gd name="connsiteY19" fmla="*/ 0 h 1046508"/>
                  <a:gd name="connsiteX20" fmla="*/ 692944 w 1200744"/>
                  <a:gd name="connsiteY20" fmla="*/ 0 h 1046508"/>
                  <a:gd name="connsiteX21" fmla="*/ 692944 w 1200744"/>
                  <a:gd name="connsiteY21" fmla="*/ 102530 h 1046508"/>
                  <a:gd name="connsiteX22" fmla="*/ 418176 w 1200744"/>
                  <a:gd name="connsiteY22" fmla="*/ 135174 h 1046508"/>
                  <a:gd name="connsiteX23" fmla="*/ 392350 w 1200744"/>
                  <a:gd name="connsiteY23" fmla="*/ 149653 h 1046508"/>
                  <a:gd name="connsiteX24" fmla="*/ 384326 w 1200744"/>
                  <a:gd name="connsiteY24" fmla="*/ 178152 h 1046508"/>
                  <a:gd name="connsiteX25" fmla="*/ 398804 w 1200744"/>
                  <a:gd name="connsiteY25" fmla="*/ 203977 h 1046508"/>
                  <a:gd name="connsiteX26" fmla="*/ 427304 w 1200744"/>
                  <a:gd name="connsiteY26" fmla="*/ 212001 h 1046508"/>
                  <a:gd name="connsiteX27" fmla="*/ 1104900 w 1200744"/>
                  <a:gd name="connsiteY27" fmla="*/ 131498 h 1046508"/>
                  <a:gd name="connsiteX28" fmla="*/ 1104900 w 1200744"/>
                  <a:gd name="connsiteY28" fmla="*/ 134851 h 1046508"/>
                  <a:gd name="connsiteX29" fmla="*/ 1157493 w 1200744"/>
                  <a:gd name="connsiteY29" fmla="*/ 128603 h 1046508"/>
                  <a:gd name="connsiteX30" fmla="*/ 1200471 w 1200744"/>
                  <a:gd name="connsiteY30" fmla="*/ 162453 h 1046508"/>
                  <a:gd name="connsiteX31" fmla="*/ 1200470 w 1200744"/>
                  <a:gd name="connsiteY31" fmla="*/ 162453 h 1046508"/>
                  <a:gd name="connsiteX32" fmla="*/ 1166620 w 1200744"/>
                  <a:gd name="connsiteY32" fmla="*/ 205431 h 1046508"/>
                  <a:gd name="connsiteX33" fmla="*/ 892471 w 1200744"/>
                  <a:gd name="connsiteY33" fmla="*/ 238001 h 1046508"/>
                  <a:gd name="connsiteX34" fmla="*/ 883444 w 1200744"/>
                  <a:gd name="connsiteY34" fmla="*/ 235459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688181 w 1200744"/>
                  <a:gd name="connsiteY45" fmla="*/ 400083 h 1046508"/>
                  <a:gd name="connsiteX46" fmla="*/ 688181 w 1200744"/>
                  <a:gd name="connsiteY46" fmla="*/ 403433 h 1046508"/>
                  <a:gd name="connsiteX47" fmla="*/ 792956 w 1200744"/>
                  <a:gd name="connsiteY47" fmla="*/ 390985 h 1046508"/>
                  <a:gd name="connsiteX48" fmla="*/ 792956 w 1200744"/>
                  <a:gd name="connsiteY48" fmla="*/ 387635 h 1046508"/>
                  <a:gd name="connsiteX49" fmla="*/ 883444 w 1200744"/>
                  <a:gd name="connsiteY49" fmla="*/ 376884 h 1046508"/>
                  <a:gd name="connsiteX50" fmla="*/ 883444 w 1200744"/>
                  <a:gd name="connsiteY50" fmla="*/ 380235 h 1046508"/>
                  <a:gd name="connsiteX51" fmla="*/ 1157493 w 1200744"/>
                  <a:gd name="connsiteY51" fmla="*/ 347675 h 1046508"/>
                  <a:gd name="connsiteX52" fmla="*/ 1200471 w 1200744"/>
                  <a:gd name="connsiteY52" fmla="*/ 381525 h 1046508"/>
                  <a:gd name="connsiteX53" fmla="*/ 1200470 w 1200744"/>
                  <a:gd name="connsiteY53" fmla="*/ 381526 h 1046508"/>
                  <a:gd name="connsiteX54" fmla="*/ 1166620 w 1200744"/>
                  <a:gd name="connsiteY54" fmla="*/ 424503 h 1046508"/>
                  <a:gd name="connsiteX55" fmla="*/ 883444 w 1200744"/>
                  <a:gd name="connsiteY55" fmla="*/ 458146 h 1046508"/>
                  <a:gd name="connsiteX56" fmla="*/ 883444 w 1200744"/>
                  <a:gd name="connsiteY56" fmla="*/ 506141 h 1046508"/>
                  <a:gd name="connsiteX57" fmla="*/ 792956 w 1200744"/>
                  <a:gd name="connsiteY57" fmla="*/ 516892 h 1046508"/>
                  <a:gd name="connsiteX58" fmla="*/ 792956 w 1200744"/>
                  <a:gd name="connsiteY58" fmla="*/ 468897 h 1046508"/>
                  <a:gd name="connsiteX59" fmla="*/ 688181 w 1200744"/>
                  <a:gd name="connsiteY59" fmla="*/ 481345 h 1046508"/>
                  <a:gd name="connsiteX60" fmla="*/ 688181 w 1200744"/>
                  <a:gd name="connsiteY60" fmla="*/ 529340 h 1046508"/>
                  <a:gd name="connsiteX61" fmla="*/ 418176 w 1200744"/>
                  <a:gd name="connsiteY61" fmla="*/ 561418 h 1046508"/>
                  <a:gd name="connsiteX62" fmla="*/ 392350 w 1200744"/>
                  <a:gd name="connsiteY62" fmla="*/ 575897 h 1046508"/>
                  <a:gd name="connsiteX63" fmla="*/ 384326 w 1200744"/>
                  <a:gd name="connsiteY63" fmla="*/ 604396 h 1046508"/>
                  <a:gd name="connsiteX64" fmla="*/ 398804 w 1200744"/>
                  <a:gd name="connsiteY64" fmla="*/ 630221 h 1046508"/>
                  <a:gd name="connsiteX65" fmla="*/ 427304 w 1200744"/>
                  <a:gd name="connsiteY65" fmla="*/ 638245 h 1046508"/>
                  <a:gd name="connsiteX66" fmla="*/ 1104900 w 1200744"/>
                  <a:gd name="connsiteY66" fmla="*/ 557742 h 1046508"/>
                  <a:gd name="connsiteX67" fmla="*/ 1104900 w 1200744"/>
                  <a:gd name="connsiteY67" fmla="*/ 558713 h 1046508"/>
                  <a:gd name="connsiteX68" fmla="*/ 1157491 w 1200744"/>
                  <a:gd name="connsiteY68" fmla="*/ 552464 h 1046508"/>
                  <a:gd name="connsiteX69" fmla="*/ 1200469 w 1200744"/>
                  <a:gd name="connsiteY69" fmla="*/ 586314 h 1046508"/>
                  <a:gd name="connsiteX70" fmla="*/ 1200468 w 1200744"/>
                  <a:gd name="connsiteY70" fmla="*/ 586314 h 1046508"/>
                  <a:gd name="connsiteX71" fmla="*/ 1166618 w 1200744"/>
                  <a:gd name="connsiteY71" fmla="*/ 629292 h 1046508"/>
                  <a:gd name="connsiteX72" fmla="*/ 1104900 w 1200744"/>
                  <a:gd name="connsiteY72" fmla="*/ 636624 h 1046508"/>
                  <a:gd name="connsiteX73" fmla="*/ 1104900 w 1200744"/>
                  <a:gd name="connsiteY73" fmla="*/ 817908 h 1046508"/>
                  <a:gd name="connsiteX74" fmla="*/ 971550 w 1200744"/>
                  <a:gd name="connsiteY74" fmla="*/ 946496 h 1046508"/>
                  <a:gd name="connsiteX75" fmla="*/ 752889 w 1200744"/>
                  <a:gd name="connsiteY75" fmla="*/ 946496 h 1046508"/>
                  <a:gd name="connsiteX76" fmla="*/ 749140 w 1200744"/>
                  <a:gd name="connsiteY76" fmla="*/ 965065 h 1046508"/>
                  <a:gd name="connsiteX77" fmla="*/ 626271 w 1200744"/>
                  <a:gd name="connsiteY77" fmla="*/ 1046508 h 1046508"/>
                  <a:gd name="connsiteX78" fmla="*/ 533770 w 1200744"/>
                  <a:gd name="connsiteY78" fmla="*/ 1046508 h 1046508"/>
                  <a:gd name="connsiteX79" fmla="*/ 410901 w 1200744"/>
                  <a:gd name="connsiteY79" fmla="*/ 965065 h 1046508"/>
                  <a:gd name="connsiteX80" fmla="*/ 407153 w 1200744"/>
                  <a:gd name="connsiteY80" fmla="*/ 946496 h 1046508"/>
                  <a:gd name="connsiteX81" fmla="*/ 190500 w 1200744"/>
                  <a:gd name="connsiteY81" fmla="*/ 946496 h 1046508"/>
                  <a:gd name="connsiteX82" fmla="*/ 59532 w 1200744"/>
                  <a:gd name="connsiteY82" fmla="*/ 825052 h 1046508"/>
                  <a:gd name="connsiteX83" fmla="*/ 59432 w 1200744"/>
                  <a:gd name="connsiteY83" fmla="*/ 710643 h 1046508"/>
                  <a:gd name="connsiteX84" fmla="*/ 48816 w 1200744"/>
                  <a:gd name="connsiteY84" fmla="*/ 710643 h 1046508"/>
                  <a:gd name="connsiteX85" fmla="*/ 14298 w 1200744"/>
                  <a:gd name="connsiteY85" fmla="*/ 696345 h 1046508"/>
                  <a:gd name="connsiteX86" fmla="*/ 0 w 1200744"/>
                  <a:gd name="connsiteY86" fmla="*/ 661828 h 1046508"/>
                  <a:gd name="connsiteX87" fmla="*/ 14298 w 1200744"/>
                  <a:gd name="connsiteY87" fmla="*/ 627310 h 1046508"/>
                  <a:gd name="connsiteX88" fmla="*/ 48816 w 1200744"/>
                  <a:gd name="connsiteY88" fmla="*/ 613012 h 1046508"/>
                  <a:gd name="connsiteX89" fmla="*/ 59346 w 1200744"/>
                  <a:gd name="connsiteY89" fmla="*/ 613012 h 1046508"/>
                  <a:gd name="connsiteX90" fmla="*/ 59247 w 1200744"/>
                  <a:gd name="connsiteY90" fmla="*/ 501147 h 1046508"/>
                  <a:gd name="connsiteX91" fmla="*/ 48816 w 1200744"/>
                  <a:gd name="connsiteY91" fmla="*/ 501147 h 1046508"/>
                  <a:gd name="connsiteX92" fmla="*/ 14298 w 1200744"/>
                  <a:gd name="connsiteY92" fmla="*/ 486849 h 1046508"/>
                  <a:gd name="connsiteX93" fmla="*/ 0 w 1200744"/>
                  <a:gd name="connsiteY93" fmla="*/ 452332 h 1046508"/>
                  <a:gd name="connsiteX94" fmla="*/ 14298 w 1200744"/>
                  <a:gd name="connsiteY94" fmla="*/ 417814 h 1046508"/>
                  <a:gd name="connsiteX95" fmla="*/ 48816 w 1200744"/>
                  <a:gd name="connsiteY95" fmla="*/ 403516 h 1046508"/>
                  <a:gd name="connsiteX96" fmla="*/ 59161 w 1200744"/>
                  <a:gd name="connsiteY96" fmla="*/ 403516 h 1046508"/>
                  <a:gd name="connsiteX97" fmla="*/ 59063 w 1200744"/>
                  <a:gd name="connsiteY97" fmla="*/ 291651 h 1046508"/>
                  <a:gd name="connsiteX98" fmla="*/ 48816 w 1200744"/>
                  <a:gd name="connsiteY98" fmla="*/ 291651 h 1046508"/>
                  <a:gd name="connsiteX99" fmla="*/ 14298 w 1200744"/>
                  <a:gd name="connsiteY99" fmla="*/ 277353 h 1046508"/>
                  <a:gd name="connsiteX100" fmla="*/ 0 w 1200744"/>
                  <a:gd name="connsiteY100" fmla="*/ 242836 h 1046508"/>
                  <a:gd name="connsiteX101" fmla="*/ 14298 w 1200744"/>
                  <a:gd name="connsiteY101" fmla="*/ 208318 h 1046508"/>
                  <a:gd name="connsiteX102" fmla="*/ 48816 w 1200744"/>
                  <a:gd name="connsiteY102" fmla="*/ 194020 h 1046508"/>
                  <a:gd name="connsiteX103" fmla="*/ 58977 w 1200744"/>
                  <a:gd name="connsiteY103" fmla="*/ 19402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792956 w 1200744"/>
                  <a:gd name="connsiteY49" fmla="*/ 387635 h 1046508"/>
                  <a:gd name="connsiteX50" fmla="*/ 883444 w 1200744"/>
                  <a:gd name="connsiteY50" fmla="*/ 376884 h 1046508"/>
                  <a:gd name="connsiteX51" fmla="*/ 1157493 w 1200744"/>
                  <a:gd name="connsiteY51" fmla="*/ 347675 h 1046508"/>
                  <a:gd name="connsiteX52" fmla="*/ 1200471 w 1200744"/>
                  <a:gd name="connsiteY52" fmla="*/ 381525 h 1046508"/>
                  <a:gd name="connsiteX53" fmla="*/ 1200470 w 1200744"/>
                  <a:gd name="connsiteY53" fmla="*/ 381526 h 1046508"/>
                  <a:gd name="connsiteX54" fmla="*/ 1166620 w 1200744"/>
                  <a:gd name="connsiteY54" fmla="*/ 424503 h 1046508"/>
                  <a:gd name="connsiteX55" fmla="*/ 883444 w 1200744"/>
                  <a:gd name="connsiteY55" fmla="*/ 458146 h 1046508"/>
                  <a:gd name="connsiteX56" fmla="*/ 883444 w 1200744"/>
                  <a:gd name="connsiteY56" fmla="*/ 506141 h 1046508"/>
                  <a:gd name="connsiteX57" fmla="*/ 792956 w 1200744"/>
                  <a:gd name="connsiteY57" fmla="*/ 516892 h 1046508"/>
                  <a:gd name="connsiteX58" fmla="*/ 792956 w 1200744"/>
                  <a:gd name="connsiteY58" fmla="*/ 468897 h 1046508"/>
                  <a:gd name="connsiteX59" fmla="*/ 688181 w 1200744"/>
                  <a:gd name="connsiteY59" fmla="*/ 481345 h 1046508"/>
                  <a:gd name="connsiteX60" fmla="*/ 688181 w 1200744"/>
                  <a:gd name="connsiteY60" fmla="*/ 529340 h 1046508"/>
                  <a:gd name="connsiteX61" fmla="*/ 418176 w 1200744"/>
                  <a:gd name="connsiteY61" fmla="*/ 561418 h 1046508"/>
                  <a:gd name="connsiteX62" fmla="*/ 392350 w 1200744"/>
                  <a:gd name="connsiteY62" fmla="*/ 575897 h 1046508"/>
                  <a:gd name="connsiteX63" fmla="*/ 384326 w 1200744"/>
                  <a:gd name="connsiteY63" fmla="*/ 604396 h 1046508"/>
                  <a:gd name="connsiteX64" fmla="*/ 398804 w 1200744"/>
                  <a:gd name="connsiteY64" fmla="*/ 630221 h 1046508"/>
                  <a:gd name="connsiteX65" fmla="*/ 427304 w 1200744"/>
                  <a:gd name="connsiteY65" fmla="*/ 638245 h 1046508"/>
                  <a:gd name="connsiteX66" fmla="*/ 1104900 w 1200744"/>
                  <a:gd name="connsiteY66" fmla="*/ 557742 h 1046508"/>
                  <a:gd name="connsiteX67" fmla="*/ 1104900 w 1200744"/>
                  <a:gd name="connsiteY67" fmla="*/ 558713 h 1046508"/>
                  <a:gd name="connsiteX68" fmla="*/ 1157491 w 1200744"/>
                  <a:gd name="connsiteY68" fmla="*/ 552464 h 1046508"/>
                  <a:gd name="connsiteX69" fmla="*/ 1200469 w 1200744"/>
                  <a:gd name="connsiteY69" fmla="*/ 586314 h 1046508"/>
                  <a:gd name="connsiteX70" fmla="*/ 1200468 w 1200744"/>
                  <a:gd name="connsiteY70" fmla="*/ 586314 h 1046508"/>
                  <a:gd name="connsiteX71" fmla="*/ 1166618 w 1200744"/>
                  <a:gd name="connsiteY71" fmla="*/ 629292 h 1046508"/>
                  <a:gd name="connsiteX72" fmla="*/ 1104900 w 1200744"/>
                  <a:gd name="connsiteY72" fmla="*/ 636624 h 1046508"/>
                  <a:gd name="connsiteX73" fmla="*/ 1104900 w 1200744"/>
                  <a:gd name="connsiteY73" fmla="*/ 817908 h 1046508"/>
                  <a:gd name="connsiteX74" fmla="*/ 971550 w 1200744"/>
                  <a:gd name="connsiteY74" fmla="*/ 946496 h 1046508"/>
                  <a:gd name="connsiteX75" fmla="*/ 752889 w 1200744"/>
                  <a:gd name="connsiteY75" fmla="*/ 946496 h 1046508"/>
                  <a:gd name="connsiteX76" fmla="*/ 749140 w 1200744"/>
                  <a:gd name="connsiteY76" fmla="*/ 965065 h 1046508"/>
                  <a:gd name="connsiteX77" fmla="*/ 626271 w 1200744"/>
                  <a:gd name="connsiteY77" fmla="*/ 1046508 h 1046508"/>
                  <a:gd name="connsiteX78" fmla="*/ 533770 w 1200744"/>
                  <a:gd name="connsiteY78" fmla="*/ 1046508 h 1046508"/>
                  <a:gd name="connsiteX79" fmla="*/ 410901 w 1200744"/>
                  <a:gd name="connsiteY79" fmla="*/ 965065 h 1046508"/>
                  <a:gd name="connsiteX80" fmla="*/ 407153 w 1200744"/>
                  <a:gd name="connsiteY80" fmla="*/ 946496 h 1046508"/>
                  <a:gd name="connsiteX81" fmla="*/ 190500 w 1200744"/>
                  <a:gd name="connsiteY81" fmla="*/ 946496 h 1046508"/>
                  <a:gd name="connsiteX82" fmla="*/ 59532 w 1200744"/>
                  <a:gd name="connsiteY82" fmla="*/ 825052 h 1046508"/>
                  <a:gd name="connsiteX83" fmla="*/ 59432 w 1200744"/>
                  <a:gd name="connsiteY83" fmla="*/ 710643 h 1046508"/>
                  <a:gd name="connsiteX84" fmla="*/ 48816 w 1200744"/>
                  <a:gd name="connsiteY84" fmla="*/ 710643 h 1046508"/>
                  <a:gd name="connsiteX85" fmla="*/ 14298 w 1200744"/>
                  <a:gd name="connsiteY85" fmla="*/ 696345 h 1046508"/>
                  <a:gd name="connsiteX86" fmla="*/ 0 w 1200744"/>
                  <a:gd name="connsiteY86" fmla="*/ 661828 h 1046508"/>
                  <a:gd name="connsiteX87" fmla="*/ 14298 w 1200744"/>
                  <a:gd name="connsiteY87" fmla="*/ 627310 h 1046508"/>
                  <a:gd name="connsiteX88" fmla="*/ 48816 w 1200744"/>
                  <a:gd name="connsiteY88" fmla="*/ 613012 h 1046508"/>
                  <a:gd name="connsiteX89" fmla="*/ 59346 w 1200744"/>
                  <a:gd name="connsiteY89" fmla="*/ 613012 h 1046508"/>
                  <a:gd name="connsiteX90" fmla="*/ 59247 w 1200744"/>
                  <a:gd name="connsiteY90" fmla="*/ 501147 h 1046508"/>
                  <a:gd name="connsiteX91" fmla="*/ 48816 w 1200744"/>
                  <a:gd name="connsiteY91" fmla="*/ 501147 h 1046508"/>
                  <a:gd name="connsiteX92" fmla="*/ 14298 w 1200744"/>
                  <a:gd name="connsiteY92" fmla="*/ 486849 h 1046508"/>
                  <a:gd name="connsiteX93" fmla="*/ 0 w 1200744"/>
                  <a:gd name="connsiteY93" fmla="*/ 452332 h 1046508"/>
                  <a:gd name="connsiteX94" fmla="*/ 14298 w 1200744"/>
                  <a:gd name="connsiteY94" fmla="*/ 417814 h 1046508"/>
                  <a:gd name="connsiteX95" fmla="*/ 48816 w 1200744"/>
                  <a:gd name="connsiteY95" fmla="*/ 403516 h 1046508"/>
                  <a:gd name="connsiteX96" fmla="*/ 59161 w 1200744"/>
                  <a:gd name="connsiteY96" fmla="*/ 403516 h 1046508"/>
                  <a:gd name="connsiteX97" fmla="*/ 59063 w 1200744"/>
                  <a:gd name="connsiteY97" fmla="*/ 291651 h 1046508"/>
                  <a:gd name="connsiteX98" fmla="*/ 48816 w 1200744"/>
                  <a:gd name="connsiteY98" fmla="*/ 291651 h 1046508"/>
                  <a:gd name="connsiteX99" fmla="*/ 14298 w 1200744"/>
                  <a:gd name="connsiteY99" fmla="*/ 277353 h 1046508"/>
                  <a:gd name="connsiteX100" fmla="*/ 0 w 1200744"/>
                  <a:gd name="connsiteY100" fmla="*/ 242836 h 1046508"/>
                  <a:gd name="connsiteX101" fmla="*/ 14298 w 1200744"/>
                  <a:gd name="connsiteY101" fmla="*/ 208318 h 1046508"/>
                  <a:gd name="connsiteX102" fmla="*/ 48816 w 1200744"/>
                  <a:gd name="connsiteY102" fmla="*/ 194020 h 1046508"/>
                  <a:gd name="connsiteX103" fmla="*/ 58977 w 1200744"/>
                  <a:gd name="connsiteY103" fmla="*/ 194020 h 1046508"/>
                  <a:gd name="connsiteX104" fmla="*/ 58806 w 1200744"/>
                  <a:gd name="connsiteY104"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792956 w 1200744"/>
                  <a:gd name="connsiteY49" fmla="*/ 387635 h 1046508"/>
                  <a:gd name="connsiteX50" fmla="*/ 1157493 w 1200744"/>
                  <a:gd name="connsiteY50" fmla="*/ 347675 h 1046508"/>
                  <a:gd name="connsiteX51" fmla="*/ 1200471 w 1200744"/>
                  <a:gd name="connsiteY51" fmla="*/ 381525 h 1046508"/>
                  <a:gd name="connsiteX52" fmla="*/ 1200470 w 1200744"/>
                  <a:gd name="connsiteY52" fmla="*/ 381526 h 1046508"/>
                  <a:gd name="connsiteX53" fmla="*/ 1166620 w 1200744"/>
                  <a:gd name="connsiteY53" fmla="*/ 424503 h 1046508"/>
                  <a:gd name="connsiteX54" fmla="*/ 883444 w 1200744"/>
                  <a:gd name="connsiteY54" fmla="*/ 458146 h 1046508"/>
                  <a:gd name="connsiteX55" fmla="*/ 883444 w 1200744"/>
                  <a:gd name="connsiteY55" fmla="*/ 506141 h 1046508"/>
                  <a:gd name="connsiteX56" fmla="*/ 792956 w 1200744"/>
                  <a:gd name="connsiteY56" fmla="*/ 516892 h 1046508"/>
                  <a:gd name="connsiteX57" fmla="*/ 792956 w 1200744"/>
                  <a:gd name="connsiteY57" fmla="*/ 468897 h 1046508"/>
                  <a:gd name="connsiteX58" fmla="*/ 688181 w 1200744"/>
                  <a:gd name="connsiteY58" fmla="*/ 481345 h 1046508"/>
                  <a:gd name="connsiteX59" fmla="*/ 688181 w 1200744"/>
                  <a:gd name="connsiteY59" fmla="*/ 529340 h 1046508"/>
                  <a:gd name="connsiteX60" fmla="*/ 418176 w 1200744"/>
                  <a:gd name="connsiteY60" fmla="*/ 561418 h 1046508"/>
                  <a:gd name="connsiteX61" fmla="*/ 392350 w 1200744"/>
                  <a:gd name="connsiteY61" fmla="*/ 575897 h 1046508"/>
                  <a:gd name="connsiteX62" fmla="*/ 384326 w 1200744"/>
                  <a:gd name="connsiteY62" fmla="*/ 604396 h 1046508"/>
                  <a:gd name="connsiteX63" fmla="*/ 398804 w 1200744"/>
                  <a:gd name="connsiteY63" fmla="*/ 630221 h 1046508"/>
                  <a:gd name="connsiteX64" fmla="*/ 427304 w 1200744"/>
                  <a:gd name="connsiteY64" fmla="*/ 638245 h 1046508"/>
                  <a:gd name="connsiteX65" fmla="*/ 1104900 w 1200744"/>
                  <a:gd name="connsiteY65" fmla="*/ 557742 h 1046508"/>
                  <a:gd name="connsiteX66" fmla="*/ 1104900 w 1200744"/>
                  <a:gd name="connsiteY66" fmla="*/ 558713 h 1046508"/>
                  <a:gd name="connsiteX67" fmla="*/ 1157491 w 1200744"/>
                  <a:gd name="connsiteY67" fmla="*/ 552464 h 1046508"/>
                  <a:gd name="connsiteX68" fmla="*/ 1200469 w 1200744"/>
                  <a:gd name="connsiteY68" fmla="*/ 586314 h 1046508"/>
                  <a:gd name="connsiteX69" fmla="*/ 1200468 w 1200744"/>
                  <a:gd name="connsiteY69" fmla="*/ 586314 h 1046508"/>
                  <a:gd name="connsiteX70" fmla="*/ 1166618 w 1200744"/>
                  <a:gd name="connsiteY70" fmla="*/ 629292 h 1046508"/>
                  <a:gd name="connsiteX71" fmla="*/ 1104900 w 1200744"/>
                  <a:gd name="connsiteY71" fmla="*/ 636624 h 1046508"/>
                  <a:gd name="connsiteX72" fmla="*/ 1104900 w 1200744"/>
                  <a:gd name="connsiteY72" fmla="*/ 817908 h 1046508"/>
                  <a:gd name="connsiteX73" fmla="*/ 971550 w 1200744"/>
                  <a:gd name="connsiteY73" fmla="*/ 946496 h 1046508"/>
                  <a:gd name="connsiteX74" fmla="*/ 752889 w 1200744"/>
                  <a:gd name="connsiteY74" fmla="*/ 946496 h 1046508"/>
                  <a:gd name="connsiteX75" fmla="*/ 749140 w 1200744"/>
                  <a:gd name="connsiteY75" fmla="*/ 965065 h 1046508"/>
                  <a:gd name="connsiteX76" fmla="*/ 626271 w 1200744"/>
                  <a:gd name="connsiteY76" fmla="*/ 1046508 h 1046508"/>
                  <a:gd name="connsiteX77" fmla="*/ 533770 w 1200744"/>
                  <a:gd name="connsiteY77" fmla="*/ 1046508 h 1046508"/>
                  <a:gd name="connsiteX78" fmla="*/ 410901 w 1200744"/>
                  <a:gd name="connsiteY78" fmla="*/ 965065 h 1046508"/>
                  <a:gd name="connsiteX79" fmla="*/ 407153 w 1200744"/>
                  <a:gd name="connsiteY79" fmla="*/ 946496 h 1046508"/>
                  <a:gd name="connsiteX80" fmla="*/ 190500 w 1200744"/>
                  <a:gd name="connsiteY80" fmla="*/ 946496 h 1046508"/>
                  <a:gd name="connsiteX81" fmla="*/ 59532 w 1200744"/>
                  <a:gd name="connsiteY81" fmla="*/ 825052 h 1046508"/>
                  <a:gd name="connsiteX82" fmla="*/ 59432 w 1200744"/>
                  <a:gd name="connsiteY82" fmla="*/ 710643 h 1046508"/>
                  <a:gd name="connsiteX83" fmla="*/ 48816 w 1200744"/>
                  <a:gd name="connsiteY83" fmla="*/ 710643 h 1046508"/>
                  <a:gd name="connsiteX84" fmla="*/ 14298 w 1200744"/>
                  <a:gd name="connsiteY84" fmla="*/ 696345 h 1046508"/>
                  <a:gd name="connsiteX85" fmla="*/ 0 w 1200744"/>
                  <a:gd name="connsiteY85" fmla="*/ 661828 h 1046508"/>
                  <a:gd name="connsiteX86" fmla="*/ 14298 w 1200744"/>
                  <a:gd name="connsiteY86" fmla="*/ 627310 h 1046508"/>
                  <a:gd name="connsiteX87" fmla="*/ 48816 w 1200744"/>
                  <a:gd name="connsiteY87" fmla="*/ 613012 h 1046508"/>
                  <a:gd name="connsiteX88" fmla="*/ 59346 w 1200744"/>
                  <a:gd name="connsiteY88" fmla="*/ 613012 h 1046508"/>
                  <a:gd name="connsiteX89" fmla="*/ 59247 w 1200744"/>
                  <a:gd name="connsiteY89" fmla="*/ 501147 h 1046508"/>
                  <a:gd name="connsiteX90" fmla="*/ 48816 w 1200744"/>
                  <a:gd name="connsiteY90" fmla="*/ 501147 h 1046508"/>
                  <a:gd name="connsiteX91" fmla="*/ 14298 w 1200744"/>
                  <a:gd name="connsiteY91" fmla="*/ 486849 h 1046508"/>
                  <a:gd name="connsiteX92" fmla="*/ 0 w 1200744"/>
                  <a:gd name="connsiteY92" fmla="*/ 452332 h 1046508"/>
                  <a:gd name="connsiteX93" fmla="*/ 14298 w 1200744"/>
                  <a:gd name="connsiteY93" fmla="*/ 417814 h 1046508"/>
                  <a:gd name="connsiteX94" fmla="*/ 48816 w 1200744"/>
                  <a:gd name="connsiteY94" fmla="*/ 403516 h 1046508"/>
                  <a:gd name="connsiteX95" fmla="*/ 59161 w 1200744"/>
                  <a:gd name="connsiteY95" fmla="*/ 403516 h 1046508"/>
                  <a:gd name="connsiteX96" fmla="*/ 59063 w 1200744"/>
                  <a:gd name="connsiteY96" fmla="*/ 291651 h 1046508"/>
                  <a:gd name="connsiteX97" fmla="*/ 48816 w 1200744"/>
                  <a:gd name="connsiteY97" fmla="*/ 291651 h 1046508"/>
                  <a:gd name="connsiteX98" fmla="*/ 14298 w 1200744"/>
                  <a:gd name="connsiteY98" fmla="*/ 277353 h 1046508"/>
                  <a:gd name="connsiteX99" fmla="*/ 0 w 1200744"/>
                  <a:gd name="connsiteY99" fmla="*/ 242836 h 1046508"/>
                  <a:gd name="connsiteX100" fmla="*/ 14298 w 1200744"/>
                  <a:gd name="connsiteY100" fmla="*/ 208318 h 1046508"/>
                  <a:gd name="connsiteX101" fmla="*/ 48816 w 1200744"/>
                  <a:gd name="connsiteY101" fmla="*/ 194020 h 1046508"/>
                  <a:gd name="connsiteX102" fmla="*/ 58977 w 1200744"/>
                  <a:gd name="connsiteY102" fmla="*/ 194020 h 1046508"/>
                  <a:gd name="connsiteX103" fmla="*/ 58806 w 1200744"/>
                  <a:gd name="connsiteY103"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1157493 w 1200744"/>
                  <a:gd name="connsiteY49" fmla="*/ 347675 h 1046508"/>
                  <a:gd name="connsiteX50" fmla="*/ 1200471 w 1200744"/>
                  <a:gd name="connsiteY50" fmla="*/ 381525 h 1046508"/>
                  <a:gd name="connsiteX51" fmla="*/ 1200470 w 1200744"/>
                  <a:gd name="connsiteY51" fmla="*/ 381526 h 1046508"/>
                  <a:gd name="connsiteX52" fmla="*/ 1166620 w 1200744"/>
                  <a:gd name="connsiteY52" fmla="*/ 424503 h 1046508"/>
                  <a:gd name="connsiteX53" fmla="*/ 883444 w 1200744"/>
                  <a:gd name="connsiteY53" fmla="*/ 458146 h 1046508"/>
                  <a:gd name="connsiteX54" fmla="*/ 883444 w 1200744"/>
                  <a:gd name="connsiteY54" fmla="*/ 506141 h 1046508"/>
                  <a:gd name="connsiteX55" fmla="*/ 792956 w 1200744"/>
                  <a:gd name="connsiteY55" fmla="*/ 516892 h 1046508"/>
                  <a:gd name="connsiteX56" fmla="*/ 792956 w 1200744"/>
                  <a:gd name="connsiteY56" fmla="*/ 468897 h 1046508"/>
                  <a:gd name="connsiteX57" fmla="*/ 688181 w 1200744"/>
                  <a:gd name="connsiteY57" fmla="*/ 481345 h 1046508"/>
                  <a:gd name="connsiteX58" fmla="*/ 688181 w 1200744"/>
                  <a:gd name="connsiteY58" fmla="*/ 529340 h 1046508"/>
                  <a:gd name="connsiteX59" fmla="*/ 418176 w 1200744"/>
                  <a:gd name="connsiteY59" fmla="*/ 561418 h 1046508"/>
                  <a:gd name="connsiteX60" fmla="*/ 392350 w 1200744"/>
                  <a:gd name="connsiteY60" fmla="*/ 575897 h 1046508"/>
                  <a:gd name="connsiteX61" fmla="*/ 384326 w 1200744"/>
                  <a:gd name="connsiteY61" fmla="*/ 604396 h 1046508"/>
                  <a:gd name="connsiteX62" fmla="*/ 398804 w 1200744"/>
                  <a:gd name="connsiteY62" fmla="*/ 630221 h 1046508"/>
                  <a:gd name="connsiteX63" fmla="*/ 427304 w 1200744"/>
                  <a:gd name="connsiteY63" fmla="*/ 638245 h 1046508"/>
                  <a:gd name="connsiteX64" fmla="*/ 1104900 w 1200744"/>
                  <a:gd name="connsiteY64" fmla="*/ 557742 h 1046508"/>
                  <a:gd name="connsiteX65" fmla="*/ 1104900 w 1200744"/>
                  <a:gd name="connsiteY65" fmla="*/ 558713 h 1046508"/>
                  <a:gd name="connsiteX66" fmla="*/ 1157491 w 1200744"/>
                  <a:gd name="connsiteY66" fmla="*/ 552464 h 1046508"/>
                  <a:gd name="connsiteX67" fmla="*/ 1200469 w 1200744"/>
                  <a:gd name="connsiteY67" fmla="*/ 586314 h 1046508"/>
                  <a:gd name="connsiteX68" fmla="*/ 1200468 w 1200744"/>
                  <a:gd name="connsiteY68" fmla="*/ 586314 h 1046508"/>
                  <a:gd name="connsiteX69" fmla="*/ 1166618 w 1200744"/>
                  <a:gd name="connsiteY69" fmla="*/ 629292 h 1046508"/>
                  <a:gd name="connsiteX70" fmla="*/ 1104900 w 1200744"/>
                  <a:gd name="connsiteY70" fmla="*/ 636624 h 1046508"/>
                  <a:gd name="connsiteX71" fmla="*/ 1104900 w 1200744"/>
                  <a:gd name="connsiteY71" fmla="*/ 817908 h 1046508"/>
                  <a:gd name="connsiteX72" fmla="*/ 971550 w 1200744"/>
                  <a:gd name="connsiteY72" fmla="*/ 946496 h 1046508"/>
                  <a:gd name="connsiteX73" fmla="*/ 752889 w 1200744"/>
                  <a:gd name="connsiteY73" fmla="*/ 946496 h 1046508"/>
                  <a:gd name="connsiteX74" fmla="*/ 749140 w 1200744"/>
                  <a:gd name="connsiteY74" fmla="*/ 965065 h 1046508"/>
                  <a:gd name="connsiteX75" fmla="*/ 626271 w 1200744"/>
                  <a:gd name="connsiteY75" fmla="*/ 1046508 h 1046508"/>
                  <a:gd name="connsiteX76" fmla="*/ 533770 w 1200744"/>
                  <a:gd name="connsiteY76" fmla="*/ 1046508 h 1046508"/>
                  <a:gd name="connsiteX77" fmla="*/ 410901 w 1200744"/>
                  <a:gd name="connsiteY77" fmla="*/ 965065 h 1046508"/>
                  <a:gd name="connsiteX78" fmla="*/ 407153 w 1200744"/>
                  <a:gd name="connsiteY78" fmla="*/ 946496 h 1046508"/>
                  <a:gd name="connsiteX79" fmla="*/ 190500 w 1200744"/>
                  <a:gd name="connsiteY79" fmla="*/ 946496 h 1046508"/>
                  <a:gd name="connsiteX80" fmla="*/ 59532 w 1200744"/>
                  <a:gd name="connsiteY80" fmla="*/ 825052 h 1046508"/>
                  <a:gd name="connsiteX81" fmla="*/ 59432 w 1200744"/>
                  <a:gd name="connsiteY81" fmla="*/ 710643 h 1046508"/>
                  <a:gd name="connsiteX82" fmla="*/ 48816 w 1200744"/>
                  <a:gd name="connsiteY82" fmla="*/ 710643 h 1046508"/>
                  <a:gd name="connsiteX83" fmla="*/ 14298 w 1200744"/>
                  <a:gd name="connsiteY83" fmla="*/ 696345 h 1046508"/>
                  <a:gd name="connsiteX84" fmla="*/ 0 w 1200744"/>
                  <a:gd name="connsiteY84" fmla="*/ 661828 h 1046508"/>
                  <a:gd name="connsiteX85" fmla="*/ 14298 w 1200744"/>
                  <a:gd name="connsiteY85" fmla="*/ 627310 h 1046508"/>
                  <a:gd name="connsiteX86" fmla="*/ 48816 w 1200744"/>
                  <a:gd name="connsiteY86" fmla="*/ 613012 h 1046508"/>
                  <a:gd name="connsiteX87" fmla="*/ 59346 w 1200744"/>
                  <a:gd name="connsiteY87" fmla="*/ 613012 h 1046508"/>
                  <a:gd name="connsiteX88" fmla="*/ 59247 w 1200744"/>
                  <a:gd name="connsiteY88" fmla="*/ 501147 h 1046508"/>
                  <a:gd name="connsiteX89" fmla="*/ 48816 w 1200744"/>
                  <a:gd name="connsiteY89" fmla="*/ 501147 h 1046508"/>
                  <a:gd name="connsiteX90" fmla="*/ 14298 w 1200744"/>
                  <a:gd name="connsiteY90" fmla="*/ 486849 h 1046508"/>
                  <a:gd name="connsiteX91" fmla="*/ 0 w 1200744"/>
                  <a:gd name="connsiteY91" fmla="*/ 452332 h 1046508"/>
                  <a:gd name="connsiteX92" fmla="*/ 14298 w 1200744"/>
                  <a:gd name="connsiteY92" fmla="*/ 417814 h 1046508"/>
                  <a:gd name="connsiteX93" fmla="*/ 48816 w 1200744"/>
                  <a:gd name="connsiteY93" fmla="*/ 403516 h 1046508"/>
                  <a:gd name="connsiteX94" fmla="*/ 59161 w 1200744"/>
                  <a:gd name="connsiteY94" fmla="*/ 403516 h 1046508"/>
                  <a:gd name="connsiteX95" fmla="*/ 59063 w 1200744"/>
                  <a:gd name="connsiteY95" fmla="*/ 291651 h 1046508"/>
                  <a:gd name="connsiteX96" fmla="*/ 48816 w 1200744"/>
                  <a:gd name="connsiteY96" fmla="*/ 291651 h 1046508"/>
                  <a:gd name="connsiteX97" fmla="*/ 14298 w 1200744"/>
                  <a:gd name="connsiteY97" fmla="*/ 277353 h 1046508"/>
                  <a:gd name="connsiteX98" fmla="*/ 0 w 1200744"/>
                  <a:gd name="connsiteY98" fmla="*/ 242836 h 1046508"/>
                  <a:gd name="connsiteX99" fmla="*/ 14298 w 1200744"/>
                  <a:gd name="connsiteY99" fmla="*/ 208318 h 1046508"/>
                  <a:gd name="connsiteX100" fmla="*/ 48816 w 1200744"/>
                  <a:gd name="connsiteY100" fmla="*/ 194020 h 1046508"/>
                  <a:gd name="connsiteX101" fmla="*/ 58977 w 1200744"/>
                  <a:gd name="connsiteY101" fmla="*/ 194020 h 1046508"/>
                  <a:gd name="connsiteX102" fmla="*/ 58806 w 1200744"/>
                  <a:gd name="connsiteY102"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1157493 w 1200744"/>
                  <a:gd name="connsiteY48" fmla="*/ 347675 h 1046508"/>
                  <a:gd name="connsiteX49" fmla="*/ 1200471 w 1200744"/>
                  <a:gd name="connsiteY49" fmla="*/ 381525 h 1046508"/>
                  <a:gd name="connsiteX50" fmla="*/ 1200470 w 1200744"/>
                  <a:gd name="connsiteY50" fmla="*/ 381526 h 1046508"/>
                  <a:gd name="connsiteX51" fmla="*/ 1166620 w 1200744"/>
                  <a:gd name="connsiteY51" fmla="*/ 424503 h 1046508"/>
                  <a:gd name="connsiteX52" fmla="*/ 883444 w 1200744"/>
                  <a:gd name="connsiteY52" fmla="*/ 458146 h 1046508"/>
                  <a:gd name="connsiteX53" fmla="*/ 883444 w 1200744"/>
                  <a:gd name="connsiteY53" fmla="*/ 506141 h 1046508"/>
                  <a:gd name="connsiteX54" fmla="*/ 792956 w 1200744"/>
                  <a:gd name="connsiteY54" fmla="*/ 516892 h 1046508"/>
                  <a:gd name="connsiteX55" fmla="*/ 792956 w 1200744"/>
                  <a:gd name="connsiteY55" fmla="*/ 468897 h 1046508"/>
                  <a:gd name="connsiteX56" fmla="*/ 688181 w 1200744"/>
                  <a:gd name="connsiteY56" fmla="*/ 481345 h 1046508"/>
                  <a:gd name="connsiteX57" fmla="*/ 688181 w 1200744"/>
                  <a:gd name="connsiteY57" fmla="*/ 529340 h 1046508"/>
                  <a:gd name="connsiteX58" fmla="*/ 418176 w 1200744"/>
                  <a:gd name="connsiteY58" fmla="*/ 561418 h 1046508"/>
                  <a:gd name="connsiteX59" fmla="*/ 392350 w 1200744"/>
                  <a:gd name="connsiteY59" fmla="*/ 575897 h 1046508"/>
                  <a:gd name="connsiteX60" fmla="*/ 384326 w 1200744"/>
                  <a:gd name="connsiteY60" fmla="*/ 604396 h 1046508"/>
                  <a:gd name="connsiteX61" fmla="*/ 398804 w 1200744"/>
                  <a:gd name="connsiteY61" fmla="*/ 630221 h 1046508"/>
                  <a:gd name="connsiteX62" fmla="*/ 427304 w 1200744"/>
                  <a:gd name="connsiteY62" fmla="*/ 638245 h 1046508"/>
                  <a:gd name="connsiteX63" fmla="*/ 1104900 w 1200744"/>
                  <a:gd name="connsiteY63" fmla="*/ 557742 h 1046508"/>
                  <a:gd name="connsiteX64" fmla="*/ 1104900 w 1200744"/>
                  <a:gd name="connsiteY64" fmla="*/ 558713 h 1046508"/>
                  <a:gd name="connsiteX65" fmla="*/ 1157491 w 1200744"/>
                  <a:gd name="connsiteY65" fmla="*/ 552464 h 1046508"/>
                  <a:gd name="connsiteX66" fmla="*/ 1200469 w 1200744"/>
                  <a:gd name="connsiteY66" fmla="*/ 586314 h 1046508"/>
                  <a:gd name="connsiteX67" fmla="*/ 1200468 w 1200744"/>
                  <a:gd name="connsiteY67" fmla="*/ 586314 h 1046508"/>
                  <a:gd name="connsiteX68" fmla="*/ 1166618 w 1200744"/>
                  <a:gd name="connsiteY68" fmla="*/ 629292 h 1046508"/>
                  <a:gd name="connsiteX69" fmla="*/ 1104900 w 1200744"/>
                  <a:gd name="connsiteY69" fmla="*/ 636624 h 1046508"/>
                  <a:gd name="connsiteX70" fmla="*/ 1104900 w 1200744"/>
                  <a:gd name="connsiteY70" fmla="*/ 817908 h 1046508"/>
                  <a:gd name="connsiteX71" fmla="*/ 971550 w 1200744"/>
                  <a:gd name="connsiteY71" fmla="*/ 946496 h 1046508"/>
                  <a:gd name="connsiteX72" fmla="*/ 752889 w 1200744"/>
                  <a:gd name="connsiteY72" fmla="*/ 946496 h 1046508"/>
                  <a:gd name="connsiteX73" fmla="*/ 749140 w 1200744"/>
                  <a:gd name="connsiteY73" fmla="*/ 965065 h 1046508"/>
                  <a:gd name="connsiteX74" fmla="*/ 626271 w 1200744"/>
                  <a:gd name="connsiteY74" fmla="*/ 1046508 h 1046508"/>
                  <a:gd name="connsiteX75" fmla="*/ 533770 w 1200744"/>
                  <a:gd name="connsiteY75" fmla="*/ 1046508 h 1046508"/>
                  <a:gd name="connsiteX76" fmla="*/ 410901 w 1200744"/>
                  <a:gd name="connsiteY76" fmla="*/ 965065 h 1046508"/>
                  <a:gd name="connsiteX77" fmla="*/ 407153 w 1200744"/>
                  <a:gd name="connsiteY77" fmla="*/ 946496 h 1046508"/>
                  <a:gd name="connsiteX78" fmla="*/ 190500 w 1200744"/>
                  <a:gd name="connsiteY78" fmla="*/ 946496 h 1046508"/>
                  <a:gd name="connsiteX79" fmla="*/ 59532 w 1200744"/>
                  <a:gd name="connsiteY79" fmla="*/ 825052 h 1046508"/>
                  <a:gd name="connsiteX80" fmla="*/ 59432 w 1200744"/>
                  <a:gd name="connsiteY80" fmla="*/ 710643 h 1046508"/>
                  <a:gd name="connsiteX81" fmla="*/ 48816 w 1200744"/>
                  <a:gd name="connsiteY81" fmla="*/ 710643 h 1046508"/>
                  <a:gd name="connsiteX82" fmla="*/ 14298 w 1200744"/>
                  <a:gd name="connsiteY82" fmla="*/ 696345 h 1046508"/>
                  <a:gd name="connsiteX83" fmla="*/ 0 w 1200744"/>
                  <a:gd name="connsiteY83" fmla="*/ 661828 h 1046508"/>
                  <a:gd name="connsiteX84" fmla="*/ 14298 w 1200744"/>
                  <a:gd name="connsiteY84" fmla="*/ 627310 h 1046508"/>
                  <a:gd name="connsiteX85" fmla="*/ 48816 w 1200744"/>
                  <a:gd name="connsiteY85" fmla="*/ 613012 h 1046508"/>
                  <a:gd name="connsiteX86" fmla="*/ 59346 w 1200744"/>
                  <a:gd name="connsiteY86" fmla="*/ 613012 h 1046508"/>
                  <a:gd name="connsiteX87" fmla="*/ 59247 w 1200744"/>
                  <a:gd name="connsiteY87" fmla="*/ 501147 h 1046508"/>
                  <a:gd name="connsiteX88" fmla="*/ 48816 w 1200744"/>
                  <a:gd name="connsiteY88" fmla="*/ 501147 h 1046508"/>
                  <a:gd name="connsiteX89" fmla="*/ 14298 w 1200744"/>
                  <a:gd name="connsiteY89" fmla="*/ 486849 h 1046508"/>
                  <a:gd name="connsiteX90" fmla="*/ 0 w 1200744"/>
                  <a:gd name="connsiteY90" fmla="*/ 452332 h 1046508"/>
                  <a:gd name="connsiteX91" fmla="*/ 14298 w 1200744"/>
                  <a:gd name="connsiteY91" fmla="*/ 417814 h 1046508"/>
                  <a:gd name="connsiteX92" fmla="*/ 48816 w 1200744"/>
                  <a:gd name="connsiteY92" fmla="*/ 403516 h 1046508"/>
                  <a:gd name="connsiteX93" fmla="*/ 59161 w 1200744"/>
                  <a:gd name="connsiteY93" fmla="*/ 403516 h 1046508"/>
                  <a:gd name="connsiteX94" fmla="*/ 59063 w 1200744"/>
                  <a:gd name="connsiteY94" fmla="*/ 291651 h 1046508"/>
                  <a:gd name="connsiteX95" fmla="*/ 48816 w 1200744"/>
                  <a:gd name="connsiteY95" fmla="*/ 291651 h 1046508"/>
                  <a:gd name="connsiteX96" fmla="*/ 14298 w 1200744"/>
                  <a:gd name="connsiteY96" fmla="*/ 277353 h 1046508"/>
                  <a:gd name="connsiteX97" fmla="*/ 0 w 1200744"/>
                  <a:gd name="connsiteY97" fmla="*/ 242836 h 1046508"/>
                  <a:gd name="connsiteX98" fmla="*/ 14298 w 1200744"/>
                  <a:gd name="connsiteY98" fmla="*/ 208318 h 1046508"/>
                  <a:gd name="connsiteX99" fmla="*/ 48816 w 1200744"/>
                  <a:gd name="connsiteY99" fmla="*/ 194020 h 1046508"/>
                  <a:gd name="connsiteX100" fmla="*/ 58977 w 1200744"/>
                  <a:gd name="connsiteY100" fmla="*/ 194020 h 1046508"/>
                  <a:gd name="connsiteX101" fmla="*/ 58806 w 1200744"/>
                  <a:gd name="connsiteY101"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1157493 w 1200744"/>
                  <a:gd name="connsiteY47" fmla="*/ 347675 h 1046508"/>
                  <a:gd name="connsiteX48" fmla="*/ 1200471 w 1200744"/>
                  <a:gd name="connsiteY48" fmla="*/ 381525 h 1046508"/>
                  <a:gd name="connsiteX49" fmla="*/ 1200470 w 1200744"/>
                  <a:gd name="connsiteY49" fmla="*/ 381526 h 1046508"/>
                  <a:gd name="connsiteX50" fmla="*/ 1166620 w 1200744"/>
                  <a:gd name="connsiteY50" fmla="*/ 424503 h 1046508"/>
                  <a:gd name="connsiteX51" fmla="*/ 883444 w 1200744"/>
                  <a:gd name="connsiteY51" fmla="*/ 458146 h 1046508"/>
                  <a:gd name="connsiteX52" fmla="*/ 883444 w 1200744"/>
                  <a:gd name="connsiteY52" fmla="*/ 506141 h 1046508"/>
                  <a:gd name="connsiteX53" fmla="*/ 792956 w 1200744"/>
                  <a:gd name="connsiteY53" fmla="*/ 516892 h 1046508"/>
                  <a:gd name="connsiteX54" fmla="*/ 792956 w 1200744"/>
                  <a:gd name="connsiteY54" fmla="*/ 468897 h 1046508"/>
                  <a:gd name="connsiteX55" fmla="*/ 688181 w 1200744"/>
                  <a:gd name="connsiteY55" fmla="*/ 481345 h 1046508"/>
                  <a:gd name="connsiteX56" fmla="*/ 688181 w 1200744"/>
                  <a:gd name="connsiteY56" fmla="*/ 529340 h 1046508"/>
                  <a:gd name="connsiteX57" fmla="*/ 418176 w 1200744"/>
                  <a:gd name="connsiteY57" fmla="*/ 561418 h 1046508"/>
                  <a:gd name="connsiteX58" fmla="*/ 392350 w 1200744"/>
                  <a:gd name="connsiteY58" fmla="*/ 575897 h 1046508"/>
                  <a:gd name="connsiteX59" fmla="*/ 384326 w 1200744"/>
                  <a:gd name="connsiteY59" fmla="*/ 604396 h 1046508"/>
                  <a:gd name="connsiteX60" fmla="*/ 398804 w 1200744"/>
                  <a:gd name="connsiteY60" fmla="*/ 630221 h 1046508"/>
                  <a:gd name="connsiteX61" fmla="*/ 427304 w 1200744"/>
                  <a:gd name="connsiteY61" fmla="*/ 638245 h 1046508"/>
                  <a:gd name="connsiteX62" fmla="*/ 1104900 w 1200744"/>
                  <a:gd name="connsiteY62" fmla="*/ 557742 h 1046508"/>
                  <a:gd name="connsiteX63" fmla="*/ 1104900 w 1200744"/>
                  <a:gd name="connsiteY63" fmla="*/ 558713 h 1046508"/>
                  <a:gd name="connsiteX64" fmla="*/ 1157491 w 1200744"/>
                  <a:gd name="connsiteY64" fmla="*/ 552464 h 1046508"/>
                  <a:gd name="connsiteX65" fmla="*/ 1200469 w 1200744"/>
                  <a:gd name="connsiteY65" fmla="*/ 586314 h 1046508"/>
                  <a:gd name="connsiteX66" fmla="*/ 1200468 w 1200744"/>
                  <a:gd name="connsiteY66" fmla="*/ 586314 h 1046508"/>
                  <a:gd name="connsiteX67" fmla="*/ 1166618 w 1200744"/>
                  <a:gd name="connsiteY67" fmla="*/ 629292 h 1046508"/>
                  <a:gd name="connsiteX68" fmla="*/ 1104900 w 1200744"/>
                  <a:gd name="connsiteY68" fmla="*/ 636624 h 1046508"/>
                  <a:gd name="connsiteX69" fmla="*/ 1104900 w 1200744"/>
                  <a:gd name="connsiteY69" fmla="*/ 817908 h 1046508"/>
                  <a:gd name="connsiteX70" fmla="*/ 971550 w 1200744"/>
                  <a:gd name="connsiteY70" fmla="*/ 946496 h 1046508"/>
                  <a:gd name="connsiteX71" fmla="*/ 752889 w 1200744"/>
                  <a:gd name="connsiteY71" fmla="*/ 946496 h 1046508"/>
                  <a:gd name="connsiteX72" fmla="*/ 749140 w 1200744"/>
                  <a:gd name="connsiteY72" fmla="*/ 965065 h 1046508"/>
                  <a:gd name="connsiteX73" fmla="*/ 626271 w 1200744"/>
                  <a:gd name="connsiteY73" fmla="*/ 1046508 h 1046508"/>
                  <a:gd name="connsiteX74" fmla="*/ 533770 w 1200744"/>
                  <a:gd name="connsiteY74" fmla="*/ 1046508 h 1046508"/>
                  <a:gd name="connsiteX75" fmla="*/ 410901 w 1200744"/>
                  <a:gd name="connsiteY75" fmla="*/ 965065 h 1046508"/>
                  <a:gd name="connsiteX76" fmla="*/ 407153 w 1200744"/>
                  <a:gd name="connsiteY76" fmla="*/ 946496 h 1046508"/>
                  <a:gd name="connsiteX77" fmla="*/ 190500 w 1200744"/>
                  <a:gd name="connsiteY77" fmla="*/ 946496 h 1046508"/>
                  <a:gd name="connsiteX78" fmla="*/ 59532 w 1200744"/>
                  <a:gd name="connsiteY78" fmla="*/ 825052 h 1046508"/>
                  <a:gd name="connsiteX79" fmla="*/ 59432 w 1200744"/>
                  <a:gd name="connsiteY79" fmla="*/ 710643 h 1046508"/>
                  <a:gd name="connsiteX80" fmla="*/ 48816 w 1200744"/>
                  <a:gd name="connsiteY80" fmla="*/ 710643 h 1046508"/>
                  <a:gd name="connsiteX81" fmla="*/ 14298 w 1200744"/>
                  <a:gd name="connsiteY81" fmla="*/ 696345 h 1046508"/>
                  <a:gd name="connsiteX82" fmla="*/ 0 w 1200744"/>
                  <a:gd name="connsiteY82" fmla="*/ 661828 h 1046508"/>
                  <a:gd name="connsiteX83" fmla="*/ 14298 w 1200744"/>
                  <a:gd name="connsiteY83" fmla="*/ 627310 h 1046508"/>
                  <a:gd name="connsiteX84" fmla="*/ 48816 w 1200744"/>
                  <a:gd name="connsiteY84" fmla="*/ 613012 h 1046508"/>
                  <a:gd name="connsiteX85" fmla="*/ 59346 w 1200744"/>
                  <a:gd name="connsiteY85" fmla="*/ 613012 h 1046508"/>
                  <a:gd name="connsiteX86" fmla="*/ 59247 w 1200744"/>
                  <a:gd name="connsiteY86" fmla="*/ 501147 h 1046508"/>
                  <a:gd name="connsiteX87" fmla="*/ 48816 w 1200744"/>
                  <a:gd name="connsiteY87" fmla="*/ 501147 h 1046508"/>
                  <a:gd name="connsiteX88" fmla="*/ 14298 w 1200744"/>
                  <a:gd name="connsiteY88" fmla="*/ 486849 h 1046508"/>
                  <a:gd name="connsiteX89" fmla="*/ 0 w 1200744"/>
                  <a:gd name="connsiteY89" fmla="*/ 452332 h 1046508"/>
                  <a:gd name="connsiteX90" fmla="*/ 14298 w 1200744"/>
                  <a:gd name="connsiteY90" fmla="*/ 417814 h 1046508"/>
                  <a:gd name="connsiteX91" fmla="*/ 48816 w 1200744"/>
                  <a:gd name="connsiteY91" fmla="*/ 403516 h 1046508"/>
                  <a:gd name="connsiteX92" fmla="*/ 59161 w 1200744"/>
                  <a:gd name="connsiteY92" fmla="*/ 403516 h 1046508"/>
                  <a:gd name="connsiteX93" fmla="*/ 59063 w 1200744"/>
                  <a:gd name="connsiteY93" fmla="*/ 291651 h 1046508"/>
                  <a:gd name="connsiteX94" fmla="*/ 48816 w 1200744"/>
                  <a:gd name="connsiteY94" fmla="*/ 291651 h 1046508"/>
                  <a:gd name="connsiteX95" fmla="*/ 14298 w 1200744"/>
                  <a:gd name="connsiteY95" fmla="*/ 277353 h 1046508"/>
                  <a:gd name="connsiteX96" fmla="*/ 0 w 1200744"/>
                  <a:gd name="connsiteY96" fmla="*/ 242836 h 1046508"/>
                  <a:gd name="connsiteX97" fmla="*/ 14298 w 1200744"/>
                  <a:gd name="connsiteY97" fmla="*/ 208318 h 1046508"/>
                  <a:gd name="connsiteX98" fmla="*/ 48816 w 1200744"/>
                  <a:gd name="connsiteY98" fmla="*/ 194020 h 1046508"/>
                  <a:gd name="connsiteX99" fmla="*/ 58977 w 1200744"/>
                  <a:gd name="connsiteY99" fmla="*/ 194020 h 1046508"/>
                  <a:gd name="connsiteX100" fmla="*/ 58806 w 1200744"/>
                  <a:gd name="connsiteY100"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1157493 w 1200744"/>
                  <a:gd name="connsiteY46" fmla="*/ 347675 h 1046508"/>
                  <a:gd name="connsiteX47" fmla="*/ 1200471 w 1200744"/>
                  <a:gd name="connsiteY47" fmla="*/ 381525 h 1046508"/>
                  <a:gd name="connsiteX48" fmla="*/ 1200470 w 1200744"/>
                  <a:gd name="connsiteY48" fmla="*/ 381526 h 1046508"/>
                  <a:gd name="connsiteX49" fmla="*/ 1166620 w 1200744"/>
                  <a:gd name="connsiteY49" fmla="*/ 424503 h 1046508"/>
                  <a:gd name="connsiteX50" fmla="*/ 883444 w 1200744"/>
                  <a:gd name="connsiteY50" fmla="*/ 458146 h 1046508"/>
                  <a:gd name="connsiteX51" fmla="*/ 883444 w 1200744"/>
                  <a:gd name="connsiteY51" fmla="*/ 506141 h 1046508"/>
                  <a:gd name="connsiteX52" fmla="*/ 792956 w 1200744"/>
                  <a:gd name="connsiteY52" fmla="*/ 516892 h 1046508"/>
                  <a:gd name="connsiteX53" fmla="*/ 792956 w 1200744"/>
                  <a:gd name="connsiteY53" fmla="*/ 468897 h 1046508"/>
                  <a:gd name="connsiteX54" fmla="*/ 688181 w 1200744"/>
                  <a:gd name="connsiteY54" fmla="*/ 481345 h 1046508"/>
                  <a:gd name="connsiteX55" fmla="*/ 688181 w 1200744"/>
                  <a:gd name="connsiteY55" fmla="*/ 529340 h 1046508"/>
                  <a:gd name="connsiteX56" fmla="*/ 418176 w 1200744"/>
                  <a:gd name="connsiteY56" fmla="*/ 561418 h 1046508"/>
                  <a:gd name="connsiteX57" fmla="*/ 392350 w 1200744"/>
                  <a:gd name="connsiteY57" fmla="*/ 575897 h 1046508"/>
                  <a:gd name="connsiteX58" fmla="*/ 384326 w 1200744"/>
                  <a:gd name="connsiteY58" fmla="*/ 604396 h 1046508"/>
                  <a:gd name="connsiteX59" fmla="*/ 398804 w 1200744"/>
                  <a:gd name="connsiteY59" fmla="*/ 630221 h 1046508"/>
                  <a:gd name="connsiteX60" fmla="*/ 427304 w 1200744"/>
                  <a:gd name="connsiteY60" fmla="*/ 638245 h 1046508"/>
                  <a:gd name="connsiteX61" fmla="*/ 1104900 w 1200744"/>
                  <a:gd name="connsiteY61" fmla="*/ 557742 h 1046508"/>
                  <a:gd name="connsiteX62" fmla="*/ 1104900 w 1200744"/>
                  <a:gd name="connsiteY62" fmla="*/ 558713 h 1046508"/>
                  <a:gd name="connsiteX63" fmla="*/ 1157491 w 1200744"/>
                  <a:gd name="connsiteY63" fmla="*/ 552464 h 1046508"/>
                  <a:gd name="connsiteX64" fmla="*/ 1200469 w 1200744"/>
                  <a:gd name="connsiteY64" fmla="*/ 586314 h 1046508"/>
                  <a:gd name="connsiteX65" fmla="*/ 1200468 w 1200744"/>
                  <a:gd name="connsiteY65" fmla="*/ 586314 h 1046508"/>
                  <a:gd name="connsiteX66" fmla="*/ 1166618 w 1200744"/>
                  <a:gd name="connsiteY66" fmla="*/ 629292 h 1046508"/>
                  <a:gd name="connsiteX67" fmla="*/ 1104900 w 1200744"/>
                  <a:gd name="connsiteY67" fmla="*/ 636624 h 1046508"/>
                  <a:gd name="connsiteX68" fmla="*/ 1104900 w 1200744"/>
                  <a:gd name="connsiteY68" fmla="*/ 817908 h 1046508"/>
                  <a:gd name="connsiteX69" fmla="*/ 971550 w 1200744"/>
                  <a:gd name="connsiteY69" fmla="*/ 946496 h 1046508"/>
                  <a:gd name="connsiteX70" fmla="*/ 752889 w 1200744"/>
                  <a:gd name="connsiteY70" fmla="*/ 946496 h 1046508"/>
                  <a:gd name="connsiteX71" fmla="*/ 749140 w 1200744"/>
                  <a:gd name="connsiteY71" fmla="*/ 965065 h 1046508"/>
                  <a:gd name="connsiteX72" fmla="*/ 626271 w 1200744"/>
                  <a:gd name="connsiteY72" fmla="*/ 1046508 h 1046508"/>
                  <a:gd name="connsiteX73" fmla="*/ 533770 w 1200744"/>
                  <a:gd name="connsiteY73" fmla="*/ 1046508 h 1046508"/>
                  <a:gd name="connsiteX74" fmla="*/ 410901 w 1200744"/>
                  <a:gd name="connsiteY74" fmla="*/ 965065 h 1046508"/>
                  <a:gd name="connsiteX75" fmla="*/ 407153 w 1200744"/>
                  <a:gd name="connsiteY75" fmla="*/ 946496 h 1046508"/>
                  <a:gd name="connsiteX76" fmla="*/ 190500 w 1200744"/>
                  <a:gd name="connsiteY76" fmla="*/ 946496 h 1046508"/>
                  <a:gd name="connsiteX77" fmla="*/ 59532 w 1200744"/>
                  <a:gd name="connsiteY77" fmla="*/ 825052 h 1046508"/>
                  <a:gd name="connsiteX78" fmla="*/ 59432 w 1200744"/>
                  <a:gd name="connsiteY78" fmla="*/ 710643 h 1046508"/>
                  <a:gd name="connsiteX79" fmla="*/ 48816 w 1200744"/>
                  <a:gd name="connsiteY79" fmla="*/ 710643 h 1046508"/>
                  <a:gd name="connsiteX80" fmla="*/ 14298 w 1200744"/>
                  <a:gd name="connsiteY80" fmla="*/ 696345 h 1046508"/>
                  <a:gd name="connsiteX81" fmla="*/ 0 w 1200744"/>
                  <a:gd name="connsiteY81" fmla="*/ 661828 h 1046508"/>
                  <a:gd name="connsiteX82" fmla="*/ 14298 w 1200744"/>
                  <a:gd name="connsiteY82" fmla="*/ 627310 h 1046508"/>
                  <a:gd name="connsiteX83" fmla="*/ 48816 w 1200744"/>
                  <a:gd name="connsiteY83" fmla="*/ 613012 h 1046508"/>
                  <a:gd name="connsiteX84" fmla="*/ 59346 w 1200744"/>
                  <a:gd name="connsiteY84" fmla="*/ 613012 h 1046508"/>
                  <a:gd name="connsiteX85" fmla="*/ 59247 w 1200744"/>
                  <a:gd name="connsiteY85" fmla="*/ 501147 h 1046508"/>
                  <a:gd name="connsiteX86" fmla="*/ 48816 w 1200744"/>
                  <a:gd name="connsiteY86" fmla="*/ 501147 h 1046508"/>
                  <a:gd name="connsiteX87" fmla="*/ 14298 w 1200744"/>
                  <a:gd name="connsiteY87" fmla="*/ 486849 h 1046508"/>
                  <a:gd name="connsiteX88" fmla="*/ 0 w 1200744"/>
                  <a:gd name="connsiteY88" fmla="*/ 452332 h 1046508"/>
                  <a:gd name="connsiteX89" fmla="*/ 14298 w 1200744"/>
                  <a:gd name="connsiteY89" fmla="*/ 417814 h 1046508"/>
                  <a:gd name="connsiteX90" fmla="*/ 48816 w 1200744"/>
                  <a:gd name="connsiteY90" fmla="*/ 403516 h 1046508"/>
                  <a:gd name="connsiteX91" fmla="*/ 59161 w 1200744"/>
                  <a:gd name="connsiteY91" fmla="*/ 403516 h 1046508"/>
                  <a:gd name="connsiteX92" fmla="*/ 59063 w 1200744"/>
                  <a:gd name="connsiteY92" fmla="*/ 291651 h 1046508"/>
                  <a:gd name="connsiteX93" fmla="*/ 48816 w 1200744"/>
                  <a:gd name="connsiteY93" fmla="*/ 291651 h 1046508"/>
                  <a:gd name="connsiteX94" fmla="*/ 14298 w 1200744"/>
                  <a:gd name="connsiteY94" fmla="*/ 277353 h 1046508"/>
                  <a:gd name="connsiteX95" fmla="*/ 0 w 1200744"/>
                  <a:gd name="connsiteY95" fmla="*/ 242836 h 1046508"/>
                  <a:gd name="connsiteX96" fmla="*/ 14298 w 1200744"/>
                  <a:gd name="connsiteY96" fmla="*/ 208318 h 1046508"/>
                  <a:gd name="connsiteX97" fmla="*/ 48816 w 1200744"/>
                  <a:gd name="connsiteY97" fmla="*/ 194020 h 1046508"/>
                  <a:gd name="connsiteX98" fmla="*/ 58977 w 1200744"/>
                  <a:gd name="connsiteY98" fmla="*/ 194020 h 1046508"/>
                  <a:gd name="connsiteX99" fmla="*/ 58806 w 1200744"/>
                  <a:gd name="connsiteY99"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83444 w 1200744"/>
                  <a:gd name="connsiteY34" fmla="*/ 235459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1157493 w 1200744"/>
                  <a:gd name="connsiteY45" fmla="*/ 347675 h 1046508"/>
                  <a:gd name="connsiteX46" fmla="*/ 1200471 w 1200744"/>
                  <a:gd name="connsiteY46" fmla="*/ 381525 h 1046508"/>
                  <a:gd name="connsiteX47" fmla="*/ 1200470 w 1200744"/>
                  <a:gd name="connsiteY47" fmla="*/ 381526 h 1046508"/>
                  <a:gd name="connsiteX48" fmla="*/ 1166620 w 1200744"/>
                  <a:gd name="connsiteY48" fmla="*/ 424503 h 1046508"/>
                  <a:gd name="connsiteX49" fmla="*/ 883444 w 1200744"/>
                  <a:gd name="connsiteY49" fmla="*/ 458146 h 1046508"/>
                  <a:gd name="connsiteX50" fmla="*/ 883444 w 1200744"/>
                  <a:gd name="connsiteY50" fmla="*/ 506141 h 1046508"/>
                  <a:gd name="connsiteX51" fmla="*/ 792956 w 1200744"/>
                  <a:gd name="connsiteY51" fmla="*/ 516892 h 1046508"/>
                  <a:gd name="connsiteX52" fmla="*/ 792956 w 1200744"/>
                  <a:gd name="connsiteY52" fmla="*/ 468897 h 1046508"/>
                  <a:gd name="connsiteX53" fmla="*/ 688181 w 1200744"/>
                  <a:gd name="connsiteY53" fmla="*/ 481345 h 1046508"/>
                  <a:gd name="connsiteX54" fmla="*/ 688181 w 1200744"/>
                  <a:gd name="connsiteY54" fmla="*/ 529340 h 1046508"/>
                  <a:gd name="connsiteX55" fmla="*/ 418176 w 1200744"/>
                  <a:gd name="connsiteY55" fmla="*/ 561418 h 1046508"/>
                  <a:gd name="connsiteX56" fmla="*/ 392350 w 1200744"/>
                  <a:gd name="connsiteY56" fmla="*/ 575897 h 1046508"/>
                  <a:gd name="connsiteX57" fmla="*/ 384326 w 1200744"/>
                  <a:gd name="connsiteY57" fmla="*/ 604396 h 1046508"/>
                  <a:gd name="connsiteX58" fmla="*/ 398804 w 1200744"/>
                  <a:gd name="connsiteY58" fmla="*/ 630221 h 1046508"/>
                  <a:gd name="connsiteX59" fmla="*/ 427304 w 1200744"/>
                  <a:gd name="connsiteY59" fmla="*/ 638245 h 1046508"/>
                  <a:gd name="connsiteX60" fmla="*/ 1104900 w 1200744"/>
                  <a:gd name="connsiteY60" fmla="*/ 557742 h 1046508"/>
                  <a:gd name="connsiteX61" fmla="*/ 1104900 w 1200744"/>
                  <a:gd name="connsiteY61" fmla="*/ 558713 h 1046508"/>
                  <a:gd name="connsiteX62" fmla="*/ 1157491 w 1200744"/>
                  <a:gd name="connsiteY62" fmla="*/ 552464 h 1046508"/>
                  <a:gd name="connsiteX63" fmla="*/ 1200469 w 1200744"/>
                  <a:gd name="connsiteY63" fmla="*/ 586314 h 1046508"/>
                  <a:gd name="connsiteX64" fmla="*/ 1200468 w 1200744"/>
                  <a:gd name="connsiteY64" fmla="*/ 586314 h 1046508"/>
                  <a:gd name="connsiteX65" fmla="*/ 1166618 w 1200744"/>
                  <a:gd name="connsiteY65" fmla="*/ 629292 h 1046508"/>
                  <a:gd name="connsiteX66" fmla="*/ 1104900 w 1200744"/>
                  <a:gd name="connsiteY66" fmla="*/ 636624 h 1046508"/>
                  <a:gd name="connsiteX67" fmla="*/ 1104900 w 1200744"/>
                  <a:gd name="connsiteY67" fmla="*/ 817908 h 1046508"/>
                  <a:gd name="connsiteX68" fmla="*/ 971550 w 1200744"/>
                  <a:gd name="connsiteY68" fmla="*/ 946496 h 1046508"/>
                  <a:gd name="connsiteX69" fmla="*/ 752889 w 1200744"/>
                  <a:gd name="connsiteY69" fmla="*/ 946496 h 1046508"/>
                  <a:gd name="connsiteX70" fmla="*/ 749140 w 1200744"/>
                  <a:gd name="connsiteY70" fmla="*/ 965065 h 1046508"/>
                  <a:gd name="connsiteX71" fmla="*/ 626271 w 1200744"/>
                  <a:gd name="connsiteY71" fmla="*/ 1046508 h 1046508"/>
                  <a:gd name="connsiteX72" fmla="*/ 533770 w 1200744"/>
                  <a:gd name="connsiteY72" fmla="*/ 1046508 h 1046508"/>
                  <a:gd name="connsiteX73" fmla="*/ 410901 w 1200744"/>
                  <a:gd name="connsiteY73" fmla="*/ 965065 h 1046508"/>
                  <a:gd name="connsiteX74" fmla="*/ 407153 w 1200744"/>
                  <a:gd name="connsiteY74" fmla="*/ 946496 h 1046508"/>
                  <a:gd name="connsiteX75" fmla="*/ 190500 w 1200744"/>
                  <a:gd name="connsiteY75" fmla="*/ 946496 h 1046508"/>
                  <a:gd name="connsiteX76" fmla="*/ 59532 w 1200744"/>
                  <a:gd name="connsiteY76" fmla="*/ 825052 h 1046508"/>
                  <a:gd name="connsiteX77" fmla="*/ 59432 w 1200744"/>
                  <a:gd name="connsiteY77" fmla="*/ 710643 h 1046508"/>
                  <a:gd name="connsiteX78" fmla="*/ 48816 w 1200744"/>
                  <a:gd name="connsiteY78" fmla="*/ 710643 h 1046508"/>
                  <a:gd name="connsiteX79" fmla="*/ 14298 w 1200744"/>
                  <a:gd name="connsiteY79" fmla="*/ 696345 h 1046508"/>
                  <a:gd name="connsiteX80" fmla="*/ 0 w 1200744"/>
                  <a:gd name="connsiteY80" fmla="*/ 661828 h 1046508"/>
                  <a:gd name="connsiteX81" fmla="*/ 14298 w 1200744"/>
                  <a:gd name="connsiteY81" fmla="*/ 627310 h 1046508"/>
                  <a:gd name="connsiteX82" fmla="*/ 48816 w 1200744"/>
                  <a:gd name="connsiteY82" fmla="*/ 613012 h 1046508"/>
                  <a:gd name="connsiteX83" fmla="*/ 59346 w 1200744"/>
                  <a:gd name="connsiteY83" fmla="*/ 613012 h 1046508"/>
                  <a:gd name="connsiteX84" fmla="*/ 59247 w 1200744"/>
                  <a:gd name="connsiteY84" fmla="*/ 501147 h 1046508"/>
                  <a:gd name="connsiteX85" fmla="*/ 48816 w 1200744"/>
                  <a:gd name="connsiteY85" fmla="*/ 501147 h 1046508"/>
                  <a:gd name="connsiteX86" fmla="*/ 14298 w 1200744"/>
                  <a:gd name="connsiteY86" fmla="*/ 486849 h 1046508"/>
                  <a:gd name="connsiteX87" fmla="*/ 0 w 1200744"/>
                  <a:gd name="connsiteY87" fmla="*/ 452332 h 1046508"/>
                  <a:gd name="connsiteX88" fmla="*/ 14298 w 1200744"/>
                  <a:gd name="connsiteY88" fmla="*/ 417814 h 1046508"/>
                  <a:gd name="connsiteX89" fmla="*/ 48816 w 1200744"/>
                  <a:gd name="connsiteY89" fmla="*/ 403516 h 1046508"/>
                  <a:gd name="connsiteX90" fmla="*/ 59161 w 1200744"/>
                  <a:gd name="connsiteY90" fmla="*/ 403516 h 1046508"/>
                  <a:gd name="connsiteX91" fmla="*/ 59063 w 1200744"/>
                  <a:gd name="connsiteY91" fmla="*/ 291651 h 1046508"/>
                  <a:gd name="connsiteX92" fmla="*/ 48816 w 1200744"/>
                  <a:gd name="connsiteY92" fmla="*/ 291651 h 1046508"/>
                  <a:gd name="connsiteX93" fmla="*/ 14298 w 1200744"/>
                  <a:gd name="connsiteY93" fmla="*/ 277353 h 1046508"/>
                  <a:gd name="connsiteX94" fmla="*/ 0 w 1200744"/>
                  <a:gd name="connsiteY94" fmla="*/ 242836 h 1046508"/>
                  <a:gd name="connsiteX95" fmla="*/ 14298 w 1200744"/>
                  <a:gd name="connsiteY95" fmla="*/ 208318 h 1046508"/>
                  <a:gd name="connsiteX96" fmla="*/ 48816 w 1200744"/>
                  <a:gd name="connsiteY96" fmla="*/ 194020 h 1046508"/>
                  <a:gd name="connsiteX97" fmla="*/ 58977 w 1200744"/>
                  <a:gd name="connsiteY97" fmla="*/ 194020 h 1046508"/>
                  <a:gd name="connsiteX98" fmla="*/ 58806 w 1200744"/>
                  <a:gd name="connsiteY98"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78682 w 1200744"/>
                  <a:gd name="connsiteY34" fmla="*/ 240221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1157493 w 1200744"/>
                  <a:gd name="connsiteY45" fmla="*/ 347675 h 1046508"/>
                  <a:gd name="connsiteX46" fmla="*/ 1200471 w 1200744"/>
                  <a:gd name="connsiteY46" fmla="*/ 381525 h 1046508"/>
                  <a:gd name="connsiteX47" fmla="*/ 1200470 w 1200744"/>
                  <a:gd name="connsiteY47" fmla="*/ 381526 h 1046508"/>
                  <a:gd name="connsiteX48" fmla="*/ 1166620 w 1200744"/>
                  <a:gd name="connsiteY48" fmla="*/ 424503 h 1046508"/>
                  <a:gd name="connsiteX49" fmla="*/ 883444 w 1200744"/>
                  <a:gd name="connsiteY49" fmla="*/ 458146 h 1046508"/>
                  <a:gd name="connsiteX50" fmla="*/ 883444 w 1200744"/>
                  <a:gd name="connsiteY50" fmla="*/ 506141 h 1046508"/>
                  <a:gd name="connsiteX51" fmla="*/ 792956 w 1200744"/>
                  <a:gd name="connsiteY51" fmla="*/ 516892 h 1046508"/>
                  <a:gd name="connsiteX52" fmla="*/ 792956 w 1200744"/>
                  <a:gd name="connsiteY52" fmla="*/ 468897 h 1046508"/>
                  <a:gd name="connsiteX53" fmla="*/ 688181 w 1200744"/>
                  <a:gd name="connsiteY53" fmla="*/ 481345 h 1046508"/>
                  <a:gd name="connsiteX54" fmla="*/ 688181 w 1200744"/>
                  <a:gd name="connsiteY54" fmla="*/ 529340 h 1046508"/>
                  <a:gd name="connsiteX55" fmla="*/ 418176 w 1200744"/>
                  <a:gd name="connsiteY55" fmla="*/ 561418 h 1046508"/>
                  <a:gd name="connsiteX56" fmla="*/ 392350 w 1200744"/>
                  <a:gd name="connsiteY56" fmla="*/ 575897 h 1046508"/>
                  <a:gd name="connsiteX57" fmla="*/ 384326 w 1200744"/>
                  <a:gd name="connsiteY57" fmla="*/ 604396 h 1046508"/>
                  <a:gd name="connsiteX58" fmla="*/ 398804 w 1200744"/>
                  <a:gd name="connsiteY58" fmla="*/ 630221 h 1046508"/>
                  <a:gd name="connsiteX59" fmla="*/ 427304 w 1200744"/>
                  <a:gd name="connsiteY59" fmla="*/ 638245 h 1046508"/>
                  <a:gd name="connsiteX60" fmla="*/ 1104900 w 1200744"/>
                  <a:gd name="connsiteY60" fmla="*/ 557742 h 1046508"/>
                  <a:gd name="connsiteX61" fmla="*/ 1104900 w 1200744"/>
                  <a:gd name="connsiteY61" fmla="*/ 558713 h 1046508"/>
                  <a:gd name="connsiteX62" fmla="*/ 1157491 w 1200744"/>
                  <a:gd name="connsiteY62" fmla="*/ 552464 h 1046508"/>
                  <a:gd name="connsiteX63" fmla="*/ 1200469 w 1200744"/>
                  <a:gd name="connsiteY63" fmla="*/ 586314 h 1046508"/>
                  <a:gd name="connsiteX64" fmla="*/ 1200468 w 1200744"/>
                  <a:gd name="connsiteY64" fmla="*/ 586314 h 1046508"/>
                  <a:gd name="connsiteX65" fmla="*/ 1166618 w 1200744"/>
                  <a:gd name="connsiteY65" fmla="*/ 629292 h 1046508"/>
                  <a:gd name="connsiteX66" fmla="*/ 1104900 w 1200744"/>
                  <a:gd name="connsiteY66" fmla="*/ 636624 h 1046508"/>
                  <a:gd name="connsiteX67" fmla="*/ 1104900 w 1200744"/>
                  <a:gd name="connsiteY67" fmla="*/ 817908 h 1046508"/>
                  <a:gd name="connsiteX68" fmla="*/ 971550 w 1200744"/>
                  <a:gd name="connsiteY68" fmla="*/ 946496 h 1046508"/>
                  <a:gd name="connsiteX69" fmla="*/ 752889 w 1200744"/>
                  <a:gd name="connsiteY69" fmla="*/ 946496 h 1046508"/>
                  <a:gd name="connsiteX70" fmla="*/ 749140 w 1200744"/>
                  <a:gd name="connsiteY70" fmla="*/ 965065 h 1046508"/>
                  <a:gd name="connsiteX71" fmla="*/ 626271 w 1200744"/>
                  <a:gd name="connsiteY71" fmla="*/ 1046508 h 1046508"/>
                  <a:gd name="connsiteX72" fmla="*/ 533770 w 1200744"/>
                  <a:gd name="connsiteY72" fmla="*/ 1046508 h 1046508"/>
                  <a:gd name="connsiteX73" fmla="*/ 410901 w 1200744"/>
                  <a:gd name="connsiteY73" fmla="*/ 965065 h 1046508"/>
                  <a:gd name="connsiteX74" fmla="*/ 407153 w 1200744"/>
                  <a:gd name="connsiteY74" fmla="*/ 946496 h 1046508"/>
                  <a:gd name="connsiteX75" fmla="*/ 190500 w 1200744"/>
                  <a:gd name="connsiteY75" fmla="*/ 946496 h 1046508"/>
                  <a:gd name="connsiteX76" fmla="*/ 59532 w 1200744"/>
                  <a:gd name="connsiteY76" fmla="*/ 825052 h 1046508"/>
                  <a:gd name="connsiteX77" fmla="*/ 59432 w 1200744"/>
                  <a:gd name="connsiteY77" fmla="*/ 710643 h 1046508"/>
                  <a:gd name="connsiteX78" fmla="*/ 48816 w 1200744"/>
                  <a:gd name="connsiteY78" fmla="*/ 710643 h 1046508"/>
                  <a:gd name="connsiteX79" fmla="*/ 14298 w 1200744"/>
                  <a:gd name="connsiteY79" fmla="*/ 696345 h 1046508"/>
                  <a:gd name="connsiteX80" fmla="*/ 0 w 1200744"/>
                  <a:gd name="connsiteY80" fmla="*/ 661828 h 1046508"/>
                  <a:gd name="connsiteX81" fmla="*/ 14298 w 1200744"/>
                  <a:gd name="connsiteY81" fmla="*/ 627310 h 1046508"/>
                  <a:gd name="connsiteX82" fmla="*/ 48816 w 1200744"/>
                  <a:gd name="connsiteY82" fmla="*/ 613012 h 1046508"/>
                  <a:gd name="connsiteX83" fmla="*/ 59346 w 1200744"/>
                  <a:gd name="connsiteY83" fmla="*/ 613012 h 1046508"/>
                  <a:gd name="connsiteX84" fmla="*/ 59247 w 1200744"/>
                  <a:gd name="connsiteY84" fmla="*/ 501147 h 1046508"/>
                  <a:gd name="connsiteX85" fmla="*/ 48816 w 1200744"/>
                  <a:gd name="connsiteY85" fmla="*/ 501147 h 1046508"/>
                  <a:gd name="connsiteX86" fmla="*/ 14298 w 1200744"/>
                  <a:gd name="connsiteY86" fmla="*/ 486849 h 1046508"/>
                  <a:gd name="connsiteX87" fmla="*/ 0 w 1200744"/>
                  <a:gd name="connsiteY87" fmla="*/ 452332 h 1046508"/>
                  <a:gd name="connsiteX88" fmla="*/ 14298 w 1200744"/>
                  <a:gd name="connsiteY88" fmla="*/ 417814 h 1046508"/>
                  <a:gd name="connsiteX89" fmla="*/ 48816 w 1200744"/>
                  <a:gd name="connsiteY89" fmla="*/ 403516 h 1046508"/>
                  <a:gd name="connsiteX90" fmla="*/ 59161 w 1200744"/>
                  <a:gd name="connsiteY90" fmla="*/ 403516 h 1046508"/>
                  <a:gd name="connsiteX91" fmla="*/ 59063 w 1200744"/>
                  <a:gd name="connsiteY91" fmla="*/ 291651 h 1046508"/>
                  <a:gd name="connsiteX92" fmla="*/ 48816 w 1200744"/>
                  <a:gd name="connsiteY92" fmla="*/ 291651 h 1046508"/>
                  <a:gd name="connsiteX93" fmla="*/ 14298 w 1200744"/>
                  <a:gd name="connsiteY93" fmla="*/ 277353 h 1046508"/>
                  <a:gd name="connsiteX94" fmla="*/ 0 w 1200744"/>
                  <a:gd name="connsiteY94" fmla="*/ 242836 h 1046508"/>
                  <a:gd name="connsiteX95" fmla="*/ 14298 w 1200744"/>
                  <a:gd name="connsiteY95" fmla="*/ 208318 h 1046508"/>
                  <a:gd name="connsiteX96" fmla="*/ 48816 w 1200744"/>
                  <a:gd name="connsiteY96" fmla="*/ 194020 h 1046508"/>
                  <a:gd name="connsiteX97" fmla="*/ 58977 w 1200744"/>
                  <a:gd name="connsiteY97" fmla="*/ 194020 h 1046508"/>
                  <a:gd name="connsiteX98" fmla="*/ 58806 w 1200744"/>
                  <a:gd name="connsiteY98" fmla="*/ 0 h 1046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200744" h="1046508">
                    <a:moveTo>
                      <a:pt x="269392" y="583922"/>
                    </a:moveTo>
                    <a:cubicBezTo>
                      <a:pt x="247034" y="583922"/>
                      <a:pt x="228910" y="602046"/>
                      <a:pt x="228910" y="624404"/>
                    </a:cubicBezTo>
                    <a:cubicBezTo>
                      <a:pt x="228910" y="646762"/>
                      <a:pt x="247034" y="664886"/>
                      <a:pt x="269392" y="664886"/>
                    </a:cubicBezTo>
                    <a:cubicBezTo>
                      <a:pt x="291750" y="664886"/>
                      <a:pt x="309874" y="646762"/>
                      <a:pt x="309874" y="624404"/>
                    </a:cubicBezTo>
                    <a:cubicBezTo>
                      <a:pt x="309874" y="602046"/>
                      <a:pt x="291750" y="583922"/>
                      <a:pt x="269392" y="583922"/>
                    </a:cubicBezTo>
                    <a:close/>
                    <a:moveTo>
                      <a:pt x="269392" y="373750"/>
                    </a:moveTo>
                    <a:cubicBezTo>
                      <a:pt x="247034" y="373750"/>
                      <a:pt x="228910" y="391874"/>
                      <a:pt x="228910" y="414232"/>
                    </a:cubicBezTo>
                    <a:cubicBezTo>
                      <a:pt x="228910" y="436590"/>
                      <a:pt x="247034" y="454714"/>
                      <a:pt x="269392" y="454714"/>
                    </a:cubicBezTo>
                    <a:cubicBezTo>
                      <a:pt x="291750" y="454714"/>
                      <a:pt x="309874" y="436590"/>
                      <a:pt x="309874" y="414232"/>
                    </a:cubicBezTo>
                    <a:cubicBezTo>
                      <a:pt x="309874" y="391874"/>
                      <a:pt x="291750" y="373750"/>
                      <a:pt x="269392" y="373750"/>
                    </a:cubicBezTo>
                    <a:close/>
                    <a:moveTo>
                      <a:pt x="269392" y="163063"/>
                    </a:moveTo>
                    <a:cubicBezTo>
                      <a:pt x="247034" y="163063"/>
                      <a:pt x="228910" y="181187"/>
                      <a:pt x="228910" y="203545"/>
                    </a:cubicBezTo>
                    <a:cubicBezTo>
                      <a:pt x="228910" y="225903"/>
                      <a:pt x="247034" y="244027"/>
                      <a:pt x="269392" y="244027"/>
                    </a:cubicBezTo>
                    <a:cubicBezTo>
                      <a:pt x="291750" y="244027"/>
                      <a:pt x="309874" y="225903"/>
                      <a:pt x="309874" y="203545"/>
                    </a:cubicBezTo>
                    <a:cubicBezTo>
                      <a:pt x="309874" y="181187"/>
                      <a:pt x="291750" y="163063"/>
                      <a:pt x="269392" y="163063"/>
                    </a:cubicBezTo>
                    <a:close/>
                    <a:moveTo>
                      <a:pt x="797719" y="0"/>
                    </a:moveTo>
                    <a:lnTo>
                      <a:pt x="883444" y="0"/>
                    </a:lnTo>
                    <a:lnTo>
                      <a:pt x="883444" y="79897"/>
                    </a:lnTo>
                    <a:lnTo>
                      <a:pt x="797719" y="90082"/>
                    </a:lnTo>
                    <a:lnTo>
                      <a:pt x="797719" y="0"/>
                    </a:lnTo>
                    <a:close/>
                    <a:moveTo>
                      <a:pt x="58806" y="0"/>
                    </a:moveTo>
                    <a:lnTo>
                      <a:pt x="692944" y="0"/>
                    </a:lnTo>
                    <a:lnTo>
                      <a:pt x="692944" y="102530"/>
                    </a:lnTo>
                    <a:lnTo>
                      <a:pt x="418176" y="135174"/>
                    </a:lnTo>
                    <a:cubicBezTo>
                      <a:pt x="407569" y="136435"/>
                      <a:pt x="398476" y="141875"/>
                      <a:pt x="392350" y="149653"/>
                    </a:cubicBezTo>
                    <a:lnTo>
                      <a:pt x="384326" y="178152"/>
                    </a:lnTo>
                    <a:lnTo>
                      <a:pt x="398804" y="203977"/>
                    </a:lnTo>
                    <a:cubicBezTo>
                      <a:pt x="406582" y="210103"/>
                      <a:pt x="416696" y="213262"/>
                      <a:pt x="427304" y="212001"/>
                    </a:cubicBezTo>
                    <a:lnTo>
                      <a:pt x="1104900" y="131498"/>
                    </a:lnTo>
                    <a:lnTo>
                      <a:pt x="1104900" y="134851"/>
                    </a:lnTo>
                    <a:lnTo>
                      <a:pt x="1157493" y="128603"/>
                    </a:lnTo>
                    <a:cubicBezTo>
                      <a:pt x="1178709" y="126082"/>
                      <a:pt x="1197951" y="141237"/>
                      <a:pt x="1200471" y="162453"/>
                    </a:cubicBezTo>
                    <a:lnTo>
                      <a:pt x="1200470" y="162453"/>
                    </a:lnTo>
                    <a:cubicBezTo>
                      <a:pt x="1202991" y="183669"/>
                      <a:pt x="1187836" y="202910"/>
                      <a:pt x="1166620" y="205431"/>
                    </a:cubicBezTo>
                    <a:lnTo>
                      <a:pt x="878682" y="240221"/>
                    </a:lnTo>
                    <a:lnTo>
                      <a:pt x="883444" y="298972"/>
                    </a:lnTo>
                    <a:lnTo>
                      <a:pt x="792956" y="309723"/>
                    </a:lnTo>
                    <a:lnTo>
                      <a:pt x="792956" y="265459"/>
                    </a:lnTo>
                    <a:lnTo>
                      <a:pt x="688181" y="265459"/>
                    </a:lnTo>
                    <a:lnTo>
                      <a:pt x="688181" y="322171"/>
                    </a:lnTo>
                    <a:lnTo>
                      <a:pt x="418176" y="354249"/>
                    </a:lnTo>
                    <a:cubicBezTo>
                      <a:pt x="407569" y="355510"/>
                      <a:pt x="398476" y="360950"/>
                      <a:pt x="392350" y="368728"/>
                    </a:cubicBezTo>
                    <a:lnTo>
                      <a:pt x="384326" y="397227"/>
                    </a:lnTo>
                    <a:lnTo>
                      <a:pt x="398804" y="423052"/>
                    </a:lnTo>
                    <a:cubicBezTo>
                      <a:pt x="406582" y="429178"/>
                      <a:pt x="416696" y="432337"/>
                      <a:pt x="427304" y="431076"/>
                    </a:cubicBezTo>
                    <a:lnTo>
                      <a:pt x="1157493" y="347675"/>
                    </a:lnTo>
                    <a:cubicBezTo>
                      <a:pt x="1178709" y="345155"/>
                      <a:pt x="1197950" y="360310"/>
                      <a:pt x="1200471" y="381525"/>
                    </a:cubicBezTo>
                    <a:lnTo>
                      <a:pt x="1200470" y="381526"/>
                    </a:lnTo>
                    <a:cubicBezTo>
                      <a:pt x="1202991" y="402741"/>
                      <a:pt x="1187836" y="421983"/>
                      <a:pt x="1166620" y="424503"/>
                    </a:cubicBezTo>
                    <a:lnTo>
                      <a:pt x="883444" y="458146"/>
                    </a:lnTo>
                    <a:lnTo>
                      <a:pt x="883444" y="506141"/>
                    </a:lnTo>
                    <a:lnTo>
                      <a:pt x="792956" y="516892"/>
                    </a:lnTo>
                    <a:lnTo>
                      <a:pt x="792956" y="468897"/>
                    </a:lnTo>
                    <a:lnTo>
                      <a:pt x="688181" y="481345"/>
                    </a:lnTo>
                    <a:lnTo>
                      <a:pt x="688181" y="529340"/>
                    </a:lnTo>
                    <a:lnTo>
                      <a:pt x="418176" y="561418"/>
                    </a:lnTo>
                    <a:cubicBezTo>
                      <a:pt x="407569" y="562679"/>
                      <a:pt x="398476" y="568119"/>
                      <a:pt x="392350" y="575897"/>
                    </a:cubicBezTo>
                    <a:lnTo>
                      <a:pt x="384326" y="604396"/>
                    </a:lnTo>
                    <a:lnTo>
                      <a:pt x="398804" y="630221"/>
                    </a:lnTo>
                    <a:cubicBezTo>
                      <a:pt x="406582" y="636347"/>
                      <a:pt x="416696" y="639506"/>
                      <a:pt x="427304" y="638245"/>
                    </a:cubicBezTo>
                    <a:lnTo>
                      <a:pt x="1104900" y="557742"/>
                    </a:lnTo>
                    <a:lnTo>
                      <a:pt x="1104900" y="558713"/>
                    </a:lnTo>
                    <a:lnTo>
                      <a:pt x="1157491" y="552464"/>
                    </a:lnTo>
                    <a:cubicBezTo>
                      <a:pt x="1178707" y="549944"/>
                      <a:pt x="1197948" y="565099"/>
                      <a:pt x="1200469" y="586314"/>
                    </a:cubicBezTo>
                    <a:lnTo>
                      <a:pt x="1200468" y="586314"/>
                    </a:lnTo>
                    <a:cubicBezTo>
                      <a:pt x="1202989" y="607530"/>
                      <a:pt x="1187834" y="626772"/>
                      <a:pt x="1166618" y="629292"/>
                    </a:cubicBezTo>
                    <a:lnTo>
                      <a:pt x="1104900" y="636624"/>
                    </a:lnTo>
                    <a:lnTo>
                      <a:pt x="1104900" y="817908"/>
                    </a:lnTo>
                    <a:lnTo>
                      <a:pt x="971550" y="946496"/>
                    </a:lnTo>
                    <a:lnTo>
                      <a:pt x="752889" y="946496"/>
                    </a:lnTo>
                    <a:lnTo>
                      <a:pt x="749140" y="965065"/>
                    </a:lnTo>
                    <a:cubicBezTo>
                      <a:pt x="728897" y="1012926"/>
                      <a:pt x="681506" y="1046508"/>
                      <a:pt x="626271" y="1046508"/>
                    </a:cubicBezTo>
                    <a:lnTo>
                      <a:pt x="533770" y="1046508"/>
                    </a:lnTo>
                    <a:cubicBezTo>
                      <a:pt x="478536" y="1046508"/>
                      <a:pt x="431145" y="1012926"/>
                      <a:pt x="410901" y="965065"/>
                    </a:cubicBezTo>
                    <a:lnTo>
                      <a:pt x="407153" y="946496"/>
                    </a:lnTo>
                    <a:lnTo>
                      <a:pt x="190500" y="946496"/>
                    </a:lnTo>
                    <a:lnTo>
                      <a:pt x="59532" y="825052"/>
                    </a:lnTo>
                    <a:cubicBezTo>
                      <a:pt x="59499" y="786916"/>
                      <a:pt x="59465" y="748779"/>
                      <a:pt x="59432" y="710643"/>
                    </a:cubicBezTo>
                    <a:lnTo>
                      <a:pt x="48816" y="710643"/>
                    </a:lnTo>
                    <a:cubicBezTo>
                      <a:pt x="35336" y="710643"/>
                      <a:pt x="23132" y="705179"/>
                      <a:pt x="14298" y="696345"/>
                    </a:cubicBezTo>
                    <a:lnTo>
                      <a:pt x="0" y="661828"/>
                    </a:lnTo>
                    <a:lnTo>
                      <a:pt x="14298" y="627310"/>
                    </a:lnTo>
                    <a:cubicBezTo>
                      <a:pt x="23132" y="618476"/>
                      <a:pt x="35336" y="613012"/>
                      <a:pt x="48816" y="613012"/>
                    </a:cubicBezTo>
                    <a:lnTo>
                      <a:pt x="59346" y="613012"/>
                    </a:lnTo>
                    <a:cubicBezTo>
                      <a:pt x="59313" y="575724"/>
                      <a:pt x="59280" y="538435"/>
                      <a:pt x="59247" y="501147"/>
                    </a:cubicBezTo>
                    <a:lnTo>
                      <a:pt x="48816" y="501147"/>
                    </a:lnTo>
                    <a:cubicBezTo>
                      <a:pt x="35336" y="501147"/>
                      <a:pt x="23132" y="495683"/>
                      <a:pt x="14298" y="486849"/>
                    </a:cubicBezTo>
                    <a:lnTo>
                      <a:pt x="0" y="452332"/>
                    </a:lnTo>
                    <a:lnTo>
                      <a:pt x="14298" y="417814"/>
                    </a:lnTo>
                    <a:cubicBezTo>
                      <a:pt x="23132" y="408980"/>
                      <a:pt x="35336" y="403516"/>
                      <a:pt x="48816" y="403516"/>
                    </a:cubicBezTo>
                    <a:lnTo>
                      <a:pt x="59161" y="403516"/>
                    </a:lnTo>
                    <a:cubicBezTo>
                      <a:pt x="59128" y="366228"/>
                      <a:pt x="59096" y="328939"/>
                      <a:pt x="59063" y="291651"/>
                    </a:cubicBezTo>
                    <a:lnTo>
                      <a:pt x="48816" y="291651"/>
                    </a:lnTo>
                    <a:cubicBezTo>
                      <a:pt x="35336" y="291651"/>
                      <a:pt x="23132" y="286187"/>
                      <a:pt x="14298" y="277353"/>
                    </a:cubicBezTo>
                    <a:lnTo>
                      <a:pt x="0" y="242836"/>
                    </a:lnTo>
                    <a:lnTo>
                      <a:pt x="14298" y="208318"/>
                    </a:lnTo>
                    <a:cubicBezTo>
                      <a:pt x="23132" y="199484"/>
                      <a:pt x="35336" y="194020"/>
                      <a:pt x="48816" y="194020"/>
                    </a:cubicBezTo>
                    <a:lnTo>
                      <a:pt x="58977" y="194020"/>
                    </a:lnTo>
                    <a:lnTo>
                      <a:pt x="58806"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16" name="Freeform 115"/>
              <p:cNvSpPr/>
              <p:nvPr/>
            </p:nvSpPr>
            <p:spPr>
              <a:xfrm>
                <a:off x="4242295" y="1685754"/>
                <a:ext cx="3701002" cy="3743106"/>
              </a:xfrm>
              <a:custGeom>
                <a:avLst/>
                <a:gdLst>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0346 w 3701002"/>
                  <a:gd name="connsiteY11" fmla="*/ 3114359 h 3743106"/>
                  <a:gd name="connsiteX12" fmla="*/ 2659635 w 3701002"/>
                  <a:gd name="connsiteY12" fmla="*/ 3107286 h 3743106"/>
                  <a:gd name="connsiteX13" fmla="*/ 3122601 w 3701002"/>
                  <a:gd name="connsiteY13" fmla="*/ 2107732 h 3743106"/>
                  <a:gd name="connsiteX14" fmla="*/ 1850392 w 3701002"/>
                  <a:gd name="connsiteY14" fmla="*/ 812383 h 3743106"/>
                  <a:gd name="connsiteX15" fmla="*/ 578183 w 3701002"/>
                  <a:gd name="connsiteY15" fmla="*/ 2107732 h 3743106"/>
                  <a:gd name="connsiteX16" fmla="*/ 950805 w 3701002"/>
                  <a:gd name="connsiteY16" fmla="*/ 3023682 h 3743106"/>
                  <a:gd name="connsiteX17" fmla="*/ 1028685 w 3701002"/>
                  <a:gd name="connsiteY17" fmla="*/ 3095752 h 3743106"/>
                  <a:gd name="connsiteX18" fmla="*/ 1145044 w 3701002"/>
                  <a:gd name="connsiteY18" fmla="*/ 3252006 h 3743106"/>
                  <a:gd name="connsiteX19" fmla="*/ 1289824 w 3701002"/>
                  <a:gd name="connsiteY19" fmla="*/ 3549186 h 3743106"/>
                  <a:gd name="connsiteX20" fmla="*/ 1131709 w 3701002"/>
                  <a:gd name="connsiteY20" fmla="*/ 3739686 h 3743106"/>
                  <a:gd name="connsiteX21" fmla="*/ 881519 w 3701002"/>
                  <a:gd name="connsiteY21" fmla="*/ 3637451 h 3743106"/>
                  <a:gd name="connsiteX22" fmla="*/ 771664 w 3701002"/>
                  <a:gd name="connsiteY22" fmla="*/ 3290106 h 3743106"/>
                  <a:gd name="connsiteX23" fmla="*/ 377329 w 3701002"/>
                  <a:gd name="connsiteY23" fmla="*/ 3103416 h 3743106"/>
                  <a:gd name="connsiteX24" fmla="*/ 344944 w 3701002"/>
                  <a:gd name="connsiteY24" fmla="*/ 2482386 h 3743106"/>
                  <a:gd name="connsiteX25" fmla="*/ 139 w 3701002"/>
                  <a:gd name="connsiteY25" fmla="*/ 1970576 h 3743106"/>
                  <a:gd name="connsiteX26" fmla="*/ 451624 w 3701002"/>
                  <a:gd name="connsiteY26" fmla="*/ 1403521 h 3743106"/>
                  <a:gd name="connsiteX27" fmla="*/ 496709 w 3701002"/>
                  <a:gd name="connsiteY27" fmla="*/ 659301 h 3743106"/>
                  <a:gd name="connsiteX28" fmla="*/ 1199019 w 3701002"/>
                  <a:gd name="connsiteY28" fmla="*/ 517061 h 3743106"/>
                  <a:gd name="connsiteX29" fmla="*/ 1831479 w 3701002"/>
                  <a:gd name="connsiteY29"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028685 w 3701002"/>
                  <a:gd name="connsiteY16" fmla="*/ 3095752 h 3743106"/>
                  <a:gd name="connsiteX17" fmla="*/ 1145044 w 3701002"/>
                  <a:gd name="connsiteY17" fmla="*/ 3252006 h 3743106"/>
                  <a:gd name="connsiteX18" fmla="*/ 1289824 w 3701002"/>
                  <a:gd name="connsiteY18" fmla="*/ 3549186 h 3743106"/>
                  <a:gd name="connsiteX19" fmla="*/ 1131709 w 3701002"/>
                  <a:gd name="connsiteY19" fmla="*/ 3739686 h 3743106"/>
                  <a:gd name="connsiteX20" fmla="*/ 881519 w 3701002"/>
                  <a:gd name="connsiteY20" fmla="*/ 3637451 h 3743106"/>
                  <a:gd name="connsiteX21" fmla="*/ 771664 w 3701002"/>
                  <a:gd name="connsiteY21" fmla="*/ 3290106 h 3743106"/>
                  <a:gd name="connsiteX22" fmla="*/ 377329 w 3701002"/>
                  <a:gd name="connsiteY22" fmla="*/ 3103416 h 3743106"/>
                  <a:gd name="connsiteX23" fmla="*/ 344944 w 3701002"/>
                  <a:gd name="connsiteY23" fmla="*/ 2482386 h 3743106"/>
                  <a:gd name="connsiteX24" fmla="*/ 139 w 3701002"/>
                  <a:gd name="connsiteY24" fmla="*/ 1970576 h 3743106"/>
                  <a:gd name="connsiteX25" fmla="*/ 451624 w 3701002"/>
                  <a:gd name="connsiteY25" fmla="*/ 1403521 h 3743106"/>
                  <a:gd name="connsiteX26" fmla="*/ 496709 w 3701002"/>
                  <a:gd name="connsiteY26" fmla="*/ 659301 h 3743106"/>
                  <a:gd name="connsiteX27" fmla="*/ 1199019 w 3701002"/>
                  <a:gd name="connsiteY27" fmla="*/ 517061 h 3743106"/>
                  <a:gd name="connsiteX28" fmla="*/ 1831479 w 3701002"/>
                  <a:gd name="connsiteY28"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145044 w 3701002"/>
                  <a:gd name="connsiteY16" fmla="*/ 3252006 h 3743106"/>
                  <a:gd name="connsiteX17" fmla="*/ 1289824 w 3701002"/>
                  <a:gd name="connsiteY17" fmla="*/ 3549186 h 3743106"/>
                  <a:gd name="connsiteX18" fmla="*/ 1131709 w 3701002"/>
                  <a:gd name="connsiteY18" fmla="*/ 3739686 h 3743106"/>
                  <a:gd name="connsiteX19" fmla="*/ 881519 w 3701002"/>
                  <a:gd name="connsiteY19" fmla="*/ 3637451 h 3743106"/>
                  <a:gd name="connsiteX20" fmla="*/ 771664 w 3701002"/>
                  <a:gd name="connsiteY20" fmla="*/ 3290106 h 3743106"/>
                  <a:gd name="connsiteX21" fmla="*/ 377329 w 3701002"/>
                  <a:gd name="connsiteY21" fmla="*/ 3103416 h 3743106"/>
                  <a:gd name="connsiteX22" fmla="*/ 344944 w 3701002"/>
                  <a:gd name="connsiteY22" fmla="*/ 2482386 h 3743106"/>
                  <a:gd name="connsiteX23" fmla="*/ 139 w 3701002"/>
                  <a:gd name="connsiteY23" fmla="*/ 1970576 h 3743106"/>
                  <a:gd name="connsiteX24" fmla="*/ 451624 w 3701002"/>
                  <a:gd name="connsiteY24" fmla="*/ 1403521 h 3743106"/>
                  <a:gd name="connsiteX25" fmla="*/ 496709 w 3701002"/>
                  <a:gd name="connsiteY25" fmla="*/ 659301 h 3743106"/>
                  <a:gd name="connsiteX26" fmla="*/ 1199019 w 3701002"/>
                  <a:gd name="connsiteY26" fmla="*/ 517061 h 3743106"/>
                  <a:gd name="connsiteX27" fmla="*/ 1831479 w 3701002"/>
                  <a:gd name="connsiteY27"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145044 w 3701002"/>
                  <a:gd name="connsiteY16" fmla="*/ 3252006 h 3743106"/>
                  <a:gd name="connsiteX17" fmla="*/ 1289824 w 3701002"/>
                  <a:gd name="connsiteY17" fmla="*/ 3549186 h 3743106"/>
                  <a:gd name="connsiteX18" fmla="*/ 1131709 w 3701002"/>
                  <a:gd name="connsiteY18" fmla="*/ 3739686 h 3743106"/>
                  <a:gd name="connsiteX19" fmla="*/ 881519 w 3701002"/>
                  <a:gd name="connsiteY19" fmla="*/ 3637451 h 3743106"/>
                  <a:gd name="connsiteX20" fmla="*/ 771664 w 3701002"/>
                  <a:gd name="connsiteY20" fmla="*/ 3290106 h 3743106"/>
                  <a:gd name="connsiteX21" fmla="*/ 377329 w 3701002"/>
                  <a:gd name="connsiteY21" fmla="*/ 3103416 h 3743106"/>
                  <a:gd name="connsiteX22" fmla="*/ 344944 w 3701002"/>
                  <a:gd name="connsiteY22" fmla="*/ 2482386 h 3743106"/>
                  <a:gd name="connsiteX23" fmla="*/ 139 w 3701002"/>
                  <a:gd name="connsiteY23" fmla="*/ 1970576 h 3743106"/>
                  <a:gd name="connsiteX24" fmla="*/ 451624 w 3701002"/>
                  <a:gd name="connsiteY24" fmla="*/ 1403521 h 3743106"/>
                  <a:gd name="connsiteX25" fmla="*/ 496709 w 3701002"/>
                  <a:gd name="connsiteY25" fmla="*/ 659301 h 3743106"/>
                  <a:gd name="connsiteX26" fmla="*/ 1199019 w 3701002"/>
                  <a:gd name="connsiteY26" fmla="*/ 517061 h 3743106"/>
                  <a:gd name="connsiteX27" fmla="*/ 1831479 w 3701002"/>
                  <a:gd name="connsiteY27" fmla="*/ 171 h 3743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701002" h="3743106">
                    <a:moveTo>
                      <a:pt x="1831479" y="171"/>
                    </a:moveTo>
                    <a:cubicBezTo>
                      <a:pt x="2193958" y="-9460"/>
                      <a:pt x="2228989" y="388262"/>
                      <a:pt x="2478544" y="516426"/>
                    </a:cubicBezTo>
                    <a:cubicBezTo>
                      <a:pt x="2724924" y="638240"/>
                      <a:pt x="3031735" y="420753"/>
                      <a:pt x="3214509" y="673906"/>
                    </a:cubicBezTo>
                    <a:cubicBezTo>
                      <a:pt x="3397283" y="927059"/>
                      <a:pt x="3125874" y="1106394"/>
                      <a:pt x="3270389" y="1425746"/>
                    </a:cubicBezTo>
                    <a:cubicBezTo>
                      <a:pt x="3414904" y="1745098"/>
                      <a:pt x="3685678" y="1679112"/>
                      <a:pt x="3700601" y="1942319"/>
                    </a:cubicBezTo>
                    <a:cubicBezTo>
                      <a:pt x="3712349" y="2221401"/>
                      <a:pt x="3463112" y="2181714"/>
                      <a:pt x="3354844" y="2512866"/>
                    </a:cubicBezTo>
                    <a:cubicBezTo>
                      <a:pt x="3238639" y="2836081"/>
                      <a:pt x="3476765" y="2888309"/>
                      <a:pt x="3320872" y="3113258"/>
                    </a:cubicBezTo>
                    <a:cubicBezTo>
                      <a:pt x="3231655" y="3262007"/>
                      <a:pt x="3076132" y="3153476"/>
                      <a:pt x="2933839" y="3291059"/>
                    </a:cubicBezTo>
                    <a:cubicBezTo>
                      <a:pt x="2791546" y="3428642"/>
                      <a:pt x="2888756" y="3603161"/>
                      <a:pt x="2771914" y="3691109"/>
                    </a:cubicBezTo>
                    <a:cubicBezTo>
                      <a:pt x="2688410" y="3783819"/>
                      <a:pt x="2499817" y="3735717"/>
                      <a:pt x="2440444" y="3640626"/>
                    </a:cubicBezTo>
                    <a:cubicBezTo>
                      <a:pt x="2381071" y="3545535"/>
                      <a:pt x="2441714" y="3442506"/>
                      <a:pt x="2501404" y="3320586"/>
                    </a:cubicBezTo>
                    <a:lnTo>
                      <a:pt x="2659635" y="3107286"/>
                    </a:lnTo>
                    <a:cubicBezTo>
                      <a:pt x="2942380" y="2869700"/>
                      <a:pt x="3122601" y="2510145"/>
                      <a:pt x="3122601" y="2107732"/>
                    </a:cubicBezTo>
                    <a:cubicBezTo>
                      <a:pt x="3122601" y="1392331"/>
                      <a:pt x="2553014" y="812383"/>
                      <a:pt x="1850392" y="812383"/>
                    </a:cubicBezTo>
                    <a:cubicBezTo>
                      <a:pt x="1147770" y="812383"/>
                      <a:pt x="578183" y="1392331"/>
                      <a:pt x="578183" y="2107732"/>
                    </a:cubicBezTo>
                    <a:cubicBezTo>
                      <a:pt x="578183" y="2465433"/>
                      <a:pt x="720580" y="2789270"/>
                      <a:pt x="950805" y="3023682"/>
                    </a:cubicBezTo>
                    <a:cubicBezTo>
                      <a:pt x="1039364" y="3104553"/>
                      <a:pt x="1080298" y="3175898"/>
                      <a:pt x="1145044" y="3252006"/>
                    </a:cubicBezTo>
                    <a:cubicBezTo>
                      <a:pt x="1213624" y="3361226"/>
                      <a:pt x="1292047" y="3467906"/>
                      <a:pt x="1289824" y="3549186"/>
                    </a:cubicBezTo>
                    <a:cubicBezTo>
                      <a:pt x="1287602" y="3630466"/>
                      <a:pt x="1199760" y="3724975"/>
                      <a:pt x="1131709" y="3739686"/>
                    </a:cubicBezTo>
                    <a:cubicBezTo>
                      <a:pt x="1063658" y="3754397"/>
                      <a:pt x="935176" y="3721906"/>
                      <a:pt x="881519" y="3637451"/>
                    </a:cubicBezTo>
                    <a:cubicBezTo>
                      <a:pt x="827862" y="3552996"/>
                      <a:pt x="922371" y="3429912"/>
                      <a:pt x="771664" y="3290106"/>
                    </a:cubicBezTo>
                    <a:cubicBezTo>
                      <a:pt x="620957" y="3150300"/>
                      <a:pt x="489724" y="3259626"/>
                      <a:pt x="377329" y="3103416"/>
                    </a:cubicBezTo>
                    <a:cubicBezTo>
                      <a:pt x="245884" y="2847193"/>
                      <a:pt x="472103" y="2764062"/>
                      <a:pt x="344944" y="2482386"/>
                    </a:cubicBezTo>
                    <a:cubicBezTo>
                      <a:pt x="189211" y="2141178"/>
                      <a:pt x="8552" y="2246432"/>
                      <a:pt x="139" y="1970576"/>
                    </a:cubicBezTo>
                    <a:cubicBezTo>
                      <a:pt x="-7481" y="1701865"/>
                      <a:pt x="299012" y="1730017"/>
                      <a:pt x="451624" y="1403521"/>
                    </a:cubicBezTo>
                    <a:cubicBezTo>
                      <a:pt x="528036" y="943675"/>
                      <a:pt x="318168" y="908644"/>
                      <a:pt x="496709" y="659301"/>
                    </a:cubicBezTo>
                    <a:cubicBezTo>
                      <a:pt x="675250" y="409958"/>
                      <a:pt x="956978" y="650728"/>
                      <a:pt x="1199019" y="517061"/>
                    </a:cubicBezTo>
                    <a:cubicBezTo>
                      <a:pt x="1485510" y="418319"/>
                      <a:pt x="1469000" y="9802"/>
                      <a:pt x="1831479" y="171"/>
                    </a:cubicBez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grpSp>
      </p:grpSp>
      <p:grpSp>
        <p:nvGrpSpPr>
          <p:cNvPr id="117" name="Group 116"/>
          <p:cNvGrpSpPr/>
          <p:nvPr/>
        </p:nvGrpSpPr>
        <p:grpSpPr>
          <a:xfrm>
            <a:off x="5842516" y="4862484"/>
            <a:ext cx="474070" cy="474070"/>
            <a:chOff x="6447430" y="2675492"/>
            <a:chExt cx="474070" cy="474070"/>
          </a:xfrm>
        </p:grpSpPr>
        <p:sp>
          <p:nvSpPr>
            <p:cNvPr id="118" name="Oval 117"/>
            <p:cNvSpPr/>
            <p:nvPr/>
          </p:nvSpPr>
          <p:spPr>
            <a:xfrm>
              <a:off x="6447430" y="2675492"/>
              <a:ext cx="474070" cy="474070"/>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white"/>
                </a:solidFill>
                <a:effectLst/>
                <a:uLnTx/>
                <a:uFillTx/>
                <a:latin typeface="+mj-lt"/>
                <a:ea typeface="+mn-ea"/>
                <a:cs typeface="+mn-cs"/>
              </a:endParaRPr>
            </a:p>
          </p:txBody>
        </p:sp>
        <p:grpSp>
          <p:nvGrpSpPr>
            <p:cNvPr id="119" name="Group 118"/>
            <p:cNvGrpSpPr/>
            <p:nvPr/>
          </p:nvGrpSpPr>
          <p:grpSpPr>
            <a:xfrm>
              <a:off x="6518177" y="2715380"/>
              <a:ext cx="333474" cy="369626"/>
              <a:chOff x="3114466" y="105602"/>
              <a:chExt cx="5971657" cy="6619048"/>
            </a:xfrm>
            <a:solidFill>
              <a:schemeClr val="accent5"/>
            </a:solidFill>
          </p:grpSpPr>
          <p:sp>
            <p:nvSpPr>
              <p:cNvPr id="120" name="Oval 119"/>
              <p:cNvSpPr/>
              <p:nvPr/>
            </p:nvSpPr>
            <p:spPr>
              <a:xfrm>
                <a:off x="5744819" y="745435"/>
                <a:ext cx="695738" cy="695738"/>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21" name="Oval 120"/>
              <p:cNvSpPr/>
              <p:nvPr/>
            </p:nvSpPr>
            <p:spPr>
              <a:xfrm>
                <a:off x="6626711" y="1319213"/>
                <a:ext cx="628234" cy="62823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22" name="Oval 121"/>
              <p:cNvSpPr/>
              <p:nvPr/>
            </p:nvSpPr>
            <p:spPr>
              <a:xfrm>
                <a:off x="4921736" y="1319213"/>
                <a:ext cx="628234" cy="62823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23" name="Oval 122"/>
              <p:cNvSpPr/>
              <p:nvPr/>
            </p:nvSpPr>
            <p:spPr>
              <a:xfrm>
                <a:off x="4140684" y="1766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24" name="Oval 123"/>
              <p:cNvSpPr/>
              <p:nvPr/>
            </p:nvSpPr>
            <p:spPr>
              <a:xfrm>
                <a:off x="7510049" y="1766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25" name="Oval 124"/>
              <p:cNvSpPr/>
              <p:nvPr/>
            </p:nvSpPr>
            <p:spPr>
              <a:xfrm>
                <a:off x="7716285" y="2579410"/>
                <a:ext cx="612706" cy="61270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26" name="Oval 125"/>
              <p:cNvSpPr/>
              <p:nvPr/>
            </p:nvSpPr>
            <p:spPr>
              <a:xfrm>
                <a:off x="3849963" y="2569471"/>
                <a:ext cx="612706" cy="61270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27" name="Oval 126"/>
              <p:cNvSpPr/>
              <p:nvPr/>
            </p:nvSpPr>
            <p:spPr>
              <a:xfrm>
                <a:off x="3740632" y="1416532"/>
                <a:ext cx="394046" cy="39404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28" name="Oval 127"/>
              <p:cNvSpPr/>
              <p:nvPr/>
            </p:nvSpPr>
            <p:spPr>
              <a:xfrm>
                <a:off x="8054215" y="1416532"/>
                <a:ext cx="394046" cy="39404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29" name="Oval 128"/>
              <p:cNvSpPr/>
              <p:nvPr/>
            </p:nvSpPr>
            <p:spPr>
              <a:xfrm>
                <a:off x="5878581" y="105602"/>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30" name="Oval 129"/>
              <p:cNvSpPr/>
              <p:nvPr/>
            </p:nvSpPr>
            <p:spPr>
              <a:xfrm>
                <a:off x="3114466" y="3419473"/>
                <a:ext cx="319296" cy="31929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31" name="Oval 130"/>
              <p:cNvSpPr/>
              <p:nvPr/>
            </p:nvSpPr>
            <p:spPr>
              <a:xfrm>
                <a:off x="3794675" y="5116270"/>
                <a:ext cx="282026" cy="28202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32" name="Oval 131"/>
              <p:cNvSpPr/>
              <p:nvPr/>
            </p:nvSpPr>
            <p:spPr>
              <a:xfrm>
                <a:off x="4640020" y="5060156"/>
                <a:ext cx="342902" cy="3429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33" name="Oval 132"/>
              <p:cNvSpPr/>
              <p:nvPr/>
            </p:nvSpPr>
            <p:spPr>
              <a:xfrm>
                <a:off x="4155592" y="4790040"/>
                <a:ext cx="373546" cy="37354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34" name="Oval 133"/>
              <p:cNvSpPr/>
              <p:nvPr/>
            </p:nvSpPr>
            <p:spPr>
              <a:xfrm>
                <a:off x="3892206" y="4042948"/>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35" name="Oval 134"/>
              <p:cNvSpPr/>
              <p:nvPr/>
            </p:nvSpPr>
            <p:spPr>
              <a:xfrm>
                <a:off x="7758528" y="4052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36" name="Oval 135"/>
              <p:cNvSpPr/>
              <p:nvPr/>
            </p:nvSpPr>
            <p:spPr>
              <a:xfrm>
                <a:off x="3632338" y="3395454"/>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37" name="Oval 136"/>
              <p:cNvSpPr/>
              <p:nvPr/>
            </p:nvSpPr>
            <p:spPr>
              <a:xfrm>
                <a:off x="8122650" y="3395454"/>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38" name="Oval 137"/>
              <p:cNvSpPr/>
              <p:nvPr/>
            </p:nvSpPr>
            <p:spPr>
              <a:xfrm>
                <a:off x="8747366" y="3412330"/>
                <a:ext cx="338757" cy="338757"/>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39" name="Oval 138"/>
              <p:cNvSpPr/>
              <p:nvPr/>
            </p:nvSpPr>
            <p:spPr>
              <a:xfrm>
                <a:off x="7659444" y="4792108"/>
                <a:ext cx="372514" cy="37251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40" name="Oval 139"/>
              <p:cNvSpPr/>
              <p:nvPr/>
            </p:nvSpPr>
            <p:spPr>
              <a:xfrm>
                <a:off x="7208355" y="5062538"/>
                <a:ext cx="341242" cy="34124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41" name="Oval 140"/>
              <p:cNvSpPr/>
              <p:nvPr/>
            </p:nvSpPr>
            <p:spPr>
              <a:xfrm>
                <a:off x="8113230" y="5122069"/>
                <a:ext cx="274566" cy="27456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42" name="Freeform 141"/>
              <p:cNvSpPr/>
              <p:nvPr/>
            </p:nvSpPr>
            <p:spPr>
              <a:xfrm>
                <a:off x="5507831" y="5678142"/>
                <a:ext cx="1200744" cy="1046508"/>
              </a:xfrm>
              <a:custGeom>
                <a:avLst/>
                <a:gdLst>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58806 w 1200744"/>
                  <a:gd name="connsiteY19" fmla="*/ 0 h 1046508"/>
                  <a:gd name="connsiteX20" fmla="*/ 692944 w 1200744"/>
                  <a:gd name="connsiteY20" fmla="*/ 0 h 1046508"/>
                  <a:gd name="connsiteX21" fmla="*/ 692944 w 1200744"/>
                  <a:gd name="connsiteY21" fmla="*/ 102530 h 1046508"/>
                  <a:gd name="connsiteX22" fmla="*/ 418176 w 1200744"/>
                  <a:gd name="connsiteY22" fmla="*/ 135174 h 1046508"/>
                  <a:gd name="connsiteX23" fmla="*/ 392350 w 1200744"/>
                  <a:gd name="connsiteY23" fmla="*/ 149653 h 1046508"/>
                  <a:gd name="connsiteX24" fmla="*/ 384326 w 1200744"/>
                  <a:gd name="connsiteY24" fmla="*/ 178152 h 1046508"/>
                  <a:gd name="connsiteX25" fmla="*/ 398804 w 1200744"/>
                  <a:gd name="connsiteY25" fmla="*/ 203977 h 1046508"/>
                  <a:gd name="connsiteX26" fmla="*/ 427304 w 1200744"/>
                  <a:gd name="connsiteY26" fmla="*/ 212001 h 1046508"/>
                  <a:gd name="connsiteX27" fmla="*/ 1104900 w 1200744"/>
                  <a:gd name="connsiteY27" fmla="*/ 131498 h 1046508"/>
                  <a:gd name="connsiteX28" fmla="*/ 1104900 w 1200744"/>
                  <a:gd name="connsiteY28" fmla="*/ 134851 h 1046508"/>
                  <a:gd name="connsiteX29" fmla="*/ 1157493 w 1200744"/>
                  <a:gd name="connsiteY29" fmla="*/ 128603 h 1046508"/>
                  <a:gd name="connsiteX30" fmla="*/ 1200471 w 1200744"/>
                  <a:gd name="connsiteY30" fmla="*/ 162453 h 1046508"/>
                  <a:gd name="connsiteX31" fmla="*/ 1200470 w 1200744"/>
                  <a:gd name="connsiteY31" fmla="*/ 162453 h 1046508"/>
                  <a:gd name="connsiteX32" fmla="*/ 1166620 w 1200744"/>
                  <a:gd name="connsiteY32" fmla="*/ 205431 h 1046508"/>
                  <a:gd name="connsiteX33" fmla="*/ 892471 w 1200744"/>
                  <a:gd name="connsiteY33" fmla="*/ 238001 h 1046508"/>
                  <a:gd name="connsiteX34" fmla="*/ 883444 w 1200744"/>
                  <a:gd name="connsiteY34" fmla="*/ 235459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688181 w 1200744"/>
                  <a:gd name="connsiteY45" fmla="*/ 400083 h 1046508"/>
                  <a:gd name="connsiteX46" fmla="*/ 688181 w 1200744"/>
                  <a:gd name="connsiteY46" fmla="*/ 403433 h 1046508"/>
                  <a:gd name="connsiteX47" fmla="*/ 792956 w 1200744"/>
                  <a:gd name="connsiteY47" fmla="*/ 390985 h 1046508"/>
                  <a:gd name="connsiteX48" fmla="*/ 792956 w 1200744"/>
                  <a:gd name="connsiteY48" fmla="*/ 387635 h 1046508"/>
                  <a:gd name="connsiteX49" fmla="*/ 883444 w 1200744"/>
                  <a:gd name="connsiteY49" fmla="*/ 376884 h 1046508"/>
                  <a:gd name="connsiteX50" fmla="*/ 883444 w 1200744"/>
                  <a:gd name="connsiteY50" fmla="*/ 380235 h 1046508"/>
                  <a:gd name="connsiteX51" fmla="*/ 1157493 w 1200744"/>
                  <a:gd name="connsiteY51" fmla="*/ 347675 h 1046508"/>
                  <a:gd name="connsiteX52" fmla="*/ 1200471 w 1200744"/>
                  <a:gd name="connsiteY52" fmla="*/ 381525 h 1046508"/>
                  <a:gd name="connsiteX53" fmla="*/ 1200470 w 1200744"/>
                  <a:gd name="connsiteY53" fmla="*/ 381526 h 1046508"/>
                  <a:gd name="connsiteX54" fmla="*/ 1166620 w 1200744"/>
                  <a:gd name="connsiteY54" fmla="*/ 424503 h 1046508"/>
                  <a:gd name="connsiteX55" fmla="*/ 883444 w 1200744"/>
                  <a:gd name="connsiteY55" fmla="*/ 458146 h 1046508"/>
                  <a:gd name="connsiteX56" fmla="*/ 883444 w 1200744"/>
                  <a:gd name="connsiteY56" fmla="*/ 506141 h 1046508"/>
                  <a:gd name="connsiteX57" fmla="*/ 792956 w 1200744"/>
                  <a:gd name="connsiteY57" fmla="*/ 516892 h 1046508"/>
                  <a:gd name="connsiteX58" fmla="*/ 792956 w 1200744"/>
                  <a:gd name="connsiteY58" fmla="*/ 468897 h 1046508"/>
                  <a:gd name="connsiteX59" fmla="*/ 688181 w 1200744"/>
                  <a:gd name="connsiteY59" fmla="*/ 481345 h 1046508"/>
                  <a:gd name="connsiteX60" fmla="*/ 688181 w 1200744"/>
                  <a:gd name="connsiteY60" fmla="*/ 529340 h 1046508"/>
                  <a:gd name="connsiteX61" fmla="*/ 418176 w 1200744"/>
                  <a:gd name="connsiteY61" fmla="*/ 561418 h 1046508"/>
                  <a:gd name="connsiteX62" fmla="*/ 392350 w 1200744"/>
                  <a:gd name="connsiteY62" fmla="*/ 575897 h 1046508"/>
                  <a:gd name="connsiteX63" fmla="*/ 384326 w 1200744"/>
                  <a:gd name="connsiteY63" fmla="*/ 604396 h 1046508"/>
                  <a:gd name="connsiteX64" fmla="*/ 398804 w 1200744"/>
                  <a:gd name="connsiteY64" fmla="*/ 630221 h 1046508"/>
                  <a:gd name="connsiteX65" fmla="*/ 427304 w 1200744"/>
                  <a:gd name="connsiteY65" fmla="*/ 638245 h 1046508"/>
                  <a:gd name="connsiteX66" fmla="*/ 1104900 w 1200744"/>
                  <a:gd name="connsiteY66" fmla="*/ 557742 h 1046508"/>
                  <a:gd name="connsiteX67" fmla="*/ 1104900 w 1200744"/>
                  <a:gd name="connsiteY67" fmla="*/ 558713 h 1046508"/>
                  <a:gd name="connsiteX68" fmla="*/ 1157491 w 1200744"/>
                  <a:gd name="connsiteY68" fmla="*/ 552464 h 1046508"/>
                  <a:gd name="connsiteX69" fmla="*/ 1200469 w 1200744"/>
                  <a:gd name="connsiteY69" fmla="*/ 586314 h 1046508"/>
                  <a:gd name="connsiteX70" fmla="*/ 1200468 w 1200744"/>
                  <a:gd name="connsiteY70" fmla="*/ 586314 h 1046508"/>
                  <a:gd name="connsiteX71" fmla="*/ 1166618 w 1200744"/>
                  <a:gd name="connsiteY71" fmla="*/ 629292 h 1046508"/>
                  <a:gd name="connsiteX72" fmla="*/ 1104900 w 1200744"/>
                  <a:gd name="connsiteY72" fmla="*/ 636624 h 1046508"/>
                  <a:gd name="connsiteX73" fmla="*/ 1104900 w 1200744"/>
                  <a:gd name="connsiteY73" fmla="*/ 817908 h 1046508"/>
                  <a:gd name="connsiteX74" fmla="*/ 971550 w 1200744"/>
                  <a:gd name="connsiteY74" fmla="*/ 946496 h 1046508"/>
                  <a:gd name="connsiteX75" fmla="*/ 752889 w 1200744"/>
                  <a:gd name="connsiteY75" fmla="*/ 946496 h 1046508"/>
                  <a:gd name="connsiteX76" fmla="*/ 749140 w 1200744"/>
                  <a:gd name="connsiteY76" fmla="*/ 965065 h 1046508"/>
                  <a:gd name="connsiteX77" fmla="*/ 626271 w 1200744"/>
                  <a:gd name="connsiteY77" fmla="*/ 1046508 h 1046508"/>
                  <a:gd name="connsiteX78" fmla="*/ 533770 w 1200744"/>
                  <a:gd name="connsiteY78" fmla="*/ 1046508 h 1046508"/>
                  <a:gd name="connsiteX79" fmla="*/ 410901 w 1200744"/>
                  <a:gd name="connsiteY79" fmla="*/ 965065 h 1046508"/>
                  <a:gd name="connsiteX80" fmla="*/ 407153 w 1200744"/>
                  <a:gd name="connsiteY80" fmla="*/ 946496 h 1046508"/>
                  <a:gd name="connsiteX81" fmla="*/ 190500 w 1200744"/>
                  <a:gd name="connsiteY81" fmla="*/ 946496 h 1046508"/>
                  <a:gd name="connsiteX82" fmla="*/ 59532 w 1200744"/>
                  <a:gd name="connsiteY82" fmla="*/ 825052 h 1046508"/>
                  <a:gd name="connsiteX83" fmla="*/ 59432 w 1200744"/>
                  <a:gd name="connsiteY83" fmla="*/ 710643 h 1046508"/>
                  <a:gd name="connsiteX84" fmla="*/ 48816 w 1200744"/>
                  <a:gd name="connsiteY84" fmla="*/ 710643 h 1046508"/>
                  <a:gd name="connsiteX85" fmla="*/ 14298 w 1200744"/>
                  <a:gd name="connsiteY85" fmla="*/ 696345 h 1046508"/>
                  <a:gd name="connsiteX86" fmla="*/ 0 w 1200744"/>
                  <a:gd name="connsiteY86" fmla="*/ 661828 h 1046508"/>
                  <a:gd name="connsiteX87" fmla="*/ 14298 w 1200744"/>
                  <a:gd name="connsiteY87" fmla="*/ 627310 h 1046508"/>
                  <a:gd name="connsiteX88" fmla="*/ 48816 w 1200744"/>
                  <a:gd name="connsiteY88" fmla="*/ 613012 h 1046508"/>
                  <a:gd name="connsiteX89" fmla="*/ 59346 w 1200744"/>
                  <a:gd name="connsiteY89" fmla="*/ 613012 h 1046508"/>
                  <a:gd name="connsiteX90" fmla="*/ 59247 w 1200744"/>
                  <a:gd name="connsiteY90" fmla="*/ 501147 h 1046508"/>
                  <a:gd name="connsiteX91" fmla="*/ 48816 w 1200744"/>
                  <a:gd name="connsiteY91" fmla="*/ 501147 h 1046508"/>
                  <a:gd name="connsiteX92" fmla="*/ 14298 w 1200744"/>
                  <a:gd name="connsiteY92" fmla="*/ 486849 h 1046508"/>
                  <a:gd name="connsiteX93" fmla="*/ 0 w 1200744"/>
                  <a:gd name="connsiteY93" fmla="*/ 452332 h 1046508"/>
                  <a:gd name="connsiteX94" fmla="*/ 14298 w 1200744"/>
                  <a:gd name="connsiteY94" fmla="*/ 417814 h 1046508"/>
                  <a:gd name="connsiteX95" fmla="*/ 48816 w 1200744"/>
                  <a:gd name="connsiteY95" fmla="*/ 403516 h 1046508"/>
                  <a:gd name="connsiteX96" fmla="*/ 59161 w 1200744"/>
                  <a:gd name="connsiteY96" fmla="*/ 403516 h 1046508"/>
                  <a:gd name="connsiteX97" fmla="*/ 59063 w 1200744"/>
                  <a:gd name="connsiteY97" fmla="*/ 291651 h 1046508"/>
                  <a:gd name="connsiteX98" fmla="*/ 48816 w 1200744"/>
                  <a:gd name="connsiteY98" fmla="*/ 291651 h 1046508"/>
                  <a:gd name="connsiteX99" fmla="*/ 14298 w 1200744"/>
                  <a:gd name="connsiteY99" fmla="*/ 277353 h 1046508"/>
                  <a:gd name="connsiteX100" fmla="*/ 0 w 1200744"/>
                  <a:gd name="connsiteY100" fmla="*/ 242836 h 1046508"/>
                  <a:gd name="connsiteX101" fmla="*/ 14298 w 1200744"/>
                  <a:gd name="connsiteY101" fmla="*/ 208318 h 1046508"/>
                  <a:gd name="connsiteX102" fmla="*/ 48816 w 1200744"/>
                  <a:gd name="connsiteY102" fmla="*/ 194020 h 1046508"/>
                  <a:gd name="connsiteX103" fmla="*/ 58977 w 1200744"/>
                  <a:gd name="connsiteY103" fmla="*/ 19402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792956 w 1200744"/>
                  <a:gd name="connsiteY49" fmla="*/ 387635 h 1046508"/>
                  <a:gd name="connsiteX50" fmla="*/ 883444 w 1200744"/>
                  <a:gd name="connsiteY50" fmla="*/ 376884 h 1046508"/>
                  <a:gd name="connsiteX51" fmla="*/ 1157493 w 1200744"/>
                  <a:gd name="connsiteY51" fmla="*/ 347675 h 1046508"/>
                  <a:gd name="connsiteX52" fmla="*/ 1200471 w 1200744"/>
                  <a:gd name="connsiteY52" fmla="*/ 381525 h 1046508"/>
                  <a:gd name="connsiteX53" fmla="*/ 1200470 w 1200744"/>
                  <a:gd name="connsiteY53" fmla="*/ 381526 h 1046508"/>
                  <a:gd name="connsiteX54" fmla="*/ 1166620 w 1200744"/>
                  <a:gd name="connsiteY54" fmla="*/ 424503 h 1046508"/>
                  <a:gd name="connsiteX55" fmla="*/ 883444 w 1200744"/>
                  <a:gd name="connsiteY55" fmla="*/ 458146 h 1046508"/>
                  <a:gd name="connsiteX56" fmla="*/ 883444 w 1200744"/>
                  <a:gd name="connsiteY56" fmla="*/ 506141 h 1046508"/>
                  <a:gd name="connsiteX57" fmla="*/ 792956 w 1200744"/>
                  <a:gd name="connsiteY57" fmla="*/ 516892 h 1046508"/>
                  <a:gd name="connsiteX58" fmla="*/ 792956 w 1200744"/>
                  <a:gd name="connsiteY58" fmla="*/ 468897 h 1046508"/>
                  <a:gd name="connsiteX59" fmla="*/ 688181 w 1200744"/>
                  <a:gd name="connsiteY59" fmla="*/ 481345 h 1046508"/>
                  <a:gd name="connsiteX60" fmla="*/ 688181 w 1200744"/>
                  <a:gd name="connsiteY60" fmla="*/ 529340 h 1046508"/>
                  <a:gd name="connsiteX61" fmla="*/ 418176 w 1200744"/>
                  <a:gd name="connsiteY61" fmla="*/ 561418 h 1046508"/>
                  <a:gd name="connsiteX62" fmla="*/ 392350 w 1200744"/>
                  <a:gd name="connsiteY62" fmla="*/ 575897 h 1046508"/>
                  <a:gd name="connsiteX63" fmla="*/ 384326 w 1200744"/>
                  <a:gd name="connsiteY63" fmla="*/ 604396 h 1046508"/>
                  <a:gd name="connsiteX64" fmla="*/ 398804 w 1200744"/>
                  <a:gd name="connsiteY64" fmla="*/ 630221 h 1046508"/>
                  <a:gd name="connsiteX65" fmla="*/ 427304 w 1200744"/>
                  <a:gd name="connsiteY65" fmla="*/ 638245 h 1046508"/>
                  <a:gd name="connsiteX66" fmla="*/ 1104900 w 1200744"/>
                  <a:gd name="connsiteY66" fmla="*/ 557742 h 1046508"/>
                  <a:gd name="connsiteX67" fmla="*/ 1104900 w 1200744"/>
                  <a:gd name="connsiteY67" fmla="*/ 558713 h 1046508"/>
                  <a:gd name="connsiteX68" fmla="*/ 1157491 w 1200744"/>
                  <a:gd name="connsiteY68" fmla="*/ 552464 h 1046508"/>
                  <a:gd name="connsiteX69" fmla="*/ 1200469 w 1200744"/>
                  <a:gd name="connsiteY69" fmla="*/ 586314 h 1046508"/>
                  <a:gd name="connsiteX70" fmla="*/ 1200468 w 1200744"/>
                  <a:gd name="connsiteY70" fmla="*/ 586314 h 1046508"/>
                  <a:gd name="connsiteX71" fmla="*/ 1166618 w 1200744"/>
                  <a:gd name="connsiteY71" fmla="*/ 629292 h 1046508"/>
                  <a:gd name="connsiteX72" fmla="*/ 1104900 w 1200744"/>
                  <a:gd name="connsiteY72" fmla="*/ 636624 h 1046508"/>
                  <a:gd name="connsiteX73" fmla="*/ 1104900 w 1200744"/>
                  <a:gd name="connsiteY73" fmla="*/ 817908 h 1046508"/>
                  <a:gd name="connsiteX74" fmla="*/ 971550 w 1200744"/>
                  <a:gd name="connsiteY74" fmla="*/ 946496 h 1046508"/>
                  <a:gd name="connsiteX75" fmla="*/ 752889 w 1200744"/>
                  <a:gd name="connsiteY75" fmla="*/ 946496 h 1046508"/>
                  <a:gd name="connsiteX76" fmla="*/ 749140 w 1200744"/>
                  <a:gd name="connsiteY76" fmla="*/ 965065 h 1046508"/>
                  <a:gd name="connsiteX77" fmla="*/ 626271 w 1200744"/>
                  <a:gd name="connsiteY77" fmla="*/ 1046508 h 1046508"/>
                  <a:gd name="connsiteX78" fmla="*/ 533770 w 1200744"/>
                  <a:gd name="connsiteY78" fmla="*/ 1046508 h 1046508"/>
                  <a:gd name="connsiteX79" fmla="*/ 410901 w 1200744"/>
                  <a:gd name="connsiteY79" fmla="*/ 965065 h 1046508"/>
                  <a:gd name="connsiteX80" fmla="*/ 407153 w 1200744"/>
                  <a:gd name="connsiteY80" fmla="*/ 946496 h 1046508"/>
                  <a:gd name="connsiteX81" fmla="*/ 190500 w 1200744"/>
                  <a:gd name="connsiteY81" fmla="*/ 946496 h 1046508"/>
                  <a:gd name="connsiteX82" fmla="*/ 59532 w 1200744"/>
                  <a:gd name="connsiteY82" fmla="*/ 825052 h 1046508"/>
                  <a:gd name="connsiteX83" fmla="*/ 59432 w 1200744"/>
                  <a:gd name="connsiteY83" fmla="*/ 710643 h 1046508"/>
                  <a:gd name="connsiteX84" fmla="*/ 48816 w 1200744"/>
                  <a:gd name="connsiteY84" fmla="*/ 710643 h 1046508"/>
                  <a:gd name="connsiteX85" fmla="*/ 14298 w 1200744"/>
                  <a:gd name="connsiteY85" fmla="*/ 696345 h 1046508"/>
                  <a:gd name="connsiteX86" fmla="*/ 0 w 1200744"/>
                  <a:gd name="connsiteY86" fmla="*/ 661828 h 1046508"/>
                  <a:gd name="connsiteX87" fmla="*/ 14298 w 1200744"/>
                  <a:gd name="connsiteY87" fmla="*/ 627310 h 1046508"/>
                  <a:gd name="connsiteX88" fmla="*/ 48816 w 1200744"/>
                  <a:gd name="connsiteY88" fmla="*/ 613012 h 1046508"/>
                  <a:gd name="connsiteX89" fmla="*/ 59346 w 1200744"/>
                  <a:gd name="connsiteY89" fmla="*/ 613012 h 1046508"/>
                  <a:gd name="connsiteX90" fmla="*/ 59247 w 1200744"/>
                  <a:gd name="connsiteY90" fmla="*/ 501147 h 1046508"/>
                  <a:gd name="connsiteX91" fmla="*/ 48816 w 1200744"/>
                  <a:gd name="connsiteY91" fmla="*/ 501147 h 1046508"/>
                  <a:gd name="connsiteX92" fmla="*/ 14298 w 1200744"/>
                  <a:gd name="connsiteY92" fmla="*/ 486849 h 1046508"/>
                  <a:gd name="connsiteX93" fmla="*/ 0 w 1200744"/>
                  <a:gd name="connsiteY93" fmla="*/ 452332 h 1046508"/>
                  <a:gd name="connsiteX94" fmla="*/ 14298 w 1200744"/>
                  <a:gd name="connsiteY94" fmla="*/ 417814 h 1046508"/>
                  <a:gd name="connsiteX95" fmla="*/ 48816 w 1200744"/>
                  <a:gd name="connsiteY95" fmla="*/ 403516 h 1046508"/>
                  <a:gd name="connsiteX96" fmla="*/ 59161 w 1200744"/>
                  <a:gd name="connsiteY96" fmla="*/ 403516 h 1046508"/>
                  <a:gd name="connsiteX97" fmla="*/ 59063 w 1200744"/>
                  <a:gd name="connsiteY97" fmla="*/ 291651 h 1046508"/>
                  <a:gd name="connsiteX98" fmla="*/ 48816 w 1200744"/>
                  <a:gd name="connsiteY98" fmla="*/ 291651 h 1046508"/>
                  <a:gd name="connsiteX99" fmla="*/ 14298 w 1200744"/>
                  <a:gd name="connsiteY99" fmla="*/ 277353 h 1046508"/>
                  <a:gd name="connsiteX100" fmla="*/ 0 w 1200744"/>
                  <a:gd name="connsiteY100" fmla="*/ 242836 h 1046508"/>
                  <a:gd name="connsiteX101" fmla="*/ 14298 w 1200744"/>
                  <a:gd name="connsiteY101" fmla="*/ 208318 h 1046508"/>
                  <a:gd name="connsiteX102" fmla="*/ 48816 w 1200744"/>
                  <a:gd name="connsiteY102" fmla="*/ 194020 h 1046508"/>
                  <a:gd name="connsiteX103" fmla="*/ 58977 w 1200744"/>
                  <a:gd name="connsiteY103" fmla="*/ 194020 h 1046508"/>
                  <a:gd name="connsiteX104" fmla="*/ 58806 w 1200744"/>
                  <a:gd name="connsiteY104"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792956 w 1200744"/>
                  <a:gd name="connsiteY49" fmla="*/ 387635 h 1046508"/>
                  <a:gd name="connsiteX50" fmla="*/ 1157493 w 1200744"/>
                  <a:gd name="connsiteY50" fmla="*/ 347675 h 1046508"/>
                  <a:gd name="connsiteX51" fmla="*/ 1200471 w 1200744"/>
                  <a:gd name="connsiteY51" fmla="*/ 381525 h 1046508"/>
                  <a:gd name="connsiteX52" fmla="*/ 1200470 w 1200744"/>
                  <a:gd name="connsiteY52" fmla="*/ 381526 h 1046508"/>
                  <a:gd name="connsiteX53" fmla="*/ 1166620 w 1200744"/>
                  <a:gd name="connsiteY53" fmla="*/ 424503 h 1046508"/>
                  <a:gd name="connsiteX54" fmla="*/ 883444 w 1200744"/>
                  <a:gd name="connsiteY54" fmla="*/ 458146 h 1046508"/>
                  <a:gd name="connsiteX55" fmla="*/ 883444 w 1200744"/>
                  <a:gd name="connsiteY55" fmla="*/ 506141 h 1046508"/>
                  <a:gd name="connsiteX56" fmla="*/ 792956 w 1200744"/>
                  <a:gd name="connsiteY56" fmla="*/ 516892 h 1046508"/>
                  <a:gd name="connsiteX57" fmla="*/ 792956 w 1200744"/>
                  <a:gd name="connsiteY57" fmla="*/ 468897 h 1046508"/>
                  <a:gd name="connsiteX58" fmla="*/ 688181 w 1200744"/>
                  <a:gd name="connsiteY58" fmla="*/ 481345 h 1046508"/>
                  <a:gd name="connsiteX59" fmla="*/ 688181 w 1200744"/>
                  <a:gd name="connsiteY59" fmla="*/ 529340 h 1046508"/>
                  <a:gd name="connsiteX60" fmla="*/ 418176 w 1200744"/>
                  <a:gd name="connsiteY60" fmla="*/ 561418 h 1046508"/>
                  <a:gd name="connsiteX61" fmla="*/ 392350 w 1200744"/>
                  <a:gd name="connsiteY61" fmla="*/ 575897 h 1046508"/>
                  <a:gd name="connsiteX62" fmla="*/ 384326 w 1200744"/>
                  <a:gd name="connsiteY62" fmla="*/ 604396 h 1046508"/>
                  <a:gd name="connsiteX63" fmla="*/ 398804 w 1200744"/>
                  <a:gd name="connsiteY63" fmla="*/ 630221 h 1046508"/>
                  <a:gd name="connsiteX64" fmla="*/ 427304 w 1200744"/>
                  <a:gd name="connsiteY64" fmla="*/ 638245 h 1046508"/>
                  <a:gd name="connsiteX65" fmla="*/ 1104900 w 1200744"/>
                  <a:gd name="connsiteY65" fmla="*/ 557742 h 1046508"/>
                  <a:gd name="connsiteX66" fmla="*/ 1104900 w 1200744"/>
                  <a:gd name="connsiteY66" fmla="*/ 558713 h 1046508"/>
                  <a:gd name="connsiteX67" fmla="*/ 1157491 w 1200744"/>
                  <a:gd name="connsiteY67" fmla="*/ 552464 h 1046508"/>
                  <a:gd name="connsiteX68" fmla="*/ 1200469 w 1200744"/>
                  <a:gd name="connsiteY68" fmla="*/ 586314 h 1046508"/>
                  <a:gd name="connsiteX69" fmla="*/ 1200468 w 1200744"/>
                  <a:gd name="connsiteY69" fmla="*/ 586314 h 1046508"/>
                  <a:gd name="connsiteX70" fmla="*/ 1166618 w 1200744"/>
                  <a:gd name="connsiteY70" fmla="*/ 629292 h 1046508"/>
                  <a:gd name="connsiteX71" fmla="*/ 1104900 w 1200744"/>
                  <a:gd name="connsiteY71" fmla="*/ 636624 h 1046508"/>
                  <a:gd name="connsiteX72" fmla="*/ 1104900 w 1200744"/>
                  <a:gd name="connsiteY72" fmla="*/ 817908 h 1046508"/>
                  <a:gd name="connsiteX73" fmla="*/ 971550 w 1200744"/>
                  <a:gd name="connsiteY73" fmla="*/ 946496 h 1046508"/>
                  <a:gd name="connsiteX74" fmla="*/ 752889 w 1200744"/>
                  <a:gd name="connsiteY74" fmla="*/ 946496 h 1046508"/>
                  <a:gd name="connsiteX75" fmla="*/ 749140 w 1200744"/>
                  <a:gd name="connsiteY75" fmla="*/ 965065 h 1046508"/>
                  <a:gd name="connsiteX76" fmla="*/ 626271 w 1200744"/>
                  <a:gd name="connsiteY76" fmla="*/ 1046508 h 1046508"/>
                  <a:gd name="connsiteX77" fmla="*/ 533770 w 1200744"/>
                  <a:gd name="connsiteY77" fmla="*/ 1046508 h 1046508"/>
                  <a:gd name="connsiteX78" fmla="*/ 410901 w 1200744"/>
                  <a:gd name="connsiteY78" fmla="*/ 965065 h 1046508"/>
                  <a:gd name="connsiteX79" fmla="*/ 407153 w 1200744"/>
                  <a:gd name="connsiteY79" fmla="*/ 946496 h 1046508"/>
                  <a:gd name="connsiteX80" fmla="*/ 190500 w 1200744"/>
                  <a:gd name="connsiteY80" fmla="*/ 946496 h 1046508"/>
                  <a:gd name="connsiteX81" fmla="*/ 59532 w 1200744"/>
                  <a:gd name="connsiteY81" fmla="*/ 825052 h 1046508"/>
                  <a:gd name="connsiteX82" fmla="*/ 59432 w 1200744"/>
                  <a:gd name="connsiteY82" fmla="*/ 710643 h 1046508"/>
                  <a:gd name="connsiteX83" fmla="*/ 48816 w 1200744"/>
                  <a:gd name="connsiteY83" fmla="*/ 710643 h 1046508"/>
                  <a:gd name="connsiteX84" fmla="*/ 14298 w 1200744"/>
                  <a:gd name="connsiteY84" fmla="*/ 696345 h 1046508"/>
                  <a:gd name="connsiteX85" fmla="*/ 0 w 1200744"/>
                  <a:gd name="connsiteY85" fmla="*/ 661828 h 1046508"/>
                  <a:gd name="connsiteX86" fmla="*/ 14298 w 1200744"/>
                  <a:gd name="connsiteY86" fmla="*/ 627310 h 1046508"/>
                  <a:gd name="connsiteX87" fmla="*/ 48816 w 1200744"/>
                  <a:gd name="connsiteY87" fmla="*/ 613012 h 1046508"/>
                  <a:gd name="connsiteX88" fmla="*/ 59346 w 1200744"/>
                  <a:gd name="connsiteY88" fmla="*/ 613012 h 1046508"/>
                  <a:gd name="connsiteX89" fmla="*/ 59247 w 1200744"/>
                  <a:gd name="connsiteY89" fmla="*/ 501147 h 1046508"/>
                  <a:gd name="connsiteX90" fmla="*/ 48816 w 1200744"/>
                  <a:gd name="connsiteY90" fmla="*/ 501147 h 1046508"/>
                  <a:gd name="connsiteX91" fmla="*/ 14298 w 1200744"/>
                  <a:gd name="connsiteY91" fmla="*/ 486849 h 1046508"/>
                  <a:gd name="connsiteX92" fmla="*/ 0 w 1200744"/>
                  <a:gd name="connsiteY92" fmla="*/ 452332 h 1046508"/>
                  <a:gd name="connsiteX93" fmla="*/ 14298 w 1200744"/>
                  <a:gd name="connsiteY93" fmla="*/ 417814 h 1046508"/>
                  <a:gd name="connsiteX94" fmla="*/ 48816 w 1200744"/>
                  <a:gd name="connsiteY94" fmla="*/ 403516 h 1046508"/>
                  <a:gd name="connsiteX95" fmla="*/ 59161 w 1200744"/>
                  <a:gd name="connsiteY95" fmla="*/ 403516 h 1046508"/>
                  <a:gd name="connsiteX96" fmla="*/ 59063 w 1200744"/>
                  <a:gd name="connsiteY96" fmla="*/ 291651 h 1046508"/>
                  <a:gd name="connsiteX97" fmla="*/ 48816 w 1200744"/>
                  <a:gd name="connsiteY97" fmla="*/ 291651 h 1046508"/>
                  <a:gd name="connsiteX98" fmla="*/ 14298 w 1200744"/>
                  <a:gd name="connsiteY98" fmla="*/ 277353 h 1046508"/>
                  <a:gd name="connsiteX99" fmla="*/ 0 w 1200744"/>
                  <a:gd name="connsiteY99" fmla="*/ 242836 h 1046508"/>
                  <a:gd name="connsiteX100" fmla="*/ 14298 w 1200744"/>
                  <a:gd name="connsiteY100" fmla="*/ 208318 h 1046508"/>
                  <a:gd name="connsiteX101" fmla="*/ 48816 w 1200744"/>
                  <a:gd name="connsiteY101" fmla="*/ 194020 h 1046508"/>
                  <a:gd name="connsiteX102" fmla="*/ 58977 w 1200744"/>
                  <a:gd name="connsiteY102" fmla="*/ 194020 h 1046508"/>
                  <a:gd name="connsiteX103" fmla="*/ 58806 w 1200744"/>
                  <a:gd name="connsiteY103"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1157493 w 1200744"/>
                  <a:gd name="connsiteY49" fmla="*/ 347675 h 1046508"/>
                  <a:gd name="connsiteX50" fmla="*/ 1200471 w 1200744"/>
                  <a:gd name="connsiteY50" fmla="*/ 381525 h 1046508"/>
                  <a:gd name="connsiteX51" fmla="*/ 1200470 w 1200744"/>
                  <a:gd name="connsiteY51" fmla="*/ 381526 h 1046508"/>
                  <a:gd name="connsiteX52" fmla="*/ 1166620 w 1200744"/>
                  <a:gd name="connsiteY52" fmla="*/ 424503 h 1046508"/>
                  <a:gd name="connsiteX53" fmla="*/ 883444 w 1200744"/>
                  <a:gd name="connsiteY53" fmla="*/ 458146 h 1046508"/>
                  <a:gd name="connsiteX54" fmla="*/ 883444 w 1200744"/>
                  <a:gd name="connsiteY54" fmla="*/ 506141 h 1046508"/>
                  <a:gd name="connsiteX55" fmla="*/ 792956 w 1200744"/>
                  <a:gd name="connsiteY55" fmla="*/ 516892 h 1046508"/>
                  <a:gd name="connsiteX56" fmla="*/ 792956 w 1200744"/>
                  <a:gd name="connsiteY56" fmla="*/ 468897 h 1046508"/>
                  <a:gd name="connsiteX57" fmla="*/ 688181 w 1200744"/>
                  <a:gd name="connsiteY57" fmla="*/ 481345 h 1046508"/>
                  <a:gd name="connsiteX58" fmla="*/ 688181 w 1200744"/>
                  <a:gd name="connsiteY58" fmla="*/ 529340 h 1046508"/>
                  <a:gd name="connsiteX59" fmla="*/ 418176 w 1200744"/>
                  <a:gd name="connsiteY59" fmla="*/ 561418 h 1046508"/>
                  <a:gd name="connsiteX60" fmla="*/ 392350 w 1200744"/>
                  <a:gd name="connsiteY60" fmla="*/ 575897 h 1046508"/>
                  <a:gd name="connsiteX61" fmla="*/ 384326 w 1200744"/>
                  <a:gd name="connsiteY61" fmla="*/ 604396 h 1046508"/>
                  <a:gd name="connsiteX62" fmla="*/ 398804 w 1200744"/>
                  <a:gd name="connsiteY62" fmla="*/ 630221 h 1046508"/>
                  <a:gd name="connsiteX63" fmla="*/ 427304 w 1200744"/>
                  <a:gd name="connsiteY63" fmla="*/ 638245 h 1046508"/>
                  <a:gd name="connsiteX64" fmla="*/ 1104900 w 1200744"/>
                  <a:gd name="connsiteY64" fmla="*/ 557742 h 1046508"/>
                  <a:gd name="connsiteX65" fmla="*/ 1104900 w 1200744"/>
                  <a:gd name="connsiteY65" fmla="*/ 558713 h 1046508"/>
                  <a:gd name="connsiteX66" fmla="*/ 1157491 w 1200744"/>
                  <a:gd name="connsiteY66" fmla="*/ 552464 h 1046508"/>
                  <a:gd name="connsiteX67" fmla="*/ 1200469 w 1200744"/>
                  <a:gd name="connsiteY67" fmla="*/ 586314 h 1046508"/>
                  <a:gd name="connsiteX68" fmla="*/ 1200468 w 1200744"/>
                  <a:gd name="connsiteY68" fmla="*/ 586314 h 1046508"/>
                  <a:gd name="connsiteX69" fmla="*/ 1166618 w 1200744"/>
                  <a:gd name="connsiteY69" fmla="*/ 629292 h 1046508"/>
                  <a:gd name="connsiteX70" fmla="*/ 1104900 w 1200744"/>
                  <a:gd name="connsiteY70" fmla="*/ 636624 h 1046508"/>
                  <a:gd name="connsiteX71" fmla="*/ 1104900 w 1200744"/>
                  <a:gd name="connsiteY71" fmla="*/ 817908 h 1046508"/>
                  <a:gd name="connsiteX72" fmla="*/ 971550 w 1200744"/>
                  <a:gd name="connsiteY72" fmla="*/ 946496 h 1046508"/>
                  <a:gd name="connsiteX73" fmla="*/ 752889 w 1200744"/>
                  <a:gd name="connsiteY73" fmla="*/ 946496 h 1046508"/>
                  <a:gd name="connsiteX74" fmla="*/ 749140 w 1200744"/>
                  <a:gd name="connsiteY74" fmla="*/ 965065 h 1046508"/>
                  <a:gd name="connsiteX75" fmla="*/ 626271 w 1200744"/>
                  <a:gd name="connsiteY75" fmla="*/ 1046508 h 1046508"/>
                  <a:gd name="connsiteX76" fmla="*/ 533770 w 1200744"/>
                  <a:gd name="connsiteY76" fmla="*/ 1046508 h 1046508"/>
                  <a:gd name="connsiteX77" fmla="*/ 410901 w 1200744"/>
                  <a:gd name="connsiteY77" fmla="*/ 965065 h 1046508"/>
                  <a:gd name="connsiteX78" fmla="*/ 407153 w 1200744"/>
                  <a:gd name="connsiteY78" fmla="*/ 946496 h 1046508"/>
                  <a:gd name="connsiteX79" fmla="*/ 190500 w 1200744"/>
                  <a:gd name="connsiteY79" fmla="*/ 946496 h 1046508"/>
                  <a:gd name="connsiteX80" fmla="*/ 59532 w 1200744"/>
                  <a:gd name="connsiteY80" fmla="*/ 825052 h 1046508"/>
                  <a:gd name="connsiteX81" fmla="*/ 59432 w 1200744"/>
                  <a:gd name="connsiteY81" fmla="*/ 710643 h 1046508"/>
                  <a:gd name="connsiteX82" fmla="*/ 48816 w 1200744"/>
                  <a:gd name="connsiteY82" fmla="*/ 710643 h 1046508"/>
                  <a:gd name="connsiteX83" fmla="*/ 14298 w 1200744"/>
                  <a:gd name="connsiteY83" fmla="*/ 696345 h 1046508"/>
                  <a:gd name="connsiteX84" fmla="*/ 0 w 1200744"/>
                  <a:gd name="connsiteY84" fmla="*/ 661828 h 1046508"/>
                  <a:gd name="connsiteX85" fmla="*/ 14298 w 1200744"/>
                  <a:gd name="connsiteY85" fmla="*/ 627310 h 1046508"/>
                  <a:gd name="connsiteX86" fmla="*/ 48816 w 1200744"/>
                  <a:gd name="connsiteY86" fmla="*/ 613012 h 1046508"/>
                  <a:gd name="connsiteX87" fmla="*/ 59346 w 1200744"/>
                  <a:gd name="connsiteY87" fmla="*/ 613012 h 1046508"/>
                  <a:gd name="connsiteX88" fmla="*/ 59247 w 1200744"/>
                  <a:gd name="connsiteY88" fmla="*/ 501147 h 1046508"/>
                  <a:gd name="connsiteX89" fmla="*/ 48816 w 1200744"/>
                  <a:gd name="connsiteY89" fmla="*/ 501147 h 1046508"/>
                  <a:gd name="connsiteX90" fmla="*/ 14298 w 1200744"/>
                  <a:gd name="connsiteY90" fmla="*/ 486849 h 1046508"/>
                  <a:gd name="connsiteX91" fmla="*/ 0 w 1200744"/>
                  <a:gd name="connsiteY91" fmla="*/ 452332 h 1046508"/>
                  <a:gd name="connsiteX92" fmla="*/ 14298 w 1200744"/>
                  <a:gd name="connsiteY92" fmla="*/ 417814 h 1046508"/>
                  <a:gd name="connsiteX93" fmla="*/ 48816 w 1200744"/>
                  <a:gd name="connsiteY93" fmla="*/ 403516 h 1046508"/>
                  <a:gd name="connsiteX94" fmla="*/ 59161 w 1200744"/>
                  <a:gd name="connsiteY94" fmla="*/ 403516 h 1046508"/>
                  <a:gd name="connsiteX95" fmla="*/ 59063 w 1200744"/>
                  <a:gd name="connsiteY95" fmla="*/ 291651 h 1046508"/>
                  <a:gd name="connsiteX96" fmla="*/ 48816 w 1200744"/>
                  <a:gd name="connsiteY96" fmla="*/ 291651 h 1046508"/>
                  <a:gd name="connsiteX97" fmla="*/ 14298 w 1200744"/>
                  <a:gd name="connsiteY97" fmla="*/ 277353 h 1046508"/>
                  <a:gd name="connsiteX98" fmla="*/ 0 w 1200744"/>
                  <a:gd name="connsiteY98" fmla="*/ 242836 h 1046508"/>
                  <a:gd name="connsiteX99" fmla="*/ 14298 w 1200744"/>
                  <a:gd name="connsiteY99" fmla="*/ 208318 h 1046508"/>
                  <a:gd name="connsiteX100" fmla="*/ 48816 w 1200744"/>
                  <a:gd name="connsiteY100" fmla="*/ 194020 h 1046508"/>
                  <a:gd name="connsiteX101" fmla="*/ 58977 w 1200744"/>
                  <a:gd name="connsiteY101" fmla="*/ 194020 h 1046508"/>
                  <a:gd name="connsiteX102" fmla="*/ 58806 w 1200744"/>
                  <a:gd name="connsiteY102"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1157493 w 1200744"/>
                  <a:gd name="connsiteY48" fmla="*/ 347675 h 1046508"/>
                  <a:gd name="connsiteX49" fmla="*/ 1200471 w 1200744"/>
                  <a:gd name="connsiteY49" fmla="*/ 381525 h 1046508"/>
                  <a:gd name="connsiteX50" fmla="*/ 1200470 w 1200744"/>
                  <a:gd name="connsiteY50" fmla="*/ 381526 h 1046508"/>
                  <a:gd name="connsiteX51" fmla="*/ 1166620 w 1200744"/>
                  <a:gd name="connsiteY51" fmla="*/ 424503 h 1046508"/>
                  <a:gd name="connsiteX52" fmla="*/ 883444 w 1200744"/>
                  <a:gd name="connsiteY52" fmla="*/ 458146 h 1046508"/>
                  <a:gd name="connsiteX53" fmla="*/ 883444 w 1200744"/>
                  <a:gd name="connsiteY53" fmla="*/ 506141 h 1046508"/>
                  <a:gd name="connsiteX54" fmla="*/ 792956 w 1200744"/>
                  <a:gd name="connsiteY54" fmla="*/ 516892 h 1046508"/>
                  <a:gd name="connsiteX55" fmla="*/ 792956 w 1200744"/>
                  <a:gd name="connsiteY55" fmla="*/ 468897 h 1046508"/>
                  <a:gd name="connsiteX56" fmla="*/ 688181 w 1200744"/>
                  <a:gd name="connsiteY56" fmla="*/ 481345 h 1046508"/>
                  <a:gd name="connsiteX57" fmla="*/ 688181 w 1200744"/>
                  <a:gd name="connsiteY57" fmla="*/ 529340 h 1046508"/>
                  <a:gd name="connsiteX58" fmla="*/ 418176 w 1200744"/>
                  <a:gd name="connsiteY58" fmla="*/ 561418 h 1046508"/>
                  <a:gd name="connsiteX59" fmla="*/ 392350 w 1200744"/>
                  <a:gd name="connsiteY59" fmla="*/ 575897 h 1046508"/>
                  <a:gd name="connsiteX60" fmla="*/ 384326 w 1200744"/>
                  <a:gd name="connsiteY60" fmla="*/ 604396 h 1046508"/>
                  <a:gd name="connsiteX61" fmla="*/ 398804 w 1200744"/>
                  <a:gd name="connsiteY61" fmla="*/ 630221 h 1046508"/>
                  <a:gd name="connsiteX62" fmla="*/ 427304 w 1200744"/>
                  <a:gd name="connsiteY62" fmla="*/ 638245 h 1046508"/>
                  <a:gd name="connsiteX63" fmla="*/ 1104900 w 1200744"/>
                  <a:gd name="connsiteY63" fmla="*/ 557742 h 1046508"/>
                  <a:gd name="connsiteX64" fmla="*/ 1104900 w 1200744"/>
                  <a:gd name="connsiteY64" fmla="*/ 558713 h 1046508"/>
                  <a:gd name="connsiteX65" fmla="*/ 1157491 w 1200744"/>
                  <a:gd name="connsiteY65" fmla="*/ 552464 h 1046508"/>
                  <a:gd name="connsiteX66" fmla="*/ 1200469 w 1200744"/>
                  <a:gd name="connsiteY66" fmla="*/ 586314 h 1046508"/>
                  <a:gd name="connsiteX67" fmla="*/ 1200468 w 1200744"/>
                  <a:gd name="connsiteY67" fmla="*/ 586314 h 1046508"/>
                  <a:gd name="connsiteX68" fmla="*/ 1166618 w 1200744"/>
                  <a:gd name="connsiteY68" fmla="*/ 629292 h 1046508"/>
                  <a:gd name="connsiteX69" fmla="*/ 1104900 w 1200744"/>
                  <a:gd name="connsiteY69" fmla="*/ 636624 h 1046508"/>
                  <a:gd name="connsiteX70" fmla="*/ 1104900 w 1200744"/>
                  <a:gd name="connsiteY70" fmla="*/ 817908 h 1046508"/>
                  <a:gd name="connsiteX71" fmla="*/ 971550 w 1200744"/>
                  <a:gd name="connsiteY71" fmla="*/ 946496 h 1046508"/>
                  <a:gd name="connsiteX72" fmla="*/ 752889 w 1200744"/>
                  <a:gd name="connsiteY72" fmla="*/ 946496 h 1046508"/>
                  <a:gd name="connsiteX73" fmla="*/ 749140 w 1200744"/>
                  <a:gd name="connsiteY73" fmla="*/ 965065 h 1046508"/>
                  <a:gd name="connsiteX74" fmla="*/ 626271 w 1200744"/>
                  <a:gd name="connsiteY74" fmla="*/ 1046508 h 1046508"/>
                  <a:gd name="connsiteX75" fmla="*/ 533770 w 1200744"/>
                  <a:gd name="connsiteY75" fmla="*/ 1046508 h 1046508"/>
                  <a:gd name="connsiteX76" fmla="*/ 410901 w 1200744"/>
                  <a:gd name="connsiteY76" fmla="*/ 965065 h 1046508"/>
                  <a:gd name="connsiteX77" fmla="*/ 407153 w 1200744"/>
                  <a:gd name="connsiteY77" fmla="*/ 946496 h 1046508"/>
                  <a:gd name="connsiteX78" fmla="*/ 190500 w 1200744"/>
                  <a:gd name="connsiteY78" fmla="*/ 946496 h 1046508"/>
                  <a:gd name="connsiteX79" fmla="*/ 59532 w 1200744"/>
                  <a:gd name="connsiteY79" fmla="*/ 825052 h 1046508"/>
                  <a:gd name="connsiteX80" fmla="*/ 59432 w 1200744"/>
                  <a:gd name="connsiteY80" fmla="*/ 710643 h 1046508"/>
                  <a:gd name="connsiteX81" fmla="*/ 48816 w 1200744"/>
                  <a:gd name="connsiteY81" fmla="*/ 710643 h 1046508"/>
                  <a:gd name="connsiteX82" fmla="*/ 14298 w 1200744"/>
                  <a:gd name="connsiteY82" fmla="*/ 696345 h 1046508"/>
                  <a:gd name="connsiteX83" fmla="*/ 0 w 1200744"/>
                  <a:gd name="connsiteY83" fmla="*/ 661828 h 1046508"/>
                  <a:gd name="connsiteX84" fmla="*/ 14298 w 1200744"/>
                  <a:gd name="connsiteY84" fmla="*/ 627310 h 1046508"/>
                  <a:gd name="connsiteX85" fmla="*/ 48816 w 1200744"/>
                  <a:gd name="connsiteY85" fmla="*/ 613012 h 1046508"/>
                  <a:gd name="connsiteX86" fmla="*/ 59346 w 1200744"/>
                  <a:gd name="connsiteY86" fmla="*/ 613012 h 1046508"/>
                  <a:gd name="connsiteX87" fmla="*/ 59247 w 1200744"/>
                  <a:gd name="connsiteY87" fmla="*/ 501147 h 1046508"/>
                  <a:gd name="connsiteX88" fmla="*/ 48816 w 1200744"/>
                  <a:gd name="connsiteY88" fmla="*/ 501147 h 1046508"/>
                  <a:gd name="connsiteX89" fmla="*/ 14298 w 1200744"/>
                  <a:gd name="connsiteY89" fmla="*/ 486849 h 1046508"/>
                  <a:gd name="connsiteX90" fmla="*/ 0 w 1200744"/>
                  <a:gd name="connsiteY90" fmla="*/ 452332 h 1046508"/>
                  <a:gd name="connsiteX91" fmla="*/ 14298 w 1200744"/>
                  <a:gd name="connsiteY91" fmla="*/ 417814 h 1046508"/>
                  <a:gd name="connsiteX92" fmla="*/ 48816 w 1200744"/>
                  <a:gd name="connsiteY92" fmla="*/ 403516 h 1046508"/>
                  <a:gd name="connsiteX93" fmla="*/ 59161 w 1200744"/>
                  <a:gd name="connsiteY93" fmla="*/ 403516 h 1046508"/>
                  <a:gd name="connsiteX94" fmla="*/ 59063 w 1200744"/>
                  <a:gd name="connsiteY94" fmla="*/ 291651 h 1046508"/>
                  <a:gd name="connsiteX95" fmla="*/ 48816 w 1200744"/>
                  <a:gd name="connsiteY95" fmla="*/ 291651 h 1046508"/>
                  <a:gd name="connsiteX96" fmla="*/ 14298 w 1200744"/>
                  <a:gd name="connsiteY96" fmla="*/ 277353 h 1046508"/>
                  <a:gd name="connsiteX97" fmla="*/ 0 w 1200744"/>
                  <a:gd name="connsiteY97" fmla="*/ 242836 h 1046508"/>
                  <a:gd name="connsiteX98" fmla="*/ 14298 w 1200744"/>
                  <a:gd name="connsiteY98" fmla="*/ 208318 h 1046508"/>
                  <a:gd name="connsiteX99" fmla="*/ 48816 w 1200744"/>
                  <a:gd name="connsiteY99" fmla="*/ 194020 h 1046508"/>
                  <a:gd name="connsiteX100" fmla="*/ 58977 w 1200744"/>
                  <a:gd name="connsiteY100" fmla="*/ 194020 h 1046508"/>
                  <a:gd name="connsiteX101" fmla="*/ 58806 w 1200744"/>
                  <a:gd name="connsiteY101"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1157493 w 1200744"/>
                  <a:gd name="connsiteY47" fmla="*/ 347675 h 1046508"/>
                  <a:gd name="connsiteX48" fmla="*/ 1200471 w 1200744"/>
                  <a:gd name="connsiteY48" fmla="*/ 381525 h 1046508"/>
                  <a:gd name="connsiteX49" fmla="*/ 1200470 w 1200744"/>
                  <a:gd name="connsiteY49" fmla="*/ 381526 h 1046508"/>
                  <a:gd name="connsiteX50" fmla="*/ 1166620 w 1200744"/>
                  <a:gd name="connsiteY50" fmla="*/ 424503 h 1046508"/>
                  <a:gd name="connsiteX51" fmla="*/ 883444 w 1200744"/>
                  <a:gd name="connsiteY51" fmla="*/ 458146 h 1046508"/>
                  <a:gd name="connsiteX52" fmla="*/ 883444 w 1200744"/>
                  <a:gd name="connsiteY52" fmla="*/ 506141 h 1046508"/>
                  <a:gd name="connsiteX53" fmla="*/ 792956 w 1200744"/>
                  <a:gd name="connsiteY53" fmla="*/ 516892 h 1046508"/>
                  <a:gd name="connsiteX54" fmla="*/ 792956 w 1200744"/>
                  <a:gd name="connsiteY54" fmla="*/ 468897 h 1046508"/>
                  <a:gd name="connsiteX55" fmla="*/ 688181 w 1200744"/>
                  <a:gd name="connsiteY55" fmla="*/ 481345 h 1046508"/>
                  <a:gd name="connsiteX56" fmla="*/ 688181 w 1200744"/>
                  <a:gd name="connsiteY56" fmla="*/ 529340 h 1046508"/>
                  <a:gd name="connsiteX57" fmla="*/ 418176 w 1200744"/>
                  <a:gd name="connsiteY57" fmla="*/ 561418 h 1046508"/>
                  <a:gd name="connsiteX58" fmla="*/ 392350 w 1200744"/>
                  <a:gd name="connsiteY58" fmla="*/ 575897 h 1046508"/>
                  <a:gd name="connsiteX59" fmla="*/ 384326 w 1200744"/>
                  <a:gd name="connsiteY59" fmla="*/ 604396 h 1046508"/>
                  <a:gd name="connsiteX60" fmla="*/ 398804 w 1200744"/>
                  <a:gd name="connsiteY60" fmla="*/ 630221 h 1046508"/>
                  <a:gd name="connsiteX61" fmla="*/ 427304 w 1200744"/>
                  <a:gd name="connsiteY61" fmla="*/ 638245 h 1046508"/>
                  <a:gd name="connsiteX62" fmla="*/ 1104900 w 1200744"/>
                  <a:gd name="connsiteY62" fmla="*/ 557742 h 1046508"/>
                  <a:gd name="connsiteX63" fmla="*/ 1104900 w 1200744"/>
                  <a:gd name="connsiteY63" fmla="*/ 558713 h 1046508"/>
                  <a:gd name="connsiteX64" fmla="*/ 1157491 w 1200744"/>
                  <a:gd name="connsiteY64" fmla="*/ 552464 h 1046508"/>
                  <a:gd name="connsiteX65" fmla="*/ 1200469 w 1200744"/>
                  <a:gd name="connsiteY65" fmla="*/ 586314 h 1046508"/>
                  <a:gd name="connsiteX66" fmla="*/ 1200468 w 1200744"/>
                  <a:gd name="connsiteY66" fmla="*/ 586314 h 1046508"/>
                  <a:gd name="connsiteX67" fmla="*/ 1166618 w 1200744"/>
                  <a:gd name="connsiteY67" fmla="*/ 629292 h 1046508"/>
                  <a:gd name="connsiteX68" fmla="*/ 1104900 w 1200744"/>
                  <a:gd name="connsiteY68" fmla="*/ 636624 h 1046508"/>
                  <a:gd name="connsiteX69" fmla="*/ 1104900 w 1200744"/>
                  <a:gd name="connsiteY69" fmla="*/ 817908 h 1046508"/>
                  <a:gd name="connsiteX70" fmla="*/ 971550 w 1200744"/>
                  <a:gd name="connsiteY70" fmla="*/ 946496 h 1046508"/>
                  <a:gd name="connsiteX71" fmla="*/ 752889 w 1200744"/>
                  <a:gd name="connsiteY71" fmla="*/ 946496 h 1046508"/>
                  <a:gd name="connsiteX72" fmla="*/ 749140 w 1200744"/>
                  <a:gd name="connsiteY72" fmla="*/ 965065 h 1046508"/>
                  <a:gd name="connsiteX73" fmla="*/ 626271 w 1200744"/>
                  <a:gd name="connsiteY73" fmla="*/ 1046508 h 1046508"/>
                  <a:gd name="connsiteX74" fmla="*/ 533770 w 1200744"/>
                  <a:gd name="connsiteY74" fmla="*/ 1046508 h 1046508"/>
                  <a:gd name="connsiteX75" fmla="*/ 410901 w 1200744"/>
                  <a:gd name="connsiteY75" fmla="*/ 965065 h 1046508"/>
                  <a:gd name="connsiteX76" fmla="*/ 407153 w 1200744"/>
                  <a:gd name="connsiteY76" fmla="*/ 946496 h 1046508"/>
                  <a:gd name="connsiteX77" fmla="*/ 190500 w 1200744"/>
                  <a:gd name="connsiteY77" fmla="*/ 946496 h 1046508"/>
                  <a:gd name="connsiteX78" fmla="*/ 59532 w 1200744"/>
                  <a:gd name="connsiteY78" fmla="*/ 825052 h 1046508"/>
                  <a:gd name="connsiteX79" fmla="*/ 59432 w 1200744"/>
                  <a:gd name="connsiteY79" fmla="*/ 710643 h 1046508"/>
                  <a:gd name="connsiteX80" fmla="*/ 48816 w 1200744"/>
                  <a:gd name="connsiteY80" fmla="*/ 710643 h 1046508"/>
                  <a:gd name="connsiteX81" fmla="*/ 14298 w 1200744"/>
                  <a:gd name="connsiteY81" fmla="*/ 696345 h 1046508"/>
                  <a:gd name="connsiteX82" fmla="*/ 0 w 1200744"/>
                  <a:gd name="connsiteY82" fmla="*/ 661828 h 1046508"/>
                  <a:gd name="connsiteX83" fmla="*/ 14298 w 1200744"/>
                  <a:gd name="connsiteY83" fmla="*/ 627310 h 1046508"/>
                  <a:gd name="connsiteX84" fmla="*/ 48816 w 1200744"/>
                  <a:gd name="connsiteY84" fmla="*/ 613012 h 1046508"/>
                  <a:gd name="connsiteX85" fmla="*/ 59346 w 1200744"/>
                  <a:gd name="connsiteY85" fmla="*/ 613012 h 1046508"/>
                  <a:gd name="connsiteX86" fmla="*/ 59247 w 1200744"/>
                  <a:gd name="connsiteY86" fmla="*/ 501147 h 1046508"/>
                  <a:gd name="connsiteX87" fmla="*/ 48816 w 1200744"/>
                  <a:gd name="connsiteY87" fmla="*/ 501147 h 1046508"/>
                  <a:gd name="connsiteX88" fmla="*/ 14298 w 1200744"/>
                  <a:gd name="connsiteY88" fmla="*/ 486849 h 1046508"/>
                  <a:gd name="connsiteX89" fmla="*/ 0 w 1200744"/>
                  <a:gd name="connsiteY89" fmla="*/ 452332 h 1046508"/>
                  <a:gd name="connsiteX90" fmla="*/ 14298 w 1200744"/>
                  <a:gd name="connsiteY90" fmla="*/ 417814 h 1046508"/>
                  <a:gd name="connsiteX91" fmla="*/ 48816 w 1200744"/>
                  <a:gd name="connsiteY91" fmla="*/ 403516 h 1046508"/>
                  <a:gd name="connsiteX92" fmla="*/ 59161 w 1200744"/>
                  <a:gd name="connsiteY92" fmla="*/ 403516 h 1046508"/>
                  <a:gd name="connsiteX93" fmla="*/ 59063 w 1200744"/>
                  <a:gd name="connsiteY93" fmla="*/ 291651 h 1046508"/>
                  <a:gd name="connsiteX94" fmla="*/ 48816 w 1200744"/>
                  <a:gd name="connsiteY94" fmla="*/ 291651 h 1046508"/>
                  <a:gd name="connsiteX95" fmla="*/ 14298 w 1200744"/>
                  <a:gd name="connsiteY95" fmla="*/ 277353 h 1046508"/>
                  <a:gd name="connsiteX96" fmla="*/ 0 w 1200744"/>
                  <a:gd name="connsiteY96" fmla="*/ 242836 h 1046508"/>
                  <a:gd name="connsiteX97" fmla="*/ 14298 w 1200744"/>
                  <a:gd name="connsiteY97" fmla="*/ 208318 h 1046508"/>
                  <a:gd name="connsiteX98" fmla="*/ 48816 w 1200744"/>
                  <a:gd name="connsiteY98" fmla="*/ 194020 h 1046508"/>
                  <a:gd name="connsiteX99" fmla="*/ 58977 w 1200744"/>
                  <a:gd name="connsiteY99" fmla="*/ 194020 h 1046508"/>
                  <a:gd name="connsiteX100" fmla="*/ 58806 w 1200744"/>
                  <a:gd name="connsiteY100"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1157493 w 1200744"/>
                  <a:gd name="connsiteY46" fmla="*/ 347675 h 1046508"/>
                  <a:gd name="connsiteX47" fmla="*/ 1200471 w 1200744"/>
                  <a:gd name="connsiteY47" fmla="*/ 381525 h 1046508"/>
                  <a:gd name="connsiteX48" fmla="*/ 1200470 w 1200744"/>
                  <a:gd name="connsiteY48" fmla="*/ 381526 h 1046508"/>
                  <a:gd name="connsiteX49" fmla="*/ 1166620 w 1200744"/>
                  <a:gd name="connsiteY49" fmla="*/ 424503 h 1046508"/>
                  <a:gd name="connsiteX50" fmla="*/ 883444 w 1200744"/>
                  <a:gd name="connsiteY50" fmla="*/ 458146 h 1046508"/>
                  <a:gd name="connsiteX51" fmla="*/ 883444 w 1200744"/>
                  <a:gd name="connsiteY51" fmla="*/ 506141 h 1046508"/>
                  <a:gd name="connsiteX52" fmla="*/ 792956 w 1200744"/>
                  <a:gd name="connsiteY52" fmla="*/ 516892 h 1046508"/>
                  <a:gd name="connsiteX53" fmla="*/ 792956 w 1200744"/>
                  <a:gd name="connsiteY53" fmla="*/ 468897 h 1046508"/>
                  <a:gd name="connsiteX54" fmla="*/ 688181 w 1200744"/>
                  <a:gd name="connsiteY54" fmla="*/ 481345 h 1046508"/>
                  <a:gd name="connsiteX55" fmla="*/ 688181 w 1200744"/>
                  <a:gd name="connsiteY55" fmla="*/ 529340 h 1046508"/>
                  <a:gd name="connsiteX56" fmla="*/ 418176 w 1200744"/>
                  <a:gd name="connsiteY56" fmla="*/ 561418 h 1046508"/>
                  <a:gd name="connsiteX57" fmla="*/ 392350 w 1200744"/>
                  <a:gd name="connsiteY57" fmla="*/ 575897 h 1046508"/>
                  <a:gd name="connsiteX58" fmla="*/ 384326 w 1200744"/>
                  <a:gd name="connsiteY58" fmla="*/ 604396 h 1046508"/>
                  <a:gd name="connsiteX59" fmla="*/ 398804 w 1200744"/>
                  <a:gd name="connsiteY59" fmla="*/ 630221 h 1046508"/>
                  <a:gd name="connsiteX60" fmla="*/ 427304 w 1200744"/>
                  <a:gd name="connsiteY60" fmla="*/ 638245 h 1046508"/>
                  <a:gd name="connsiteX61" fmla="*/ 1104900 w 1200744"/>
                  <a:gd name="connsiteY61" fmla="*/ 557742 h 1046508"/>
                  <a:gd name="connsiteX62" fmla="*/ 1104900 w 1200744"/>
                  <a:gd name="connsiteY62" fmla="*/ 558713 h 1046508"/>
                  <a:gd name="connsiteX63" fmla="*/ 1157491 w 1200744"/>
                  <a:gd name="connsiteY63" fmla="*/ 552464 h 1046508"/>
                  <a:gd name="connsiteX64" fmla="*/ 1200469 w 1200744"/>
                  <a:gd name="connsiteY64" fmla="*/ 586314 h 1046508"/>
                  <a:gd name="connsiteX65" fmla="*/ 1200468 w 1200744"/>
                  <a:gd name="connsiteY65" fmla="*/ 586314 h 1046508"/>
                  <a:gd name="connsiteX66" fmla="*/ 1166618 w 1200744"/>
                  <a:gd name="connsiteY66" fmla="*/ 629292 h 1046508"/>
                  <a:gd name="connsiteX67" fmla="*/ 1104900 w 1200744"/>
                  <a:gd name="connsiteY67" fmla="*/ 636624 h 1046508"/>
                  <a:gd name="connsiteX68" fmla="*/ 1104900 w 1200744"/>
                  <a:gd name="connsiteY68" fmla="*/ 817908 h 1046508"/>
                  <a:gd name="connsiteX69" fmla="*/ 971550 w 1200744"/>
                  <a:gd name="connsiteY69" fmla="*/ 946496 h 1046508"/>
                  <a:gd name="connsiteX70" fmla="*/ 752889 w 1200744"/>
                  <a:gd name="connsiteY70" fmla="*/ 946496 h 1046508"/>
                  <a:gd name="connsiteX71" fmla="*/ 749140 w 1200744"/>
                  <a:gd name="connsiteY71" fmla="*/ 965065 h 1046508"/>
                  <a:gd name="connsiteX72" fmla="*/ 626271 w 1200744"/>
                  <a:gd name="connsiteY72" fmla="*/ 1046508 h 1046508"/>
                  <a:gd name="connsiteX73" fmla="*/ 533770 w 1200744"/>
                  <a:gd name="connsiteY73" fmla="*/ 1046508 h 1046508"/>
                  <a:gd name="connsiteX74" fmla="*/ 410901 w 1200744"/>
                  <a:gd name="connsiteY74" fmla="*/ 965065 h 1046508"/>
                  <a:gd name="connsiteX75" fmla="*/ 407153 w 1200744"/>
                  <a:gd name="connsiteY75" fmla="*/ 946496 h 1046508"/>
                  <a:gd name="connsiteX76" fmla="*/ 190500 w 1200744"/>
                  <a:gd name="connsiteY76" fmla="*/ 946496 h 1046508"/>
                  <a:gd name="connsiteX77" fmla="*/ 59532 w 1200744"/>
                  <a:gd name="connsiteY77" fmla="*/ 825052 h 1046508"/>
                  <a:gd name="connsiteX78" fmla="*/ 59432 w 1200744"/>
                  <a:gd name="connsiteY78" fmla="*/ 710643 h 1046508"/>
                  <a:gd name="connsiteX79" fmla="*/ 48816 w 1200744"/>
                  <a:gd name="connsiteY79" fmla="*/ 710643 h 1046508"/>
                  <a:gd name="connsiteX80" fmla="*/ 14298 w 1200744"/>
                  <a:gd name="connsiteY80" fmla="*/ 696345 h 1046508"/>
                  <a:gd name="connsiteX81" fmla="*/ 0 w 1200744"/>
                  <a:gd name="connsiteY81" fmla="*/ 661828 h 1046508"/>
                  <a:gd name="connsiteX82" fmla="*/ 14298 w 1200744"/>
                  <a:gd name="connsiteY82" fmla="*/ 627310 h 1046508"/>
                  <a:gd name="connsiteX83" fmla="*/ 48816 w 1200744"/>
                  <a:gd name="connsiteY83" fmla="*/ 613012 h 1046508"/>
                  <a:gd name="connsiteX84" fmla="*/ 59346 w 1200744"/>
                  <a:gd name="connsiteY84" fmla="*/ 613012 h 1046508"/>
                  <a:gd name="connsiteX85" fmla="*/ 59247 w 1200744"/>
                  <a:gd name="connsiteY85" fmla="*/ 501147 h 1046508"/>
                  <a:gd name="connsiteX86" fmla="*/ 48816 w 1200744"/>
                  <a:gd name="connsiteY86" fmla="*/ 501147 h 1046508"/>
                  <a:gd name="connsiteX87" fmla="*/ 14298 w 1200744"/>
                  <a:gd name="connsiteY87" fmla="*/ 486849 h 1046508"/>
                  <a:gd name="connsiteX88" fmla="*/ 0 w 1200744"/>
                  <a:gd name="connsiteY88" fmla="*/ 452332 h 1046508"/>
                  <a:gd name="connsiteX89" fmla="*/ 14298 w 1200744"/>
                  <a:gd name="connsiteY89" fmla="*/ 417814 h 1046508"/>
                  <a:gd name="connsiteX90" fmla="*/ 48816 w 1200744"/>
                  <a:gd name="connsiteY90" fmla="*/ 403516 h 1046508"/>
                  <a:gd name="connsiteX91" fmla="*/ 59161 w 1200744"/>
                  <a:gd name="connsiteY91" fmla="*/ 403516 h 1046508"/>
                  <a:gd name="connsiteX92" fmla="*/ 59063 w 1200744"/>
                  <a:gd name="connsiteY92" fmla="*/ 291651 h 1046508"/>
                  <a:gd name="connsiteX93" fmla="*/ 48816 w 1200744"/>
                  <a:gd name="connsiteY93" fmla="*/ 291651 h 1046508"/>
                  <a:gd name="connsiteX94" fmla="*/ 14298 w 1200744"/>
                  <a:gd name="connsiteY94" fmla="*/ 277353 h 1046508"/>
                  <a:gd name="connsiteX95" fmla="*/ 0 w 1200744"/>
                  <a:gd name="connsiteY95" fmla="*/ 242836 h 1046508"/>
                  <a:gd name="connsiteX96" fmla="*/ 14298 w 1200744"/>
                  <a:gd name="connsiteY96" fmla="*/ 208318 h 1046508"/>
                  <a:gd name="connsiteX97" fmla="*/ 48816 w 1200744"/>
                  <a:gd name="connsiteY97" fmla="*/ 194020 h 1046508"/>
                  <a:gd name="connsiteX98" fmla="*/ 58977 w 1200744"/>
                  <a:gd name="connsiteY98" fmla="*/ 194020 h 1046508"/>
                  <a:gd name="connsiteX99" fmla="*/ 58806 w 1200744"/>
                  <a:gd name="connsiteY99"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83444 w 1200744"/>
                  <a:gd name="connsiteY34" fmla="*/ 235459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1157493 w 1200744"/>
                  <a:gd name="connsiteY45" fmla="*/ 347675 h 1046508"/>
                  <a:gd name="connsiteX46" fmla="*/ 1200471 w 1200744"/>
                  <a:gd name="connsiteY46" fmla="*/ 381525 h 1046508"/>
                  <a:gd name="connsiteX47" fmla="*/ 1200470 w 1200744"/>
                  <a:gd name="connsiteY47" fmla="*/ 381526 h 1046508"/>
                  <a:gd name="connsiteX48" fmla="*/ 1166620 w 1200744"/>
                  <a:gd name="connsiteY48" fmla="*/ 424503 h 1046508"/>
                  <a:gd name="connsiteX49" fmla="*/ 883444 w 1200744"/>
                  <a:gd name="connsiteY49" fmla="*/ 458146 h 1046508"/>
                  <a:gd name="connsiteX50" fmla="*/ 883444 w 1200744"/>
                  <a:gd name="connsiteY50" fmla="*/ 506141 h 1046508"/>
                  <a:gd name="connsiteX51" fmla="*/ 792956 w 1200744"/>
                  <a:gd name="connsiteY51" fmla="*/ 516892 h 1046508"/>
                  <a:gd name="connsiteX52" fmla="*/ 792956 w 1200744"/>
                  <a:gd name="connsiteY52" fmla="*/ 468897 h 1046508"/>
                  <a:gd name="connsiteX53" fmla="*/ 688181 w 1200744"/>
                  <a:gd name="connsiteY53" fmla="*/ 481345 h 1046508"/>
                  <a:gd name="connsiteX54" fmla="*/ 688181 w 1200744"/>
                  <a:gd name="connsiteY54" fmla="*/ 529340 h 1046508"/>
                  <a:gd name="connsiteX55" fmla="*/ 418176 w 1200744"/>
                  <a:gd name="connsiteY55" fmla="*/ 561418 h 1046508"/>
                  <a:gd name="connsiteX56" fmla="*/ 392350 w 1200744"/>
                  <a:gd name="connsiteY56" fmla="*/ 575897 h 1046508"/>
                  <a:gd name="connsiteX57" fmla="*/ 384326 w 1200744"/>
                  <a:gd name="connsiteY57" fmla="*/ 604396 h 1046508"/>
                  <a:gd name="connsiteX58" fmla="*/ 398804 w 1200744"/>
                  <a:gd name="connsiteY58" fmla="*/ 630221 h 1046508"/>
                  <a:gd name="connsiteX59" fmla="*/ 427304 w 1200744"/>
                  <a:gd name="connsiteY59" fmla="*/ 638245 h 1046508"/>
                  <a:gd name="connsiteX60" fmla="*/ 1104900 w 1200744"/>
                  <a:gd name="connsiteY60" fmla="*/ 557742 h 1046508"/>
                  <a:gd name="connsiteX61" fmla="*/ 1104900 w 1200744"/>
                  <a:gd name="connsiteY61" fmla="*/ 558713 h 1046508"/>
                  <a:gd name="connsiteX62" fmla="*/ 1157491 w 1200744"/>
                  <a:gd name="connsiteY62" fmla="*/ 552464 h 1046508"/>
                  <a:gd name="connsiteX63" fmla="*/ 1200469 w 1200744"/>
                  <a:gd name="connsiteY63" fmla="*/ 586314 h 1046508"/>
                  <a:gd name="connsiteX64" fmla="*/ 1200468 w 1200744"/>
                  <a:gd name="connsiteY64" fmla="*/ 586314 h 1046508"/>
                  <a:gd name="connsiteX65" fmla="*/ 1166618 w 1200744"/>
                  <a:gd name="connsiteY65" fmla="*/ 629292 h 1046508"/>
                  <a:gd name="connsiteX66" fmla="*/ 1104900 w 1200744"/>
                  <a:gd name="connsiteY66" fmla="*/ 636624 h 1046508"/>
                  <a:gd name="connsiteX67" fmla="*/ 1104900 w 1200744"/>
                  <a:gd name="connsiteY67" fmla="*/ 817908 h 1046508"/>
                  <a:gd name="connsiteX68" fmla="*/ 971550 w 1200744"/>
                  <a:gd name="connsiteY68" fmla="*/ 946496 h 1046508"/>
                  <a:gd name="connsiteX69" fmla="*/ 752889 w 1200744"/>
                  <a:gd name="connsiteY69" fmla="*/ 946496 h 1046508"/>
                  <a:gd name="connsiteX70" fmla="*/ 749140 w 1200744"/>
                  <a:gd name="connsiteY70" fmla="*/ 965065 h 1046508"/>
                  <a:gd name="connsiteX71" fmla="*/ 626271 w 1200744"/>
                  <a:gd name="connsiteY71" fmla="*/ 1046508 h 1046508"/>
                  <a:gd name="connsiteX72" fmla="*/ 533770 w 1200744"/>
                  <a:gd name="connsiteY72" fmla="*/ 1046508 h 1046508"/>
                  <a:gd name="connsiteX73" fmla="*/ 410901 w 1200744"/>
                  <a:gd name="connsiteY73" fmla="*/ 965065 h 1046508"/>
                  <a:gd name="connsiteX74" fmla="*/ 407153 w 1200744"/>
                  <a:gd name="connsiteY74" fmla="*/ 946496 h 1046508"/>
                  <a:gd name="connsiteX75" fmla="*/ 190500 w 1200744"/>
                  <a:gd name="connsiteY75" fmla="*/ 946496 h 1046508"/>
                  <a:gd name="connsiteX76" fmla="*/ 59532 w 1200744"/>
                  <a:gd name="connsiteY76" fmla="*/ 825052 h 1046508"/>
                  <a:gd name="connsiteX77" fmla="*/ 59432 w 1200744"/>
                  <a:gd name="connsiteY77" fmla="*/ 710643 h 1046508"/>
                  <a:gd name="connsiteX78" fmla="*/ 48816 w 1200744"/>
                  <a:gd name="connsiteY78" fmla="*/ 710643 h 1046508"/>
                  <a:gd name="connsiteX79" fmla="*/ 14298 w 1200744"/>
                  <a:gd name="connsiteY79" fmla="*/ 696345 h 1046508"/>
                  <a:gd name="connsiteX80" fmla="*/ 0 w 1200744"/>
                  <a:gd name="connsiteY80" fmla="*/ 661828 h 1046508"/>
                  <a:gd name="connsiteX81" fmla="*/ 14298 w 1200744"/>
                  <a:gd name="connsiteY81" fmla="*/ 627310 h 1046508"/>
                  <a:gd name="connsiteX82" fmla="*/ 48816 w 1200744"/>
                  <a:gd name="connsiteY82" fmla="*/ 613012 h 1046508"/>
                  <a:gd name="connsiteX83" fmla="*/ 59346 w 1200744"/>
                  <a:gd name="connsiteY83" fmla="*/ 613012 h 1046508"/>
                  <a:gd name="connsiteX84" fmla="*/ 59247 w 1200744"/>
                  <a:gd name="connsiteY84" fmla="*/ 501147 h 1046508"/>
                  <a:gd name="connsiteX85" fmla="*/ 48816 w 1200744"/>
                  <a:gd name="connsiteY85" fmla="*/ 501147 h 1046508"/>
                  <a:gd name="connsiteX86" fmla="*/ 14298 w 1200744"/>
                  <a:gd name="connsiteY86" fmla="*/ 486849 h 1046508"/>
                  <a:gd name="connsiteX87" fmla="*/ 0 w 1200744"/>
                  <a:gd name="connsiteY87" fmla="*/ 452332 h 1046508"/>
                  <a:gd name="connsiteX88" fmla="*/ 14298 w 1200744"/>
                  <a:gd name="connsiteY88" fmla="*/ 417814 h 1046508"/>
                  <a:gd name="connsiteX89" fmla="*/ 48816 w 1200744"/>
                  <a:gd name="connsiteY89" fmla="*/ 403516 h 1046508"/>
                  <a:gd name="connsiteX90" fmla="*/ 59161 w 1200744"/>
                  <a:gd name="connsiteY90" fmla="*/ 403516 h 1046508"/>
                  <a:gd name="connsiteX91" fmla="*/ 59063 w 1200744"/>
                  <a:gd name="connsiteY91" fmla="*/ 291651 h 1046508"/>
                  <a:gd name="connsiteX92" fmla="*/ 48816 w 1200744"/>
                  <a:gd name="connsiteY92" fmla="*/ 291651 h 1046508"/>
                  <a:gd name="connsiteX93" fmla="*/ 14298 w 1200744"/>
                  <a:gd name="connsiteY93" fmla="*/ 277353 h 1046508"/>
                  <a:gd name="connsiteX94" fmla="*/ 0 w 1200744"/>
                  <a:gd name="connsiteY94" fmla="*/ 242836 h 1046508"/>
                  <a:gd name="connsiteX95" fmla="*/ 14298 w 1200744"/>
                  <a:gd name="connsiteY95" fmla="*/ 208318 h 1046508"/>
                  <a:gd name="connsiteX96" fmla="*/ 48816 w 1200744"/>
                  <a:gd name="connsiteY96" fmla="*/ 194020 h 1046508"/>
                  <a:gd name="connsiteX97" fmla="*/ 58977 w 1200744"/>
                  <a:gd name="connsiteY97" fmla="*/ 194020 h 1046508"/>
                  <a:gd name="connsiteX98" fmla="*/ 58806 w 1200744"/>
                  <a:gd name="connsiteY98"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78682 w 1200744"/>
                  <a:gd name="connsiteY34" fmla="*/ 240221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1157493 w 1200744"/>
                  <a:gd name="connsiteY45" fmla="*/ 347675 h 1046508"/>
                  <a:gd name="connsiteX46" fmla="*/ 1200471 w 1200744"/>
                  <a:gd name="connsiteY46" fmla="*/ 381525 h 1046508"/>
                  <a:gd name="connsiteX47" fmla="*/ 1200470 w 1200744"/>
                  <a:gd name="connsiteY47" fmla="*/ 381526 h 1046508"/>
                  <a:gd name="connsiteX48" fmla="*/ 1166620 w 1200744"/>
                  <a:gd name="connsiteY48" fmla="*/ 424503 h 1046508"/>
                  <a:gd name="connsiteX49" fmla="*/ 883444 w 1200744"/>
                  <a:gd name="connsiteY49" fmla="*/ 458146 h 1046508"/>
                  <a:gd name="connsiteX50" fmla="*/ 883444 w 1200744"/>
                  <a:gd name="connsiteY50" fmla="*/ 506141 h 1046508"/>
                  <a:gd name="connsiteX51" fmla="*/ 792956 w 1200744"/>
                  <a:gd name="connsiteY51" fmla="*/ 516892 h 1046508"/>
                  <a:gd name="connsiteX52" fmla="*/ 792956 w 1200744"/>
                  <a:gd name="connsiteY52" fmla="*/ 468897 h 1046508"/>
                  <a:gd name="connsiteX53" fmla="*/ 688181 w 1200744"/>
                  <a:gd name="connsiteY53" fmla="*/ 481345 h 1046508"/>
                  <a:gd name="connsiteX54" fmla="*/ 688181 w 1200744"/>
                  <a:gd name="connsiteY54" fmla="*/ 529340 h 1046508"/>
                  <a:gd name="connsiteX55" fmla="*/ 418176 w 1200744"/>
                  <a:gd name="connsiteY55" fmla="*/ 561418 h 1046508"/>
                  <a:gd name="connsiteX56" fmla="*/ 392350 w 1200744"/>
                  <a:gd name="connsiteY56" fmla="*/ 575897 h 1046508"/>
                  <a:gd name="connsiteX57" fmla="*/ 384326 w 1200744"/>
                  <a:gd name="connsiteY57" fmla="*/ 604396 h 1046508"/>
                  <a:gd name="connsiteX58" fmla="*/ 398804 w 1200744"/>
                  <a:gd name="connsiteY58" fmla="*/ 630221 h 1046508"/>
                  <a:gd name="connsiteX59" fmla="*/ 427304 w 1200744"/>
                  <a:gd name="connsiteY59" fmla="*/ 638245 h 1046508"/>
                  <a:gd name="connsiteX60" fmla="*/ 1104900 w 1200744"/>
                  <a:gd name="connsiteY60" fmla="*/ 557742 h 1046508"/>
                  <a:gd name="connsiteX61" fmla="*/ 1104900 w 1200744"/>
                  <a:gd name="connsiteY61" fmla="*/ 558713 h 1046508"/>
                  <a:gd name="connsiteX62" fmla="*/ 1157491 w 1200744"/>
                  <a:gd name="connsiteY62" fmla="*/ 552464 h 1046508"/>
                  <a:gd name="connsiteX63" fmla="*/ 1200469 w 1200744"/>
                  <a:gd name="connsiteY63" fmla="*/ 586314 h 1046508"/>
                  <a:gd name="connsiteX64" fmla="*/ 1200468 w 1200744"/>
                  <a:gd name="connsiteY64" fmla="*/ 586314 h 1046508"/>
                  <a:gd name="connsiteX65" fmla="*/ 1166618 w 1200744"/>
                  <a:gd name="connsiteY65" fmla="*/ 629292 h 1046508"/>
                  <a:gd name="connsiteX66" fmla="*/ 1104900 w 1200744"/>
                  <a:gd name="connsiteY66" fmla="*/ 636624 h 1046508"/>
                  <a:gd name="connsiteX67" fmla="*/ 1104900 w 1200744"/>
                  <a:gd name="connsiteY67" fmla="*/ 817908 h 1046508"/>
                  <a:gd name="connsiteX68" fmla="*/ 971550 w 1200744"/>
                  <a:gd name="connsiteY68" fmla="*/ 946496 h 1046508"/>
                  <a:gd name="connsiteX69" fmla="*/ 752889 w 1200744"/>
                  <a:gd name="connsiteY69" fmla="*/ 946496 h 1046508"/>
                  <a:gd name="connsiteX70" fmla="*/ 749140 w 1200744"/>
                  <a:gd name="connsiteY70" fmla="*/ 965065 h 1046508"/>
                  <a:gd name="connsiteX71" fmla="*/ 626271 w 1200744"/>
                  <a:gd name="connsiteY71" fmla="*/ 1046508 h 1046508"/>
                  <a:gd name="connsiteX72" fmla="*/ 533770 w 1200744"/>
                  <a:gd name="connsiteY72" fmla="*/ 1046508 h 1046508"/>
                  <a:gd name="connsiteX73" fmla="*/ 410901 w 1200744"/>
                  <a:gd name="connsiteY73" fmla="*/ 965065 h 1046508"/>
                  <a:gd name="connsiteX74" fmla="*/ 407153 w 1200744"/>
                  <a:gd name="connsiteY74" fmla="*/ 946496 h 1046508"/>
                  <a:gd name="connsiteX75" fmla="*/ 190500 w 1200744"/>
                  <a:gd name="connsiteY75" fmla="*/ 946496 h 1046508"/>
                  <a:gd name="connsiteX76" fmla="*/ 59532 w 1200744"/>
                  <a:gd name="connsiteY76" fmla="*/ 825052 h 1046508"/>
                  <a:gd name="connsiteX77" fmla="*/ 59432 w 1200744"/>
                  <a:gd name="connsiteY77" fmla="*/ 710643 h 1046508"/>
                  <a:gd name="connsiteX78" fmla="*/ 48816 w 1200744"/>
                  <a:gd name="connsiteY78" fmla="*/ 710643 h 1046508"/>
                  <a:gd name="connsiteX79" fmla="*/ 14298 w 1200744"/>
                  <a:gd name="connsiteY79" fmla="*/ 696345 h 1046508"/>
                  <a:gd name="connsiteX80" fmla="*/ 0 w 1200744"/>
                  <a:gd name="connsiteY80" fmla="*/ 661828 h 1046508"/>
                  <a:gd name="connsiteX81" fmla="*/ 14298 w 1200744"/>
                  <a:gd name="connsiteY81" fmla="*/ 627310 h 1046508"/>
                  <a:gd name="connsiteX82" fmla="*/ 48816 w 1200744"/>
                  <a:gd name="connsiteY82" fmla="*/ 613012 h 1046508"/>
                  <a:gd name="connsiteX83" fmla="*/ 59346 w 1200744"/>
                  <a:gd name="connsiteY83" fmla="*/ 613012 h 1046508"/>
                  <a:gd name="connsiteX84" fmla="*/ 59247 w 1200744"/>
                  <a:gd name="connsiteY84" fmla="*/ 501147 h 1046508"/>
                  <a:gd name="connsiteX85" fmla="*/ 48816 w 1200744"/>
                  <a:gd name="connsiteY85" fmla="*/ 501147 h 1046508"/>
                  <a:gd name="connsiteX86" fmla="*/ 14298 w 1200744"/>
                  <a:gd name="connsiteY86" fmla="*/ 486849 h 1046508"/>
                  <a:gd name="connsiteX87" fmla="*/ 0 w 1200744"/>
                  <a:gd name="connsiteY87" fmla="*/ 452332 h 1046508"/>
                  <a:gd name="connsiteX88" fmla="*/ 14298 w 1200744"/>
                  <a:gd name="connsiteY88" fmla="*/ 417814 h 1046508"/>
                  <a:gd name="connsiteX89" fmla="*/ 48816 w 1200744"/>
                  <a:gd name="connsiteY89" fmla="*/ 403516 h 1046508"/>
                  <a:gd name="connsiteX90" fmla="*/ 59161 w 1200744"/>
                  <a:gd name="connsiteY90" fmla="*/ 403516 h 1046508"/>
                  <a:gd name="connsiteX91" fmla="*/ 59063 w 1200744"/>
                  <a:gd name="connsiteY91" fmla="*/ 291651 h 1046508"/>
                  <a:gd name="connsiteX92" fmla="*/ 48816 w 1200744"/>
                  <a:gd name="connsiteY92" fmla="*/ 291651 h 1046508"/>
                  <a:gd name="connsiteX93" fmla="*/ 14298 w 1200744"/>
                  <a:gd name="connsiteY93" fmla="*/ 277353 h 1046508"/>
                  <a:gd name="connsiteX94" fmla="*/ 0 w 1200744"/>
                  <a:gd name="connsiteY94" fmla="*/ 242836 h 1046508"/>
                  <a:gd name="connsiteX95" fmla="*/ 14298 w 1200744"/>
                  <a:gd name="connsiteY95" fmla="*/ 208318 h 1046508"/>
                  <a:gd name="connsiteX96" fmla="*/ 48816 w 1200744"/>
                  <a:gd name="connsiteY96" fmla="*/ 194020 h 1046508"/>
                  <a:gd name="connsiteX97" fmla="*/ 58977 w 1200744"/>
                  <a:gd name="connsiteY97" fmla="*/ 194020 h 1046508"/>
                  <a:gd name="connsiteX98" fmla="*/ 58806 w 1200744"/>
                  <a:gd name="connsiteY98" fmla="*/ 0 h 1046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200744" h="1046508">
                    <a:moveTo>
                      <a:pt x="269392" y="583922"/>
                    </a:moveTo>
                    <a:cubicBezTo>
                      <a:pt x="247034" y="583922"/>
                      <a:pt x="228910" y="602046"/>
                      <a:pt x="228910" y="624404"/>
                    </a:cubicBezTo>
                    <a:cubicBezTo>
                      <a:pt x="228910" y="646762"/>
                      <a:pt x="247034" y="664886"/>
                      <a:pt x="269392" y="664886"/>
                    </a:cubicBezTo>
                    <a:cubicBezTo>
                      <a:pt x="291750" y="664886"/>
                      <a:pt x="309874" y="646762"/>
                      <a:pt x="309874" y="624404"/>
                    </a:cubicBezTo>
                    <a:cubicBezTo>
                      <a:pt x="309874" y="602046"/>
                      <a:pt x="291750" y="583922"/>
                      <a:pt x="269392" y="583922"/>
                    </a:cubicBezTo>
                    <a:close/>
                    <a:moveTo>
                      <a:pt x="269392" y="373750"/>
                    </a:moveTo>
                    <a:cubicBezTo>
                      <a:pt x="247034" y="373750"/>
                      <a:pt x="228910" y="391874"/>
                      <a:pt x="228910" y="414232"/>
                    </a:cubicBezTo>
                    <a:cubicBezTo>
                      <a:pt x="228910" y="436590"/>
                      <a:pt x="247034" y="454714"/>
                      <a:pt x="269392" y="454714"/>
                    </a:cubicBezTo>
                    <a:cubicBezTo>
                      <a:pt x="291750" y="454714"/>
                      <a:pt x="309874" y="436590"/>
                      <a:pt x="309874" y="414232"/>
                    </a:cubicBezTo>
                    <a:cubicBezTo>
                      <a:pt x="309874" y="391874"/>
                      <a:pt x="291750" y="373750"/>
                      <a:pt x="269392" y="373750"/>
                    </a:cubicBezTo>
                    <a:close/>
                    <a:moveTo>
                      <a:pt x="269392" y="163063"/>
                    </a:moveTo>
                    <a:cubicBezTo>
                      <a:pt x="247034" y="163063"/>
                      <a:pt x="228910" y="181187"/>
                      <a:pt x="228910" y="203545"/>
                    </a:cubicBezTo>
                    <a:cubicBezTo>
                      <a:pt x="228910" y="225903"/>
                      <a:pt x="247034" y="244027"/>
                      <a:pt x="269392" y="244027"/>
                    </a:cubicBezTo>
                    <a:cubicBezTo>
                      <a:pt x="291750" y="244027"/>
                      <a:pt x="309874" y="225903"/>
                      <a:pt x="309874" y="203545"/>
                    </a:cubicBezTo>
                    <a:cubicBezTo>
                      <a:pt x="309874" y="181187"/>
                      <a:pt x="291750" y="163063"/>
                      <a:pt x="269392" y="163063"/>
                    </a:cubicBezTo>
                    <a:close/>
                    <a:moveTo>
                      <a:pt x="797719" y="0"/>
                    </a:moveTo>
                    <a:lnTo>
                      <a:pt x="883444" y="0"/>
                    </a:lnTo>
                    <a:lnTo>
                      <a:pt x="883444" y="79897"/>
                    </a:lnTo>
                    <a:lnTo>
                      <a:pt x="797719" y="90082"/>
                    </a:lnTo>
                    <a:lnTo>
                      <a:pt x="797719" y="0"/>
                    </a:lnTo>
                    <a:close/>
                    <a:moveTo>
                      <a:pt x="58806" y="0"/>
                    </a:moveTo>
                    <a:lnTo>
                      <a:pt x="692944" y="0"/>
                    </a:lnTo>
                    <a:lnTo>
                      <a:pt x="692944" y="102530"/>
                    </a:lnTo>
                    <a:lnTo>
                      <a:pt x="418176" y="135174"/>
                    </a:lnTo>
                    <a:cubicBezTo>
                      <a:pt x="407569" y="136435"/>
                      <a:pt x="398476" y="141875"/>
                      <a:pt x="392350" y="149653"/>
                    </a:cubicBezTo>
                    <a:lnTo>
                      <a:pt x="384326" y="178152"/>
                    </a:lnTo>
                    <a:lnTo>
                      <a:pt x="398804" y="203977"/>
                    </a:lnTo>
                    <a:cubicBezTo>
                      <a:pt x="406582" y="210103"/>
                      <a:pt x="416696" y="213262"/>
                      <a:pt x="427304" y="212001"/>
                    </a:cubicBezTo>
                    <a:lnTo>
                      <a:pt x="1104900" y="131498"/>
                    </a:lnTo>
                    <a:lnTo>
                      <a:pt x="1104900" y="134851"/>
                    </a:lnTo>
                    <a:lnTo>
                      <a:pt x="1157493" y="128603"/>
                    </a:lnTo>
                    <a:cubicBezTo>
                      <a:pt x="1178709" y="126082"/>
                      <a:pt x="1197951" y="141237"/>
                      <a:pt x="1200471" y="162453"/>
                    </a:cubicBezTo>
                    <a:lnTo>
                      <a:pt x="1200470" y="162453"/>
                    </a:lnTo>
                    <a:cubicBezTo>
                      <a:pt x="1202991" y="183669"/>
                      <a:pt x="1187836" y="202910"/>
                      <a:pt x="1166620" y="205431"/>
                    </a:cubicBezTo>
                    <a:lnTo>
                      <a:pt x="878682" y="240221"/>
                    </a:lnTo>
                    <a:lnTo>
                      <a:pt x="883444" y="298972"/>
                    </a:lnTo>
                    <a:lnTo>
                      <a:pt x="792956" y="309723"/>
                    </a:lnTo>
                    <a:lnTo>
                      <a:pt x="792956" y="265459"/>
                    </a:lnTo>
                    <a:lnTo>
                      <a:pt x="688181" y="265459"/>
                    </a:lnTo>
                    <a:lnTo>
                      <a:pt x="688181" y="322171"/>
                    </a:lnTo>
                    <a:lnTo>
                      <a:pt x="418176" y="354249"/>
                    </a:lnTo>
                    <a:cubicBezTo>
                      <a:pt x="407569" y="355510"/>
                      <a:pt x="398476" y="360950"/>
                      <a:pt x="392350" y="368728"/>
                    </a:cubicBezTo>
                    <a:lnTo>
                      <a:pt x="384326" y="397227"/>
                    </a:lnTo>
                    <a:lnTo>
                      <a:pt x="398804" y="423052"/>
                    </a:lnTo>
                    <a:cubicBezTo>
                      <a:pt x="406582" y="429178"/>
                      <a:pt x="416696" y="432337"/>
                      <a:pt x="427304" y="431076"/>
                    </a:cubicBezTo>
                    <a:lnTo>
                      <a:pt x="1157493" y="347675"/>
                    </a:lnTo>
                    <a:cubicBezTo>
                      <a:pt x="1178709" y="345155"/>
                      <a:pt x="1197950" y="360310"/>
                      <a:pt x="1200471" y="381525"/>
                    </a:cubicBezTo>
                    <a:lnTo>
                      <a:pt x="1200470" y="381526"/>
                    </a:lnTo>
                    <a:cubicBezTo>
                      <a:pt x="1202991" y="402741"/>
                      <a:pt x="1187836" y="421983"/>
                      <a:pt x="1166620" y="424503"/>
                    </a:cubicBezTo>
                    <a:lnTo>
                      <a:pt x="883444" y="458146"/>
                    </a:lnTo>
                    <a:lnTo>
                      <a:pt x="883444" y="506141"/>
                    </a:lnTo>
                    <a:lnTo>
                      <a:pt x="792956" y="516892"/>
                    </a:lnTo>
                    <a:lnTo>
                      <a:pt x="792956" y="468897"/>
                    </a:lnTo>
                    <a:lnTo>
                      <a:pt x="688181" y="481345"/>
                    </a:lnTo>
                    <a:lnTo>
                      <a:pt x="688181" y="529340"/>
                    </a:lnTo>
                    <a:lnTo>
                      <a:pt x="418176" y="561418"/>
                    </a:lnTo>
                    <a:cubicBezTo>
                      <a:pt x="407569" y="562679"/>
                      <a:pt x="398476" y="568119"/>
                      <a:pt x="392350" y="575897"/>
                    </a:cubicBezTo>
                    <a:lnTo>
                      <a:pt x="384326" y="604396"/>
                    </a:lnTo>
                    <a:lnTo>
                      <a:pt x="398804" y="630221"/>
                    </a:lnTo>
                    <a:cubicBezTo>
                      <a:pt x="406582" y="636347"/>
                      <a:pt x="416696" y="639506"/>
                      <a:pt x="427304" y="638245"/>
                    </a:cubicBezTo>
                    <a:lnTo>
                      <a:pt x="1104900" y="557742"/>
                    </a:lnTo>
                    <a:lnTo>
                      <a:pt x="1104900" y="558713"/>
                    </a:lnTo>
                    <a:lnTo>
                      <a:pt x="1157491" y="552464"/>
                    </a:lnTo>
                    <a:cubicBezTo>
                      <a:pt x="1178707" y="549944"/>
                      <a:pt x="1197948" y="565099"/>
                      <a:pt x="1200469" y="586314"/>
                    </a:cubicBezTo>
                    <a:lnTo>
                      <a:pt x="1200468" y="586314"/>
                    </a:lnTo>
                    <a:cubicBezTo>
                      <a:pt x="1202989" y="607530"/>
                      <a:pt x="1187834" y="626772"/>
                      <a:pt x="1166618" y="629292"/>
                    </a:cubicBezTo>
                    <a:lnTo>
                      <a:pt x="1104900" y="636624"/>
                    </a:lnTo>
                    <a:lnTo>
                      <a:pt x="1104900" y="817908"/>
                    </a:lnTo>
                    <a:lnTo>
                      <a:pt x="971550" y="946496"/>
                    </a:lnTo>
                    <a:lnTo>
                      <a:pt x="752889" y="946496"/>
                    </a:lnTo>
                    <a:lnTo>
                      <a:pt x="749140" y="965065"/>
                    </a:lnTo>
                    <a:cubicBezTo>
                      <a:pt x="728897" y="1012926"/>
                      <a:pt x="681506" y="1046508"/>
                      <a:pt x="626271" y="1046508"/>
                    </a:cubicBezTo>
                    <a:lnTo>
                      <a:pt x="533770" y="1046508"/>
                    </a:lnTo>
                    <a:cubicBezTo>
                      <a:pt x="478536" y="1046508"/>
                      <a:pt x="431145" y="1012926"/>
                      <a:pt x="410901" y="965065"/>
                    </a:cubicBezTo>
                    <a:lnTo>
                      <a:pt x="407153" y="946496"/>
                    </a:lnTo>
                    <a:lnTo>
                      <a:pt x="190500" y="946496"/>
                    </a:lnTo>
                    <a:lnTo>
                      <a:pt x="59532" y="825052"/>
                    </a:lnTo>
                    <a:cubicBezTo>
                      <a:pt x="59499" y="786916"/>
                      <a:pt x="59465" y="748779"/>
                      <a:pt x="59432" y="710643"/>
                    </a:cubicBezTo>
                    <a:lnTo>
                      <a:pt x="48816" y="710643"/>
                    </a:lnTo>
                    <a:cubicBezTo>
                      <a:pt x="35336" y="710643"/>
                      <a:pt x="23132" y="705179"/>
                      <a:pt x="14298" y="696345"/>
                    </a:cubicBezTo>
                    <a:lnTo>
                      <a:pt x="0" y="661828"/>
                    </a:lnTo>
                    <a:lnTo>
                      <a:pt x="14298" y="627310"/>
                    </a:lnTo>
                    <a:cubicBezTo>
                      <a:pt x="23132" y="618476"/>
                      <a:pt x="35336" y="613012"/>
                      <a:pt x="48816" y="613012"/>
                    </a:cubicBezTo>
                    <a:lnTo>
                      <a:pt x="59346" y="613012"/>
                    </a:lnTo>
                    <a:cubicBezTo>
                      <a:pt x="59313" y="575724"/>
                      <a:pt x="59280" y="538435"/>
                      <a:pt x="59247" y="501147"/>
                    </a:cubicBezTo>
                    <a:lnTo>
                      <a:pt x="48816" y="501147"/>
                    </a:lnTo>
                    <a:cubicBezTo>
                      <a:pt x="35336" y="501147"/>
                      <a:pt x="23132" y="495683"/>
                      <a:pt x="14298" y="486849"/>
                    </a:cubicBezTo>
                    <a:lnTo>
                      <a:pt x="0" y="452332"/>
                    </a:lnTo>
                    <a:lnTo>
                      <a:pt x="14298" y="417814"/>
                    </a:lnTo>
                    <a:cubicBezTo>
                      <a:pt x="23132" y="408980"/>
                      <a:pt x="35336" y="403516"/>
                      <a:pt x="48816" y="403516"/>
                    </a:cubicBezTo>
                    <a:lnTo>
                      <a:pt x="59161" y="403516"/>
                    </a:lnTo>
                    <a:cubicBezTo>
                      <a:pt x="59128" y="366228"/>
                      <a:pt x="59096" y="328939"/>
                      <a:pt x="59063" y="291651"/>
                    </a:cubicBezTo>
                    <a:lnTo>
                      <a:pt x="48816" y="291651"/>
                    </a:lnTo>
                    <a:cubicBezTo>
                      <a:pt x="35336" y="291651"/>
                      <a:pt x="23132" y="286187"/>
                      <a:pt x="14298" y="277353"/>
                    </a:cubicBezTo>
                    <a:lnTo>
                      <a:pt x="0" y="242836"/>
                    </a:lnTo>
                    <a:lnTo>
                      <a:pt x="14298" y="208318"/>
                    </a:lnTo>
                    <a:cubicBezTo>
                      <a:pt x="23132" y="199484"/>
                      <a:pt x="35336" y="194020"/>
                      <a:pt x="48816" y="194020"/>
                    </a:cubicBezTo>
                    <a:lnTo>
                      <a:pt x="58977" y="194020"/>
                    </a:lnTo>
                    <a:lnTo>
                      <a:pt x="58806"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43" name="Freeform 142"/>
              <p:cNvSpPr/>
              <p:nvPr/>
            </p:nvSpPr>
            <p:spPr>
              <a:xfrm>
                <a:off x="4242295" y="1685754"/>
                <a:ext cx="3701002" cy="3743106"/>
              </a:xfrm>
              <a:custGeom>
                <a:avLst/>
                <a:gdLst>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0346 w 3701002"/>
                  <a:gd name="connsiteY11" fmla="*/ 3114359 h 3743106"/>
                  <a:gd name="connsiteX12" fmla="*/ 2659635 w 3701002"/>
                  <a:gd name="connsiteY12" fmla="*/ 3107286 h 3743106"/>
                  <a:gd name="connsiteX13" fmla="*/ 3122601 w 3701002"/>
                  <a:gd name="connsiteY13" fmla="*/ 2107732 h 3743106"/>
                  <a:gd name="connsiteX14" fmla="*/ 1850392 w 3701002"/>
                  <a:gd name="connsiteY14" fmla="*/ 812383 h 3743106"/>
                  <a:gd name="connsiteX15" fmla="*/ 578183 w 3701002"/>
                  <a:gd name="connsiteY15" fmla="*/ 2107732 h 3743106"/>
                  <a:gd name="connsiteX16" fmla="*/ 950805 w 3701002"/>
                  <a:gd name="connsiteY16" fmla="*/ 3023682 h 3743106"/>
                  <a:gd name="connsiteX17" fmla="*/ 1028685 w 3701002"/>
                  <a:gd name="connsiteY17" fmla="*/ 3095752 h 3743106"/>
                  <a:gd name="connsiteX18" fmla="*/ 1145044 w 3701002"/>
                  <a:gd name="connsiteY18" fmla="*/ 3252006 h 3743106"/>
                  <a:gd name="connsiteX19" fmla="*/ 1289824 w 3701002"/>
                  <a:gd name="connsiteY19" fmla="*/ 3549186 h 3743106"/>
                  <a:gd name="connsiteX20" fmla="*/ 1131709 w 3701002"/>
                  <a:gd name="connsiteY20" fmla="*/ 3739686 h 3743106"/>
                  <a:gd name="connsiteX21" fmla="*/ 881519 w 3701002"/>
                  <a:gd name="connsiteY21" fmla="*/ 3637451 h 3743106"/>
                  <a:gd name="connsiteX22" fmla="*/ 771664 w 3701002"/>
                  <a:gd name="connsiteY22" fmla="*/ 3290106 h 3743106"/>
                  <a:gd name="connsiteX23" fmla="*/ 377329 w 3701002"/>
                  <a:gd name="connsiteY23" fmla="*/ 3103416 h 3743106"/>
                  <a:gd name="connsiteX24" fmla="*/ 344944 w 3701002"/>
                  <a:gd name="connsiteY24" fmla="*/ 2482386 h 3743106"/>
                  <a:gd name="connsiteX25" fmla="*/ 139 w 3701002"/>
                  <a:gd name="connsiteY25" fmla="*/ 1970576 h 3743106"/>
                  <a:gd name="connsiteX26" fmla="*/ 451624 w 3701002"/>
                  <a:gd name="connsiteY26" fmla="*/ 1403521 h 3743106"/>
                  <a:gd name="connsiteX27" fmla="*/ 496709 w 3701002"/>
                  <a:gd name="connsiteY27" fmla="*/ 659301 h 3743106"/>
                  <a:gd name="connsiteX28" fmla="*/ 1199019 w 3701002"/>
                  <a:gd name="connsiteY28" fmla="*/ 517061 h 3743106"/>
                  <a:gd name="connsiteX29" fmla="*/ 1831479 w 3701002"/>
                  <a:gd name="connsiteY29"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028685 w 3701002"/>
                  <a:gd name="connsiteY16" fmla="*/ 3095752 h 3743106"/>
                  <a:gd name="connsiteX17" fmla="*/ 1145044 w 3701002"/>
                  <a:gd name="connsiteY17" fmla="*/ 3252006 h 3743106"/>
                  <a:gd name="connsiteX18" fmla="*/ 1289824 w 3701002"/>
                  <a:gd name="connsiteY18" fmla="*/ 3549186 h 3743106"/>
                  <a:gd name="connsiteX19" fmla="*/ 1131709 w 3701002"/>
                  <a:gd name="connsiteY19" fmla="*/ 3739686 h 3743106"/>
                  <a:gd name="connsiteX20" fmla="*/ 881519 w 3701002"/>
                  <a:gd name="connsiteY20" fmla="*/ 3637451 h 3743106"/>
                  <a:gd name="connsiteX21" fmla="*/ 771664 w 3701002"/>
                  <a:gd name="connsiteY21" fmla="*/ 3290106 h 3743106"/>
                  <a:gd name="connsiteX22" fmla="*/ 377329 w 3701002"/>
                  <a:gd name="connsiteY22" fmla="*/ 3103416 h 3743106"/>
                  <a:gd name="connsiteX23" fmla="*/ 344944 w 3701002"/>
                  <a:gd name="connsiteY23" fmla="*/ 2482386 h 3743106"/>
                  <a:gd name="connsiteX24" fmla="*/ 139 w 3701002"/>
                  <a:gd name="connsiteY24" fmla="*/ 1970576 h 3743106"/>
                  <a:gd name="connsiteX25" fmla="*/ 451624 w 3701002"/>
                  <a:gd name="connsiteY25" fmla="*/ 1403521 h 3743106"/>
                  <a:gd name="connsiteX26" fmla="*/ 496709 w 3701002"/>
                  <a:gd name="connsiteY26" fmla="*/ 659301 h 3743106"/>
                  <a:gd name="connsiteX27" fmla="*/ 1199019 w 3701002"/>
                  <a:gd name="connsiteY27" fmla="*/ 517061 h 3743106"/>
                  <a:gd name="connsiteX28" fmla="*/ 1831479 w 3701002"/>
                  <a:gd name="connsiteY28"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145044 w 3701002"/>
                  <a:gd name="connsiteY16" fmla="*/ 3252006 h 3743106"/>
                  <a:gd name="connsiteX17" fmla="*/ 1289824 w 3701002"/>
                  <a:gd name="connsiteY17" fmla="*/ 3549186 h 3743106"/>
                  <a:gd name="connsiteX18" fmla="*/ 1131709 w 3701002"/>
                  <a:gd name="connsiteY18" fmla="*/ 3739686 h 3743106"/>
                  <a:gd name="connsiteX19" fmla="*/ 881519 w 3701002"/>
                  <a:gd name="connsiteY19" fmla="*/ 3637451 h 3743106"/>
                  <a:gd name="connsiteX20" fmla="*/ 771664 w 3701002"/>
                  <a:gd name="connsiteY20" fmla="*/ 3290106 h 3743106"/>
                  <a:gd name="connsiteX21" fmla="*/ 377329 w 3701002"/>
                  <a:gd name="connsiteY21" fmla="*/ 3103416 h 3743106"/>
                  <a:gd name="connsiteX22" fmla="*/ 344944 w 3701002"/>
                  <a:gd name="connsiteY22" fmla="*/ 2482386 h 3743106"/>
                  <a:gd name="connsiteX23" fmla="*/ 139 w 3701002"/>
                  <a:gd name="connsiteY23" fmla="*/ 1970576 h 3743106"/>
                  <a:gd name="connsiteX24" fmla="*/ 451624 w 3701002"/>
                  <a:gd name="connsiteY24" fmla="*/ 1403521 h 3743106"/>
                  <a:gd name="connsiteX25" fmla="*/ 496709 w 3701002"/>
                  <a:gd name="connsiteY25" fmla="*/ 659301 h 3743106"/>
                  <a:gd name="connsiteX26" fmla="*/ 1199019 w 3701002"/>
                  <a:gd name="connsiteY26" fmla="*/ 517061 h 3743106"/>
                  <a:gd name="connsiteX27" fmla="*/ 1831479 w 3701002"/>
                  <a:gd name="connsiteY27"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145044 w 3701002"/>
                  <a:gd name="connsiteY16" fmla="*/ 3252006 h 3743106"/>
                  <a:gd name="connsiteX17" fmla="*/ 1289824 w 3701002"/>
                  <a:gd name="connsiteY17" fmla="*/ 3549186 h 3743106"/>
                  <a:gd name="connsiteX18" fmla="*/ 1131709 w 3701002"/>
                  <a:gd name="connsiteY18" fmla="*/ 3739686 h 3743106"/>
                  <a:gd name="connsiteX19" fmla="*/ 881519 w 3701002"/>
                  <a:gd name="connsiteY19" fmla="*/ 3637451 h 3743106"/>
                  <a:gd name="connsiteX20" fmla="*/ 771664 w 3701002"/>
                  <a:gd name="connsiteY20" fmla="*/ 3290106 h 3743106"/>
                  <a:gd name="connsiteX21" fmla="*/ 377329 w 3701002"/>
                  <a:gd name="connsiteY21" fmla="*/ 3103416 h 3743106"/>
                  <a:gd name="connsiteX22" fmla="*/ 344944 w 3701002"/>
                  <a:gd name="connsiteY22" fmla="*/ 2482386 h 3743106"/>
                  <a:gd name="connsiteX23" fmla="*/ 139 w 3701002"/>
                  <a:gd name="connsiteY23" fmla="*/ 1970576 h 3743106"/>
                  <a:gd name="connsiteX24" fmla="*/ 451624 w 3701002"/>
                  <a:gd name="connsiteY24" fmla="*/ 1403521 h 3743106"/>
                  <a:gd name="connsiteX25" fmla="*/ 496709 w 3701002"/>
                  <a:gd name="connsiteY25" fmla="*/ 659301 h 3743106"/>
                  <a:gd name="connsiteX26" fmla="*/ 1199019 w 3701002"/>
                  <a:gd name="connsiteY26" fmla="*/ 517061 h 3743106"/>
                  <a:gd name="connsiteX27" fmla="*/ 1831479 w 3701002"/>
                  <a:gd name="connsiteY27" fmla="*/ 171 h 3743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701002" h="3743106">
                    <a:moveTo>
                      <a:pt x="1831479" y="171"/>
                    </a:moveTo>
                    <a:cubicBezTo>
                      <a:pt x="2193958" y="-9460"/>
                      <a:pt x="2228989" y="388262"/>
                      <a:pt x="2478544" y="516426"/>
                    </a:cubicBezTo>
                    <a:cubicBezTo>
                      <a:pt x="2724924" y="638240"/>
                      <a:pt x="3031735" y="420753"/>
                      <a:pt x="3214509" y="673906"/>
                    </a:cubicBezTo>
                    <a:cubicBezTo>
                      <a:pt x="3397283" y="927059"/>
                      <a:pt x="3125874" y="1106394"/>
                      <a:pt x="3270389" y="1425746"/>
                    </a:cubicBezTo>
                    <a:cubicBezTo>
                      <a:pt x="3414904" y="1745098"/>
                      <a:pt x="3685678" y="1679112"/>
                      <a:pt x="3700601" y="1942319"/>
                    </a:cubicBezTo>
                    <a:cubicBezTo>
                      <a:pt x="3712349" y="2221401"/>
                      <a:pt x="3463112" y="2181714"/>
                      <a:pt x="3354844" y="2512866"/>
                    </a:cubicBezTo>
                    <a:cubicBezTo>
                      <a:pt x="3238639" y="2836081"/>
                      <a:pt x="3476765" y="2888309"/>
                      <a:pt x="3320872" y="3113258"/>
                    </a:cubicBezTo>
                    <a:cubicBezTo>
                      <a:pt x="3231655" y="3262007"/>
                      <a:pt x="3076132" y="3153476"/>
                      <a:pt x="2933839" y="3291059"/>
                    </a:cubicBezTo>
                    <a:cubicBezTo>
                      <a:pt x="2791546" y="3428642"/>
                      <a:pt x="2888756" y="3603161"/>
                      <a:pt x="2771914" y="3691109"/>
                    </a:cubicBezTo>
                    <a:cubicBezTo>
                      <a:pt x="2688410" y="3783819"/>
                      <a:pt x="2499817" y="3735717"/>
                      <a:pt x="2440444" y="3640626"/>
                    </a:cubicBezTo>
                    <a:cubicBezTo>
                      <a:pt x="2381071" y="3545535"/>
                      <a:pt x="2441714" y="3442506"/>
                      <a:pt x="2501404" y="3320586"/>
                    </a:cubicBezTo>
                    <a:lnTo>
                      <a:pt x="2659635" y="3107286"/>
                    </a:lnTo>
                    <a:cubicBezTo>
                      <a:pt x="2942380" y="2869700"/>
                      <a:pt x="3122601" y="2510145"/>
                      <a:pt x="3122601" y="2107732"/>
                    </a:cubicBezTo>
                    <a:cubicBezTo>
                      <a:pt x="3122601" y="1392331"/>
                      <a:pt x="2553014" y="812383"/>
                      <a:pt x="1850392" y="812383"/>
                    </a:cubicBezTo>
                    <a:cubicBezTo>
                      <a:pt x="1147770" y="812383"/>
                      <a:pt x="578183" y="1392331"/>
                      <a:pt x="578183" y="2107732"/>
                    </a:cubicBezTo>
                    <a:cubicBezTo>
                      <a:pt x="578183" y="2465433"/>
                      <a:pt x="720580" y="2789270"/>
                      <a:pt x="950805" y="3023682"/>
                    </a:cubicBezTo>
                    <a:cubicBezTo>
                      <a:pt x="1039364" y="3104553"/>
                      <a:pt x="1080298" y="3175898"/>
                      <a:pt x="1145044" y="3252006"/>
                    </a:cubicBezTo>
                    <a:cubicBezTo>
                      <a:pt x="1213624" y="3361226"/>
                      <a:pt x="1292047" y="3467906"/>
                      <a:pt x="1289824" y="3549186"/>
                    </a:cubicBezTo>
                    <a:cubicBezTo>
                      <a:pt x="1287602" y="3630466"/>
                      <a:pt x="1199760" y="3724975"/>
                      <a:pt x="1131709" y="3739686"/>
                    </a:cubicBezTo>
                    <a:cubicBezTo>
                      <a:pt x="1063658" y="3754397"/>
                      <a:pt x="935176" y="3721906"/>
                      <a:pt x="881519" y="3637451"/>
                    </a:cubicBezTo>
                    <a:cubicBezTo>
                      <a:pt x="827862" y="3552996"/>
                      <a:pt x="922371" y="3429912"/>
                      <a:pt x="771664" y="3290106"/>
                    </a:cubicBezTo>
                    <a:cubicBezTo>
                      <a:pt x="620957" y="3150300"/>
                      <a:pt x="489724" y="3259626"/>
                      <a:pt x="377329" y="3103416"/>
                    </a:cubicBezTo>
                    <a:cubicBezTo>
                      <a:pt x="245884" y="2847193"/>
                      <a:pt x="472103" y="2764062"/>
                      <a:pt x="344944" y="2482386"/>
                    </a:cubicBezTo>
                    <a:cubicBezTo>
                      <a:pt x="189211" y="2141178"/>
                      <a:pt x="8552" y="2246432"/>
                      <a:pt x="139" y="1970576"/>
                    </a:cubicBezTo>
                    <a:cubicBezTo>
                      <a:pt x="-7481" y="1701865"/>
                      <a:pt x="299012" y="1730017"/>
                      <a:pt x="451624" y="1403521"/>
                    </a:cubicBezTo>
                    <a:cubicBezTo>
                      <a:pt x="528036" y="943675"/>
                      <a:pt x="318168" y="908644"/>
                      <a:pt x="496709" y="659301"/>
                    </a:cubicBezTo>
                    <a:cubicBezTo>
                      <a:pt x="675250" y="409958"/>
                      <a:pt x="956978" y="650728"/>
                      <a:pt x="1199019" y="517061"/>
                    </a:cubicBezTo>
                    <a:cubicBezTo>
                      <a:pt x="1485510" y="418319"/>
                      <a:pt x="1469000" y="9802"/>
                      <a:pt x="1831479" y="171"/>
                    </a:cubicBez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grpSp>
      </p:grpSp>
      <p:grpSp>
        <p:nvGrpSpPr>
          <p:cNvPr id="144" name="Group 143"/>
          <p:cNvGrpSpPr/>
          <p:nvPr/>
        </p:nvGrpSpPr>
        <p:grpSpPr>
          <a:xfrm>
            <a:off x="5842516" y="5479573"/>
            <a:ext cx="474070" cy="474070"/>
            <a:chOff x="6447430" y="2675492"/>
            <a:chExt cx="474070" cy="474070"/>
          </a:xfrm>
        </p:grpSpPr>
        <p:sp>
          <p:nvSpPr>
            <p:cNvPr id="145" name="Oval 144"/>
            <p:cNvSpPr/>
            <p:nvPr/>
          </p:nvSpPr>
          <p:spPr>
            <a:xfrm>
              <a:off x="6447430" y="2675492"/>
              <a:ext cx="474070" cy="474070"/>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white"/>
                </a:solidFill>
                <a:effectLst/>
                <a:uLnTx/>
                <a:uFillTx/>
                <a:latin typeface="+mj-lt"/>
                <a:ea typeface="+mn-ea"/>
                <a:cs typeface="+mn-cs"/>
              </a:endParaRPr>
            </a:p>
          </p:txBody>
        </p:sp>
        <p:grpSp>
          <p:nvGrpSpPr>
            <p:cNvPr id="146" name="Group 145"/>
            <p:cNvGrpSpPr/>
            <p:nvPr/>
          </p:nvGrpSpPr>
          <p:grpSpPr>
            <a:xfrm>
              <a:off x="6518177" y="2715380"/>
              <a:ext cx="333474" cy="369626"/>
              <a:chOff x="3114466" y="105602"/>
              <a:chExt cx="5971657" cy="6619048"/>
            </a:xfrm>
            <a:solidFill>
              <a:schemeClr val="accent5"/>
            </a:solidFill>
          </p:grpSpPr>
          <p:sp>
            <p:nvSpPr>
              <p:cNvPr id="147" name="Oval 146"/>
              <p:cNvSpPr/>
              <p:nvPr/>
            </p:nvSpPr>
            <p:spPr>
              <a:xfrm>
                <a:off x="5744819" y="745435"/>
                <a:ext cx="695738" cy="695738"/>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48" name="Oval 147"/>
              <p:cNvSpPr/>
              <p:nvPr/>
            </p:nvSpPr>
            <p:spPr>
              <a:xfrm>
                <a:off x="6626711" y="1319213"/>
                <a:ext cx="628234" cy="62823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49" name="Oval 148"/>
              <p:cNvSpPr/>
              <p:nvPr/>
            </p:nvSpPr>
            <p:spPr>
              <a:xfrm>
                <a:off x="4921736" y="1319213"/>
                <a:ext cx="628234" cy="62823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50" name="Oval 149"/>
              <p:cNvSpPr/>
              <p:nvPr/>
            </p:nvSpPr>
            <p:spPr>
              <a:xfrm>
                <a:off x="4140684" y="1766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51" name="Oval 150"/>
              <p:cNvSpPr/>
              <p:nvPr/>
            </p:nvSpPr>
            <p:spPr>
              <a:xfrm>
                <a:off x="7510049" y="1766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52" name="Oval 151"/>
              <p:cNvSpPr/>
              <p:nvPr/>
            </p:nvSpPr>
            <p:spPr>
              <a:xfrm>
                <a:off x="7716285" y="2579410"/>
                <a:ext cx="612706" cy="61270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53" name="Oval 152"/>
              <p:cNvSpPr/>
              <p:nvPr/>
            </p:nvSpPr>
            <p:spPr>
              <a:xfrm>
                <a:off x="3849963" y="2569471"/>
                <a:ext cx="612706" cy="61270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54" name="Oval 153"/>
              <p:cNvSpPr/>
              <p:nvPr/>
            </p:nvSpPr>
            <p:spPr>
              <a:xfrm>
                <a:off x="3740632" y="1416532"/>
                <a:ext cx="394046" cy="39404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55" name="Oval 154"/>
              <p:cNvSpPr/>
              <p:nvPr/>
            </p:nvSpPr>
            <p:spPr>
              <a:xfrm>
                <a:off x="8054215" y="1416532"/>
                <a:ext cx="394046" cy="39404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56" name="Oval 155"/>
              <p:cNvSpPr/>
              <p:nvPr/>
            </p:nvSpPr>
            <p:spPr>
              <a:xfrm>
                <a:off x="5878581" y="105602"/>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57" name="Oval 156"/>
              <p:cNvSpPr/>
              <p:nvPr/>
            </p:nvSpPr>
            <p:spPr>
              <a:xfrm>
                <a:off x="3114466" y="3419473"/>
                <a:ext cx="319296" cy="31929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58" name="Oval 157"/>
              <p:cNvSpPr/>
              <p:nvPr/>
            </p:nvSpPr>
            <p:spPr>
              <a:xfrm>
                <a:off x="3794675" y="5116270"/>
                <a:ext cx="282026" cy="28202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59" name="Oval 158"/>
              <p:cNvSpPr/>
              <p:nvPr/>
            </p:nvSpPr>
            <p:spPr>
              <a:xfrm>
                <a:off x="4640020" y="5060156"/>
                <a:ext cx="342902" cy="3429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60" name="Oval 159"/>
              <p:cNvSpPr/>
              <p:nvPr/>
            </p:nvSpPr>
            <p:spPr>
              <a:xfrm>
                <a:off x="4155592" y="4790040"/>
                <a:ext cx="373546" cy="37354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61" name="Oval 160"/>
              <p:cNvSpPr/>
              <p:nvPr/>
            </p:nvSpPr>
            <p:spPr>
              <a:xfrm>
                <a:off x="3892206" y="4042948"/>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62" name="Oval 161"/>
              <p:cNvSpPr/>
              <p:nvPr/>
            </p:nvSpPr>
            <p:spPr>
              <a:xfrm>
                <a:off x="7758528" y="4052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63" name="Oval 162"/>
              <p:cNvSpPr/>
              <p:nvPr/>
            </p:nvSpPr>
            <p:spPr>
              <a:xfrm>
                <a:off x="3632338" y="3395454"/>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64" name="Oval 163"/>
              <p:cNvSpPr/>
              <p:nvPr/>
            </p:nvSpPr>
            <p:spPr>
              <a:xfrm>
                <a:off x="8122650" y="3395454"/>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65" name="Oval 164"/>
              <p:cNvSpPr/>
              <p:nvPr/>
            </p:nvSpPr>
            <p:spPr>
              <a:xfrm>
                <a:off x="8747366" y="3412330"/>
                <a:ext cx="338757" cy="338757"/>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66" name="Oval 165"/>
              <p:cNvSpPr/>
              <p:nvPr/>
            </p:nvSpPr>
            <p:spPr>
              <a:xfrm>
                <a:off x="7659444" y="4792108"/>
                <a:ext cx="372514" cy="37251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67" name="Oval 166"/>
              <p:cNvSpPr/>
              <p:nvPr/>
            </p:nvSpPr>
            <p:spPr>
              <a:xfrm>
                <a:off x="7208355" y="5062538"/>
                <a:ext cx="341242" cy="34124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68" name="Oval 167"/>
              <p:cNvSpPr/>
              <p:nvPr/>
            </p:nvSpPr>
            <p:spPr>
              <a:xfrm>
                <a:off x="8113230" y="5122069"/>
                <a:ext cx="274566" cy="27456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69" name="Freeform 168"/>
              <p:cNvSpPr/>
              <p:nvPr/>
            </p:nvSpPr>
            <p:spPr>
              <a:xfrm>
                <a:off x="5507831" y="5678142"/>
                <a:ext cx="1200744" cy="1046508"/>
              </a:xfrm>
              <a:custGeom>
                <a:avLst/>
                <a:gdLst>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58806 w 1200744"/>
                  <a:gd name="connsiteY19" fmla="*/ 0 h 1046508"/>
                  <a:gd name="connsiteX20" fmla="*/ 692944 w 1200744"/>
                  <a:gd name="connsiteY20" fmla="*/ 0 h 1046508"/>
                  <a:gd name="connsiteX21" fmla="*/ 692944 w 1200744"/>
                  <a:gd name="connsiteY21" fmla="*/ 102530 h 1046508"/>
                  <a:gd name="connsiteX22" fmla="*/ 418176 w 1200744"/>
                  <a:gd name="connsiteY22" fmla="*/ 135174 h 1046508"/>
                  <a:gd name="connsiteX23" fmla="*/ 392350 w 1200744"/>
                  <a:gd name="connsiteY23" fmla="*/ 149653 h 1046508"/>
                  <a:gd name="connsiteX24" fmla="*/ 384326 w 1200744"/>
                  <a:gd name="connsiteY24" fmla="*/ 178152 h 1046508"/>
                  <a:gd name="connsiteX25" fmla="*/ 398804 w 1200744"/>
                  <a:gd name="connsiteY25" fmla="*/ 203977 h 1046508"/>
                  <a:gd name="connsiteX26" fmla="*/ 427304 w 1200744"/>
                  <a:gd name="connsiteY26" fmla="*/ 212001 h 1046508"/>
                  <a:gd name="connsiteX27" fmla="*/ 1104900 w 1200744"/>
                  <a:gd name="connsiteY27" fmla="*/ 131498 h 1046508"/>
                  <a:gd name="connsiteX28" fmla="*/ 1104900 w 1200744"/>
                  <a:gd name="connsiteY28" fmla="*/ 134851 h 1046508"/>
                  <a:gd name="connsiteX29" fmla="*/ 1157493 w 1200744"/>
                  <a:gd name="connsiteY29" fmla="*/ 128603 h 1046508"/>
                  <a:gd name="connsiteX30" fmla="*/ 1200471 w 1200744"/>
                  <a:gd name="connsiteY30" fmla="*/ 162453 h 1046508"/>
                  <a:gd name="connsiteX31" fmla="*/ 1200470 w 1200744"/>
                  <a:gd name="connsiteY31" fmla="*/ 162453 h 1046508"/>
                  <a:gd name="connsiteX32" fmla="*/ 1166620 w 1200744"/>
                  <a:gd name="connsiteY32" fmla="*/ 205431 h 1046508"/>
                  <a:gd name="connsiteX33" fmla="*/ 892471 w 1200744"/>
                  <a:gd name="connsiteY33" fmla="*/ 238001 h 1046508"/>
                  <a:gd name="connsiteX34" fmla="*/ 883444 w 1200744"/>
                  <a:gd name="connsiteY34" fmla="*/ 235459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688181 w 1200744"/>
                  <a:gd name="connsiteY45" fmla="*/ 400083 h 1046508"/>
                  <a:gd name="connsiteX46" fmla="*/ 688181 w 1200744"/>
                  <a:gd name="connsiteY46" fmla="*/ 403433 h 1046508"/>
                  <a:gd name="connsiteX47" fmla="*/ 792956 w 1200744"/>
                  <a:gd name="connsiteY47" fmla="*/ 390985 h 1046508"/>
                  <a:gd name="connsiteX48" fmla="*/ 792956 w 1200744"/>
                  <a:gd name="connsiteY48" fmla="*/ 387635 h 1046508"/>
                  <a:gd name="connsiteX49" fmla="*/ 883444 w 1200744"/>
                  <a:gd name="connsiteY49" fmla="*/ 376884 h 1046508"/>
                  <a:gd name="connsiteX50" fmla="*/ 883444 w 1200744"/>
                  <a:gd name="connsiteY50" fmla="*/ 380235 h 1046508"/>
                  <a:gd name="connsiteX51" fmla="*/ 1157493 w 1200744"/>
                  <a:gd name="connsiteY51" fmla="*/ 347675 h 1046508"/>
                  <a:gd name="connsiteX52" fmla="*/ 1200471 w 1200744"/>
                  <a:gd name="connsiteY52" fmla="*/ 381525 h 1046508"/>
                  <a:gd name="connsiteX53" fmla="*/ 1200470 w 1200744"/>
                  <a:gd name="connsiteY53" fmla="*/ 381526 h 1046508"/>
                  <a:gd name="connsiteX54" fmla="*/ 1166620 w 1200744"/>
                  <a:gd name="connsiteY54" fmla="*/ 424503 h 1046508"/>
                  <a:gd name="connsiteX55" fmla="*/ 883444 w 1200744"/>
                  <a:gd name="connsiteY55" fmla="*/ 458146 h 1046508"/>
                  <a:gd name="connsiteX56" fmla="*/ 883444 w 1200744"/>
                  <a:gd name="connsiteY56" fmla="*/ 506141 h 1046508"/>
                  <a:gd name="connsiteX57" fmla="*/ 792956 w 1200744"/>
                  <a:gd name="connsiteY57" fmla="*/ 516892 h 1046508"/>
                  <a:gd name="connsiteX58" fmla="*/ 792956 w 1200744"/>
                  <a:gd name="connsiteY58" fmla="*/ 468897 h 1046508"/>
                  <a:gd name="connsiteX59" fmla="*/ 688181 w 1200744"/>
                  <a:gd name="connsiteY59" fmla="*/ 481345 h 1046508"/>
                  <a:gd name="connsiteX60" fmla="*/ 688181 w 1200744"/>
                  <a:gd name="connsiteY60" fmla="*/ 529340 h 1046508"/>
                  <a:gd name="connsiteX61" fmla="*/ 418176 w 1200744"/>
                  <a:gd name="connsiteY61" fmla="*/ 561418 h 1046508"/>
                  <a:gd name="connsiteX62" fmla="*/ 392350 w 1200744"/>
                  <a:gd name="connsiteY62" fmla="*/ 575897 h 1046508"/>
                  <a:gd name="connsiteX63" fmla="*/ 384326 w 1200744"/>
                  <a:gd name="connsiteY63" fmla="*/ 604396 h 1046508"/>
                  <a:gd name="connsiteX64" fmla="*/ 398804 w 1200744"/>
                  <a:gd name="connsiteY64" fmla="*/ 630221 h 1046508"/>
                  <a:gd name="connsiteX65" fmla="*/ 427304 w 1200744"/>
                  <a:gd name="connsiteY65" fmla="*/ 638245 h 1046508"/>
                  <a:gd name="connsiteX66" fmla="*/ 1104900 w 1200744"/>
                  <a:gd name="connsiteY66" fmla="*/ 557742 h 1046508"/>
                  <a:gd name="connsiteX67" fmla="*/ 1104900 w 1200744"/>
                  <a:gd name="connsiteY67" fmla="*/ 558713 h 1046508"/>
                  <a:gd name="connsiteX68" fmla="*/ 1157491 w 1200744"/>
                  <a:gd name="connsiteY68" fmla="*/ 552464 h 1046508"/>
                  <a:gd name="connsiteX69" fmla="*/ 1200469 w 1200744"/>
                  <a:gd name="connsiteY69" fmla="*/ 586314 h 1046508"/>
                  <a:gd name="connsiteX70" fmla="*/ 1200468 w 1200744"/>
                  <a:gd name="connsiteY70" fmla="*/ 586314 h 1046508"/>
                  <a:gd name="connsiteX71" fmla="*/ 1166618 w 1200744"/>
                  <a:gd name="connsiteY71" fmla="*/ 629292 h 1046508"/>
                  <a:gd name="connsiteX72" fmla="*/ 1104900 w 1200744"/>
                  <a:gd name="connsiteY72" fmla="*/ 636624 h 1046508"/>
                  <a:gd name="connsiteX73" fmla="*/ 1104900 w 1200744"/>
                  <a:gd name="connsiteY73" fmla="*/ 817908 h 1046508"/>
                  <a:gd name="connsiteX74" fmla="*/ 971550 w 1200744"/>
                  <a:gd name="connsiteY74" fmla="*/ 946496 h 1046508"/>
                  <a:gd name="connsiteX75" fmla="*/ 752889 w 1200744"/>
                  <a:gd name="connsiteY75" fmla="*/ 946496 h 1046508"/>
                  <a:gd name="connsiteX76" fmla="*/ 749140 w 1200744"/>
                  <a:gd name="connsiteY76" fmla="*/ 965065 h 1046508"/>
                  <a:gd name="connsiteX77" fmla="*/ 626271 w 1200744"/>
                  <a:gd name="connsiteY77" fmla="*/ 1046508 h 1046508"/>
                  <a:gd name="connsiteX78" fmla="*/ 533770 w 1200744"/>
                  <a:gd name="connsiteY78" fmla="*/ 1046508 h 1046508"/>
                  <a:gd name="connsiteX79" fmla="*/ 410901 w 1200744"/>
                  <a:gd name="connsiteY79" fmla="*/ 965065 h 1046508"/>
                  <a:gd name="connsiteX80" fmla="*/ 407153 w 1200744"/>
                  <a:gd name="connsiteY80" fmla="*/ 946496 h 1046508"/>
                  <a:gd name="connsiteX81" fmla="*/ 190500 w 1200744"/>
                  <a:gd name="connsiteY81" fmla="*/ 946496 h 1046508"/>
                  <a:gd name="connsiteX82" fmla="*/ 59532 w 1200744"/>
                  <a:gd name="connsiteY82" fmla="*/ 825052 h 1046508"/>
                  <a:gd name="connsiteX83" fmla="*/ 59432 w 1200744"/>
                  <a:gd name="connsiteY83" fmla="*/ 710643 h 1046508"/>
                  <a:gd name="connsiteX84" fmla="*/ 48816 w 1200744"/>
                  <a:gd name="connsiteY84" fmla="*/ 710643 h 1046508"/>
                  <a:gd name="connsiteX85" fmla="*/ 14298 w 1200744"/>
                  <a:gd name="connsiteY85" fmla="*/ 696345 h 1046508"/>
                  <a:gd name="connsiteX86" fmla="*/ 0 w 1200744"/>
                  <a:gd name="connsiteY86" fmla="*/ 661828 h 1046508"/>
                  <a:gd name="connsiteX87" fmla="*/ 14298 w 1200744"/>
                  <a:gd name="connsiteY87" fmla="*/ 627310 h 1046508"/>
                  <a:gd name="connsiteX88" fmla="*/ 48816 w 1200744"/>
                  <a:gd name="connsiteY88" fmla="*/ 613012 h 1046508"/>
                  <a:gd name="connsiteX89" fmla="*/ 59346 w 1200744"/>
                  <a:gd name="connsiteY89" fmla="*/ 613012 h 1046508"/>
                  <a:gd name="connsiteX90" fmla="*/ 59247 w 1200744"/>
                  <a:gd name="connsiteY90" fmla="*/ 501147 h 1046508"/>
                  <a:gd name="connsiteX91" fmla="*/ 48816 w 1200744"/>
                  <a:gd name="connsiteY91" fmla="*/ 501147 h 1046508"/>
                  <a:gd name="connsiteX92" fmla="*/ 14298 w 1200744"/>
                  <a:gd name="connsiteY92" fmla="*/ 486849 h 1046508"/>
                  <a:gd name="connsiteX93" fmla="*/ 0 w 1200744"/>
                  <a:gd name="connsiteY93" fmla="*/ 452332 h 1046508"/>
                  <a:gd name="connsiteX94" fmla="*/ 14298 w 1200744"/>
                  <a:gd name="connsiteY94" fmla="*/ 417814 h 1046508"/>
                  <a:gd name="connsiteX95" fmla="*/ 48816 w 1200744"/>
                  <a:gd name="connsiteY95" fmla="*/ 403516 h 1046508"/>
                  <a:gd name="connsiteX96" fmla="*/ 59161 w 1200744"/>
                  <a:gd name="connsiteY96" fmla="*/ 403516 h 1046508"/>
                  <a:gd name="connsiteX97" fmla="*/ 59063 w 1200744"/>
                  <a:gd name="connsiteY97" fmla="*/ 291651 h 1046508"/>
                  <a:gd name="connsiteX98" fmla="*/ 48816 w 1200744"/>
                  <a:gd name="connsiteY98" fmla="*/ 291651 h 1046508"/>
                  <a:gd name="connsiteX99" fmla="*/ 14298 w 1200744"/>
                  <a:gd name="connsiteY99" fmla="*/ 277353 h 1046508"/>
                  <a:gd name="connsiteX100" fmla="*/ 0 w 1200744"/>
                  <a:gd name="connsiteY100" fmla="*/ 242836 h 1046508"/>
                  <a:gd name="connsiteX101" fmla="*/ 14298 w 1200744"/>
                  <a:gd name="connsiteY101" fmla="*/ 208318 h 1046508"/>
                  <a:gd name="connsiteX102" fmla="*/ 48816 w 1200744"/>
                  <a:gd name="connsiteY102" fmla="*/ 194020 h 1046508"/>
                  <a:gd name="connsiteX103" fmla="*/ 58977 w 1200744"/>
                  <a:gd name="connsiteY103" fmla="*/ 19402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792956 w 1200744"/>
                  <a:gd name="connsiteY49" fmla="*/ 387635 h 1046508"/>
                  <a:gd name="connsiteX50" fmla="*/ 883444 w 1200744"/>
                  <a:gd name="connsiteY50" fmla="*/ 376884 h 1046508"/>
                  <a:gd name="connsiteX51" fmla="*/ 1157493 w 1200744"/>
                  <a:gd name="connsiteY51" fmla="*/ 347675 h 1046508"/>
                  <a:gd name="connsiteX52" fmla="*/ 1200471 w 1200744"/>
                  <a:gd name="connsiteY52" fmla="*/ 381525 h 1046508"/>
                  <a:gd name="connsiteX53" fmla="*/ 1200470 w 1200744"/>
                  <a:gd name="connsiteY53" fmla="*/ 381526 h 1046508"/>
                  <a:gd name="connsiteX54" fmla="*/ 1166620 w 1200744"/>
                  <a:gd name="connsiteY54" fmla="*/ 424503 h 1046508"/>
                  <a:gd name="connsiteX55" fmla="*/ 883444 w 1200744"/>
                  <a:gd name="connsiteY55" fmla="*/ 458146 h 1046508"/>
                  <a:gd name="connsiteX56" fmla="*/ 883444 w 1200744"/>
                  <a:gd name="connsiteY56" fmla="*/ 506141 h 1046508"/>
                  <a:gd name="connsiteX57" fmla="*/ 792956 w 1200744"/>
                  <a:gd name="connsiteY57" fmla="*/ 516892 h 1046508"/>
                  <a:gd name="connsiteX58" fmla="*/ 792956 w 1200744"/>
                  <a:gd name="connsiteY58" fmla="*/ 468897 h 1046508"/>
                  <a:gd name="connsiteX59" fmla="*/ 688181 w 1200744"/>
                  <a:gd name="connsiteY59" fmla="*/ 481345 h 1046508"/>
                  <a:gd name="connsiteX60" fmla="*/ 688181 w 1200744"/>
                  <a:gd name="connsiteY60" fmla="*/ 529340 h 1046508"/>
                  <a:gd name="connsiteX61" fmla="*/ 418176 w 1200744"/>
                  <a:gd name="connsiteY61" fmla="*/ 561418 h 1046508"/>
                  <a:gd name="connsiteX62" fmla="*/ 392350 w 1200744"/>
                  <a:gd name="connsiteY62" fmla="*/ 575897 h 1046508"/>
                  <a:gd name="connsiteX63" fmla="*/ 384326 w 1200744"/>
                  <a:gd name="connsiteY63" fmla="*/ 604396 h 1046508"/>
                  <a:gd name="connsiteX64" fmla="*/ 398804 w 1200744"/>
                  <a:gd name="connsiteY64" fmla="*/ 630221 h 1046508"/>
                  <a:gd name="connsiteX65" fmla="*/ 427304 w 1200744"/>
                  <a:gd name="connsiteY65" fmla="*/ 638245 h 1046508"/>
                  <a:gd name="connsiteX66" fmla="*/ 1104900 w 1200744"/>
                  <a:gd name="connsiteY66" fmla="*/ 557742 h 1046508"/>
                  <a:gd name="connsiteX67" fmla="*/ 1104900 w 1200744"/>
                  <a:gd name="connsiteY67" fmla="*/ 558713 h 1046508"/>
                  <a:gd name="connsiteX68" fmla="*/ 1157491 w 1200744"/>
                  <a:gd name="connsiteY68" fmla="*/ 552464 h 1046508"/>
                  <a:gd name="connsiteX69" fmla="*/ 1200469 w 1200744"/>
                  <a:gd name="connsiteY69" fmla="*/ 586314 h 1046508"/>
                  <a:gd name="connsiteX70" fmla="*/ 1200468 w 1200744"/>
                  <a:gd name="connsiteY70" fmla="*/ 586314 h 1046508"/>
                  <a:gd name="connsiteX71" fmla="*/ 1166618 w 1200744"/>
                  <a:gd name="connsiteY71" fmla="*/ 629292 h 1046508"/>
                  <a:gd name="connsiteX72" fmla="*/ 1104900 w 1200744"/>
                  <a:gd name="connsiteY72" fmla="*/ 636624 h 1046508"/>
                  <a:gd name="connsiteX73" fmla="*/ 1104900 w 1200744"/>
                  <a:gd name="connsiteY73" fmla="*/ 817908 h 1046508"/>
                  <a:gd name="connsiteX74" fmla="*/ 971550 w 1200744"/>
                  <a:gd name="connsiteY74" fmla="*/ 946496 h 1046508"/>
                  <a:gd name="connsiteX75" fmla="*/ 752889 w 1200744"/>
                  <a:gd name="connsiteY75" fmla="*/ 946496 h 1046508"/>
                  <a:gd name="connsiteX76" fmla="*/ 749140 w 1200744"/>
                  <a:gd name="connsiteY76" fmla="*/ 965065 h 1046508"/>
                  <a:gd name="connsiteX77" fmla="*/ 626271 w 1200744"/>
                  <a:gd name="connsiteY77" fmla="*/ 1046508 h 1046508"/>
                  <a:gd name="connsiteX78" fmla="*/ 533770 w 1200744"/>
                  <a:gd name="connsiteY78" fmla="*/ 1046508 h 1046508"/>
                  <a:gd name="connsiteX79" fmla="*/ 410901 w 1200744"/>
                  <a:gd name="connsiteY79" fmla="*/ 965065 h 1046508"/>
                  <a:gd name="connsiteX80" fmla="*/ 407153 w 1200744"/>
                  <a:gd name="connsiteY80" fmla="*/ 946496 h 1046508"/>
                  <a:gd name="connsiteX81" fmla="*/ 190500 w 1200744"/>
                  <a:gd name="connsiteY81" fmla="*/ 946496 h 1046508"/>
                  <a:gd name="connsiteX82" fmla="*/ 59532 w 1200744"/>
                  <a:gd name="connsiteY82" fmla="*/ 825052 h 1046508"/>
                  <a:gd name="connsiteX83" fmla="*/ 59432 w 1200744"/>
                  <a:gd name="connsiteY83" fmla="*/ 710643 h 1046508"/>
                  <a:gd name="connsiteX84" fmla="*/ 48816 w 1200744"/>
                  <a:gd name="connsiteY84" fmla="*/ 710643 h 1046508"/>
                  <a:gd name="connsiteX85" fmla="*/ 14298 w 1200744"/>
                  <a:gd name="connsiteY85" fmla="*/ 696345 h 1046508"/>
                  <a:gd name="connsiteX86" fmla="*/ 0 w 1200744"/>
                  <a:gd name="connsiteY86" fmla="*/ 661828 h 1046508"/>
                  <a:gd name="connsiteX87" fmla="*/ 14298 w 1200744"/>
                  <a:gd name="connsiteY87" fmla="*/ 627310 h 1046508"/>
                  <a:gd name="connsiteX88" fmla="*/ 48816 w 1200744"/>
                  <a:gd name="connsiteY88" fmla="*/ 613012 h 1046508"/>
                  <a:gd name="connsiteX89" fmla="*/ 59346 w 1200744"/>
                  <a:gd name="connsiteY89" fmla="*/ 613012 h 1046508"/>
                  <a:gd name="connsiteX90" fmla="*/ 59247 w 1200744"/>
                  <a:gd name="connsiteY90" fmla="*/ 501147 h 1046508"/>
                  <a:gd name="connsiteX91" fmla="*/ 48816 w 1200744"/>
                  <a:gd name="connsiteY91" fmla="*/ 501147 h 1046508"/>
                  <a:gd name="connsiteX92" fmla="*/ 14298 w 1200744"/>
                  <a:gd name="connsiteY92" fmla="*/ 486849 h 1046508"/>
                  <a:gd name="connsiteX93" fmla="*/ 0 w 1200744"/>
                  <a:gd name="connsiteY93" fmla="*/ 452332 h 1046508"/>
                  <a:gd name="connsiteX94" fmla="*/ 14298 w 1200744"/>
                  <a:gd name="connsiteY94" fmla="*/ 417814 h 1046508"/>
                  <a:gd name="connsiteX95" fmla="*/ 48816 w 1200744"/>
                  <a:gd name="connsiteY95" fmla="*/ 403516 h 1046508"/>
                  <a:gd name="connsiteX96" fmla="*/ 59161 w 1200744"/>
                  <a:gd name="connsiteY96" fmla="*/ 403516 h 1046508"/>
                  <a:gd name="connsiteX97" fmla="*/ 59063 w 1200744"/>
                  <a:gd name="connsiteY97" fmla="*/ 291651 h 1046508"/>
                  <a:gd name="connsiteX98" fmla="*/ 48816 w 1200744"/>
                  <a:gd name="connsiteY98" fmla="*/ 291651 h 1046508"/>
                  <a:gd name="connsiteX99" fmla="*/ 14298 w 1200744"/>
                  <a:gd name="connsiteY99" fmla="*/ 277353 h 1046508"/>
                  <a:gd name="connsiteX100" fmla="*/ 0 w 1200744"/>
                  <a:gd name="connsiteY100" fmla="*/ 242836 h 1046508"/>
                  <a:gd name="connsiteX101" fmla="*/ 14298 w 1200744"/>
                  <a:gd name="connsiteY101" fmla="*/ 208318 h 1046508"/>
                  <a:gd name="connsiteX102" fmla="*/ 48816 w 1200744"/>
                  <a:gd name="connsiteY102" fmla="*/ 194020 h 1046508"/>
                  <a:gd name="connsiteX103" fmla="*/ 58977 w 1200744"/>
                  <a:gd name="connsiteY103" fmla="*/ 194020 h 1046508"/>
                  <a:gd name="connsiteX104" fmla="*/ 58806 w 1200744"/>
                  <a:gd name="connsiteY104"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792956 w 1200744"/>
                  <a:gd name="connsiteY49" fmla="*/ 387635 h 1046508"/>
                  <a:gd name="connsiteX50" fmla="*/ 1157493 w 1200744"/>
                  <a:gd name="connsiteY50" fmla="*/ 347675 h 1046508"/>
                  <a:gd name="connsiteX51" fmla="*/ 1200471 w 1200744"/>
                  <a:gd name="connsiteY51" fmla="*/ 381525 h 1046508"/>
                  <a:gd name="connsiteX52" fmla="*/ 1200470 w 1200744"/>
                  <a:gd name="connsiteY52" fmla="*/ 381526 h 1046508"/>
                  <a:gd name="connsiteX53" fmla="*/ 1166620 w 1200744"/>
                  <a:gd name="connsiteY53" fmla="*/ 424503 h 1046508"/>
                  <a:gd name="connsiteX54" fmla="*/ 883444 w 1200744"/>
                  <a:gd name="connsiteY54" fmla="*/ 458146 h 1046508"/>
                  <a:gd name="connsiteX55" fmla="*/ 883444 w 1200744"/>
                  <a:gd name="connsiteY55" fmla="*/ 506141 h 1046508"/>
                  <a:gd name="connsiteX56" fmla="*/ 792956 w 1200744"/>
                  <a:gd name="connsiteY56" fmla="*/ 516892 h 1046508"/>
                  <a:gd name="connsiteX57" fmla="*/ 792956 w 1200744"/>
                  <a:gd name="connsiteY57" fmla="*/ 468897 h 1046508"/>
                  <a:gd name="connsiteX58" fmla="*/ 688181 w 1200744"/>
                  <a:gd name="connsiteY58" fmla="*/ 481345 h 1046508"/>
                  <a:gd name="connsiteX59" fmla="*/ 688181 w 1200744"/>
                  <a:gd name="connsiteY59" fmla="*/ 529340 h 1046508"/>
                  <a:gd name="connsiteX60" fmla="*/ 418176 w 1200744"/>
                  <a:gd name="connsiteY60" fmla="*/ 561418 h 1046508"/>
                  <a:gd name="connsiteX61" fmla="*/ 392350 w 1200744"/>
                  <a:gd name="connsiteY61" fmla="*/ 575897 h 1046508"/>
                  <a:gd name="connsiteX62" fmla="*/ 384326 w 1200744"/>
                  <a:gd name="connsiteY62" fmla="*/ 604396 h 1046508"/>
                  <a:gd name="connsiteX63" fmla="*/ 398804 w 1200744"/>
                  <a:gd name="connsiteY63" fmla="*/ 630221 h 1046508"/>
                  <a:gd name="connsiteX64" fmla="*/ 427304 w 1200744"/>
                  <a:gd name="connsiteY64" fmla="*/ 638245 h 1046508"/>
                  <a:gd name="connsiteX65" fmla="*/ 1104900 w 1200744"/>
                  <a:gd name="connsiteY65" fmla="*/ 557742 h 1046508"/>
                  <a:gd name="connsiteX66" fmla="*/ 1104900 w 1200744"/>
                  <a:gd name="connsiteY66" fmla="*/ 558713 h 1046508"/>
                  <a:gd name="connsiteX67" fmla="*/ 1157491 w 1200744"/>
                  <a:gd name="connsiteY67" fmla="*/ 552464 h 1046508"/>
                  <a:gd name="connsiteX68" fmla="*/ 1200469 w 1200744"/>
                  <a:gd name="connsiteY68" fmla="*/ 586314 h 1046508"/>
                  <a:gd name="connsiteX69" fmla="*/ 1200468 w 1200744"/>
                  <a:gd name="connsiteY69" fmla="*/ 586314 h 1046508"/>
                  <a:gd name="connsiteX70" fmla="*/ 1166618 w 1200744"/>
                  <a:gd name="connsiteY70" fmla="*/ 629292 h 1046508"/>
                  <a:gd name="connsiteX71" fmla="*/ 1104900 w 1200744"/>
                  <a:gd name="connsiteY71" fmla="*/ 636624 h 1046508"/>
                  <a:gd name="connsiteX72" fmla="*/ 1104900 w 1200744"/>
                  <a:gd name="connsiteY72" fmla="*/ 817908 h 1046508"/>
                  <a:gd name="connsiteX73" fmla="*/ 971550 w 1200744"/>
                  <a:gd name="connsiteY73" fmla="*/ 946496 h 1046508"/>
                  <a:gd name="connsiteX74" fmla="*/ 752889 w 1200744"/>
                  <a:gd name="connsiteY74" fmla="*/ 946496 h 1046508"/>
                  <a:gd name="connsiteX75" fmla="*/ 749140 w 1200744"/>
                  <a:gd name="connsiteY75" fmla="*/ 965065 h 1046508"/>
                  <a:gd name="connsiteX76" fmla="*/ 626271 w 1200744"/>
                  <a:gd name="connsiteY76" fmla="*/ 1046508 h 1046508"/>
                  <a:gd name="connsiteX77" fmla="*/ 533770 w 1200744"/>
                  <a:gd name="connsiteY77" fmla="*/ 1046508 h 1046508"/>
                  <a:gd name="connsiteX78" fmla="*/ 410901 w 1200744"/>
                  <a:gd name="connsiteY78" fmla="*/ 965065 h 1046508"/>
                  <a:gd name="connsiteX79" fmla="*/ 407153 w 1200744"/>
                  <a:gd name="connsiteY79" fmla="*/ 946496 h 1046508"/>
                  <a:gd name="connsiteX80" fmla="*/ 190500 w 1200744"/>
                  <a:gd name="connsiteY80" fmla="*/ 946496 h 1046508"/>
                  <a:gd name="connsiteX81" fmla="*/ 59532 w 1200744"/>
                  <a:gd name="connsiteY81" fmla="*/ 825052 h 1046508"/>
                  <a:gd name="connsiteX82" fmla="*/ 59432 w 1200744"/>
                  <a:gd name="connsiteY82" fmla="*/ 710643 h 1046508"/>
                  <a:gd name="connsiteX83" fmla="*/ 48816 w 1200744"/>
                  <a:gd name="connsiteY83" fmla="*/ 710643 h 1046508"/>
                  <a:gd name="connsiteX84" fmla="*/ 14298 w 1200744"/>
                  <a:gd name="connsiteY84" fmla="*/ 696345 h 1046508"/>
                  <a:gd name="connsiteX85" fmla="*/ 0 w 1200744"/>
                  <a:gd name="connsiteY85" fmla="*/ 661828 h 1046508"/>
                  <a:gd name="connsiteX86" fmla="*/ 14298 w 1200744"/>
                  <a:gd name="connsiteY86" fmla="*/ 627310 h 1046508"/>
                  <a:gd name="connsiteX87" fmla="*/ 48816 w 1200744"/>
                  <a:gd name="connsiteY87" fmla="*/ 613012 h 1046508"/>
                  <a:gd name="connsiteX88" fmla="*/ 59346 w 1200744"/>
                  <a:gd name="connsiteY88" fmla="*/ 613012 h 1046508"/>
                  <a:gd name="connsiteX89" fmla="*/ 59247 w 1200744"/>
                  <a:gd name="connsiteY89" fmla="*/ 501147 h 1046508"/>
                  <a:gd name="connsiteX90" fmla="*/ 48816 w 1200744"/>
                  <a:gd name="connsiteY90" fmla="*/ 501147 h 1046508"/>
                  <a:gd name="connsiteX91" fmla="*/ 14298 w 1200744"/>
                  <a:gd name="connsiteY91" fmla="*/ 486849 h 1046508"/>
                  <a:gd name="connsiteX92" fmla="*/ 0 w 1200744"/>
                  <a:gd name="connsiteY92" fmla="*/ 452332 h 1046508"/>
                  <a:gd name="connsiteX93" fmla="*/ 14298 w 1200744"/>
                  <a:gd name="connsiteY93" fmla="*/ 417814 h 1046508"/>
                  <a:gd name="connsiteX94" fmla="*/ 48816 w 1200744"/>
                  <a:gd name="connsiteY94" fmla="*/ 403516 h 1046508"/>
                  <a:gd name="connsiteX95" fmla="*/ 59161 w 1200744"/>
                  <a:gd name="connsiteY95" fmla="*/ 403516 h 1046508"/>
                  <a:gd name="connsiteX96" fmla="*/ 59063 w 1200744"/>
                  <a:gd name="connsiteY96" fmla="*/ 291651 h 1046508"/>
                  <a:gd name="connsiteX97" fmla="*/ 48816 w 1200744"/>
                  <a:gd name="connsiteY97" fmla="*/ 291651 h 1046508"/>
                  <a:gd name="connsiteX98" fmla="*/ 14298 w 1200744"/>
                  <a:gd name="connsiteY98" fmla="*/ 277353 h 1046508"/>
                  <a:gd name="connsiteX99" fmla="*/ 0 w 1200744"/>
                  <a:gd name="connsiteY99" fmla="*/ 242836 h 1046508"/>
                  <a:gd name="connsiteX100" fmla="*/ 14298 w 1200744"/>
                  <a:gd name="connsiteY100" fmla="*/ 208318 h 1046508"/>
                  <a:gd name="connsiteX101" fmla="*/ 48816 w 1200744"/>
                  <a:gd name="connsiteY101" fmla="*/ 194020 h 1046508"/>
                  <a:gd name="connsiteX102" fmla="*/ 58977 w 1200744"/>
                  <a:gd name="connsiteY102" fmla="*/ 194020 h 1046508"/>
                  <a:gd name="connsiteX103" fmla="*/ 58806 w 1200744"/>
                  <a:gd name="connsiteY103"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1157493 w 1200744"/>
                  <a:gd name="connsiteY49" fmla="*/ 347675 h 1046508"/>
                  <a:gd name="connsiteX50" fmla="*/ 1200471 w 1200744"/>
                  <a:gd name="connsiteY50" fmla="*/ 381525 h 1046508"/>
                  <a:gd name="connsiteX51" fmla="*/ 1200470 w 1200744"/>
                  <a:gd name="connsiteY51" fmla="*/ 381526 h 1046508"/>
                  <a:gd name="connsiteX52" fmla="*/ 1166620 w 1200744"/>
                  <a:gd name="connsiteY52" fmla="*/ 424503 h 1046508"/>
                  <a:gd name="connsiteX53" fmla="*/ 883444 w 1200744"/>
                  <a:gd name="connsiteY53" fmla="*/ 458146 h 1046508"/>
                  <a:gd name="connsiteX54" fmla="*/ 883444 w 1200744"/>
                  <a:gd name="connsiteY54" fmla="*/ 506141 h 1046508"/>
                  <a:gd name="connsiteX55" fmla="*/ 792956 w 1200744"/>
                  <a:gd name="connsiteY55" fmla="*/ 516892 h 1046508"/>
                  <a:gd name="connsiteX56" fmla="*/ 792956 w 1200744"/>
                  <a:gd name="connsiteY56" fmla="*/ 468897 h 1046508"/>
                  <a:gd name="connsiteX57" fmla="*/ 688181 w 1200744"/>
                  <a:gd name="connsiteY57" fmla="*/ 481345 h 1046508"/>
                  <a:gd name="connsiteX58" fmla="*/ 688181 w 1200744"/>
                  <a:gd name="connsiteY58" fmla="*/ 529340 h 1046508"/>
                  <a:gd name="connsiteX59" fmla="*/ 418176 w 1200744"/>
                  <a:gd name="connsiteY59" fmla="*/ 561418 h 1046508"/>
                  <a:gd name="connsiteX60" fmla="*/ 392350 w 1200744"/>
                  <a:gd name="connsiteY60" fmla="*/ 575897 h 1046508"/>
                  <a:gd name="connsiteX61" fmla="*/ 384326 w 1200744"/>
                  <a:gd name="connsiteY61" fmla="*/ 604396 h 1046508"/>
                  <a:gd name="connsiteX62" fmla="*/ 398804 w 1200744"/>
                  <a:gd name="connsiteY62" fmla="*/ 630221 h 1046508"/>
                  <a:gd name="connsiteX63" fmla="*/ 427304 w 1200744"/>
                  <a:gd name="connsiteY63" fmla="*/ 638245 h 1046508"/>
                  <a:gd name="connsiteX64" fmla="*/ 1104900 w 1200744"/>
                  <a:gd name="connsiteY64" fmla="*/ 557742 h 1046508"/>
                  <a:gd name="connsiteX65" fmla="*/ 1104900 w 1200744"/>
                  <a:gd name="connsiteY65" fmla="*/ 558713 h 1046508"/>
                  <a:gd name="connsiteX66" fmla="*/ 1157491 w 1200744"/>
                  <a:gd name="connsiteY66" fmla="*/ 552464 h 1046508"/>
                  <a:gd name="connsiteX67" fmla="*/ 1200469 w 1200744"/>
                  <a:gd name="connsiteY67" fmla="*/ 586314 h 1046508"/>
                  <a:gd name="connsiteX68" fmla="*/ 1200468 w 1200744"/>
                  <a:gd name="connsiteY68" fmla="*/ 586314 h 1046508"/>
                  <a:gd name="connsiteX69" fmla="*/ 1166618 w 1200744"/>
                  <a:gd name="connsiteY69" fmla="*/ 629292 h 1046508"/>
                  <a:gd name="connsiteX70" fmla="*/ 1104900 w 1200744"/>
                  <a:gd name="connsiteY70" fmla="*/ 636624 h 1046508"/>
                  <a:gd name="connsiteX71" fmla="*/ 1104900 w 1200744"/>
                  <a:gd name="connsiteY71" fmla="*/ 817908 h 1046508"/>
                  <a:gd name="connsiteX72" fmla="*/ 971550 w 1200744"/>
                  <a:gd name="connsiteY72" fmla="*/ 946496 h 1046508"/>
                  <a:gd name="connsiteX73" fmla="*/ 752889 w 1200744"/>
                  <a:gd name="connsiteY73" fmla="*/ 946496 h 1046508"/>
                  <a:gd name="connsiteX74" fmla="*/ 749140 w 1200744"/>
                  <a:gd name="connsiteY74" fmla="*/ 965065 h 1046508"/>
                  <a:gd name="connsiteX75" fmla="*/ 626271 w 1200744"/>
                  <a:gd name="connsiteY75" fmla="*/ 1046508 h 1046508"/>
                  <a:gd name="connsiteX76" fmla="*/ 533770 w 1200744"/>
                  <a:gd name="connsiteY76" fmla="*/ 1046508 h 1046508"/>
                  <a:gd name="connsiteX77" fmla="*/ 410901 w 1200744"/>
                  <a:gd name="connsiteY77" fmla="*/ 965065 h 1046508"/>
                  <a:gd name="connsiteX78" fmla="*/ 407153 w 1200744"/>
                  <a:gd name="connsiteY78" fmla="*/ 946496 h 1046508"/>
                  <a:gd name="connsiteX79" fmla="*/ 190500 w 1200744"/>
                  <a:gd name="connsiteY79" fmla="*/ 946496 h 1046508"/>
                  <a:gd name="connsiteX80" fmla="*/ 59532 w 1200744"/>
                  <a:gd name="connsiteY80" fmla="*/ 825052 h 1046508"/>
                  <a:gd name="connsiteX81" fmla="*/ 59432 w 1200744"/>
                  <a:gd name="connsiteY81" fmla="*/ 710643 h 1046508"/>
                  <a:gd name="connsiteX82" fmla="*/ 48816 w 1200744"/>
                  <a:gd name="connsiteY82" fmla="*/ 710643 h 1046508"/>
                  <a:gd name="connsiteX83" fmla="*/ 14298 w 1200744"/>
                  <a:gd name="connsiteY83" fmla="*/ 696345 h 1046508"/>
                  <a:gd name="connsiteX84" fmla="*/ 0 w 1200744"/>
                  <a:gd name="connsiteY84" fmla="*/ 661828 h 1046508"/>
                  <a:gd name="connsiteX85" fmla="*/ 14298 w 1200744"/>
                  <a:gd name="connsiteY85" fmla="*/ 627310 h 1046508"/>
                  <a:gd name="connsiteX86" fmla="*/ 48816 w 1200744"/>
                  <a:gd name="connsiteY86" fmla="*/ 613012 h 1046508"/>
                  <a:gd name="connsiteX87" fmla="*/ 59346 w 1200744"/>
                  <a:gd name="connsiteY87" fmla="*/ 613012 h 1046508"/>
                  <a:gd name="connsiteX88" fmla="*/ 59247 w 1200744"/>
                  <a:gd name="connsiteY88" fmla="*/ 501147 h 1046508"/>
                  <a:gd name="connsiteX89" fmla="*/ 48816 w 1200744"/>
                  <a:gd name="connsiteY89" fmla="*/ 501147 h 1046508"/>
                  <a:gd name="connsiteX90" fmla="*/ 14298 w 1200744"/>
                  <a:gd name="connsiteY90" fmla="*/ 486849 h 1046508"/>
                  <a:gd name="connsiteX91" fmla="*/ 0 w 1200744"/>
                  <a:gd name="connsiteY91" fmla="*/ 452332 h 1046508"/>
                  <a:gd name="connsiteX92" fmla="*/ 14298 w 1200744"/>
                  <a:gd name="connsiteY92" fmla="*/ 417814 h 1046508"/>
                  <a:gd name="connsiteX93" fmla="*/ 48816 w 1200744"/>
                  <a:gd name="connsiteY93" fmla="*/ 403516 h 1046508"/>
                  <a:gd name="connsiteX94" fmla="*/ 59161 w 1200744"/>
                  <a:gd name="connsiteY94" fmla="*/ 403516 h 1046508"/>
                  <a:gd name="connsiteX95" fmla="*/ 59063 w 1200744"/>
                  <a:gd name="connsiteY95" fmla="*/ 291651 h 1046508"/>
                  <a:gd name="connsiteX96" fmla="*/ 48816 w 1200744"/>
                  <a:gd name="connsiteY96" fmla="*/ 291651 h 1046508"/>
                  <a:gd name="connsiteX97" fmla="*/ 14298 w 1200744"/>
                  <a:gd name="connsiteY97" fmla="*/ 277353 h 1046508"/>
                  <a:gd name="connsiteX98" fmla="*/ 0 w 1200744"/>
                  <a:gd name="connsiteY98" fmla="*/ 242836 h 1046508"/>
                  <a:gd name="connsiteX99" fmla="*/ 14298 w 1200744"/>
                  <a:gd name="connsiteY99" fmla="*/ 208318 h 1046508"/>
                  <a:gd name="connsiteX100" fmla="*/ 48816 w 1200744"/>
                  <a:gd name="connsiteY100" fmla="*/ 194020 h 1046508"/>
                  <a:gd name="connsiteX101" fmla="*/ 58977 w 1200744"/>
                  <a:gd name="connsiteY101" fmla="*/ 194020 h 1046508"/>
                  <a:gd name="connsiteX102" fmla="*/ 58806 w 1200744"/>
                  <a:gd name="connsiteY102"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1157493 w 1200744"/>
                  <a:gd name="connsiteY48" fmla="*/ 347675 h 1046508"/>
                  <a:gd name="connsiteX49" fmla="*/ 1200471 w 1200744"/>
                  <a:gd name="connsiteY49" fmla="*/ 381525 h 1046508"/>
                  <a:gd name="connsiteX50" fmla="*/ 1200470 w 1200744"/>
                  <a:gd name="connsiteY50" fmla="*/ 381526 h 1046508"/>
                  <a:gd name="connsiteX51" fmla="*/ 1166620 w 1200744"/>
                  <a:gd name="connsiteY51" fmla="*/ 424503 h 1046508"/>
                  <a:gd name="connsiteX52" fmla="*/ 883444 w 1200744"/>
                  <a:gd name="connsiteY52" fmla="*/ 458146 h 1046508"/>
                  <a:gd name="connsiteX53" fmla="*/ 883444 w 1200744"/>
                  <a:gd name="connsiteY53" fmla="*/ 506141 h 1046508"/>
                  <a:gd name="connsiteX54" fmla="*/ 792956 w 1200744"/>
                  <a:gd name="connsiteY54" fmla="*/ 516892 h 1046508"/>
                  <a:gd name="connsiteX55" fmla="*/ 792956 w 1200744"/>
                  <a:gd name="connsiteY55" fmla="*/ 468897 h 1046508"/>
                  <a:gd name="connsiteX56" fmla="*/ 688181 w 1200744"/>
                  <a:gd name="connsiteY56" fmla="*/ 481345 h 1046508"/>
                  <a:gd name="connsiteX57" fmla="*/ 688181 w 1200744"/>
                  <a:gd name="connsiteY57" fmla="*/ 529340 h 1046508"/>
                  <a:gd name="connsiteX58" fmla="*/ 418176 w 1200744"/>
                  <a:gd name="connsiteY58" fmla="*/ 561418 h 1046508"/>
                  <a:gd name="connsiteX59" fmla="*/ 392350 w 1200744"/>
                  <a:gd name="connsiteY59" fmla="*/ 575897 h 1046508"/>
                  <a:gd name="connsiteX60" fmla="*/ 384326 w 1200744"/>
                  <a:gd name="connsiteY60" fmla="*/ 604396 h 1046508"/>
                  <a:gd name="connsiteX61" fmla="*/ 398804 w 1200744"/>
                  <a:gd name="connsiteY61" fmla="*/ 630221 h 1046508"/>
                  <a:gd name="connsiteX62" fmla="*/ 427304 w 1200744"/>
                  <a:gd name="connsiteY62" fmla="*/ 638245 h 1046508"/>
                  <a:gd name="connsiteX63" fmla="*/ 1104900 w 1200744"/>
                  <a:gd name="connsiteY63" fmla="*/ 557742 h 1046508"/>
                  <a:gd name="connsiteX64" fmla="*/ 1104900 w 1200744"/>
                  <a:gd name="connsiteY64" fmla="*/ 558713 h 1046508"/>
                  <a:gd name="connsiteX65" fmla="*/ 1157491 w 1200744"/>
                  <a:gd name="connsiteY65" fmla="*/ 552464 h 1046508"/>
                  <a:gd name="connsiteX66" fmla="*/ 1200469 w 1200744"/>
                  <a:gd name="connsiteY66" fmla="*/ 586314 h 1046508"/>
                  <a:gd name="connsiteX67" fmla="*/ 1200468 w 1200744"/>
                  <a:gd name="connsiteY67" fmla="*/ 586314 h 1046508"/>
                  <a:gd name="connsiteX68" fmla="*/ 1166618 w 1200744"/>
                  <a:gd name="connsiteY68" fmla="*/ 629292 h 1046508"/>
                  <a:gd name="connsiteX69" fmla="*/ 1104900 w 1200744"/>
                  <a:gd name="connsiteY69" fmla="*/ 636624 h 1046508"/>
                  <a:gd name="connsiteX70" fmla="*/ 1104900 w 1200744"/>
                  <a:gd name="connsiteY70" fmla="*/ 817908 h 1046508"/>
                  <a:gd name="connsiteX71" fmla="*/ 971550 w 1200744"/>
                  <a:gd name="connsiteY71" fmla="*/ 946496 h 1046508"/>
                  <a:gd name="connsiteX72" fmla="*/ 752889 w 1200744"/>
                  <a:gd name="connsiteY72" fmla="*/ 946496 h 1046508"/>
                  <a:gd name="connsiteX73" fmla="*/ 749140 w 1200744"/>
                  <a:gd name="connsiteY73" fmla="*/ 965065 h 1046508"/>
                  <a:gd name="connsiteX74" fmla="*/ 626271 w 1200744"/>
                  <a:gd name="connsiteY74" fmla="*/ 1046508 h 1046508"/>
                  <a:gd name="connsiteX75" fmla="*/ 533770 w 1200744"/>
                  <a:gd name="connsiteY75" fmla="*/ 1046508 h 1046508"/>
                  <a:gd name="connsiteX76" fmla="*/ 410901 w 1200744"/>
                  <a:gd name="connsiteY76" fmla="*/ 965065 h 1046508"/>
                  <a:gd name="connsiteX77" fmla="*/ 407153 w 1200744"/>
                  <a:gd name="connsiteY77" fmla="*/ 946496 h 1046508"/>
                  <a:gd name="connsiteX78" fmla="*/ 190500 w 1200744"/>
                  <a:gd name="connsiteY78" fmla="*/ 946496 h 1046508"/>
                  <a:gd name="connsiteX79" fmla="*/ 59532 w 1200744"/>
                  <a:gd name="connsiteY79" fmla="*/ 825052 h 1046508"/>
                  <a:gd name="connsiteX80" fmla="*/ 59432 w 1200744"/>
                  <a:gd name="connsiteY80" fmla="*/ 710643 h 1046508"/>
                  <a:gd name="connsiteX81" fmla="*/ 48816 w 1200744"/>
                  <a:gd name="connsiteY81" fmla="*/ 710643 h 1046508"/>
                  <a:gd name="connsiteX82" fmla="*/ 14298 w 1200744"/>
                  <a:gd name="connsiteY82" fmla="*/ 696345 h 1046508"/>
                  <a:gd name="connsiteX83" fmla="*/ 0 w 1200744"/>
                  <a:gd name="connsiteY83" fmla="*/ 661828 h 1046508"/>
                  <a:gd name="connsiteX84" fmla="*/ 14298 w 1200744"/>
                  <a:gd name="connsiteY84" fmla="*/ 627310 h 1046508"/>
                  <a:gd name="connsiteX85" fmla="*/ 48816 w 1200744"/>
                  <a:gd name="connsiteY85" fmla="*/ 613012 h 1046508"/>
                  <a:gd name="connsiteX86" fmla="*/ 59346 w 1200744"/>
                  <a:gd name="connsiteY86" fmla="*/ 613012 h 1046508"/>
                  <a:gd name="connsiteX87" fmla="*/ 59247 w 1200744"/>
                  <a:gd name="connsiteY87" fmla="*/ 501147 h 1046508"/>
                  <a:gd name="connsiteX88" fmla="*/ 48816 w 1200744"/>
                  <a:gd name="connsiteY88" fmla="*/ 501147 h 1046508"/>
                  <a:gd name="connsiteX89" fmla="*/ 14298 w 1200744"/>
                  <a:gd name="connsiteY89" fmla="*/ 486849 h 1046508"/>
                  <a:gd name="connsiteX90" fmla="*/ 0 w 1200744"/>
                  <a:gd name="connsiteY90" fmla="*/ 452332 h 1046508"/>
                  <a:gd name="connsiteX91" fmla="*/ 14298 w 1200744"/>
                  <a:gd name="connsiteY91" fmla="*/ 417814 h 1046508"/>
                  <a:gd name="connsiteX92" fmla="*/ 48816 w 1200744"/>
                  <a:gd name="connsiteY92" fmla="*/ 403516 h 1046508"/>
                  <a:gd name="connsiteX93" fmla="*/ 59161 w 1200744"/>
                  <a:gd name="connsiteY93" fmla="*/ 403516 h 1046508"/>
                  <a:gd name="connsiteX94" fmla="*/ 59063 w 1200744"/>
                  <a:gd name="connsiteY94" fmla="*/ 291651 h 1046508"/>
                  <a:gd name="connsiteX95" fmla="*/ 48816 w 1200744"/>
                  <a:gd name="connsiteY95" fmla="*/ 291651 h 1046508"/>
                  <a:gd name="connsiteX96" fmla="*/ 14298 w 1200744"/>
                  <a:gd name="connsiteY96" fmla="*/ 277353 h 1046508"/>
                  <a:gd name="connsiteX97" fmla="*/ 0 w 1200744"/>
                  <a:gd name="connsiteY97" fmla="*/ 242836 h 1046508"/>
                  <a:gd name="connsiteX98" fmla="*/ 14298 w 1200744"/>
                  <a:gd name="connsiteY98" fmla="*/ 208318 h 1046508"/>
                  <a:gd name="connsiteX99" fmla="*/ 48816 w 1200744"/>
                  <a:gd name="connsiteY99" fmla="*/ 194020 h 1046508"/>
                  <a:gd name="connsiteX100" fmla="*/ 58977 w 1200744"/>
                  <a:gd name="connsiteY100" fmla="*/ 194020 h 1046508"/>
                  <a:gd name="connsiteX101" fmla="*/ 58806 w 1200744"/>
                  <a:gd name="connsiteY101"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1157493 w 1200744"/>
                  <a:gd name="connsiteY47" fmla="*/ 347675 h 1046508"/>
                  <a:gd name="connsiteX48" fmla="*/ 1200471 w 1200744"/>
                  <a:gd name="connsiteY48" fmla="*/ 381525 h 1046508"/>
                  <a:gd name="connsiteX49" fmla="*/ 1200470 w 1200744"/>
                  <a:gd name="connsiteY49" fmla="*/ 381526 h 1046508"/>
                  <a:gd name="connsiteX50" fmla="*/ 1166620 w 1200744"/>
                  <a:gd name="connsiteY50" fmla="*/ 424503 h 1046508"/>
                  <a:gd name="connsiteX51" fmla="*/ 883444 w 1200744"/>
                  <a:gd name="connsiteY51" fmla="*/ 458146 h 1046508"/>
                  <a:gd name="connsiteX52" fmla="*/ 883444 w 1200744"/>
                  <a:gd name="connsiteY52" fmla="*/ 506141 h 1046508"/>
                  <a:gd name="connsiteX53" fmla="*/ 792956 w 1200744"/>
                  <a:gd name="connsiteY53" fmla="*/ 516892 h 1046508"/>
                  <a:gd name="connsiteX54" fmla="*/ 792956 w 1200744"/>
                  <a:gd name="connsiteY54" fmla="*/ 468897 h 1046508"/>
                  <a:gd name="connsiteX55" fmla="*/ 688181 w 1200744"/>
                  <a:gd name="connsiteY55" fmla="*/ 481345 h 1046508"/>
                  <a:gd name="connsiteX56" fmla="*/ 688181 w 1200744"/>
                  <a:gd name="connsiteY56" fmla="*/ 529340 h 1046508"/>
                  <a:gd name="connsiteX57" fmla="*/ 418176 w 1200744"/>
                  <a:gd name="connsiteY57" fmla="*/ 561418 h 1046508"/>
                  <a:gd name="connsiteX58" fmla="*/ 392350 w 1200744"/>
                  <a:gd name="connsiteY58" fmla="*/ 575897 h 1046508"/>
                  <a:gd name="connsiteX59" fmla="*/ 384326 w 1200744"/>
                  <a:gd name="connsiteY59" fmla="*/ 604396 h 1046508"/>
                  <a:gd name="connsiteX60" fmla="*/ 398804 w 1200744"/>
                  <a:gd name="connsiteY60" fmla="*/ 630221 h 1046508"/>
                  <a:gd name="connsiteX61" fmla="*/ 427304 w 1200744"/>
                  <a:gd name="connsiteY61" fmla="*/ 638245 h 1046508"/>
                  <a:gd name="connsiteX62" fmla="*/ 1104900 w 1200744"/>
                  <a:gd name="connsiteY62" fmla="*/ 557742 h 1046508"/>
                  <a:gd name="connsiteX63" fmla="*/ 1104900 w 1200744"/>
                  <a:gd name="connsiteY63" fmla="*/ 558713 h 1046508"/>
                  <a:gd name="connsiteX64" fmla="*/ 1157491 w 1200744"/>
                  <a:gd name="connsiteY64" fmla="*/ 552464 h 1046508"/>
                  <a:gd name="connsiteX65" fmla="*/ 1200469 w 1200744"/>
                  <a:gd name="connsiteY65" fmla="*/ 586314 h 1046508"/>
                  <a:gd name="connsiteX66" fmla="*/ 1200468 w 1200744"/>
                  <a:gd name="connsiteY66" fmla="*/ 586314 h 1046508"/>
                  <a:gd name="connsiteX67" fmla="*/ 1166618 w 1200744"/>
                  <a:gd name="connsiteY67" fmla="*/ 629292 h 1046508"/>
                  <a:gd name="connsiteX68" fmla="*/ 1104900 w 1200744"/>
                  <a:gd name="connsiteY68" fmla="*/ 636624 h 1046508"/>
                  <a:gd name="connsiteX69" fmla="*/ 1104900 w 1200744"/>
                  <a:gd name="connsiteY69" fmla="*/ 817908 h 1046508"/>
                  <a:gd name="connsiteX70" fmla="*/ 971550 w 1200744"/>
                  <a:gd name="connsiteY70" fmla="*/ 946496 h 1046508"/>
                  <a:gd name="connsiteX71" fmla="*/ 752889 w 1200744"/>
                  <a:gd name="connsiteY71" fmla="*/ 946496 h 1046508"/>
                  <a:gd name="connsiteX72" fmla="*/ 749140 w 1200744"/>
                  <a:gd name="connsiteY72" fmla="*/ 965065 h 1046508"/>
                  <a:gd name="connsiteX73" fmla="*/ 626271 w 1200744"/>
                  <a:gd name="connsiteY73" fmla="*/ 1046508 h 1046508"/>
                  <a:gd name="connsiteX74" fmla="*/ 533770 w 1200744"/>
                  <a:gd name="connsiteY74" fmla="*/ 1046508 h 1046508"/>
                  <a:gd name="connsiteX75" fmla="*/ 410901 w 1200744"/>
                  <a:gd name="connsiteY75" fmla="*/ 965065 h 1046508"/>
                  <a:gd name="connsiteX76" fmla="*/ 407153 w 1200744"/>
                  <a:gd name="connsiteY76" fmla="*/ 946496 h 1046508"/>
                  <a:gd name="connsiteX77" fmla="*/ 190500 w 1200744"/>
                  <a:gd name="connsiteY77" fmla="*/ 946496 h 1046508"/>
                  <a:gd name="connsiteX78" fmla="*/ 59532 w 1200744"/>
                  <a:gd name="connsiteY78" fmla="*/ 825052 h 1046508"/>
                  <a:gd name="connsiteX79" fmla="*/ 59432 w 1200744"/>
                  <a:gd name="connsiteY79" fmla="*/ 710643 h 1046508"/>
                  <a:gd name="connsiteX80" fmla="*/ 48816 w 1200744"/>
                  <a:gd name="connsiteY80" fmla="*/ 710643 h 1046508"/>
                  <a:gd name="connsiteX81" fmla="*/ 14298 w 1200744"/>
                  <a:gd name="connsiteY81" fmla="*/ 696345 h 1046508"/>
                  <a:gd name="connsiteX82" fmla="*/ 0 w 1200744"/>
                  <a:gd name="connsiteY82" fmla="*/ 661828 h 1046508"/>
                  <a:gd name="connsiteX83" fmla="*/ 14298 w 1200744"/>
                  <a:gd name="connsiteY83" fmla="*/ 627310 h 1046508"/>
                  <a:gd name="connsiteX84" fmla="*/ 48816 w 1200744"/>
                  <a:gd name="connsiteY84" fmla="*/ 613012 h 1046508"/>
                  <a:gd name="connsiteX85" fmla="*/ 59346 w 1200744"/>
                  <a:gd name="connsiteY85" fmla="*/ 613012 h 1046508"/>
                  <a:gd name="connsiteX86" fmla="*/ 59247 w 1200744"/>
                  <a:gd name="connsiteY86" fmla="*/ 501147 h 1046508"/>
                  <a:gd name="connsiteX87" fmla="*/ 48816 w 1200744"/>
                  <a:gd name="connsiteY87" fmla="*/ 501147 h 1046508"/>
                  <a:gd name="connsiteX88" fmla="*/ 14298 w 1200744"/>
                  <a:gd name="connsiteY88" fmla="*/ 486849 h 1046508"/>
                  <a:gd name="connsiteX89" fmla="*/ 0 w 1200744"/>
                  <a:gd name="connsiteY89" fmla="*/ 452332 h 1046508"/>
                  <a:gd name="connsiteX90" fmla="*/ 14298 w 1200744"/>
                  <a:gd name="connsiteY90" fmla="*/ 417814 h 1046508"/>
                  <a:gd name="connsiteX91" fmla="*/ 48816 w 1200744"/>
                  <a:gd name="connsiteY91" fmla="*/ 403516 h 1046508"/>
                  <a:gd name="connsiteX92" fmla="*/ 59161 w 1200744"/>
                  <a:gd name="connsiteY92" fmla="*/ 403516 h 1046508"/>
                  <a:gd name="connsiteX93" fmla="*/ 59063 w 1200744"/>
                  <a:gd name="connsiteY93" fmla="*/ 291651 h 1046508"/>
                  <a:gd name="connsiteX94" fmla="*/ 48816 w 1200744"/>
                  <a:gd name="connsiteY94" fmla="*/ 291651 h 1046508"/>
                  <a:gd name="connsiteX95" fmla="*/ 14298 w 1200744"/>
                  <a:gd name="connsiteY95" fmla="*/ 277353 h 1046508"/>
                  <a:gd name="connsiteX96" fmla="*/ 0 w 1200744"/>
                  <a:gd name="connsiteY96" fmla="*/ 242836 h 1046508"/>
                  <a:gd name="connsiteX97" fmla="*/ 14298 w 1200744"/>
                  <a:gd name="connsiteY97" fmla="*/ 208318 h 1046508"/>
                  <a:gd name="connsiteX98" fmla="*/ 48816 w 1200744"/>
                  <a:gd name="connsiteY98" fmla="*/ 194020 h 1046508"/>
                  <a:gd name="connsiteX99" fmla="*/ 58977 w 1200744"/>
                  <a:gd name="connsiteY99" fmla="*/ 194020 h 1046508"/>
                  <a:gd name="connsiteX100" fmla="*/ 58806 w 1200744"/>
                  <a:gd name="connsiteY100"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1157493 w 1200744"/>
                  <a:gd name="connsiteY46" fmla="*/ 347675 h 1046508"/>
                  <a:gd name="connsiteX47" fmla="*/ 1200471 w 1200744"/>
                  <a:gd name="connsiteY47" fmla="*/ 381525 h 1046508"/>
                  <a:gd name="connsiteX48" fmla="*/ 1200470 w 1200744"/>
                  <a:gd name="connsiteY48" fmla="*/ 381526 h 1046508"/>
                  <a:gd name="connsiteX49" fmla="*/ 1166620 w 1200744"/>
                  <a:gd name="connsiteY49" fmla="*/ 424503 h 1046508"/>
                  <a:gd name="connsiteX50" fmla="*/ 883444 w 1200744"/>
                  <a:gd name="connsiteY50" fmla="*/ 458146 h 1046508"/>
                  <a:gd name="connsiteX51" fmla="*/ 883444 w 1200744"/>
                  <a:gd name="connsiteY51" fmla="*/ 506141 h 1046508"/>
                  <a:gd name="connsiteX52" fmla="*/ 792956 w 1200744"/>
                  <a:gd name="connsiteY52" fmla="*/ 516892 h 1046508"/>
                  <a:gd name="connsiteX53" fmla="*/ 792956 w 1200744"/>
                  <a:gd name="connsiteY53" fmla="*/ 468897 h 1046508"/>
                  <a:gd name="connsiteX54" fmla="*/ 688181 w 1200744"/>
                  <a:gd name="connsiteY54" fmla="*/ 481345 h 1046508"/>
                  <a:gd name="connsiteX55" fmla="*/ 688181 w 1200744"/>
                  <a:gd name="connsiteY55" fmla="*/ 529340 h 1046508"/>
                  <a:gd name="connsiteX56" fmla="*/ 418176 w 1200744"/>
                  <a:gd name="connsiteY56" fmla="*/ 561418 h 1046508"/>
                  <a:gd name="connsiteX57" fmla="*/ 392350 w 1200744"/>
                  <a:gd name="connsiteY57" fmla="*/ 575897 h 1046508"/>
                  <a:gd name="connsiteX58" fmla="*/ 384326 w 1200744"/>
                  <a:gd name="connsiteY58" fmla="*/ 604396 h 1046508"/>
                  <a:gd name="connsiteX59" fmla="*/ 398804 w 1200744"/>
                  <a:gd name="connsiteY59" fmla="*/ 630221 h 1046508"/>
                  <a:gd name="connsiteX60" fmla="*/ 427304 w 1200744"/>
                  <a:gd name="connsiteY60" fmla="*/ 638245 h 1046508"/>
                  <a:gd name="connsiteX61" fmla="*/ 1104900 w 1200744"/>
                  <a:gd name="connsiteY61" fmla="*/ 557742 h 1046508"/>
                  <a:gd name="connsiteX62" fmla="*/ 1104900 w 1200744"/>
                  <a:gd name="connsiteY62" fmla="*/ 558713 h 1046508"/>
                  <a:gd name="connsiteX63" fmla="*/ 1157491 w 1200744"/>
                  <a:gd name="connsiteY63" fmla="*/ 552464 h 1046508"/>
                  <a:gd name="connsiteX64" fmla="*/ 1200469 w 1200744"/>
                  <a:gd name="connsiteY64" fmla="*/ 586314 h 1046508"/>
                  <a:gd name="connsiteX65" fmla="*/ 1200468 w 1200744"/>
                  <a:gd name="connsiteY65" fmla="*/ 586314 h 1046508"/>
                  <a:gd name="connsiteX66" fmla="*/ 1166618 w 1200744"/>
                  <a:gd name="connsiteY66" fmla="*/ 629292 h 1046508"/>
                  <a:gd name="connsiteX67" fmla="*/ 1104900 w 1200744"/>
                  <a:gd name="connsiteY67" fmla="*/ 636624 h 1046508"/>
                  <a:gd name="connsiteX68" fmla="*/ 1104900 w 1200744"/>
                  <a:gd name="connsiteY68" fmla="*/ 817908 h 1046508"/>
                  <a:gd name="connsiteX69" fmla="*/ 971550 w 1200744"/>
                  <a:gd name="connsiteY69" fmla="*/ 946496 h 1046508"/>
                  <a:gd name="connsiteX70" fmla="*/ 752889 w 1200744"/>
                  <a:gd name="connsiteY70" fmla="*/ 946496 h 1046508"/>
                  <a:gd name="connsiteX71" fmla="*/ 749140 w 1200744"/>
                  <a:gd name="connsiteY71" fmla="*/ 965065 h 1046508"/>
                  <a:gd name="connsiteX72" fmla="*/ 626271 w 1200744"/>
                  <a:gd name="connsiteY72" fmla="*/ 1046508 h 1046508"/>
                  <a:gd name="connsiteX73" fmla="*/ 533770 w 1200744"/>
                  <a:gd name="connsiteY73" fmla="*/ 1046508 h 1046508"/>
                  <a:gd name="connsiteX74" fmla="*/ 410901 w 1200744"/>
                  <a:gd name="connsiteY74" fmla="*/ 965065 h 1046508"/>
                  <a:gd name="connsiteX75" fmla="*/ 407153 w 1200744"/>
                  <a:gd name="connsiteY75" fmla="*/ 946496 h 1046508"/>
                  <a:gd name="connsiteX76" fmla="*/ 190500 w 1200744"/>
                  <a:gd name="connsiteY76" fmla="*/ 946496 h 1046508"/>
                  <a:gd name="connsiteX77" fmla="*/ 59532 w 1200744"/>
                  <a:gd name="connsiteY77" fmla="*/ 825052 h 1046508"/>
                  <a:gd name="connsiteX78" fmla="*/ 59432 w 1200744"/>
                  <a:gd name="connsiteY78" fmla="*/ 710643 h 1046508"/>
                  <a:gd name="connsiteX79" fmla="*/ 48816 w 1200744"/>
                  <a:gd name="connsiteY79" fmla="*/ 710643 h 1046508"/>
                  <a:gd name="connsiteX80" fmla="*/ 14298 w 1200744"/>
                  <a:gd name="connsiteY80" fmla="*/ 696345 h 1046508"/>
                  <a:gd name="connsiteX81" fmla="*/ 0 w 1200744"/>
                  <a:gd name="connsiteY81" fmla="*/ 661828 h 1046508"/>
                  <a:gd name="connsiteX82" fmla="*/ 14298 w 1200744"/>
                  <a:gd name="connsiteY82" fmla="*/ 627310 h 1046508"/>
                  <a:gd name="connsiteX83" fmla="*/ 48816 w 1200744"/>
                  <a:gd name="connsiteY83" fmla="*/ 613012 h 1046508"/>
                  <a:gd name="connsiteX84" fmla="*/ 59346 w 1200744"/>
                  <a:gd name="connsiteY84" fmla="*/ 613012 h 1046508"/>
                  <a:gd name="connsiteX85" fmla="*/ 59247 w 1200744"/>
                  <a:gd name="connsiteY85" fmla="*/ 501147 h 1046508"/>
                  <a:gd name="connsiteX86" fmla="*/ 48816 w 1200744"/>
                  <a:gd name="connsiteY86" fmla="*/ 501147 h 1046508"/>
                  <a:gd name="connsiteX87" fmla="*/ 14298 w 1200744"/>
                  <a:gd name="connsiteY87" fmla="*/ 486849 h 1046508"/>
                  <a:gd name="connsiteX88" fmla="*/ 0 w 1200744"/>
                  <a:gd name="connsiteY88" fmla="*/ 452332 h 1046508"/>
                  <a:gd name="connsiteX89" fmla="*/ 14298 w 1200744"/>
                  <a:gd name="connsiteY89" fmla="*/ 417814 h 1046508"/>
                  <a:gd name="connsiteX90" fmla="*/ 48816 w 1200744"/>
                  <a:gd name="connsiteY90" fmla="*/ 403516 h 1046508"/>
                  <a:gd name="connsiteX91" fmla="*/ 59161 w 1200744"/>
                  <a:gd name="connsiteY91" fmla="*/ 403516 h 1046508"/>
                  <a:gd name="connsiteX92" fmla="*/ 59063 w 1200744"/>
                  <a:gd name="connsiteY92" fmla="*/ 291651 h 1046508"/>
                  <a:gd name="connsiteX93" fmla="*/ 48816 w 1200744"/>
                  <a:gd name="connsiteY93" fmla="*/ 291651 h 1046508"/>
                  <a:gd name="connsiteX94" fmla="*/ 14298 w 1200744"/>
                  <a:gd name="connsiteY94" fmla="*/ 277353 h 1046508"/>
                  <a:gd name="connsiteX95" fmla="*/ 0 w 1200744"/>
                  <a:gd name="connsiteY95" fmla="*/ 242836 h 1046508"/>
                  <a:gd name="connsiteX96" fmla="*/ 14298 w 1200744"/>
                  <a:gd name="connsiteY96" fmla="*/ 208318 h 1046508"/>
                  <a:gd name="connsiteX97" fmla="*/ 48816 w 1200744"/>
                  <a:gd name="connsiteY97" fmla="*/ 194020 h 1046508"/>
                  <a:gd name="connsiteX98" fmla="*/ 58977 w 1200744"/>
                  <a:gd name="connsiteY98" fmla="*/ 194020 h 1046508"/>
                  <a:gd name="connsiteX99" fmla="*/ 58806 w 1200744"/>
                  <a:gd name="connsiteY99"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83444 w 1200744"/>
                  <a:gd name="connsiteY34" fmla="*/ 235459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1157493 w 1200744"/>
                  <a:gd name="connsiteY45" fmla="*/ 347675 h 1046508"/>
                  <a:gd name="connsiteX46" fmla="*/ 1200471 w 1200744"/>
                  <a:gd name="connsiteY46" fmla="*/ 381525 h 1046508"/>
                  <a:gd name="connsiteX47" fmla="*/ 1200470 w 1200744"/>
                  <a:gd name="connsiteY47" fmla="*/ 381526 h 1046508"/>
                  <a:gd name="connsiteX48" fmla="*/ 1166620 w 1200744"/>
                  <a:gd name="connsiteY48" fmla="*/ 424503 h 1046508"/>
                  <a:gd name="connsiteX49" fmla="*/ 883444 w 1200744"/>
                  <a:gd name="connsiteY49" fmla="*/ 458146 h 1046508"/>
                  <a:gd name="connsiteX50" fmla="*/ 883444 w 1200744"/>
                  <a:gd name="connsiteY50" fmla="*/ 506141 h 1046508"/>
                  <a:gd name="connsiteX51" fmla="*/ 792956 w 1200744"/>
                  <a:gd name="connsiteY51" fmla="*/ 516892 h 1046508"/>
                  <a:gd name="connsiteX52" fmla="*/ 792956 w 1200744"/>
                  <a:gd name="connsiteY52" fmla="*/ 468897 h 1046508"/>
                  <a:gd name="connsiteX53" fmla="*/ 688181 w 1200744"/>
                  <a:gd name="connsiteY53" fmla="*/ 481345 h 1046508"/>
                  <a:gd name="connsiteX54" fmla="*/ 688181 w 1200744"/>
                  <a:gd name="connsiteY54" fmla="*/ 529340 h 1046508"/>
                  <a:gd name="connsiteX55" fmla="*/ 418176 w 1200744"/>
                  <a:gd name="connsiteY55" fmla="*/ 561418 h 1046508"/>
                  <a:gd name="connsiteX56" fmla="*/ 392350 w 1200744"/>
                  <a:gd name="connsiteY56" fmla="*/ 575897 h 1046508"/>
                  <a:gd name="connsiteX57" fmla="*/ 384326 w 1200744"/>
                  <a:gd name="connsiteY57" fmla="*/ 604396 h 1046508"/>
                  <a:gd name="connsiteX58" fmla="*/ 398804 w 1200744"/>
                  <a:gd name="connsiteY58" fmla="*/ 630221 h 1046508"/>
                  <a:gd name="connsiteX59" fmla="*/ 427304 w 1200744"/>
                  <a:gd name="connsiteY59" fmla="*/ 638245 h 1046508"/>
                  <a:gd name="connsiteX60" fmla="*/ 1104900 w 1200744"/>
                  <a:gd name="connsiteY60" fmla="*/ 557742 h 1046508"/>
                  <a:gd name="connsiteX61" fmla="*/ 1104900 w 1200744"/>
                  <a:gd name="connsiteY61" fmla="*/ 558713 h 1046508"/>
                  <a:gd name="connsiteX62" fmla="*/ 1157491 w 1200744"/>
                  <a:gd name="connsiteY62" fmla="*/ 552464 h 1046508"/>
                  <a:gd name="connsiteX63" fmla="*/ 1200469 w 1200744"/>
                  <a:gd name="connsiteY63" fmla="*/ 586314 h 1046508"/>
                  <a:gd name="connsiteX64" fmla="*/ 1200468 w 1200744"/>
                  <a:gd name="connsiteY64" fmla="*/ 586314 h 1046508"/>
                  <a:gd name="connsiteX65" fmla="*/ 1166618 w 1200744"/>
                  <a:gd name="connsiteY65" fmla="*/ 629292 h 1046508"/>
                  <a:gd name="connsiteX66" fmla="*/ 1104900 w 1200744"/>
                  <a:gd name="connsiteY66" fmla="*/ 636624 h 1046508"/>
                  <a:gd name="connsiteX67" fmla="*/ 1104900 w 1200744"/>
                  <a:gd name="connsiteY67" fmla="*/ 817908 h 1046508"/>
                  <a:gd name="connsiteX68" fmla="*/ 971550 w 1200744"/>
                  <a:gd name="connsiteY68" fmla="*/ 946496 h 1046508"/>
                  <a:gd name="connsiteX69" fmla="*/ 752889 w 1200744"/>
                  <a:gd name="connsiteY69" fmla="*/ 946496 h 1046508"/>
                  <a:gd name="connsiteX70" fmla="*/ 749140 w 1200744"/>
                  <a:gd name="connsiteY70" fmla="*/ 965065 h 1046508"/>
                  <a:gd name="connsiteX71" fmla="*/ 626271 w 1200744"/>
                  <a:gd name="connsiteY71" fmla="*/ 1046508 h 1046508"/>
                  <a:gd name="connsiteX72" fmla="*/ 533770 w 1200744"/>
                  <a:gd name="connsiteY72" fmla="*/ 1046508 h 1046508"/>
                  <a:gd name="connsiteX73" fmla="*/ 410901 w 1200744"/>
                  <a:gd name="connsiteY73" fmla="*/ 965065 h 1046508"/>
                  <a:gd name="connsiteX74" fmla="*/ 407153 w 1200744"/>
                  <a:gd name="connsiteY74" fmla="*/ 946496 h 1046508"/>
                  <a:gd name="connsiteX75" fmla="*/ 190500 w 1200744"/>
                  <a:gd name="connsiteY75" fmla="*/ 946496 h 1046508"/>
                  <a:gd name="connsiteX76" fmla="*/ 59532 w 1200744"/>
                  <a:gd name="connsiteY76" fmla="*/ 825052 h 1046508"/>
                  <a:gd name="connsiteX77" fmla="*/ 59432 w 1200744"/>
                  <a:gd name="connsiteY77" fmla="*/ 710643 h 1046508"/>
                  <a:gd name="connsiteX78" fmla="*/ 48816 w 1200744"/>
                  <a:gd name="connsiteY78" fmla="*/ 710643 h 1046508"/>
                  <a:gd name="connsiteX79" fmla="*/ 14298 w 1200744"/>
                  <a:gd name="connsiteY79" fmla="*/ 696345 h 1046508"/>
                  <a:gd name="connsiteX80" fmla="*/ 0 w 1200744"/>
                  <a:gd name="connsiteY80" fmla="*/ 661828 h 1046508"/>
                  <a:gd name="connsiteX81" fmla="*/ 14298 w 1200744"/>
                  <a:gd name="connsiteY81" fmla="*/ 627310 h 1046508"/>
                  <a:gd name="connsiteX82" fmla="*/ 48816 w 1200744"/>
                  <a:gd name="connsiteY82" fmla="*/ 613012 h 1046508"/>
                  <a:gd name="connsiteX83" fmla="*/ 59346 w 1200744"/>
                  <a:gd name="connsiteY83" fmla="*/ 613012 h 1046508"/>
                  <a:gd name="connsiteX84" fmla="*/ 59247 w 1200744"/>
                  <a:gd name="connsiteY84" fmla="*/ 501147 h 1046508"/>
                  <a:gd name="connsiteX85" fmla="*/ 48816 w 1200744"/>
                  <a:gd name="connsiteY85" fmla="*/ 501147 h 1046508"/>
                  <a:gd name="connsiteX86" fmla="*/ 14298 w 1200744"/>
                  <a:gd name="connsiteY86" fmla="*/ 486849 h 1046508"/>
                  <a:gd name="connsiteX87" fmla="*/ 0 w 1200744"/>
                  <a:gd name="connsiteY87" fmla="*/ 452332 h 1046508"/>
                  <a:gd name="connsiteX88" fmla="*/ 14298 w 1200744"/>
                  <a:gd name="connsiteY88" fmla="*/ 417814 h 1046508"/>
                  <a:gd name="connsiteX89" fmla="*/ 48816 w 1200744"/>
                  <a:gd name="connsiteY89" fmla="*/ 403516 h 1046508"/>
                  <a:gd name="connsiteX90" fmla="*/ 59161 w 1200744"/>
                  <a:gd name="connsiteY90" fmla="*/ 403516 h 1046508"/>
                  <a:gd name="connsiteX91" fmla="*/ 59063 w 1200744"/>
                  <a:gd name="connsiteY91" fmla="*/ 291651 h 1046508"/>
                  <a:gd name="connsiteX92" fmla="*/ 48816 w 1200744"/>
                  <a:gd name="connsiteY92" fmla="*/ 291651 h 1046508"/>
                  <a:gd name="connsiteX93" fmla="*/ 14298 w 1200744"/>
                  <a:gd name="connsiteY93" fmla="*/ 277353 h 1046508"/>
                  <a:gd name="connsiteX94" fmla="*/ 0 w 1200744"/>
                  <a:gd name="connsiteY94" fmla="*/ 242836 h 1046508"/>
                  <a:gd name="connsiteX95" fmla="*/ 14298 w 1200744"/>
                  <a:gd name="connsiteY95" fmla="*/ 208318 h 1046508"/>
                  <a:gd name="connsiteX96" fmla="*/ 48816 w 1200744"/>
                  <a:gd name="connsiteY96" fmla="*/ 194020 h 1046508"/>
                  <a:gd name="connsiteX97" fmla="*/ 58977 w 1200744"/>
                  <a:gd name="connsiteY97" fmla="*/ 194020 h 1046508"/>
                  <a:gd name="connsiteX98" fmla="*/ 58806 w 1200744"/>
                  <a:gd name="connsiteY98"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78682 w 1200744"/>
                  <a:gd name="connsiteY34" fmla="*/ 240221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1157493 w 1200744"/>
                  <a:gd name="connsiteY45" fmla="*/ 347675 h 1046508"/>
                  <a:gd name="connsiteX46" fmla="*/ 1200471 w 1200744"/>
                  <a:gd name="connsiteY46" fmla="*/ 381525 h 1046508"/>
                  <a:gd name="connsiteX47" fmla="*/ 1200470 w 1200744"/>
                  <a:gd name="connsiteY47" fmla="*/ 381526 h 1046508"/>
                  <a:gd name="connsiteX48" fmla="*/ 1166620 w 1200744"/>
                  <a:gd name="connsiteY48" fmla="*/ 424503 h 1046508"/>
                  <a:gd name="connsiteX49" fmla="*/ 883444 w 1200744"/>
                  <a:gd name="connsiteY49" fmla="*/ 458146 h 1046508"/>
                  <a:gd name="connsiteX50" fmla="*/ 883444 w 1200744"/>
                  <a:gd name="connsiteY50" fmla="*/ 506141 h 1046508"/>
                  <a:gd name="connsiteX51" fmla="*/ 792956 w 1200744"/>
                  <a:gd name="connsiteY51" fmla="*/ 516892 h 1046508"/>
                  <a:gd name="connsiteX52" fmla="*/ 792956 w 1200744"/>
                  <a:gd name="connsiteY52" fmla="*/ 468897 h 1046508"/>
                  <a:gd name="connsiteX53" fmla="*/ 688181 w 1200744"/>
                  <a:gd name="connsiteY53" fmla="*/ 481345 h 1046508"/>
                  <a:gd name="connsiteX54" fmla="*/ 688181 w 1200744"/>
                  <a:gd name="connsiteY54" fmla="*/ 529340 h 1046508"/>
                  <a:gd name="connsiteX55" fmla="*/ 418176 w 1200744"/>
                  <a:gd name="connsiteY55" fmla="*/ 561418 h 1046508"/>
                  <a:gd name="connsiteX56" fmla="*/ 392350 w 1200744"/>
                  <a:gd name="connsiteY56" fmla="*/ 575897 h 1046508"/>
                  <a:gd name="connsiteX57" fmla="*/ 384326 w 1200744"/>
                  <a:gd name="connsiteY57" fmla="*/ 604396 h 1046508"/>
                  <a:gd name="connsiteX58" fmla="*/ 398804 w 1200744"/>
                  <a:gd name="connsiteY58" fmla="*/ 630221 h 1046508"/>
                  <a:gd name="connsiteX59" fmla="*/ 427304 w 1200744"/>
                  <a:gd name="connsiteY59" fmla="*/ 638245 h 1046508"/>
                  <a:gd name="connsiteX60" fmla="*/ 1104900 w 1200744"/>
                  <a:gd name="connsiteY60" fmla="*/ 557742 h 1046508"/>
                  <a:gd name="connsiteX61" fmla="*/ 1104900 w 1200744"/>
                  <a:gd name="connsiteY61" fmla="*/ 558713 h 1046508"/>
                  <a:gd name="connsiteX62" fmla="*/ 1157491 w 1200744"/>
                  <a:gd name="connsiteY62" fmla="*/ 552464 h 1046508"/>
                  <a:gd name="connsiteX63" fmla="*/ 1200469 w 1200744"/>
                  <a:gd name="connsiteY63" fmla="*/ 586314 h 1046508"/>
                  <a:gd name="connsiteX64" fmla="*/ 1200468 w 1200744"/>
                  <a:gd name="connsiteY64" fmla="*/ 586314 h 1046508"/>
                  <a:gd name="connsiteX65" fmla="*/ 1166618 w 1200744"/>
                  <a:gd name="connsiteY65" fmla="*/ 629292 h 1046508"/>
                  <a:gd name="connsiteX66" fmla="*/ 1104900 w 1200744"/>
                  <a:gd name="connsiteY66" fmla="*/ 636624 h 1046508"/>
                  <a:gd name="connsiteX67" fmla="*/ 1104900 w 1200744"/>
                  <a:gd name="connsiteY67" fmla="*/ 817908 h 1046508"/>
                  <a:gd name="connsiteX68" fmla="*/ 971550 w 1200744"/>
                  <a:gd name="connsiteY68" fmla="*/ 946496 h 1046508"/>
                  <a:gd name="connsiteX69" fmla="*/ 752889 w 1200744"/>
                  <a:gd name="connsiteY69" fmla="*/ 946496 h 1046508"/>
                  <a:gd name="connsiteX70" fmla="*/ 749140 w 1200744"/>
                  <a:gd name="connsiteY70" fmla="*/ 965065 h 1046508"/>
                  <a:gd name="connsiteX71" fmla="*/ 626271 w 1200744"/>
                  <a:gd name="connsiteY71" fmla="*/ 1046508 h 1046508"/>
                  <a:gd name="connsiteX72" fmla="*/ 533770 w 1200744"/>
                  <a:gd name="connsiteY72" fmla="*/ 1046508 h 1046508"/>
                  <a:gd name="connsiteX73" fmla="*/ 410901 w 1200744"/>
                  <a:gd name="connsiteY73" fmla="*/ 965065 h 1046508"/>
                  <a:gd name="connsiteX74" fmla="*/ 407153 w 1200744"/>
                  <a:gd name="connsiteY74" fmla="*/ 946496 h 1046508"/>
                  <a:gd name="connsiteX75" fmla="*/ 190500 w 1200744"/>
                  <a:gd name="connsiteY75" fmla="*/ 946496 h 1046508"/>
                  <a:gd name="connsiteX76" fmla="*/ 59532 w 1200744"/>
                  <a:gd name="connsiteY76" fmla="*/ 825052 h 1046508"/>
                  <a:gd name="connsiteX77" fmla="*/ 59432 w 1200744"/>
                  <a:gd name="connsiteY77" fmla="*/ 710643 h 1046508"/>
                  <a:gd name="connsiteX78" fmla="*/ 48816 w 1200744"/>
                  <a:gd name="connsiteY78" fmla="*/ 710643 h 1046508"/>
                  <a:gd name="connsiteX79" fmla="*/ 14298 w 1200744"/>
                  <a:gd name="connsiteY79" fmla="*/ 696345 h 1046508"/>
                  <a:gd name="connsiteX80" fmla="*/ 0 w 1200744"/>
                  <a:gd name="connsiteY80" fmla="*/ 661828 h 1046508"/>
                  <a:gd name="connsiteX81" fmla="*/ 14298 w 1200744"/>
                  <a:gd name="connsiteY81" fmla="*/ 627310 h 1046508"/>
                  <a:gd name="connsiteX82" fmla="*/ 48816 w 1200744"/>
                  <a:gd name="connsiteY82" fmla="*/ 613012 h 1046508"/>
                  <a:gd name="connsiteX83" fmla="*/ 59346 w 1200744"/>
                  <a:gd name="connsiteY83" fmla="*/ 613012 h 1046508"/>
                  <a:gd name="connsiteX84" fmla="*/ 59247 w 1200744"/>
                  <a:gd name="connsiteY84" fmla="*/ 501147 h 1046508"/>
                  <a:gd name="connsiteX85" fmla="*/ 48816 w 1200744"/>
                  <a:gd name="connsiteY85" fmla="*/ 501147 h 1046508"/>
                  <a:gd name="connsiteX86" fmla="*/ 14298 w 1200744"/>
                  <a:gd name="connsiteY86" fmla="*/ 486849 h 1046508"/>
                  <a:gd name="connsiteX87" fmla="*/ 0 w 1200744"/>
                  <a:gd name="connsiteY87" fmla="*/ 452332 h 1046508"/>
                  <a:gd name="connsiteX88" fmla="*/ 14298 w 1200744"/>
                  <a:gd name="connsiteY88" fmla="*/ 417814 h 1046508"/>
                  <a:gd name="connsiteX89" fmla="*/ 48816 w 1200744"/>
                  <a:gd name="connsiteY89" fmla="*/ 403516 h 1046508"/>
                  <a:gd name="connsiteX90" fmla="*/ 59161 w 1200744"/>
                  <a:gd name="connsiteY90" fmla="*/ 403516 h 1046508"/>
                  <a:gd name="connsiteX91" fmla="*/ 59063 w 1200744"/>
                  <a:gd name="connsiteY91" fmla="*/ 291651 h 1046508"/>
                  <a:gd name="connsiteX92" fmla="*/ 48816 w 1200744"/>
                  <a:gd name="connsiteY92" fmla="*/ 291651 h 1046508"/>
                  <a:gd name="connsiteX93" fmla="*/ 14298 w 1200744"/>
                  <a:gd name="connsiteY93" fmla="*/ 277353 h 1046508"/>
                  <a:gd name="connsiteX94" fmla="*/ 0 w 1200744"/>
                  <a:gd name="connsiteY94" fmla="*/ 242836 h 1046508"/>
                  <a:gd name="connsiteX95" fmla="*/ 14298 w 1200744"/>
                  <a:gd name="connsiteY95" fmla="*/ 208318 h 1046508"/>
                  <a:gd name="connsiteX96" fmla="*/ 48816 w 1200744"/>
                  <a:gd name="connsiteY96" fmla="*/ 194020 h 1046508"/>
                  <a:gd name="connsiteX97" fmla="*/ 58977 w 1200744"/>
                  <a:gd name="connsiteY97" fmla="*/ 194020 h 1046508"/>
                  <a:gd name="connsiteX98" fmla="*/ 58806 w 1200744"/>
                  <a:gd name="connsiteY98" fmla="*/ 0 h 1046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200744" h="1046508">
                    <a:moveTo>
                      <a:pt x="269392" y="583922"/>
                    </a:moveTo>
                    <a:cubicBezTo>
                      <a:pt x="247034" y="583922"/>
                      <a:pt x="228910" y="602046"/>
                      <a:pt x="228910" y="624404"/>
                    </a:cubicBezTo>
                    <a:cubicBezTo>
                      <a:pt x="228910" y="646762"/>
                      <a:pt x="247034" y="664886"/>
                      <a:pt x="269392" y="664886"/>
                    </a:cubicBezTo>
                    <a:cubicBezTo>
                      <a:pt x="291750" y="664886"/>
                      <a:pt x="309874" y="646762"/>
                      <a:pt x="309874" y="624404"/>
                    </a:cubicBezTo>
                    <a:cubicBezTo>
                      <a:pt x="309874" y="602046"/>
                      <a:pt x="291750" y="583922"/>
                      <a:pt x="269392" y="583922"/>
                    </a:cubicBezTo>
                    <a:close/>
                    <a:moveTo>
                      <a:pt x="269392" y="373750"/>
                    </a:moveTo>
                    <a:cubicBezTo>
                      <a:pt x="247034" y="373750"/>
                      <a:pt x="228910" y="391874"/>
                      <a:pt x="228910" y="414232"/>
                    </a:cubicBezTo>
                    <a:cubicBezTo>
                      <a:pt x="228910" y="436590"/>
                      <a:pt x="247034" y="454714"/>
                      <a:pt x="269392" y="454714"/>
                    </a:cubicBezTo>
                    <a:cubicBezTo>
                      <a:pt x="291750" y="454714"/>
                      <a:pt x="309874" y="436590"/>
                      <a:pt x="309874" y="414232"/>
                    </a:cubicBezTo>
                    <a:cubicBezTo>
                      <a:pt x="309874" y="391874"/>
                      <a:pt x="291750" y="373750"/>
                      <a:pt x="269392" y="373750"/>
                    </a:cubicBezTo>
                    <a:close/>
                    <a:moveTo>
                      <a:pt x="269392" y="163063"/>
                    </a:moveTo>
                    <a:cubicBezTo>
                      <a:pt x="247034" y="163063"/>
                      <a:pt x="228910" y="181187"/>
                      <a:pt x="228910" y="203545"/>
                    </a:cubicBezTo>
                    <a:cubicBezTo>
                      <a:pt x="228910" y="225903"/>
                      <a:pt x="247034" y="244027"/>
                      <a:pt x="269392" y="244027"/>
                    </a:cubicBezTo>
                    <a:cubicBezTo>
                      <a:pt x="291750" y="244027"/>
                      <a:pt x="309874" y="225903"/>
                      <a:pt x="309874" y="203545"/>
                    </a:cubicBezTo>
                    <a:cubicBezTo>
                      <a:pt x="309874" y="181187"/>
                      <a:pt x="291750" y="163063"/>
                      <a:pt x="269392" y="163063"/>
                    </a:cubicBezTo>
                    <a:close/>
                    <a:moveTo>
                      <a:pt x="797719" y="0"/>
                    </a:moveTo>
                    <a:lnTo>
                      <a:pt x="883444" y="0"/>
                    </a:lnTo>
                    <a:lnTo>
                      <a:pt x="883444" y="79897"/>
                    </a:lnTo>
                    <a:lnTo>
                      <a:pt x="797719" y="90082"/>
                    </a:lnTo>
                    <a:lnTo>
                      <a:pt x="797719" y="0"/>
                    </a:lnTo>
                    <a:close/>
                    <a:moveTo>
                      <a:pt x="58806" y="0"/>
                    </a:moveTo>
                    <a:lnTo>
                      <a:pt x="692944" y="0"/>
                    </a:lnTo>
                    <a:lnTo>
                      <a:pt x="692944" y="102530"/>
                    </a:lnTo>
                    <a:lnTo>
                      <a:pt x="418176" y="135174"/>
                    </a:lnTo>
                    <a:cubicBezTo>
                      <a:pt x="407569" y="136435"/>
                      <a:pt x="398476" y="141875"/>
                      <a:pt x="392350" y="149653"/>
                    </a:cubicBezTo>
                    <a:lnTo>
                      <a:pt x="384326" y="178152"/>
                    </a:lnTo>
                    <a:lnTo>
                      <a:pt x="398804" y="203977"/>
                    </a:lnTo>
                    <a:cubicBezTo>
                      <a:pt x="406582" y="210103"/>
                      <a:pt x="416696" y="213262"/>
                      <a:pt x="427304" y="212001"/>
                    </a:cubicBezTo>
                    <a:lnTo>
                      <a:pt x="1104900" y="131498"/>
                    </a:lnTo>
                    <a:lnTo>
                      <a:pt x="1104900" y="134851"/>
                    </a:lnTo>
                    <a:lnTo>
                      <a:pt x="1157493" y="128603"/>
                    </a:lnTo>
                    <a:cubicBezTo>
                      <a:pt x="1178709" y="126082"/>
                      <a:pt x="1197951" y="141237"/>
                      <a:pt x="1200471" y="162453"/>
                    </a:cubicBezTo>
                    <a:lnTo>
                      <a:pt x="1200470" y="162453"/>
                    </a:lnTo>
                    <a:cubicBezTo>
                      <a:pt x="1202991" y="183669"/>
                      <a:pt x="1187836" y="202910"/>
                      <a:pt x="1166620" y="205431"/>
                    </a:cubicBezTo>
                    <a:lnTo>
                      <a:pt x="878682" y="240221"/>
                    </a:lnTo>
                    <a:lnTo>
                      <a:pt x="883444" y="298972"/>
                    </a:lnTo>
                    <a:lnTo>
                      <a:pt x="792956" y="309723"/>
                    </a:lnTo>
                    <a:lnTo>
                      <a:pt x="792956" y="265459"/>
                    </a:lnTo>
                    <a:lnTo>
                      <a:pt x="688181" y="265459"/>
                    </a:lnTo>
                    <a:lnTo>
                      <a:pt x="688181" y="322171"/>
                    </a:lnTo>
                    <a:lnTo>
                      <a:pt x="418176" y="354249"/>
                    </a:lnTo>
                    <a:cubicBezTo>
                      <a:pt x="407569" y="355510"/>
                      <a:pt x="398476" y="360950"/>
                      <a:pt x="392350" y="368728"/>
                    </a:cubicBezTo>
                    <a:lnTo>
                      <a:pt x="384326" y="397227"/>
                    </a:lnTo>
                    <a:lnTo>
                      <a:pt x="398804" y="423052"/>
                    </a:lnTo>
                    <a:cubicBezTo>
                      <a:pt x="406582" y="429178"/>
                      <a:pt x="416696" y="432337"/>
                      <a:pt x="427304" y="431076"/>
                    </a:cubicBezTo>
                    <a:lnTo>
                      <a:pt x="1157493" y="347675"/>
                    </a:lnTo>
                    <a:cubicBezTo>
                      <a:pt x="1178709" y="345155"/>
                      <a:pt x="1197950" y="360310"/>
                      <a:pt x="1200471" y="381525"/>
                    </a:cubicBezTo>
                    <a:lnTo>
                      <a:pt x="1200470" y="381526"/>
                    </a:lnTo>
                    <a:cubicBezTo>
                      <a:pt x="1202991" y="402741"/>
                      <a:pt x="1187836" y="421983"/>
                      <a:pt x="1166620" y="424503"/>
                    </a:cubicBezTo>
                    <a:lnTo>
                      <a:pt x="883444" y="458146"/>
                    </a:lnTo>
                    <a:lnTo>
                      <a:pt x="883444" y="506141"/>
                    </a:lnTo>
                    <a:lnTo>
                      <a:pt x="792956" y="516892"/>
                    </a:lnTo>
                    <a:lnTo>
                      <a:pt x="792956" y="468897"/>
                    </a:lnTo>
                    <a:lnTo>
                      <a:pt x="688181" y="481345"/>
                    </a:lnTo>
                    <a:lnTo>
                      <a:pt x="688181" y="529340"/>
                    </a:lnTo>
                    <a:lnTo>
                      <a:pt x="418176" y="561418"/>
                    </a:lnTo>
                    <a:cubicBezTo>
                      <a:pt x="407569" y="562679"/>
                      <a:pt x="398476" y="568119"/>
                      <a:pt x="392350" y="575897"/>
                    </a:cubicBezTo>
                    <a:lnTo>
                      <a:pt x="384326" y="604396"/>
                    </a:lnTo>
                    <a:lnTo>
                      <a:pt x="398804" y="630221"/>
                    </a:lnTo>
                    <a:cubicBezTo>
                      <a:pt x="406582" y="636347"/>
                      <a:pt x="416696" y="639506"/>
                      <a:pt x="427304" y="638245"/>
                    </a:cubicBezTo>
                    <a:lnTo>
                      <a:pt x="1104900" y="557742"/>
                    </a:lnTo>
                    <a:lnTo>
                      <a:pt x="1104900" y="558713"/>
                    </a:lnTo>
                    <a:lnTo>
                      <a:pt x="1157491" y="552464"/>
                    </a:lnTo>
                    <a:cubicBezTo>
                      <a:pt x="1178707" y="549944"/>
                      <a:pt x="1197948" y="565099"/>
                      <a:pt x="1200469" y="586314"/>
                    </a:cubicBezTo>
                    <a:lnTo>
                      <a:pt x="1200468" y="586314"/>
                    </a:lnTo>
                    <a:cubicBezTo>
                      <a:pt x="1202989" y="607530"/>
                      <a:pt x="1187834" y="626772"/>
                      <a:pt x="1166618" y="629292"/>
                    </a:cubicBezTo>
                    <a:lnTo>
                      <a:pt x="1104900" y="636624"/>
                    </a:lnTo>
                    <a:lnTo>
                      <a:pt x="1104900" y="817908"/>
                    </a:lnTo>
                    <a:lnTo>
                      <a:pt x="971550" y="946496"/>
                    </a:lnTo>
                    <a:lnTo>
                      <a:pt x="752889" y="946496"/>
                    </a:lnTo>
                    <a:lnTo>
                      <a:pt x="749140" y="965065"/>
                    </a:lnTo>
                    <a:cubicBezTo>
                      <a:pt x="728897" y="1012926"/>
                      <a:pt x="681506" y="1046508"/>
                      <a:pt x="626271" y="1046508"/>
                    </a:cubicBezTo>
                    <a:lnTo>
                      <a:pt x="533770" y="1046508"/>
                    </a:lnTo>
                    <a:cubicBezTo>
                      <a:pt x="478536" y="1046508"/>
                      <a:pt x="431145" y="1012926"/>
                      <a:pt x="410901" y="965065"/>
                    </a:cubicBezTo>
                    <a:lnTo>
                      <a:pt x="407153" y="946496"/>
                    </a:lnTo>
                    <a:lnTo>
                      <a:pt x="190500" y="946496"/>
                    </a:lnTo>
                    <a:lnTo>
                      <a:pt x="59532" y="825052"/>
                    </a:lnTo>
                    <a:cubicBezTo>
                      <a:pt x="59499" y="786916"/>
                      <a:pt x="59465" y="748779"/>
                      <a:pt x="59432" y="710643"/>
                    </a:cubicBezTo>
                    <a:lnTo>
                      <a:pt x="48816" y="710643"/>
                    </a:lnTo>
                    <a:cubicBezTo>
                      <a:pt x="35336" y="710643"/>
                      <a:pt x="23132" y="705179"/>
                      <a:pt x="14298" y="696345"/>
                    </a:cubicBezTo>
                    <a:lnTo>
                      <a:pt x="0" y="661828"/>
                    </a:lnTo>
                    <a:lnTo>
                      <a:pt x="14298" y="627310"/>
                    </a:lnTo>
                    <a:cubicBezTo>
                      <a:pt x="23132" y="618476"/>
                      <a:pt x="35336" y="613012"/>
                      <a:pt x="48816" y="613012"/>
                    </a:cubicBezTo>
                    <a:lnTo>
                      <a:pt x="59346" y="613012"/>
                    </a:lnTo>
                    <a:cubicBezTo>
                      <a:pt x="59313" y="575724"/>
                      <a:pt x="59280" y="538435"/>
                      <a:pt x="59247" y="501147"/>
                    </a:cubicBezTo>
                    <a:lnTo>
                      <a:pt x="48816" y="501147"/>
                    </a:lnTo>
                    <a:cubicBezTo>
                      <a:pt x="35336" y="501147"/>
                      <a:pt x="23132" y="495683"/>
                      <a:pt x="14298" y="486849"/>
                    </a:cubicBezTo>
                    <a:lnTo>
                      <a:pt x="0" y="452332"/>
                    </a:lnTo>
                    <a:lnTo>
                      <a:pt x="14298" y="417814"/>
                    </a:lnTo>
                    <a:cubicBezTo>
                      <a:pt x="23132" y="408980"/>
                      <a:pt x="35336" y="403516"/>
                      <a:pt x="48816" y="403516"/>
                    </a:cubicBezTo>
                    <a:lnTo>
                      <a:pt x="59161" y="403516"/>
                    </a:lnTo>
                    <a:cubicBezTo>
                      <a:pt x="59128" y="366228"/>
                      <a:pt x="59096" y="328939"/>
                      <a:pt x="59063" y="291651"/>
                    </a:cubicBezTo>
                    <a:lnTo>
                      <a:pt x="48816" y="291651"/>
                    </a:lnTo>
                    <a:cubicBezTo>
                      <a:pt x="35336" y="291651"/>
                      <a:pt x="23132" y="286187"/>
                      <a:pt x="14298" y="277353"/>
                    </a:cubicBezTo>
                    <a:lnTo>
                      <a:pt x="0" y="242836"/>
                    </a:lnTo>
                    <a:lnTo>
                      <a:pt x="14298" y="208318"/>
                    </a:lnTo>
                    <a:cubicBezTo>
                      <a:pt x="23132" y="199484"/>
                      <a:pt x="35336" y="194020"/>
                      <a:pt x="48816" y="194020"/>
                    </a:cubicBezTo>
                    <a:lnTo>
                      <a:pt x="58977" y="194020"/>
                    </a:lnTo>
                    <a:lnTo>
                      <a:pt x="58806"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70" name="Freeform 169"/>
              <p:cNvSpPr/>
              <p:nvPr/>
            </p:nvSpPr>
            <p:spPr>
              <a:xfrm>
                <a:off x="4242295" y="1685754"/>
                <a:ext cx="3701002" cy="3743106"/>
              </a:xfrm>
              <a:custGeom>
                <a:avLst/>
                <a:gdLst>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0346 w 3701002"/>
                  <a:gd name="connsiteY11" fmla="*/ 3114359 h 3743106"/>
                  <a:gd name="connsiteX12" fmla="*/ 2659635 w 3701002"/>
                  <a:gd name="connsiteY12" fmla="*/ 3107286 h 3743106"/>
                  <a:gd name="connsiteX13" fmla="*/ 3122601 w 3701002"/>
                  <a:gd name="connsiteY13" fmla="*/ 2107732 h 3743106"/>
                  <a:gd name="connsiteX14" fmla="*/ 1850392 w 3701002"/>
                  <a:gd name="connsiteY14" fmla="*/ 812383 h 3743106"/>
                  <a:gd name="connsiteX15" fmla="*/ 578183 w 3701002"/>
                  <a:gd name="connsiteY15" fmla="*/ 2107732 h 3743106"/>
                  <a:gd name="connsiteX16" fmla="*/ 950805 w 3701002"/>
                  <a:gd name="connsiteY16" fmla="*/ 3023682 h 3743106"/>
                  <a:gd name="connsiteX17" fmla="*/ 1028685 w 3701002"/>
                  <a:gd name="connsiteY17" fmla="*/ 3095752 h 3743106"/>
                  <a:gd name="connsiteX18" fmla="*/ 1145044 w 3701002"/>
                  <a:gd name="connsiteY18" fmla="*/ 3252006 h 3743106"/>
                  <a:gd name="connsiteX19" fmla="*/ 1289824 w 3701002"/>
                  <a:gd name="connsiteY19" fmla="*/ 3549186 h 3743106"/>
                  <a:gd name="connsiteX20" fmla="*/ 1131709 w 3701002"/>
                  <a:gd name="connsiteY20" fmla="*/ 3739686 h 3743106"/>
                  <a:gd name="connsiteX21" fmla="*/ 881519 w 3701002"/>
                  <a:gd name="connsiteY21" fmla="*/ 3637451 h 3743106"/>
                  <a:gd name="connsiteX22" fmla="*/ 771664 w 3701002"/>
                  <a:gd name="connsiteY22" fmla="*/ 3290106 h 3743106"/>
                  <a:gd name="connsiteX23" fmla="*/ 377329 w 3701002"/>
                  <a:gd name="connsiteY23" fmla="*/ 3103416 h 3743106"/>
                  <a:gd name="connsiteX24" fmla="*/ 344944 w 3701002"/>
                  <a:gd name="connsiteY24" fmla="*/ 2482386 h 3743106"/>
                  <a:gd name="connsiteX25" fmla="*/ 139 w 3701002"/>
                  <a:gd name="connsiteY25" fmla="*/ 1970576 h 3743106"/>
                  <a:gd name="connsiteX26" fmla="*/ 451624 w 3701002"/>
                  <a:gd name="connsiteY26" fmla="*/ 1403521 h 3743106"/>
                  <a:gd name="connsiteX27" fmla="*/ 496709 w 3701002"/>
                  <a:gd name="connsiteY27" fmla="*/ 659301 h 3743106"/>
                  <a:gd name="connsiteX28" fmla="*/ 1199019 w 3701002"/>
                  <a:gd name="connsiteY28" fmla="*/ 517061 h 3743106"/>
                  <a:gd name="connsiteX29" fmla="*/ 1831479 w 3701002"/>
                  <a:gd name="connsiteY29"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028685 w 3701002"/>
                  <a:gd name="connsiteY16" fmla="*/ 3095752 h 3743106"/>
                  <a:gd name="connsiteX17" fmla="*/ 1145044 w 3701002"/>
                  <a:gd name="connsiteY17" fmla="*/ 3252006 h 3743106"/>
                  <a:gd name="connsiteX18" fmla="*/ 1289824 w 3701002"/>
                  <a:gd name="connsiteY18" fmla="*/ 3549186 h 3743106"/>
                  <a:gd name="connsiteX19" fmla="*/ 1131709 w 3701002"/>
                  <a:gd name="connsiteY19" fmla="*/ 3739686 h 3743106"/>
                  <a:gd name="connsiteX20" fmla="*/ 881519 w 3701002"/>
                  <a:gd name="connsiteY20" fmla="*/ 3637451 h 3743106"/>
                  <a:gd name="connsiteX21" fmla="*/ 771664 w 3701002"/>
                  <a:gd name="connsiteY21" fmla="*/ 3290106 h 3743106"/>
                  <a:gd name="connsiteX22" fmla="*/ 377329 w 3701002"/>
                  <a:gd name="connsiteY22" fmla="*/ 3103416 h 3743106"/>
                  <a:gd name="connsiteX23" fmla="*/ 344944 w 3701002"/>
                  <a:gd name="connsiteY23" fmla="*/ 2482386 h 3743106"/>
                  <a:gd name="connsiteX24" fmla="*/ 139 w 3701002"/>
                  <a:gd name="connsiteY24" fmla="*/ 1970576 h 3743106"/>
                  <a:gd name="connsiteX25" fmla="*/ 451624 w 3701002"/>
                  <a:gd name="connsiteY25" fmla="*/ 1403521 h 3743106"/>
                  <a:gd name="connsiteX26" fmla="*/ 496709 w 3701002"/>
                  <a:gd name="connsiteY26" fmla="*/ 659301 h 3743106"/>
                  <a:gd name="connsiteX27" fmla="*/ 1199019 w 3701002"/>
                  <a:gd name="connsiteY27" fmla="*/ 517061 h 3743106"/>
                  <a:gd name="connsiteX28" fmla="*/ 1831479 w 3701002"/>
                  <a:gd name="connsiteY28"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145044 w 3701002"/>
                  <a:gd name="connsiteY16" fmla="*/ 3252006 h 3743106"/>
                  <a:gd name="connsiteX17" fmla="*/ 1289824 w 3701002"/>
                  <a:gd name="connsiteY17" fmla="*/ 3549186 h 3743106"/>
                  <a:gd name="connsiteX18" fmla="*/ 1131709 w 3701002"/>
                  <a:gd name="connsiteY18" fmla="*/ 3739686 h 3743106"/>
                  <a:gd name="connsiteX19" fmla="*/ 881519 w 3701002"/>
                  <a:gd name="connsiteY19" fmla="*/ 3637451 h 3743106"/>
                  <a:gd name="connsiteX20" fmla="*/ 771664 w 3701002"/>
                  <a:gd name="connsiteY20" fmla="*/ 3290106 h 3743106"/>
                  <a:gd name="connsiteX21" fmla="*/ 377329 w 3701002"/>
                  <a:gd name="connsiteY21" fmla="*/ 3103416 h 3743106"/>
                  <a:gd name="connsiteX22" fmla="*/ 344944 w 3701002"/>
                  <a:gd name="connsiteY22" fmla="*/ 2482386 h 3743106"/>
                  <a:gd name="connsiteX23" fmla="*/ 139 w 3701002"/>
                  <a:gd name="connsiteY23" fmla="*/ 1970576 h 3743106"/>
                  <a:gd name="connsiteX24" fmla="*/ 451624 w 3701002"/>
                  <a:gd name="connsiteY24" fmla="*/ 1403521 h 3743106"/>
                  <a:gd name="connsiteX25" fmla="*/ 496709 w 3701002"/>
                  <a:gd name="connsiteY25" fmla="*/ 659301 h 3743106"/>
                  <a:gd name="connsiteX26" fmla="*/ 1199019 w 3701002"/>
                  <a:gd name="connsiteY26" fmla="*/ 517061 h 3743106"/>
                  <a:gd name="connsiteX27" fmla="*/ 1831479 w 3701002"/>
                  <a:gd name="connsiteY27"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145044 w 3701002"/>
                  <a:gd name="connsiteY16" fmla="*/ 3252006 h 3743106"/>
                  <a:gd name="connsiteX17" fmla="*/ 1289824 w 3701002"/>
                  <a:gd name="connsiteY17" fmla="*/ 3549186 h 3743106"/>
                  <a:gd name="connsiteX18" fmla="*/ 1131709 w 3701002"/>
                  <a:gd name="connsiteY18" fmla="*/ 3739686 h 3743106"/>
                  <a:gd name="connsiteX19" fmla="*/ 881519 w 3701002"/>
                  <a:gd name="connsiteY19" fmla="*/ 3637451 h 3743106"/>
                  <a:gd name="connsiteX20" fmla="*/ 771664 w 3701002"/>
                  <a:gd name="connsiteY20" fmla="*/ 3290106 h 3743106"/>
                  <a:gd name="connsiteX21" fmla="*/ 377329 w 3701002"/>
                  <a:gd name="connsiteY21" fmla="*/ 3103416 h 3743106"/>
                  <a:gd name="connsiteX22" fmla="*/ 344944 w 3701002"/>
                  <a:gd name="connsiteY22" fmla="*/ 2482386 h 3743106"/>
                  <a:gd name="connsiteX23" fmla="*/ 139 w 3701002"/>
                  <a:gd name="connsiteY23" fmla="*/ 1970576 h 3743106"/>
                  <a:gd name="connsiteX24" fmla="*/ 451624 w 3701002"/>
                  <a:gd name="connsiteY24" fmla="*/ 1403521 h 3743106"/>
                  <a:gd name="connsiteX25" fmla="*/ 496709 w 3701002"/>
                  <a:gd name="connsiteY25" fmla="*/ 659301 h 3743106"/>
                  <a:gd name="connsiteX26" fmla="*/ 1199019 w 3701002"/>
                  <a:gd name="connsiteY26" fmla="*/ 517061 h 3743106"/>
                  <a:gd name="connsiteX27" fmla="*/ 1831479 w 3701002"/>
                  <a:gd name="connsiteY27" fmla="*/ 171 h 3743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701002" h="3743106">
                    <a:moveTo>
                      <a:pt x="1831479" y="171"/>
                    </a:moveTo>
                    <a:cubicBezTo>
                      <a:pt x="2193958" y="-9460"/>
                      <a:pt x="2228989" y="388262"/>
                      <a:pt x="2478544" y="516426"/>
                    </a:cubicBezTo>
                    <a:cubicBezTo>
                      <a:pt x="2724924" y="638240"/>
                      <a:pt x="3031735" y="420753"/>
                      <a:pt x="3214509" y="673906"/>
                    </a:cubicBezTo>
                    <a:cubicBezTo>
                      <a:pt x="3397283" y="927059"/>
                      <a:pt x="3125874" y="1106394"/>
                      <a:pt x="3270389" y="1425746"/>
                    </a:cubicBezTo>
                    <a:cubicBezTo>
                      <a:pt x="3414904" y="1745098"/>
                      <a:pt x="3685678" y="1679112"/>
                      <a:pt x="3700601" y="1942319"/>
                    </a:cubicBezTo>
                    <a:cubicBezTo>
                      <a:pt x="3712349" y="2221401"/>
                      <a:pt x="3463112" y="2181714"/>
                      <a:pt x="3354844" y="2512866"/>
                    </a:cubicBezTo>
                    <a:cubicBezTo>
                      <a:pt x="3238639" y="2836081"/>
                      <a:pt x="3476765" y="2888309"/>
                      <a:pt x="3320872" y="3113258"/>
                    </a:cubicBezTo>
                    <a:cubicBezTo>
                      <a:pt x="3231655" y="3262007"/>
                      <a:pt x="3076132" y="3153476"/>
                      <a:pt x="2933839" y="3291059"/>
                    </a:cubicBezTo>
                    <a:cubicBezTo>
                      <a:pt x="2791546" y="3428642"/>
                      <a:pt x="2888756" y="3603161"/>
                      <a:pt x="2771914" y="3691109"/>
                    </a:cubicBezTo>
                    <a:cubicBezTo>
                      <a:pt x="2688410" y="3783819"/>
                      <a:pt x="2499817" y="3735717"/>
                      <a:pt x="2440444" y="3640626"/>
                    </a:cubicBezTo>
                    <a:cubicBezTo>
                      <a:pt x="2381071" y="3545535"/>
                      <a:pt x="2441714" y="3442506"/>
                      <a:pt x="2501404" y="3320586"/>
                    </a:cubicBezTo>
                    <a:lnTo>
                      <a:pt x="2659635" y="3107286"/>
                    </a:lnTo>
                    <a:cubicBezTo>
                      <a:pt x="2942380" y="2869700"/>
                      <a:pt x="3122601" y="2510145"/>
                      <a:pt x="3122601" y="2107732"/>
                    </a:cubicBezTo>
                    <a:cubicBezTo>
                      <a:pt x="3122601" y="1392331"/>
                      <a:pt x="2553014" y="812383"/>
                      <a:pt x="1850392" y="812383"/>
                    </a:cubicBezTo>
                    <a:cubicBezTo>
                      <a:pt x="1147770" y="812383"/>
                      <a:pt x="578183" y="1392331"/>
                      <a:pt x="578183" y="2107732"/>
                    </a:cubicBezTo>
                    <a:cubicBezTo>
                      <a:pt x="578183" y="2465433"/>
                      <a:pt x="720580" y="2789270"/>
                      <a:pt x="950805" y="3023682"/>
                    </a:cubicBezTo>
                    <a:cubicBezTo>
                      <a:pt x="1039364" y="3104553"/>
                      <a:pt x="1080298" y="3175898"/>
                      <a:pt x="1145044" y="3252006"/>
                    </a:cubicBezTo>
                    <a:cubicBezTo>
                      <a:pt x="1213624" y="3361226"/>
                      <a:pt x="1292047" y="3467906"/>
                      <a:pt x="1289824" y="3549186"/>
                    </a:cubicBezTo>
                    <a:cubicBezTo>
                      <a:pt x="1287602" y="3630466"/>
                      <a:pt x="1199760" y="3724975"/>
                      <a:pt x="1131709" y="3739686"/>
                    </a:cubicBezTo>
                    <a:cubicBezTo>
                      <a:pt x="1063658" y="3754397"/>
                      <a:pt x="935176" y="3721906"/>
                      <a:pt x="881519" y="3637451"/>
                    </a:cubicBezTo>
                    <a:cubicBezTo>
                      <a:pt x="827862" y="3552996"/>
                      <a:pt x="922371" y="3429912"/>
                      <a:pt x="771664" y="3290106"/>
                    </a:cubicBezTo>
                    <a:cubicBezTo>
                      <a:pt x="620957" y="3150300"/>
                      <a:pt x="489724" y="3259626"/>
                      <a:pt x="377329" y="3103416"/>
                    </a:cubicBezTo>
                    <a:cubicBezTo>
                      <a:pt x="245884" y="2847193"/>
                      <a:pt x="472103" y="2764062"/>
                      <a:pt x="344944" y="2482386"/>
                    </a:cubicBezTo>
                    <a:cubicBezTo>
                      <a:pt x="189211" y="2141178"/>
                      <a:pt x="8552" y="2246432"/>
                      <a:pt x="139" y="1970576"/>
                    </a:cubicBezTo>
                    <a:cubicBezTo>
                      <a:pt x="-7481" y="1701865"/>
                      <a:pt x="299012" y="1730017"/>
                      <a:pt x="451624" y="1403521"/>
                    </a:cubicBezTo>
                    <a:cubicBezTo>
                      <a:pt x="528036" y="943675"/>
                      <a:pt x="318168" y="908644"/>
                      <a:pt x="496709" y="659301"/>
                    </a:cubicBezTo>
                    <a:cubicBezTo>
                      <a:pt x="675250" y="409958"/>
                      <a:pt x="956978" y="650728"/>
                      <a:pt x="1199019" y="517061"/>
                    </a:cubicBezTo>
                    <a:cubicBezTo>
                      <a:pt x="1485510" y="418319"/>
                      <a:pt x="1469000" y="9802"/>
                      <a:pt x="1831479" y="171"/>
                    </a:cubicBez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grpSp>
      </p:grpSp>
      <p:sp>
        <p:nvSpPr>
          <p:cNvPr id="171" name="TextBox 170"/>
          <p:cNvSpPr txBox="1"/>
          <p:nvPr/>
        </p:nvSpPr>
        <p:spPr>
          <a:xfrm>
            <a:off x="452622" y="4923333"/>
            <a:ext cx="870751" cy="523220"/>
          </a:xfrm>
          <a:prstGeom prst="rect">
            <a:avLst/>
          </a:prstGeom>
          <a:solidFill>
            <a:schemeClr val="bg1"/>
          </a:solidFill>
        </p:spPr>
        <p:txBody>
          <a:bodyPr wrap="none" rtlCol="0">
            <a:spAutoFit/>
          </a:bodyPr>
          <a:lstStyle>
            <a:defPPr>
              <a:defRPr lang="en-US"/>
            </a:defPPr>
            <a:lvl1pPr defTabSz="914377" fontAlgn="base">
              <a:spcBef>
                <a:spcPct val="0"/>
              </a:spcBef>
              <a:spcAft>
                <a:spcPct val="0"/>
              </a:spcAft>
              <a:defRPr sz="2000" b="1" kern="0">
                <a:solidFill>
                  <a:schemeClr val="accent1"/>
                </a:solidFill>
                <a:cs typeface="Arial" charset="0"/>
              </a:defRPr>
            </a:lvl1p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a:ln>
                  <a:noFill/>
                </a:ln>
                <a:solidFill>
                  <a:srgbClr val="0066A1"/>
                </a:solidFill>
                <a:effectLst/>
                <a:uLnTx/>
                <a:uFillTx/>
                <a:latin typeface="+mj-lt"/>
                <a:ea typeface="+mn-ea"/>
                <a:cs typeface="Arial" charset="0"/>
              </a:rPr>
              <a:t>78%</a:t>
            </a:r>
          </a:p>
        </p:txBody>
      </p:sp>
      <p:sp>
        <p:nvSpPr>
          <p:cNvPr id="172" name="Rectangle 171"/>
          <p:cNvSpPr/>
          <p:nvPr/>
        </p:nvSpPr>
        <p:spPr>
          <a:xfrm>
            <a:off x="3561008" y="5396861"/>
            <a:ext cx="1980000" cy="307777"/>
          </a:xfrm>
          <a:prstGeom prst="rect">
            <a:avLst/>
          </a:prstGeom>
        </p:spPr>
        <p:txBody>
          <a:bodyPr wrap="square">
            <a:sp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prstClr val="black"/>
                </a:solidFill>
                <a:effectLst/>
                <a:uLnTx/>
                <a:uFillTx/>
                <a:latin typeface="+mj-lt"/>
                <a:ea typeface="+mn-ea"/>
                <a:cs typeface="Segoe UI Semilight" panose="020B0402040204020203" pitchFamily="34" charset="0"/>
              </a:rPr>
              <a:t>Net Promoter Score</a:t>
            </a:r>
          </a:p>
        </p:txBody>
      </p:sp>
      <p:sp>
        <p:nvSpPr>
          <p:cNvPr id="173" name="TextBox 172"/>
          <p:cNvSpPr txBox="1"/>
          <p:nvPr/>
        </p:nvSpPr>
        <p:spPr>
          <a:xfrm>
            <a:off x="3607855" y="4951469"/>
            <a:ext cx="1624163" cy="461665"/>
          </a:xfrm>
          <a:prstGeom prst="rect">
            <a:avLst/>
          </a:prstGeom>
          <a:solidFill>
            <a:schemeClr val="bg1"/>
          </a:solidFill>
        </p:spPr>
        <p:txBody>
          <a:bodyPr wrap="none" rtlCol="0">
            <a:spAutoFit/>
          </a:bodyPr>
          <a:lstStyle>
            <a:defPPr>
              <a:defRPr lang="en-US"/>
            </a:defPPr>
            <a:lvl1pPr defTabSz="914377" fontAlgn="base">
              <a:spcBef>
                <a:spcPct val="0"/>
              </a:spcBef>
              <a:spcAft>
                <a:spcPct val="0"/>
              </a:spcAft>
              <a:defRPr sz="2000" b="1" kern="0">
                <a:solidFill>
                  <a:schemeClr val="accent1"/>
                </a:solidFill>
                <a:cs typeface="Arial" charset="0"/>
              </a:defRPr>
            </a:lvl1p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2400" b="1" i="0" u="none" strike="noStrike" kern="0" cap="none" spc="0" normalizeH="0" baseline="0" noProof="0">
                <a:ln>
                  <a:noFill/>
                </a:ln>
                <a:solidFill>
                  <a:srgbClr val="0066A1"/>
                </a:solidFill>
                <a:effectLst/>
                <a:uLnTx/>
                <a:uFillTx/>
                <a:latin typeface="+mj-lt"/>
                <a:ea typeface="+mn-ea"/>
                <a:cs typeface="Arial" charset="0"/>
              </a:rPr>
              <a:t>Increased</a:t>
            </a:r>
            <a:endParaRPr kumimoji="0" lang="en-US" sz="2800" b="1" i="0" u="none" strike="noStrike" kern="0" cap="none" spc="0" normalizeH="0" baseline="0" noProof="0">
              <a:ln>
                <a:noFill/>
              </a:ln>
              <a:solidFill>
                <a:srgbClr val="0066A1"/>
              </a:solidFill>
              <a:effectLst/>
              <a:uLnTx/>
              <a:uFillTx/>
              <a:latin typeface="+mj-lt"/>
              <a:ea typeface="+mn-ea"/>
              <a:cs typeface="Arial" charset="0"/>
            </a:endParaRPr>
          </a:p>
        </p:txBody>
      </p:sp>
      <p:sp>
        <p:nvSpPr>
          <p:cNvPr id="174" name="Rectangle 173">
            <a:extLst>
              <a:ext uri="{FF2B5EF4-FFF2-40B4-BE49-F238E27FC236}">
                <a16:creationId xmlns:a16="http://schemas.microsoft.com/office/drawing/2014/main" id="{DEA3F0F7-1F24-4CD4-B1C3-B5D3064A10E0}"/>
              </a:ext>
            </a:extLst>
          </p:cNvPr>
          <p:cNvSpPr/>
          <p:nvPr/>
        </p:nvSpPr>
        <p:spPr bwMode="auto">
          <a:xfrm>
            <a:off x="6398204" y="3644824"/>
            <a:ext cx="5222296" cy="457200"/>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123" fontAlgn="base">
              <a:spcBef>
                <a:spcPct val="0"/>
              </a:spcBef>
              <a:spcAft>
                <a:spcPct val="0"/>
              </a:spcAft>
              <a:defRPr/>
            </a:pPr>
            <a:r>
              <a:rPr lang="en-US" sz="1400" kern="0">
                <a:solidFill>
                  <a:prstClr val="black"/>
                </a:solidFill>
                <a:cs typeface="Arial" panose="020B0604020202020204" pitchFamily="34" charset="0"/>
              </a:rPr>
              <a:t>Innovative per policy pricing model for managing the closed book after transition to modern platform</a:t>
            </a:r>
          </a:p>
        </p:txBody>
      </p:sp>
      <p:grpSp>
        <p:nvGrpSpPr>
          <p:cNvPr id="175" name="Group 174">
            <a:extLst>
              <a:ext uri="{FF2B5EF4-FFF2-40B4-BE49-F238E27FC236}">
                <a16:creationId xmlns:a16="http://schemas.microsoft.com/office/drawing/2014/main" id="{5B27CF8D-17DA-4906-ADAC-DFDBF593C872}"/>
              </a:ext>
            </a:extLst>
          </p:cNvPr>
          <p:cNvGrpSpPr/>
          <p:nvPr/>
        </p:nvGrpSpPr>
        <p:grpSpPr>
          <a:xfrm>
            <a:off x="5840168" y="3011220"/>
            <a:ext cx="474070" cy="474070"/>
            <a:chOff x="6447430" y="2675492"/>
            <a:chExt cx="474070" cy="474070"/>
          </a:xfrm>
        </p:grpSpPr>
        <p:sp>
          <p:nvSpPr>
            <p:cNvPr id="176" name="Oval 175">
              <a:extLst>
                <a:ext uri="{FF2B5EF4-FFF2-40B4-BE49-F238E27FC236}">
                  <a16:creationId xmlns:a16="http://schemas.microsoft.com/office/drawing/2014/main" id="{C1906004-8552-457C-BC3B-BFD16942623D}"/>
                </a:ext>
              </a:extLst>
            </p:cNvPr>
            <p:cNvSpPr/>
            <p:nvPr/>
          </p:nvSpPr>
          <p:spPr>
            <a:xfrm>
              <a:off x="6447430" y="2675492"/>
              <a:ext cx="474070" cy="474070"/>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white"/>
                </a:solidFill>
                <a:effectLst/>
                <a:uLnTx/>
                <a:uFillTx/>
                <a:latin typeface="+mj-lt"/>
                <a:ea typeface="+mn-ea"/>
                <a:cs typeface="+mn-cs"/>
              </a:endParaRPr>
            </a:p>
          </p:txBody>
        </p:sp>
        <p:grpSp>
          <p:nvGrpSpPr>
            <p:cNvPr id="177" name="Group 176">
              <a:extLst>
                <a:ext uri="{FF2B5EF4-FFF2-40B4-BE49-F238E27FC236}">
                  <a16:creationId xmlns:a16="http://schemas.microsoft.com/office/drawing/2014/main" id="{49D975FC-F0E2-43E3-A95F-7DAEC58DD37B}"/>
                </a:ext>
              </a:extLst>
            </p:cNvPr>
            <p:cNvGrpSpPr/>
            <p:nvPr/>
          </p:nvGrpSpPr>
          <p:grpSpPr>
            <a:xfrm>
              <a:off x="6518177" y="2715380"/>
              <a:ext cx="333474" cy="369626"/>
              <a:chOff x="3114466" y="105602"/>
              <a:chExt cx="5971657" cy="6619048"/>
            </a:xfrm>
            <a:solidFill>
              <a:schemeClr val="accent5"/>
            </a:solidFill>
          </p:grpSpPr>
          <p:sp>
            <p:nvSpPr>
              <p:cNvPr id="178" name="Oval 177">
                <a:extLst>
                  <a:ext uri="{FF2B5EF4-FFF2-40B4-BE49-F238E27FC236}">
                    <a16:creationId xmlns:a16="http://schemas.microsoft.com/office/drawing/2014/main" id="{582C2A49-0A25-430A-8421-569C4BA0014F}"/>
                  </a:ext>
                </a:extLst>
              </p:cNvPr>
              <p:cNvSpPr/>
              <p:nvPr/>
            </p:nvSpPr>
            <p:spPr>
              <a:xfrm>
                <a:off x="5744819" y="745435"/>
                <a:ext cx="695738" cy="695738"/>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79" name="Oval 178">
                <a:extLst>
                  <a:ext uri="{FF2B5EF4-FFF2-40B4-BE49-F238E27FC236}">
                    <a16:creationId xmlns:a16="http://schemas.microsoft.com/office/drawing/2014/main" id="{BB7AE4C9-E13B-4327-9A4C-10CE943F49FE}"/>
                  </a:ext>
                </a:extLst>
              </p:cNvPr>
              <p:cNvSpPr/>
              <p:nvPr/>
            </p:nvSpPr>
            <p:spPr>
              <a:xfrm>
                <a:off x="6626711" y="1319213"/>
                <a:ext cx="628234" cy="62823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80" name="Oval 179">
                <a:extLst>
                  <a:ext uri="{FF2B5EF4-FFF2-40B4-BE49-F238E27FC236}">
                    <a16:creationId xmlns:a16="http://schemas.microsoft.com/office/drawing/2014/main" id="{A76F60AB-6CC9-48DA-B413-9A39C0684C4E}"/>
                  </a:ext>
                </a:extLst>
              </p:cNvPr>
              <p:cNvSpPr/>
              <p:nvPr/>
            </p:nvSpPr>
            <p:spPr>
              <a:xfrm>
                <a:off x="4921736" y="1319213"/>
                <a:ext cx="628234" cy="62823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81" name="Oval 180">
                <a:extLst>
                  <a:ext uri="{FF2B5EF4-FFF2-40B4-BE49-F238E27FC236}">
                    <a16:creationId xmlns:a16="http://schemas.microsoft.com/office/drawing/2014/main" id="{AA772459-D704-4E28-AA19-E8839F2BA4F4}"/>
                  </a:ext>
                </a:extLst>
              </p:cNvPr>
              <p:cNvSpPr/>
              <p:nvPr/>
            </p:nvSpPr>
            <p:spPr>
              <a:xfrm>
                <a:off x="4140684" y="1766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82" name="Oval 181">
                <a:extLst>
                  <a:ext uri="{FF2B5EF4-FFF2-40B4-BE49-F238E27FC236}">
                    <a16:creationId xmlns:a16="http://schemas.microsoft.com/office/drawing/2014/main" id="{DC9496F0-90F0-460F-BA03-7F13902E58FD}"/>
                  </a:ext>
                </a:extLst>
              </p:cNvPr>
              <p:cNvSpPr/>
              <p:nvPr/>
            </p:nvSpPr>
            <p:spPr>
              <a:xfrm>
                <a:off x="7510049" y="1766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83" name="Oval 182">
                <a:extLst>
                  <a:ext uri="{FF2B5EF4-FFF2-40B4-BE49-F238E27FC236}">
                    <a16:creationId xmlns:a16="http://schemas.microsoft.com/office/drawing/2014/main" id="{381A935A-494B-4BA0-B643-514EB13F2ADC}"/>
                  </a:ext>
                </a:extLst>
              </p:cNvPr>
              <p:cNvSpPr/>
              <p:nvPr/>
            </p:nvSpPr>
            <p:spPr>
              <a:xfrm>
                <a:off x="7716285" y="2579410"/>
                <a:ext cx="612706" cy="61270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84" name="Oval 183">
                <a:extLst>
                  <a:ext uri="{FF2B5EF4-FFF2-40B4-BE49-F238E27FC236}">
                    <a16:creationId xmlns:a16="http://schemas.microsoft.com/office/drawing/2014/main" id="{AAA7D455-0A4E-4C6D-803D-B31A6ACCA836}"/>
                  </a:ext>
                </a:extLst>
              </p:cNvPr>
              <p:cNvSpPr/>
              <p:nvPr/>
            </p:nvSpPr>
            <p:spPr>
              <a:xfrm>
                <a:off x="3849963" y="2569471"/>
                <a:ext cx="612706" cy="61270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85" name="Oval 184">
                <a:extLst>
                  <a:ext uri="{FF2B5EF4-FFF2-40B4-BE49-F238E27FC236}">
                    <a16:creationId xmlns:a16="http://schemas.microsoft.com/office/drawing/2014/main" id="{C4F72A79-19A9-4399-B42D-BBD925F27468}"/>
                  </a:ext>
                </a:extLst>
              </p:cNvPr>
              <p:cNvSpPr/>
              <p:nvPr/>
            </p:nvSpPr>
            <p:spPr>
              <a:xfrm>
                <a:off x="3740632" y="1416532"/>
                <a:ext cx="394046" cy="39404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86" name="Oval 185">
                <a:extLst>
                  <a:ext uri="{FF2B5EF4-FFF2-40B4-BE49-F238E27FC236}">
                    <a16:creationId xmlns:a16="http://schemas.microsoft.com/office/drawing/2014/main" id="{88B290DE-5F8C-413E-A56C-5AF4924A1E03}"/>
                  </a:ext>
                </a:extLst>
              </p:cNvPr>
              <p:cNvSpPr/>
              <p:nvPr/>
            </p:nvSpPr>
            <p:spPr>
              <a:xfrm>
                <a:off x="8054215" y="1416532"/>
                <a:ext cx="394046" cy="39404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87" name="Oval 186">
                <a:extLst>
                  <a:ext uri="{FF2B5EF4-FFF2-40B4-BE49-F238E27FC236}">
                    <a16:creationId xmlns:a16="http://schemas.microsoft.com/office/drawing/2014/main" id="{7C53C2D2-4A6F-4129-A358-125E7C3D89DC}"/>
                  </a:ext>
                </a:extLst>
              </p:cNvPr>
              <p:cNvSpPr/>
              <p:nvPr/>
            </p:nvSpPr>
            <p:spPr>
              <a:xfrm>
                <a:off x="5878581" y="105602"/>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88" name="Oval 187">
                <a:extLst>
                  <a:ext uri="{FF2B5EF4-FFF2-40B4-BE49-F238E27FC236}">
                    <a16:creationId xmlns:a16="http://schemas.microsoft.com/office/drawing/2014/main" id="{DC91EE25-2F45-4A2F-A6E5-56F5D725D10C}"/>
                  </a:ext>
                </a:extLst>
              </p:cNvPr>
              <p:cNvSpPr/>
              <p:nvPr/>
            </p:nvSpPr>
            <p:spPr>
              <a:xfrm>
                <a:off x="3114466" y="3419473"/>
                <a:ext cx="319296" cy="31929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89" name="Oval 188">
                <a:extLst>
                  <a:ext uri="{FF2B5EF4-FFF2-40B4-BE49-F238E27FC236}">
                    <a16:creationId xmlns:a16="http://schemas.microsoft.com/office/drawing/2014/main" id="{B7FEB5AA-D415-48A7-9EB2-66E506E305CC}"/>
                  </a:ext>
                </a:extLst>
              </p:cNvPr>
              <p:cNvSpPr/>
              <p:nvPr/>
            </p:nvSpPr>
            <p:spPr>
              <a:xfrm>
                <a:off x="3794675" y="5116270"/>
                <a:ext cx="282026" cy="28202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90" name="Oval 189">
                <a:extLst>
                  <a:ext uri="{FF2B5EF4-FFF2-40B4-BE49-F238E27FC236}">
                    <a16:creationId xmlns:a16="http://schemas.microsoft.com/office/drawing/2014/main" id="{3E932A8C-F7F2-47E7-B1C8-08783227DE91}"/>
                  </a:ext>
                </a:extLst>
              </p:cNvPr>
              <p:cNvSpPr/>
              <p:nvPr/>
            </p:nvSpPr>
            <p:spPr>
              <a:xfrm>
                <a:off x="4640020" y="5060156"/>
                <a:ext cx="342902" cy="3429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91" name="Oval 190">
                <a:extLst>
                  <a:ext uri="{FF2B5EF4-FFF2-40B4-BE49-F238E27FC236}">
                    <a16:creationId xmlns:a16="http://schemas.microsoft.com/office/drawing/2014/main" id="{3BD5891B-7257-4382-ACE6-C890403935B8}"/>
                  </a:ext>
                </a:extLst>
              </p:cNvPr>
              <p:cNvSpPr/>
              <p:nvPr/>
            </p:nvSpPr>
            <p:spPr>
              <a:xfrm>
                <a:off x="4155592" y="4790040"/>
                <a:ext cx="373546" cy="37354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92" name="Oval 191">
                <a:extLst>
                  <a:ext uri="{FF2B5EF4-FFF2-40B4-BE49-F238E27FC236}">
                    <a16:creationId xmlns:a16="http://schemas.microsoft.com/office/drawing/2014/main" id="{CCF119B0-5515-4C3B-90C9-0268BB6C7D80}"/>
                  </a:ext>
                </a:extLst>
              </p:cNvPr>
              <p:cNvSpPr/>
              <p:nvPr/>
            </p:nvSpPr>
            <p:spPr>
              <a:xfrm>
                <a:off x="3892206" y="4042948"/>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93" name="Oval 192">
                <a:extLst>
                  <a:ext uri="{FF2B5EF4-FFF2-40B4-BE49-F238E27FC236}">
                    <a16:creationId xmlns:a16="http://schemas.microsoft.com/office/drawing/2014/main" id="{60CB4473-FCE3-49F4-B06F-90A4F040D5B4}"/>
                  </a:ext>
                </a:extLst>
              </p:cNvPr>
              <p:cNvSpPr/>
              <p:nvPr/>
            </p:nvSpPr>
            <p:spPr>
              <a:xfrm>
                <a:off x="7758528" y="4052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94" name="Oval 193">
                <a:extLst>
                  <a:ext uri="{FF2B5EF4-FFF2-40B4-BE49-F238E27FC236}">
                    <a16:creationId xmlns:a16="http://schemas.microsoft.com/office/drawing/2014/main" id="{F161FB60-86B9-46B0-8247-D6B041C9B10E}"/>
                  </a:ext>
                </a:extLst>
              </p:cNvPr>
              <p:cNvSpPr/>
              <p:nvPr/>
            </p:nvSpPr>
            <p:spPr>
              <a:xfrm>
                <a:off x="3632338" y="3395454"/>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95" name="Oval 194">
                <a:extLst>
                  <a:ext uri="{FF2B5EF4-FFF2-40B4-BE49-F238E27FC236}">
                    <a16:creationId xmlns:a16="http://schemas.microsoft.com/office/drawing/2014/main" id="{A8F2BCFE-CC21-4BAB-8086-9AB2FF27FA3B}"/>
                  </a:ext>
                </a:extLst>
              </p:cNvPr>
              <p:cNvSpPr/>
              <p:nvPr/>
            </p:nvSpPr>
            <p:spPr>
              <a:xfrm>
                <a:off x="8122650" y="3395454"/>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96" name="Oval 195">
                <a:extLst>
                  <a:ext uri="{FF2B5EF4-FFF2-40B4-BE49-F238E27FC236}">
                    <a16:creationId xmlns:a16="http://schemas.microsoft.com/office/drawing/2014/main" id="{828106C5-2060-4629-ACF1-C765635601CB}"/>
                  </a:ext>
                </a:extLst>
              </p:cNvPr>
              <p:cNvSpPr/>
              <p:nvPr/>
            </p:nvSpPr>
            <p:spPr>
              <a:xfrm>
                <a:off x="8747366" y="3412330"/>
                <a:ext cx="338757" cy="338757"/>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97" name="Oval 196">
                <a:extLst>
                  <a:ext uri="{FF2B5EF4-FFF2-40B4-BE49-F238E27FC236}">
                    <a16:creationId xmlns:a16="http://schemas.microsoft.com/office/drawing/2014/main" id="{2665A624-591B-4E6B-A601-375B727027BE}"/>
                  </a:ext>
                </a:extLst>
              </p:cNvPr>
              <p:cNvSpPr/>
              <p:nvPr/>
            </p:nvSpPr>
            <p:spPr>
              <a:xfrm>
                <a:off x="7659444" y="4792108"/>
                <a:ext cx="372514" cy="37251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98" name="Oval 197">
                <a:extLst>
                  <a:ext uri="{FF2B5EF4-FFF2-40B4-BE49-F238E27FC236}">
                    <a16:creationId xmlns:a16="http://schemas.microsoft.com/office/drawing/2014/main" id="{41AAB086-87B8-4222-8C43-0DF599D84272}"/>
                  </a:ext>
                </a:extLst>
              </p:cNvPr>
              <p:cNvSpPr/>
              <p:nvPr/>
            </p:nvSpPr>
            <p:spPr>
              <a:xfrm>
                <a:off x="7208355" y="5062538"/>
                <a:ext cx="341242" cy="34124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99" name="Oval 198">
                <a:extLst>
                  <a:ext uri="{FF2B5EF4-FFF2-40B4-BE49-F238E27FC236}">
                    <a16:creationId xmlns:a16="http://schemas.microsoft.com/office/drawing/2014/main" id="{F9AF36BB-DC08-4CFF-915B-317FC9A8E5CE}"/>
                  </a:ext>
                </a:extLst>
              </p:cNvPr>
              <p:cNvSpPr/>
              <p:nvPr/>
            </p:nvSpPr>
            <p:spPr>
              <a:xfrm>
                <a:off x="8113230" y="5122069"/>
                <a:ext cx="274566" cy="27456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200" name="Freeform 87">
                <a:extLst>
                  <a:ext uri="{FF2B5EF4-FFF2-40B4-BE49-F238E27FC236}">
                    <a16:creationId xmlns:a16="http://schemas.microsoft.com/office/drawing/2014/main" id="{D547286C-0FEB-4FD5-BB1D-70D97E3447AE}"/>
                  </a:ext>
                </a:extLst>
              </p:cNvPr>
              <p:cNvSpPr/>
              <p:nvPr/>
            </p:nvSpPr>
            <p:spPr>
              <a:xfrm>
                <a:off x="5507831" y="5678142"/>
                <a:ext cx="1200744" cy="1046508"/>
              </a:xfrm>
              <a:custGeom>
                <a:avLst/>
                <a:gdLst>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58806 w 1200744"/>
                  <a:gd name="connsiteY19" fmla="*/ 0 h 1046508"/>
                  <a:gd name="connsiteX20" fmla="*/ 692944 w 1200744"/>
                  <a:gd name="connsiteY20" fmla="*/ 0 h 1046508"/>
                  <a:gd name="connsiteX21" fmla="*/ 692944 w 1200744"/>
                  <a:gd name="connsiteY21" fmla="*/ 102530 h 1046508"/>
                  <a:gd name="connsiteX22" fmla="*/ 418176 w 1200744"/>
                  <a:gd name="connsiteY22" fmla="*/ 135174 h 1046508"/>
                  <a:gd name="connsiteX23" fmla="*/ 392350 w 1200744"/>
                  <a:gd name="connsiteY23" fmla="*/ 149653 h 1046508"/>
                  <a:gd name="connsiteX24" fmla="*/ 384326 w 1200744"/>
                  <a:gd name="connsiteY24" fmla="*/ 178152 h 1046508"/>
                  <a:gd name="connsiteX25" fmla="*/ 398804 w 1200744"/>
                  <a:gd name="connsiteY25" fmla="*/ 203977 h 1046508"/>
                  <a:gd name="connsiteX26" fmla="*/ 427304 w 1200744"/>
                  <a:gd name="connsiteY26" fmla="*/ 212001 h 1046508"/>
                  <a:gd name="connsiteX27" fmla="*/ 1104900 w 1200744"/>
                  <a:gd name="connsiteY27" fmla="*/ 131498 h 1046508"/>
                  <a:gd name="connsiteX28" fmla="*/ 1104900 w 1200744"/>
                  <a:gd name="connsiteY28" fmla="*/ 134851 h 1046508"/>
                  <a:gd name="connsiteX29" fmla="*/ 1157493 w 1200744"/>
                  <a:gd name="connsiteY29" fmla="*/ 128603 h 1046508"/>
                  <a:gd name="connsiteX30" fmla="*/ 1200471 w 1200744"/>
                  <a:gd name="connsiteY30" fmla="*/ 162453 h 1046508"/>
                  <a:gd name="connsiteX31" fmla="*/ 1200470 w 1200744"/>
                  <a:gd name="connsiteY31" fmla="*/ 162453 h 1046508"/>
                  <a:gd name="connsiteX32" fmla="*/ 1166620 w 1200744"/>
                  <a:gd name="connsiteY32" fmla="*/ 205431 h 1046508"/>
                  <a:gd name="connsiteX33" fmla="*/ 892471 w 1200744"/>
                  <a:gd name="connsiteY33" fmla="*/ 238001 h 1046508"/>
                  <a:gd name="connsiteX34" fmla="*/ 883444 w 1200744"/>
                  <a:gd name="connsiteY34" fmla="*/ 235459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688181 w 1200744"/>
                  <a:gd name="connsiteY45" fmla="*/ 400083 h 1046508"/>
                  <a:gd name="connsiteX46" fmla="*/ 688181 w 1200744"/>
                  <a:gd name="connsiteY46" fmla="*/ 403433 h 1046508"/>
                  <a:gd name="connsiteX47" fmla="*/ 792956 w 1200744"/>
                  <a:gd name="connsiteY47" fmla="*/ 390985 h 1046508"/>
                  <a:gd name="connsiteX48" fmla="*/ 792956 w 1200744"/>
                  <a:gd name="connsiteY48" fmla="*/ 387635 h 1046508"/>
                  <a:gd name="connsiteX49" fmla="*/ 883444 w 1200744"/>
                  <a:gd name="connsiteY49" fmla="*/ 376884 h 1046508"/>
                  <a:gd name="connsiteX50" fmla="*/ 883444 w 1200744"/>
                  <a:gd name="connsiteY50" fmla="*/ 380235 h 1046508"/>
                  <a:gd name="connsiteX51" fmla="*/ 1157493 w 1200744"/>
                  <a:gd name="connsiteY51" fmla="*/ 347675 h 1046508"/>
                  <a:gd name="connsiteX52" fmla="*/ 1200471 w 1200744"/>
                  <a:gd name="connsiteY52" fmla="*/ 381525 h 1046508"/>
                  <a:gd name="connsiteX53" fmla="*/ 1200470 w 1200744"/>
                  <a:gd name="connsiteY53" fmla="*/ 381526 h 1046508"/>
                  <a:gd name="connsiteX54" fmla="*/ 1166620 w 1200744"/>
                  <a:gd name="connsiteY54" fmla="*/ 424503 h 1046508"/>
                  <a:gd name="connsiteX55" fmla="*/ 883444 w 1200744"/>
                  <a:gd name="connsiteY55" fmla="*/ 458146 h 1046508"/>
                  <a:gd name="connsiteX56" fmla="*/ 883444 w 1200744"/>
                  <a:gd name="connsiteY56" fmla="*/ 506141 h 1046508"/>
                  <a:gd name="connsiteX57" fmla="*/ 792956 w 1200744"/>
                  <a:gd name="connsiteY57" fmla="*/ 516892 h 1046508"/>
                  <a:gd name="connsiteX58" fmla="*/ 792956 w 1200744"/>
                  <a:gd name="connsiteY58" fmla="*/ 468897 h 1046508"/>
                  <a:gd name="connsiteX59" fmla="*/ 688181 w 1200744"/>
                  <a:gd name="connsiteY59" fmla="*/ 481345 h 1046508"/>
                  <a:gd name="connsiteX60" fmla="*/ 688181 w 1200744"/>
                  <a:gd name="connsiteY60" fmla="*/ 529340 h 1046508"/>
                  <a:gd name="connsiteX61" fmla="*/ 418176 w 1200744"/>
                  <a:gd name="connsiteY61" fmla="*/ 561418 h 1046508"/>
                  <a:gd name="connsiteX62" fmla="*/ 392350 w 1200744"/>
                  <a:gd name="connsiteY62" fmla="*/ 575897 h 1046508"/>
                  <a:gd name="connsiteX63" fmla="*/ 384326 w 1200744"/>
                  <a:gd name="connsiteY63" fmla="*/ 604396 h 1046508"/>
                  <a:gd name="connsiteX64" fmla="*/ 398804 w 1200744"/>
                  <a:gd name="connsiteY64" fmla="*/ 630221 h 1046508"/>
                  <a:gd name="connsiteX65" fmla="*/ 427304 w 1200744"/>
                  <a:gd name="connsiteY65" fmla="*/ 638245 h 1046508"/>
                  <a:gd name="connsiteX66" fmla="*/ 1104900 w 1200744"/>
                  <a:gd name="connsiteY66" fmla="*/ 557742 h 1046508"/>
                  <a:gd name="connsiteX67" fmla="*/ 1104900 w 1200744"/>
                  <a:gd name="connsiteY67" fmla="*/ 558713 h 1046508"/>
                  <a:gd name="connsiteX68" fmla="*/ 1157491 w 1200744"/>
                  <a:gd name="connsiteY68" fmla="*/ 552464 h 1046508"/>
                  <a:gd name="connsiteX69" fmla="*/ 1200469 w 1200744"/>
                  <a:gd name="connsiteY69" fmla="*/ 586314 h 1046508"/>
                  <a:gd name="connsiteX70" fmla="*/ 1200468 w 1200744"/>
                  <a:gd name="connsiteY70" fmla="*/ 586314 h 1046508"/>
                  <a:gd name="connsiteX71" fmla="*/ 1166618 w 1200744"/>
                  <a:gd name="connsiteY71" fmla="*/ 629292 h 1046508"/>
                  <a:gd name="connsiteX72" fmla="*/ 1104900 w 1200744"/>
                  <a:gd name="connsiteY72" fmla="*/ 636624 h 1046508"/>
                  <a:gd name="connsiteX73" fmla="*/ 1104900 w 1200744"/>
                  <a:gd name="connsiteY73" fmla="*/ 817908 h 1046508"/>
                  <a:gd name="connsiteX74" fmla="*/ 971550 w 1200744"/>
                  <a:gd name="connsiteY74" fmla="*/ 946496 h 1046508"/>
                  <a:gd name="connsiteX75" fmla="*/ 752889 w 1200744"/>
                  <a:gd name="connsiteY75" fmla="*/ 946496 h 1046508"/>
                  <a:gd name="connsiteX76" fmla="*/ 749140 w 1200744"/>
                  <a:gd name="connsiteY76" fmla="*/ 965065 h 1046508"/>
                  <a:gd name="connsiteX77" fmla="*/ 626271 w 1200744"/>
                  <a:gd name="connsiteY77" fmla="*/ 1046508 h 1046508"/>
                  <a:gd name="connsiteX78" fmla="*/ 533770 w 1200744"/>
                  <a:gd name="connsiteY78" fmla="*/ 1046508 h 1046508"/>
                  <a:gd name="connsiteX79" fmla="*/ 410901 w 1200744"/>
                  <a:gd name="connsiteY79" fmla="*/ 965065 h 1046508"/>
                  <a:gd name="connsiteX80" fmla="*/ 407153 w 1200744"/>
                  <a:gd name="connsiteY80" fmla="*/ 946496 h 1046508"/>
                  <a:gd name="connsiteX81" fmla="*/ 190500 w 1200744"/>
                  <a:gd name="connsiteY81" fmla="*/ 946496 h 1046508"/>
                  <a:gd name="connsiteX82" fmla="*/ 59532 w 1200744"/>
                  <a:gd name="connsiteY82" fmla="*/ 825052 h 1046508"/>
                  <a:gd name="connsiteX83" fmla="*/ 59432 w 1200744"/>
                  <a:gd name="connsiteY83" fmla="*/ 710643 h 1046508"/>
                  <a:gd name="connsiteX84" fmla="*/ 48816 w 1200744"/>
                  <a:gd name="connsiteY84" fmla="*/ 710643 h 1046508"/>
                  <a:gd name="connsiteX85" fmla="*/ 14298 w 1200744"/>
                  <a:gd name="connsiteY85" fmla="*/ 696345 h 1046508"/>
                  <a:gd name="connsiteX86" fmla="*/ 0 w 1200744"/>
                  <a:gd name="connsiteY86" fmla="*/ 661828 h 1046508"/>
                  <a:gd name="connsiteX87" fmla="*/ 14298 w 1200744"/>
                  <a:gd name="connsiteY87" fmla="*/ 627310 h 1046508"/>
                  <a:gd name="connsiteX88" fmla="*/ 48816 w 1200744"/>
                  <a:gd name="connsiteY88" fmla="*/ 613012 h 1046508"/>
                  <a:gd name="connsiteX89" fmla="*/ 59346 w 1200744"/>
                  <a:gd name="connsiteY89" fmla="*/ 613012 h 1046508"/>
                  <a:gd name="connsiteX90" fmla="*/ 59247 w 1200744"/>
                  <a:gd name="connsiteY90" fmla="*/ 501147 h 1046508"/>
                  <a:gd name="connsiteX91" fmla="*/ 48816 w 1200744"/>
                  <a:gd name="connsiteY91" fmla="*/ 501147 h 1046508"/>
                  <a:gd name="connsiteX92" fmla="*/ 14298 w 1200744"/>
                  <a:gd name="connsiteY92" fmla="*/ 486849 h 1046508"/>
                  <a:gd name="connsiteX93" fmla="*/ 0 w 1200744"/>
                  <a:gd name="connsiteY93" fmla="*/ 452332 h 1046508"/>
                  <a:gd name="connsiteX94" fmla="*/ 14298 w 1200744"/>
                  <a:gd name="connsiteY94" fmla="*/ 417814 h 1046508"/>
                  <a:gd name="connsiteX95" fmla="*/ 48816 w 1200744"/>
                  <a:gd name="connsiteY95" fmla="*/ 403516 h 1046508"/>
                  <a:gd name="connsiteX96" fmla="*/ 59161 w 1200744"/>
                  <a:gd name="connsiteY96" fmla="*/ 403516 h 1046508"/>
                  <a:gd name="connsiteX97" fmla="*/ 59063 w 1200744"/>
                  <a:gd name="connsiteY97" fmla="*/ 291651 h 1046508"/>
                  <a:gd name="connsiteX98" fmla="*/ 48816 w 1200744"/>
                  <a:gd name="connsiteY98" fmla="*/ 291651 h 1046508"/>
                  <a:gd name="connsiteX99" fmla="*/ 14298 w 1200744"/>
                  <a:gd name="connsiteY99" fmla="*/ 277353 h 1046508"/>
                  <a:gd name="connsiteX100" fmla="*/ 0 w 1200744"/>
                  <a:gd name="connsiteY100" fmla="*/ 242836 h 1046508"/>
                  <a:gd name="connsiteX101" fmla="*/ 14298 w 1200744"/>
                  <a:gd name="connsiteY101" fmla="*/ 208318 h 1046508"/>
                  <a:gd name="connsiteX102" fmla="*/ 48816 w 1200744"/>
                  <a:gd name="connsiteY102" fmla="*/ 194020 h 1046508"/>
                  <a:gd name="connsiteX103" fmla="*/ 58977 w 1200744"/>
                  <a:gd name="connsiteY103" fmla="*/ 19402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792956 w 1200744"/>
                  <a:gd name="connsiteY49" fmla="*/ 387635 h 1046508"/>
                  <a:gd name="connsiteX50" fmla="*/ 883444 w 1200744"/>
                  <a:gd name="connsiteY50" fmla="*/ 376884 h 1046508"/>
                  <a:gd name="connsiteX51" fmla="*/ 1157493 w 1200744"/>
                  <a:gd name="connsiteY51" fmla="*/ 347675 h 1046508"/>
                  <a:gd name="connsiteX52" fmla="*/ 1200471 w 1200744"/>
                  <a:gd name="connsiteY52" fmla="*/ 381525 h 1046508"/>
                  <a:gd name="connsiteX53" fmla="*/ 1200470 w 1200744"/>
                  <a:gd name="connsiteY53" fmla="*/ 381526 h 1046508"/>
                  <a:gd name="connsiteX54" fmla="*/ 1166620 w 1200744"/>
                  <a:gd name="connsiteY54" fmla="*/ 424503 h 1046508"/>
                  <a:gd name="connsiteX55" fmla="*/ 883444 w 1200744"/>
                  <a:gd name="connsiteY55" fmla="*/ 458146 h 1046508"/>
                  <a:gd name="connsiteX56" fmla="*/ 883444 w 1200744"/>
                  <a:gd name="connsiteY56" fmla="*/ 506141 h 1046508"/>
                  <a:gd name="connsiteX57" fmla="*/ 792956 w 1200744"/>
                  <a:gd name="connsiteY57" fmla="*/ 516892 h 1046508"/>
                  <a:gd name="connsiteX58" fmla="*/ 792956 w 1200744"/>
                  <a:gd name="connsiteY58" fmla="*/ 468897 h 1046508"/>
                  <a:gd name="connsiteX59" fmla="*/ 688181 w 1200744"/>
                  <a:gd name="connsiteY59" fmla="*/ 481345 h 1046508"/>
                  <a:gd name="connsiteX60" fmla="*/ 688181 w 1200744"/>
                  <a:gd name="connsiteY60" fmla="*/ 529340 h 1046508"/>
                  <a:gd name="connsiteX61" fmla="*/ 418176 w 1200744"/>
                  <a:gd name="connsiteY61" fmla="*/ 561418 h 1046508"/>
                  <a:gd name="connsiteX62" fmla="*/ 392350 w 1200744"/>
                  <a:gd name="connsiteY62" fmla="*/ 575897 h 1046508"/>
                  <a:gd name="connsiteX63" fmla="*/ 384326 w 1200744"/>
                  <a:gd name="connsiteY63" fmla="*/ 604396 h 1046508"/>
                  <a:gd name="connsiteX64" fmla="*/ 398804 w 1200744"/>
                  <a:gd name="connsiteY64" fmla="*/ 630221 h 1046508"/>
                  <a:gd name="connsiteX65" fmla="*/ 427304 w 1200744"/>
                  <a:gd name="connsiteY65" fmla="*/ 638245 h 1046508"/>
                  <a:gd name="connsiteX66" fmla="*/ 1104900 w 1200744"/>
                  <a:gd name="connsiteY66" fmla="*/ 557742 h 1046508"/>
                  <a:gd name="connsiteX67" fmla="*/ 1104900 w 1200744"/>
                  <a:gd name="connsiteY67" fmla="*/ 558713 h 1046508"/>
                  <a:gd name="connsiteX68" fmla="*/ 1157491 w 1200744"/>
                  <a:gd name="connsiteY68" fmla="*/ 552464 h 1046508"/>
                  <a:gd name="connsiteX69" fmla="*/ 1200469 w 1200744"/>
                  <a:gd name="connsiteY69" fmla="*/ 586314 h 1046508"/>
                  <a:gd name="connsiteX70" fmla="*/ 1200468 w 1200744"/>
                  <a:gd name="connsiteY70" fmla="*/ 586314 h 1046508"/>
                  <a:gd name="connsiteX71" fmla="*/ 1166618 w 1200744"/>
                  <a:gd name="connsiteY71" fmla="*/ 629292 h 1046508"/>
                  <a:gd name="connsiteX72" fmla="*/ 1104900 w 1200744"/>
                  <a:gd name="connsiteY72" fmla="*/ 636624 h 1046508"/>
                  <a:gd name="connsiteX73" fmla="*/ 1104900 w 1200744"/>
                  <a:gd name="connsiteY73" fmla="*/ 817908 h 1046508"/>
                  <a:gd name="connsiteX74" fmla="*/ 971550 w 1200744"/>
                  <a:gd name="connsiteY74" fmla="*/ 946496 h 1046508"/>
                  <a:gd name="connsiteX75" fmla="*/ 752889 w 1200744"/>
                  <a:gd name="connsiteY75" fmla="*/ 946496 h 1046508"/>
                  <a:gd name="connsiteX76" fmla="*/ 749140 w 1200744"/>
                  <a:gd name="connsiteY76" fmla="*/ 965065 h 1046508"/>
                  <a:gd name="connsiteX77" fmla="*/ 626271 w 1200744"/>
                  <a:gd name="connsiteY77" fmla="*/ 1046508 h 1046508"/>
                  <a:gd name="connsiteX78" fmla="*/ 533770 w 1200744"/>
                  <a:gd name="connsiteY78" fmla="*/ 1046508 h 1046508"/>
                  <a:gd name="connsiteX79" fmla="*/ 410901 w 1200744"/>
                  <a:gd name="connsiteY79" fmla="*/ 965065 h 1046508"/>
                  <a:gd name="connsiteX80" fmla="*/ 407153 w 1200744"/>
                  <a:gd name="connsiteY80" fmla="*/ 946496 h 1046508"/>
                  <a:gd name="connsiteX81" fmla="*/ 190500 w 1200744"/>
                  <a:gd name="connsiteY81" fmla="*/ 946496 h 1046508"/>
                  <a:gd name="connsiteX82" fmla="*/ 59532 w 1200744"/>
                  <a:gd name="connsiteY82" fmla="*/ 825052 h 1046508"/>
                  <a:gd name="connsiteX83" fmla="*/ 59432 w 1200744"/>
                  <a:gd name="connsiteY83" fmla="*/ 710643 h 1046508"/>
                  <a:gd name="connsiteX84" fmla="*/ 48816 w 1200744"/>
                  <a:gd name="connsiteY84" fmla="*/ 710643 h 1046508"/>
                  <a:gd name="connsiteX85" fmla="*/ 14298 w 1200744"/>
                  <a:gd name="connsiteY85" fmla="*/ 696345 h 1046508"/>
                  <a:gd name="connsiteX86" fmla="*/ 0 w 1200744"/>
                  <a:gd name="connsiteY86" fmla="*/ 661828 h 1046508"/>
                  <a:gd name="connsiteX87" fmla="*/ 14298 w 1200744"/>
                  <a:gd name="connsiteY87" fmla="*/ 627310 h 1046508"/>
                  <a:gd name="connsiteX88" fmla="*/ 48816 w 1200744"/>
                  <a:gd name="connsiteY88" fmla="*/ 613012 h 1046508"/>
                  <a:gd name="connsiteX89" fmla="*/ 59346 w 1200744"/>
                  <a:gd name="connsiteY89" fmla="*/ 613012 h 1046508"/>
                  <a:gd name="connsiteX90" fmla="*/ 59247 w 1200744"/>
                  <a:gd name="connsiteY90" fmla="*/ 501147 h 1046508"/>
                  <a:gd name="connsiteX91" fmla="*/ 48816 w 1200744"/>
                  <a:gd name="connsiteY91" fmla="*/ 501147 h 1046508"/>
                  <a:gd name="connsiteX92" fmla="*/ 14298 w 1200744"/>
                  <a:gd name="connsiteY92" fmla="*/ 486849 h 1046508"/>
                  <a:gd name="connsiteX93" fmla="*/ 0 w 1200744"/>
                  <a:gd name="connsiteY93" fmla="*/ 452332 h 1046508"/>
                  <a:gd name="connsiteX94" fmla="*/ 14298 w 1200744"/>
                  <a:gd name="connsiteY94" fmla="*/ 417814 h 1046508"/>
                  <a:gd name="connsiteX95" fmla="*/ 48816 w 1200744"/>
                  <a:gd name="connsiteY95" fmla="*/ 403516 h 1046508"/>
                  <a:gd name="connsiteX96" fmla="*/ 59161 w 1200744"/>
                  <a:gd name="connsiteY96" fmla="*/ 403516 h 1046508"/>
                  <a:gd name="connsiteX97" fmla="*/ 59063 w 1200744"/>
                  <a:gd name="connsiteY97" fmla="*/ 291651 h 1046508"/>
                  <a:gd name="connsiteX98" fmla="*/ 48816 w 1200744"/>
                  <a:gd name="connsiteY98" fmla="*/ 291651 h 1046508"/>
                  <a:gd name="connsiteX99" fmla="*/ 14298 w 1200744"/>
                  <a:gd name="connsiteY99" fmla="*/ 277353 h 1046508"/>
                  <a:gd name="connsiteX100" fmla="*/ 0 w 1200744"/>
                  <a:gd name="connsiteY100" fmla="*/ 242836 h 1046508"/>
                  <a:gd name="connsiteX101" fmla="*/ 14298 w 1200744"/>
                  <a:gd name="connsiteY101" fmla="*/ 208318 h 1046508"/>
                  <a:gd name="connsiteX102" fmla="*/ 48816 w 1200744"/>
                  <a:gd name="connsiteY102" fmla="*/ 194020 h 1046508"/>
                  <a:gd name="connsiteX103" fmla="*/ 58977 w 1200744"/>
                  <a:gd name="connsiteY103" fmla="*/ 194020 h 1046508"/>
                  <a:gd name="connsiteX104" fmla="*/ 58806 w 1200744"/>
                  <a:gd name="connsiteY104"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792956 w 1200744"/>
                  <a:gd name="connsiteY49" fmla="*/ 387635 h 1046508"/>
                  <a:gd name="connsiteX50" fmla="*/ 1157493 w 1200744"/>
                  <a:gd name="connsiteY50" fmla="*/ 347675 h 1046508"/>
                  <a:gd name="connsiteX51" fmla="*/ 1200471 w 1200744"/>
                  <a:gd name="connsiteY51" fmla="*/ 381525 h 1046508"/>
                  <a:gd name="connsiteX52" fmla="*/ 1200470 w 1200744"/>
                  <a:gd name="connsiteY52" fmla="*/ 381526 h 1046508"/>
                  <a:gd name="connsiteX53" fmla="*/ 1166620 w 1200744"/>
                  <a:gd name="connsiteY53" fmla="*/ 424503 h 1046508"/>
                  <a:gd name="connsiteX54" fmla="*/ 883444 w 1200744"/>
                  <a:gd name="connsiteY54" fmla="*/ 458146 h 1046508"/>
                  <a:gd name="connsiteX55" fmla="*/ 883444 w 1200744"/>
                  <a:gd name="connsiteY55" fmla="*/ 506141 h 1046508"/>
                  <a:gd name="connsiteX56" fmla="*/ 792956 w 1200744"/>
                  <a:gd name="connsiteY56" fmla="*/ 516892 h 1046508"/>
                  <a:gd name="connsiteX57" fmla="*/ 792956 w 1200744"/>
                  <a:gd name="connsiteY57" fmla="*/ 468897 h 1046508"/>
                  <a:gd name="connsiteX58" fmla="*/ 688181 w 1200744"/>
                  <a:gd name="connsiteY58" fmla="*/ 481345 h 1046508"/>
                  <a:gd name="connsiteX59" fmla="*/ 688181 w 1200744"/>
                  <a:gd name="connsiteY59" fmla="*/ 529340 h 1046508"/>
                  <a:gd name="connsiteX60" fmla="*/ 418176 w 1200744"/>
                  <a:gd name="connsiteY60" fmla="*/ 561418 h 1046508"/>
                  <a:gd name="connsiteX61" fmla="*/ 392350 w 1200744"/>
                  <a:gd name="connsiteY61" fmla="*/ 575897 h 1046508"/>
                  <a:gd name="connsiteX62" fmla="*/ 384326 w 1200744"/>
                  <a:gd name="connsiteY62" fmla="*/ 604396 h 1046508"/>
                  <a:gd name="connsiteX63" fmla="*/ 398804 w 1200744"/>
                  <a:gd name="connsiteY63" fmla="*/ 630221 h 1046508"/>
                  <a:gd name="connsiteX64" fmla="*/ 427304 w 1200744"/>
                  <a:gd name="connsiteY64" fmla="*/ 638245 h 1046508"/>
                  <a:gd name="connsiteX65" fmla="*/ 1104900 w 1200744"/>
                  <a:gd name="connsiteY65" fmla="*/ 557742 h 1046508"/>
                  <a:gd name="connsiteX66" fmla="*/ 1104900 w 1200744"/>
                  <a:gd name="connsiteY66" fmla="*/ 558713 h 1046508"/>
                  <a:gd name="connsiteX67" fmla="*/ 1157491 w 1200744"/>
                  <a:gd name="connsiteY67" fmla="*/ 552464 h 1046508"/>
                  <a:gd name="connsiteX68" fmla="*/ 1200469 w 1200744"/>
                  <a:gd name="connsiteY68" fmla="*/ 586314 h 1046508"/>
                  <a:gd name="connsiteX69" fmla="*/ 1200468 w 1200744"/>
                  <a:gd name="connsiteY69" fmla="*/ 586314 h 1046508"/>
                  <a:gd name="connsiteX70" fmla="*/ 1166618 w 1200744"/>
                  <a:gd name="connsiteY70" fmla="*/ 629292 h 1046508"/>
                  <a:gd name="connsiteX71" fmla="*/ 1104900 w 1200744"/>
                  <a:gd name="connsiteY71" fmla="*/ 636624 h 1046508"/>
                  <a:gd name="connsiteX72" fmla="*/ 1104900 w 1200744"/>
                  <a:gd name="connsiteY72" fmla="*/ 817908 h 1046508"/>
                  <a:gd name="connsiteX73" fmla="*/ 971550 w 1200744"/>
                  <a:gd name="connsiteY73" fmla="*/ 946496 h 1046508"/>
                  <a:gd name="connsiteX74" fmla="*/ 752889 w 1200744"/>
                  <a:gd name="connsiteY74" fmla="*/ 946496 h 1046508"/>
                  <a:gd name="connsiteX75" fmla="*/ 749140 w 1200744"/>
                  <a:gd name="connsiteY75" fmla="*/ 965065 h 1046508"/>
                  <a:gd name="connsiteX76" fmla="*/ 626271 w 1200744"/>
                  <a:gd name="connsiteY76" fmla="*/ 1046508 h 1046508"/>
                  <a:gd name="connsiteX77" fmla="*/ 533770 w 1200744"/>
                  <a:gd name="connsiteY77" fmla="*/ 1046508 h 1046508"/>
                  <a:gd name="connsiteX78" fmla="*/ 410901 w 1200744"/>
                  <a:gd name="connsiteY78" fmla="*/ 965065 h 1046508"/>
                  <a:gd name="connsiteX79" fmla="*/ 407153 w 1200744"/>
                  <a:gd name="connsiteY79" fmla="*/ 946496 h 1046508"/>
                  <a:gd name="connsiteX80" fmla="*/ 190500 w 1200744"/>
                  <a:gd name="connsiteY80" fmla="*/ 946496 h 1046508"/>
                  <a:gd name="connsiteX81" fmla="*/ 59532 w 1200744"/>
                  <a:gd name="connsiteY81" fmla="*/ 825052 h 1046508"/>
                  <a:gd name="connsiteX82" fmla="*/ 59432 w 1200744"/>
                  <a:gd name="connsiteY82" fmla="*/ 710643 h 1046508"/>
                  <a:gd name="connsiteX83" fmla="*/ 48816 w 1200744"/>
                  <a:gd name="connsiteY83" fmla="*/ 710643 h 1046508"/>
                  <a:gd name="connsiteX84" fmla="*/ 14298 w 1200744"/>
                  <a:gd name="connsiteY84" fmla="*/ 696345 h 1046508"/>
                  <a:gd name="connsiteX85" fmla="*/ 0 w 1200744"/>
                  <a:gd name="connsiteY85" fmla="*/ 661828 h 1046508"/>
                  <a:gd name="connsiteX86" fmla="*/ 14298 w 1200744"/>
                  <a:gd name="connsiteY86" fmla="*/ 627310 h 1046508"/>
                  <a:gd name="connsiteX87" fmla="*/ 48816 w 1200744"/>
                  <a:gd name="connsiteY87" fmla="*/ 613012 h 1046508"/>
                  <a:gd name="connsiteX88" fmla="*/ 59346 w 1200744"/>
                  <a:gd name="connsiteY88" fmla="*/ 613012 h 1046508"/>
                  <a:gd name="connsiteX89" fmla="*/ 59247 w 1200744"/>
                  <a:gd name="connsiteY89" fmla="*/ 501147 h 1046508"/>
                  <a:gd name="connsiteX90" fmla="*/ 48816 w 1200744"/>
                  <a:gd name="connsiteY90" fmla="*/ 501147 h 1046508"/>
                  <a:gd name="connsiteX91" fmla="*/ 14298 w 1200744"/>
                  <a:gd name="connsiteY91" fmla="*/ 486849 h 1046508"/>
                  <a:gd name="connsiteX92" fmla="*/ 0 w 1200744"/>
                  <a:gd name="connsiteY92" fmla="*/ 452332 h 1046508"/>
                  <a:gd name="connsiteX93" fmla="*/ 14298 w 1200744"/>
                  <a:gd name="connsiteY93" fmla="*/ 417814 h 1046508"/>
                  <a:gd name="connsiteX94" fmla="*/ 48816 w 1200744"/>
                  <a:gd name="connsiteY94" fmla="*/ 403516 h 1046508"/>
                  <a:gd name="connsiteX95" fmla="*/ 59161 w 1200744"/>
                  <a:gd name="connsiteY95" fmla="*/ 403516 h 1046508"/>
                  <a:gd name="connsiteX96" fmla="*/ 59063 w 1200744"/>
                  <a:gd name="connsiteY96" fmla="*/ 291651 h 1046508"/>
                  <a:gd name="connsiteX97" fmla="*/ 48816 w 1200744"/>
                  <a:gd name="connsiteY97" fmla="*/ 291651 h 1046508"/>
                  <a:gd name="connsiteX98" fmla="*/ 14298 w 1200744"/>
                  <a:gd name="connsiteY98" fmla="*/ 277353 h 1046508"/>
                  <a:gd name="connsiteX99" fmla="*/ 0 w 1200744"/>
                  <a:gd name="connsiteY99" fmla="*/ 242836 h 1046508"/>
                  <a:gd name="connsiteX100" fmla="*/ 14298 w 1200744"/>
                  <a:gd name="connsiteY100" fmla="*/ 208318 h 1046508"/>
                  <a:gd name="connsiteX101" fmla="*/ 48816 w 1200744"/>
                  <a:gd name="connsiteY101" fmla="*/ 194020 h 1046508"/>
                  <a:gd name="connsiteX102" fmla="*/ 58977 w 1200744"/>
                  <a:gd name="connsiteY102" fmla="*/ 194020 h 1046508"/>
                  <a:gd name="connsiteX103" fmla="*/ 58806 w 1200744"/>
                  <a:gd name="connsiteY103"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1157493 w 1200744"/>
                  <a:gd name="connsiteY49" fmla="*/ 347675 h 1046508"/>
                  <a:gd name="connsiteX50" fmla="*/ 1200471 w 1200744"/>
                  <a:gd name="connsiteY50" fmla="*/ 381525 h 1046508"/>
                  <a:gd name="connsiteX51" fmla="*/ 1200470 w 1200744"/>
                  <a:gd name="connsiteY51" fmla="*/ 381526 h 1046508"/>
                  <a:gd name="connsiteX52" fmla="*/ 1166620 w 1200744"/>
                  <a:gd name="connsiteY52" fmla="*/ 424503 h 1046508"/>
                  <a:gd name="connsiteX53" fmla="*/ 883444 w 1200744"/>
                  <a:gd name="connsiteY53" fmla="*/ 458146 h 1046508"/>
                  <a:gd name="connsiteX54" fmla="*/ 883444 w 1200744"/>
                  <a:gd name="connsiteY54" fmla="*/ 506141 h 1046508"/>
                  <a:gd name="connsiteX55" fmla="*/ 792956 w 1200744"/>
                  <a:gd name="connsiteY55" fmla="*/ 516892 h 1046508"/>
                  <a:gd name="connsiteX56" fmla="*/ 792956 w 1200744"/>
                  <a:gd name="connsiteY56" fmla="*/ 468897 h 1046508"/>
                  <a:gd name="connsiteX57" fmla="*/ 688181 w 1200744"/>
                  <a:gd name="connsiteY57" fmla="*/ 481345 h 1046508"/>
                  <a:gd name="connsiteX58" fmla="*/ 688181 w 1200744"/>
                  <a:gd name="connsiteY58" fmla="*/ 529340 h 1046508"/>
                  <a:gd name="connsiteX59" fmla="*/ 418176 w 1200744"/>
                  <a:gd name="connsiteY59" fmla="*/ 561418 h 1046508"/>
                  <a:gd name="connsiteX60" fmla="*/ 392350 w 1200744"/>
                  <a:gd name="connsiteY60" fmla="*/ 575897 h 1046508"/>
                  <a:gd name="connsiteX61" fmla="*/ 384326 w 1200744"/>
                  <a:gd name="connsiteY61" fmla="*/ 604396 h 1046508"/>
                  <a:gd name="connsiteX62" fmla="*/ 398804 w 1200744"/>
                  <a:gd name="connsiteY62" fmla="*/ 630221 h 1046508"/>
                  <a:gd name="connsiteX63" fmla="*/ 427304 w 1200744"/>
                  <a:gd name="connsiteY63" fmla="*/ 638245 h 1046508"/>
                  <a:gd name="connsiteX64" fmla="*/ 1104900 w 1200744"/>
                  <a:gd name="connsiteY64" fmla="*/ 557742 h 1046508"/>
                  <a:gd name="connsiteX65" fmla="*/ 1104900 w 1200744"/>
                  <a:gd name="connsiteY65" fmla="*/ 558713 h 1046508"/>
                  <a:gd name="connsiteX66" fmla="*/ 1157491 w 1200744"/>
                  <a:gd name="connsiteY66" fmla="*/ 552464 h 1046508"/>
                  <a:gd name="connsiteX67" fmla="*/ 1200469 w 1200744"/>
                  <a:gd name="connsiteY67" fmla="*/ 586314 h 1046508"/>
                  <a:gd name="connsiteX68" fmla="*/ 1200468 w 1200744"/>
                  <a:gd name="connsiteY68" fmla="*/ 586314 h 1046508"/>
                  <a:gd name="connsiteX69" fmla="*/ 1166618 w 1200744"/>
                  <a:gd name="connsiteY69" fmla="*/ 629292 h 1046508"/>
                  <a:gd name="connsiteX70" fmla="*/ 1104900 w 1200744"/>
                  <a:gd name="connsiteY70" fmla="*/ 636624 h 1046508"/>
                  <a:gd name="connsiteX71" fmla="*/ 1104900 w 1200744"/>
                  <a:gd name="connsiteY71" fmla="*/ 817908 h 1046508"/>
                  <a:gd name="connsiteX72" fmla="*/ 971550 w 1200744"/>
                  <a:gd name="connsiteY72" fmla="*/ 946496 h 1046508"/>
                  <a:gd name="connsiteX73" fmla="*/ 752889 w 1200744"/>
                  <a:gd name="connsiteY73" fmla="*/ 946496 h 1046508"/>
                  <a:gd name="connsiteX74" fmla="*/ 749140 w 1200744"/>
                  <a:gd name="connsiteY74" fmla="*/ 965065 h 1046508"/>
                  <a:gd name="connsiteX75" fmla="*/ 626271 w 1200744"/>
                  <a:gd name="connsiteY75" fmla="*/ 1046508 h 1046508"/>
                  <a:gd name="connsiteX76" fmla="*/ 533770 w 1200744"/>
                  <a:gd name="connsiteY76" fmla="*/ 1046508 h 1046508"/>
                  <a:gd name="connsiteX77" fmla="*/ 410901 w 1200744"/>
                  <a:gd name="connsiteY77" fmla="*/ 965065 h 1046508"/>
                  <a:gd name="connsiteX78" fmla="*/ 407153 w 1200744"/>
                  <a:gd name="connsiteY78" fmla="*/ 946496 h 1046508"/>
                  <a:gd name="connsiteX79" fmla="*/ 190500 w 1200744"/>
                  <a:gd name="connsiteY79" fmla="*/ 946496 h 1046508"/>
                  <a:gd name="connsiteX80" fmla="*/ 59532 w 1200744"/>
                  <a:gd name="connsiteY80" fmla="*/ 825052 h 1046508"/>
                  <a:gd name="connsiteX81" fmla="*/ 59432 w 1200744"/>
                  <a:gd name="connsiteY81" fmla="*/ 710643 h 1046508"/>
                  <a:gd name="connsiteX82" fmla="*/ 48816 w 1200744"/>
                  <a:gd name="connsiteY82" fmla="*/ 710643 h 1046508"/>
                  <a:gd name="connsiteX83" fmla="*/ 14298 w 1200744"/>
                  <a:gd name="connsiteY83" fmla="*/ 696345 h 1046508"/>
                  <a:gd name="connsiteX84" fmla="*/ 0 w 1200744"/>
                  <a:gd name="connsiteY84" fmla="*/ 661828 h 1046508"/>
                  <a:gd name="connsiteX85" fmla="*/ 14298 w 1200744"/>
                  <a:gd name="connsiteY85" fmla="*/ 627310 h 1046508"/>
                  <a:gd name="connsiteX86" fmla="*/ 48816 w 1200744"/>
                  <a:gd name="connsiteY86" fmla="*/ 613012 h 1046508"/>
                  <a:gd name="connsiteX87" fmla="*/ 59346 w 1200744"/>
                  <a:gd name="connsiteY87" fmla="*/ 613012 h 1046508"/>
                  <a:gd name="connsiteX88" fmla="*/ 59247 w 1200744"/>
                  <a:gd name="connsiteY88" fmla="*/ 501147 h 1046508"/>
                  <a:gd name="connsiteX89" fmla="*/ 48816 w 1200744"/>
                  <a:gd name="connsiteY89" fmla="*/ 501147 h 1046508"/>
                  <a:gd name="connsiteX90" fmla="*/ 14298 w 1200744"/>
                  <a:gd name="connsiteY90" fmla="*/ 486849 h 1046508"/>
                  <a:gd name="connsiteX91" fmla="*/ 0 w 1200744"/>
                  <a:gd name="connsiteY91" fmla="*/ 452332 h 1046508"/>
                  <a:gd name="connsiteX92" fmla="*/ 14298 w 1200744"/>
                  <a:gd name="connsiteY92" fmla="*/ 417814 h 1046508"/>
                  <a:gd name="connsiteX93" fmla="*/ 48816 w 1200744"/>
                  <a:gd name="connsiteY93" fmla="*/ 403516 h 1046508"/>
                  <a:gd name="connsiteX94" fmla="*/ 59161 w 1200744"/>
                  <a:gd name="connsiteY94" fmla="*/ 403516 h 1046508"/>
                  <a:gd name="connsiteX95" fmla="*/ 59063 w 1200744"/>
                  <a:gd name="connsiteY95" fmla="*/ 291651 h 1046508"/>
                  <a:gd name="connsiteX96" fmla="*/ 48816 w 1200744"/>
                  <a:gd name="connsiteY96" fmla="*/ 291651 h 1046508"/>
                  <a:gd name="connsiteX97" fmla="*/ 14298 w 1200744"/>
                  <a:gd name="connsiteY97" fmla="*/ 277353 h 1046508"/>
                  <a:gd name="connsiteX98" fmla="*/ 0 w 1200744"/>
                  <a:gd name="connsiteY98" fmla="*/ 242836 h 1046508"/>
                  <a:gd name="connsiteX99" fmla="*/ 14298 w 1200744"/>
                  <a:gd name="connsiteY99" fmla="*/ 208318 h 1046508"/>
                  <a:gd name="connsiteX100" fmla="*/ 48816 w 1200744"/>
                  <a:gd name="connsiteY100" fmla="*/ 194020 h 1046508"/>
                  <a:gd name="connsiteX101" fmla="*/ 58977 w 1200744"/>
                  <a:gd name="connsiteY101" fmla="*/ 194020 h 1046508"/>
                  <a:gd name="connsiteX102" fmla="*/ 58806 w 1200744"/>
                  <a:gd name="connsiteY102"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1157493 w 1200744"/>
                  <a:gd name="connsiteY48" fmla="*/ 347675 h 1046508"/>
                  <a:gd name="connsiteX49" fmla="*/ 1200471 w 1200744"/>
                  <a:gd name="connsiteY49" fmla="*/ 381525 h 1046508"/>
                  <a:gd name="connsiteX50" fmla="*/ 1200470 w 1200744"/>
                  <a:gd name="connsiteY50" fmla="*/ 381526 h 1046508"/>
                  <a:gd name="connsiteX51" fmla="*/ 1166620 w 1200744"/>
                  <a:gd name="connsiteY51" fmla="*/ 424503 h 1046508"/>
                  <a:gd name="connsiteX52" fmla="*/ 883444 w 1200744"/>
                  <a:gd name="connsiteY52" fmla="*/ 458146 h 1046508"/>
                  <a:gd name="connsiteX53" fmla="*/ 883444 w 1200744"/>
                  <a:gd name="connsiteY53" fmla="*/ 506141 h 1046508"/>
                  <a:gd name="connsiteX54" fmla="*/ 792956 w 1200744"/>
                  <a:gd name="connsiteY54" fmla="*/ 516892 h 1046508"/>
                  <a:gd name="connsiteX55" fmla="*/ 792956 w 1200744"/>
                  <a:gd name="connsiteY55" fmla="*/ 468897 h 1046508"/>
                  <a:gd name="connsiteX56" fmla="*/ 688181 w 1200744"/>
                  <a:gd name="connsiteY56" fmla="*/ 481345 h 1046508"/>
                  <a:gd name="connsiteX57" fmla="*/ 688181 w 1200744"/>
                  <a:gd name="connsiteY57" fmla="*/ 529340 h 1046508"/>
                  <a:gd name="connsiteX58" fmla="*/ 418176 w 1200744"/>
                  <a:gd name="connsiteY58" fmla="*/ 561418 h 1046508"/>
                  <a:gd name="connsiteX59" fmla="*/ 392350 w 1200744"/>
                  <a:gd name="connsiteY59" fmla="*/ 575897 h 1046508"/>
                  <a:gd name="connsiteX60" fmla="*/ 384326 w 1200744"/>
                  <a:gd name="connsiteY60" fmla="*/ 604396 h 1046508"/>
                  <a:gd name="connsiteX61" fmla="*/ 398804 w 1200744"/>
                  <a:gd name="connsiteY61" fmla="*/ 630221 h 1046508"/>
                  <a:gd name="connsiteX62" fmla="*/ 427304 w 1200744"/>
                  <a:gd name="connsiteY62" fmla="*/ 638245 h 1046508"/>
                  <a:gd name="connsiteX63" fmla="*/ 1104900 w 1200744"/>
                  <a:gd name="connsiteY63" fmla="*/ 557742 h 1046508"/>
                  <a:gd name="connsiteX64" fmla="*/ 1104900 w 1200744"/>
                  <a:gd name="connsiteY64" fmla="*/ 558713 h 1046508"/>
                  <a:gd name="connsiteX65" fmla="*/ 1157491 w 1200744"/>
                  <a:gd name="connsiteY65" fmla="*/ 552464 h 1046508"/>
                  <a:gd name="connsiteX66" fmla="*/ 1200469 w 1200744"/>
                  <a:gd name="connsiteY66" fmla="*/ 586314 h 1046508"/>
                  <a:gd name="connsiteX67" fmla="*/ 1200468 w 1200744"/>
                  <a:gd name="connsiteY67" fmla="*/ 586314 h 1046508"/>
                  <a:gd name="connsiteX68" fmla="*/ 1166618 w 1200744"/>
                  <a:gd name="connsiteY68" fmla="*/ 629292 h 1046508"/>
                  <a:gd name="connsiteX69" fmla="*/ 1104900 w 1200744"/>
                  <a:gd name="connsiteY69" fmla="*/ 636624 h 1046508"/>
                  <a:gd name="connsiteX70" fmla="*/ 1104900 w 1200744"/>
                  <a:gd name="connsiteY70" fmla="*/ 817908 h 1046508"/>
                  <a:gd name="connsiteX71" fmla="*/ 971550 w 1200744"/>
                  <a:gd name="connsiteY71" fmla="*/ 946496 h 1046508"/>
                  <a:gd name="connsiteX72" fmla="*/ 752889 w 1200744"/>
                  <a:gd name="connsiteY72" fmla="*/ 946496 h 1046508"/>
                  <a:gd name="connsiteX73" fmla="*/ 749140 w 1200744"/>
                  <a:gd name="connsiteY73" fmla="*/ 965065 h 1046508"/>
                  <a:gd name="connsiteX74" fmla="*/ 626271 w 1200744"/>
                  <a:gd name="connsiteY74" fmla="*/ 1046508 h 1046508"/>
                  <a:gd name="connsiteX75" fmla="*/ 533770 w 1200744"/>
                  <a:gd name="connsiteY75" fmla="*/ 1046508 h 1046508"/>
                  <a:gd name="connsiteX76" fmla="*/ 410901 w 1200744"/>
                  <a:gd name="connsiteY76" fmla="*/ 965065 h 1046508"/>
                  <a:gd name="connsiteX77" fmla="*/ 407153 w 1200744"/>
                  <a:gd name="connsiteY77" fmla="*/ 946496 h 1046508"/>
                  <a:gd name="connsiteX78" fmla="*/ 190500 w 1200744"/>
                  <a:gd name="connsiteY78" fmla="*/ 946496 h 1046508"/>
                  <a:gd name="connsiteX79" fmla="*/ 59532 w 1200744"/>
                  <a:gd name="connsiteY79" fmla="*/ 825052 h 1046508"/>
                  <a:gd name="connsiteX80" fmla="*/ 59432 w 1200744"/>
                  <a:gd name="connsiteY80" fmla="*/ 710643 h 1046508"/>
                  <a:gd name="connsiteX81" fmla="*/ 48816 w 1200744"/>
                  <a:gd name="connsiteY81" fmla="*/ 710643 h 1046508"/>
                  <a:gd name="connsiteX82" fmla="*/ 14298 w 1200744"/>
                  <a:gd name="connsiteY82" fmla="*/ 696345 h 1046508"/>
                  <a:gd name="connsiteX83" fmla="*/ 0 w 1200744"/>
                  <a:gd name="connsiteY83" fmla="*/ 661828 h 1046508"/>
                  <a:gd name="connsiteX84" fmla="*/ 14298 w 1200744"/>
                  <a:gd name="connsiteY84" fmla="*/ 627310 h 1046508"/>
                  <a:gd name="connsiteX85" fmla="*/ 48816 w 1200744"/>
                  <a:gd name="connsiteY85" fmla="*/ 613012 h 1046508"/>
                  <a:gd name="connsiteX86" fmla="*/ 59346 w 1200744"/>
                  <a:gd name="connsiteY86" fmla="*/ 613012 h 1046508"/>
                  <a:gd name="connsiteX87" fmla="*/ 59247 w 1200744"/>
                  <a:gd name="connsiteY87" fmla="*/ 501147 h 1046508"/>
                  <a:gd name="connsiteX88" fmla="*/ 48816 w 1200744"/>
                  <a:gd name="connsiteY88" fmla="*/ 501147 h 1046508"/>
                  <a:gd name="connsiteX89" fmla="*/ 14298 w 1200744"/>
                  <a:gd name="connsiteY89" fmla="*/ 486849 h 1046508"/>
                  <a:gd name="connsiteX90" fmla="*/ 0 w 1200744"/>
                  <a:gd name="connsiteY90" fmla="*/ 452332 h 1046508"/>
                  <a:gd name="connsiteX91" fmla="*/ 14298 w 1200744"/>
                  <a:gd name="connsiteY91" fmla="*/ 417814 h 1046508"/>
                  <a:gd name="connsiteX92" fmla="*/ 48816 w 1200744"/>
                  <a:gd name="connsiteY92" fmla="*/ 403516 h 1046508"/>
                  <a:gd name="connsiteX93" fmla="*/ 59161 w 1200744"/>
                  <a:gd name="connsiteY93" fmla="*/ 403516 h 1046508"/>
                  <a:gd name="connsiteX94" fmla="*/ 59063 w 1200744"/>
                  <a:gd name="connsiteY94" fmla="*/ 291651 h 1046508"/>
                  <a:gd name="connsiteX95" fmla="*/ 48816 w 1200744"/>
                  <a:gd name="connsiteY95" fmla="*/ 291651 h 1046508"/>
                  <a:gd name="connsiteX96" fmla="*/ 14298 w 1200744"/>
                  <a:gd name="connsiteY96" fmla="*/ 277353 h 1046508"/>
                  <a:gd name="connsiteX97" fmla="*/ 0 w 1200744"/>
                  <a:gd name="connsiteY97" fmla="*/ 242836 h 1046508"/>
                  <a:gd name="connsiteX98" fmla="*/ 14298 w 1200744"/>
                  <a:gd name="connsiteY98" fmla="*/ 208318 h 1046508"/>
                  <a:gd name="connsiteX99" fmla="*/ 48816 w 1200744"/>
                  <a:gd name="connsiteY99" fmla="*/ 194020 h 1046508"/>
                  <a:gd name="connsiteX100" fmla="*/ 58977 w 1200744"/>
                  <a:gd name="connsiteY100" fmla="*/ 194020 h 1046508"/>
                  <a:gd name="connsiteX101" fmla="*/ 58806 w 1200744"/>
                  <a:gd name="connsiteY101"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1157493 w 1200744"/>
                  <a:gd name="connsiteY47" fmla="*/ 347675 h 1046508"/>
                  <a:gd name="connsiteX48" fmla="*/ 1200471 w 1200744"/>
                  <a:gd name="connsiteY48" fmla="*/ 381525 h 1046508"/>
                  <a:gd name="connsiteX49" fmla="*/ 1200470 w 1200744"/>
                  <a:gd name="connsiteY49" fmla="*/ 381526 h 1046508"/>
                  <a:gd name="connsiteX50" fmla="*/ 1166620 w 1200744"/>
                  <a:gd name="connsiteY50" fmla="*/ 424503 h 1046508"/>
                  <a:gd name="connsiteX51" fmla="*/ 883444 w 1200744"/>
                  <a:gd name="connsiteY51" fmla="*/ 458146 h 1046508"/>
                  <a:gd name="connsiteX52" fmla="*/ 883444 w 1200744"/>
                  <a:gd name="connsiteY52" fmla="*/ 506141 h 1046508"/>
                  <a:gd name="connsiteX53" fmla="*/ 792956 w 1200744"/>
                  <a:gd name="connsiteY53" fmla="*/ 516892 h 1046508"/>
                  <a:gd name="connsiteX54" fmla="*/ 792956 w 1200744"/>
                  <a:gd name="connsiteY54" fmla="*/ 468897 h 1046508"/>
                  <a:gd name="connsiteX55" fmla="*/ 688181 w 1200744"/>
                  <a:gd name="connsiteY55" fmla="*/ 481345 h 1046508"/>
                  <a:gd name="connsiteX56" fmla="*/ 688181 w 1200744"/>
                  <a:gd name="connsiteY56" fmla="*/ 529340 h 1046508"/>
                  <a:gd name="connsiteX57" fmla="*/ 418176 w 1200744"/>
                  <a:gd name="connsiteY57" fmla="*/ 561418 h 1046508"/>
                  <a:gd name="connsiteX58" fmla="*/ 392350 w 1200744"/>
                  <a:gd name="connsiteY58" fmla="*/ 575897 h 1046508"/>
                  <a:gd name="connsiteX59" fmla="*/ 384326 w 1200744"/>
                  <a:gd name="connsiteY59" fmla="*/ 604396 h 1046508"/>
                  <a:gd name="connsiteX60" fmla="*/ 398804 w 1200744"/>
                  <a:gd name="connsiteY60" fmla="*/ 630221 h 1046508"/>
                  <a:gd name="connsiteX61" fmla="*/ 427304 w 1200744"/>
                  <a:gd name="connsiteY61" fmla="*/ 638245 h 1046508"/>
                  <a:gd name="connsiteX62" fmla="*/ 1104900 w 1200744"/>
                  <a:gd name="connsiteY62" fmla="*/ 557742 h 1046508"/>
                  <a:gd name="connsiteX63" fmla="*/ 1104900 w 1200744"/>
                  <a:gd name="connsiteY63" fmla="*/ 558713 h 1046508"/>
                  <a:gd name="connsiteX64" fmla="*/ 1157491 w 1200744"/>
                  <a:gd name="connsiteY64" fmla="*/ 552464 h 1046508"/>
                  <a:gd name="connsiteX65" fmla="*/ 1200469 w 1200744"/>
                  <a:gd name="connsiteY65" fmla="*/ 586314 h 1046508"/>
                  <a:gd name="connsiteX66" fmla="*/ 1200468 w 1200744"/>
                  <a:gd name="connsiteY66" fmla="*/ 586314 h 1046508"/>
                  <a:gd name="connsiteX67" fmla="*/ 1166618 w 1200744"/>
                  <a:gd name="connsiteY67" fmla="*/ 629292 h 1046508"/>
                  <a:gd name="connsiteX68" fmla="*/ 1104900 w 1200744"/>
                  <a:gd name="connsiteY68" fmla="*/ 636624 h 1046508"/>
                  <a:gd name="connsiteX69" fmla="*/ 1104900 w 1200744"/>
                  <a:gd name="connsiteY69" fmla="*/ 817908 h 1046508"/>
                  <a:gd name="connsiteX70" fmla="*/ 971550 w 1200744"/>
                  <a:gd name="connsiteY70" fmla="*/ 946496 h 1046508"/>
                  <a:gd name="connsiteX71" fmla="*/ 752889 w 1200744"/>
                  <a:gd name="connsiteY71" fmla="*/ 946496 h 1046508"/>
                  <a:gd name="connsiteX72" fmla="*/ 749140 w 1200744"/>
                  <a:gd name="connsiteY72" fmla="*/ 965065 h 1046508"/>
                  <a:gd name="connsiteX73" fmla="*/ 626271 w 1200744"/>
                  <a:gd name="connsiteY73" fmla="*/ 1046508 h 1046508"/>
                  <a:gd name="connsiteX74" fmla="*/ 533770 w 1200744"/>
                  <a:gd name="connsiteY74" fmla="*/ 1046508 h 1046508"/>
                  <a:gd name="connsiteX75" fmla="*/ 410901 w 1200744"/>
                  <a:gd name="connsiteY75" fmla="*/ 965065 h 1046508"/>
                  <a:gd name="connsiteX76" fmla="*/ 407153 w 1200744"/>
                  <a:gd name="connsiteY76" fmla="*/ 946496 h 1046508"/>
                  <a:gd name="connsiteX77" fmla="*/ 190500 w 1200744"/>
                  <a:gd name="connsiteY77" fmla="*/ 946496 h 1046508"/>
                  <a:gd name="connsiteX78" fmla="*/ 59532 w 1200744"/>
                  <a:gd name="connsiteY78" fmla="*/ 825052 h 1046508"/>
                  <a:gd name="connsiteX79" fmla="*/ 59432 w 1200744"/>
                  <a:gd name="connsiteY79" fmla="*/ 710643 h 1046508"/>
                  <a:gd name="connsiteX80" fmla="*/ 48816 w 1200744"/>
                  <a:gd name="connsiteY80" fmla="*/ 710643 h 1046508"/>
                  <a:gd name="connsiteX81" fmla="*/ 14298 w 1200744"/>
                  <a:gd name="connsiteY81" fmla="*/ 696345 h 1046508"/>
                  <a:gd name="connsiteX82" fmla="*/ 0 w 1200744"/>
                  <a:gd name="connsiteY82" fmla="*/ 661828 h 1046508"/>
                  <a:gd name="connsiteX83" fmla="*/ 14298 w 1200744"/>
                  <a:gd name="connsiteY83" fmla="*/ 627310 h 1046508"/>
                  <a:gd name="connsiteX84" fmla="*/ 48816 w 1200744"/>
                  <a:gd name="connsiteY84" fmla="*/ 613012 h 1046508"/>
                  <a:gd name="connsiteX85" fmla="*/ 59346 w 1200744"/>
                  <a:gd name="connsiteY85" fmla="*/ 613012 h 1046508"/>
                  <a:gd name="connsiteX86" fmla="*/ 59247 w 1200744"/>
                  <a:gd name="connsiteY86" fmla="*/ 501147 h 1046508"/>
                  <a:gd name="connsiteX87" fmla="*/ 48816 w 1200744"/>
                  <a:gd name="connsiteY87" fmla="*/ 501147 h 1046508"/>
                  <a:gd name="connsiteX88" fmla="*/ 14298 w 1200744"/>
                  <a:gd name="connsiteY88" fmla="*/ 486849 h 1046508"/>
                  <a:gd name="connsiteX89" fmla="*/ 0 w 1200744"/>
                  <a:gd name="connsiteY89" fmla="*/ 452332 h 1046508"/>
                  <a:gd name="connsiteX90" fmla="*/ 14298 w 1200744"/>
                  <a:gd name="connsiteY90" fmla="*/ 417814 h 1046508"/>
                  <a:gd name="connsiteX91" fmla="*/ 48816 w 1200744"/>
                  <a:gd name="connsiteY91" fmla="*/ 403516 h 1046508"/>
                  <a:gd name="connsiteX92" fmla="*/ 59161 w 1200744"/>
                  <a:gd name="connsiteY92" fmla="*/ 403516 h 1046508"/>
                  <a:gd name="connsiteX93" fmla="*/ 59063 w 1200744"/>
                  <a:gd name="connsiteY93" fmla="*/ 291651 h 1046508"/>
                  <a:gd name="connsiteX94" fmla="*/ 48816 w 1200744"/>
                  <a:gd name="connsiteY94" fmla="*/ 291651 h 1046508"/>
                  <a:gd name="connsiteX95" fmla="*/ 14298 w 1200744"/>
                  <a:gd name="connsiteY95" fmla="*/ 277353 h 1046508"/>
                  <a:gd name="connsiteX96" fmla="*/ 0 w 1200744"/>
                  <a:gd name="connsiteY96" fmla="*/ 242836 h 1046508"/>
                  <a:gd name="connsiteX97" fmla="*/ 14298 w 1200744"/>
                  <a:gd name="connsiteY97" fmla="*/ 208318 h 1046508"/>
                  <a:gd name="connsiteX98" fmla="*/ 48816 w 1200744"/>
                  <a:gd name="connsiteY98" fmla="*/ 194020 h 1046508"/>
                  <a:gd name="connsiteX99" fmla="*/ 58977 w 1200744"/>
                  <a:gd name="connsiteY99" fmla="*/ 194020 h 1046508"/>
                  <a:gd name="connsiteX100" fmla="*/ 58806 w 1200744"/>
                  <a:gd name="connsiteY100"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1157493 w 1200744"/>
                  <a:gd name="connsiteY46" fmla="*/ 347675 h 1046508"/>
                  <a:gd name="connsiteX47" fmla="*/ 1200471 w 1200744"/>
                  <a:gd name="connsiteY47" fmla="*/ 381525 h 1046508"/>
                  <a:gd name="connsiteX48" fmla="*/ 1200470 w 1200744"/>
                  <a:gd name="connsiteY48" fmla="*/ 381526 h 1046508"/>
                  <a:gd name="connsiteX49" fmla="*/ 1166620 w 1200744"/>
                  <a:gd name="connsiteY49" fmla="*/ 424503 h 1046508"/>
                  <a:gd name="connsiteX50" fmla="*/ 883444 w 1200744"/>
                  <a:gd name="connsiteY50" fmla="*/ 458146 h 1046508"/>
                  <a:gd name="connsiteX51" fmla="*/ 883444 w 1200744"/>
                  <a:gd name="connsiteY51" fmla="*/ 506141 h 1046508"/>
                  <a:gd name="connsiteX52" fmla="*/ 792956 w 1200744"/>
                  <a:gd name="connsiteY52" fmla="*/ 516892 h 1046508"/>
                  <a:gd name="connsiteX53" fmla="*/ 792956 w 1200744"/>
                  <a:gd name="connsiteY53" fmla="*/ 468897 h 1046508"/>
                  <a:gd name="connsiteX54" fmla="*/ 688181 w 1200744"/>
                  <a:gd name="connsiteY54" fmla="*/ 481345 h 1046508"/>
                  <a:gd name="connsiteX55" fmla="*/ 688181 w 1200744"/>
                  <a:gd name="connsiteY55" fmla="*/ 529340 h 1046508"/>
                  <a:gd name="connsiteX56" fmla="*/ 418176 w 1200744"/>
                  <a:gd name="connsiteY56" fmla="*/ 561418 h 1046508"/>
                  <a:gd name="connsiteX57" fmla="*/ 392350 w 1200744"/>
                  <a:gd name="connsiteY57" fmla="*/ 575897 h 1046508"/>
                  <a:gd name="connsiteX58" fmla="*/ 384326 w 1200744"/>
                  <a:gd name="connsiteY58" fmla="*/ 604396 h 1046508"/>
                  <a:gd name="connsiteX59" fmla="*/ 398804 w 1200744"/>
                  <a:gd name="connsiteY59" fmla="*/ 630221 h 1046508"/>
                  <a:gd name="connsiteX60" fmla="*/ 427304 w 1200744"/>
                  <a:gd name="connsiteY60" fmla="*/ 638245 h 1046508"/>
                  <a:gd name="connsiteX61" fmla="*/ 1104900 w 1200744"/>
                  <a:gd name="connsiteY61" fmla="*/ 557742 h 1046508"/>
                  <a:gd name="connsiteX62" fmla="*/ 1104900 w 1200744"/>
                  <a:gd name="connsiteY62" fmla="*/ 558713 h 1046508"/>
                  <a:gd name="connsiteX63" fmla="*/ 1157491 w 1200744"/>
                  <a:gd name="connsiteY63" fmla="*/ 552464 h 1046508"/>
                  <a:gd name="connsiteX64" fmla="*/ 1200469 w 1200744"/>
                  <a:gd name="connsiteY64" fmla="*/ 586314 h 1046508"/>
                  <a:gd name="connsiteX65" fmla="*/ 1200468 w 1200744"/>
                  <a:gd name="connsiteY65" fmla="*/ 586314 h 1046508"/>
                  <a:gd name="connsiteX66" fmla="*/ 1166618 w 1200744"/>
                  <a:gd name="connsiteY66" fmla="*/ 629292 h 1046508"/>
                  <a:gd name="connsiteX67" fmla="*/ 1104900 w 1200744"/>
                  <a:gd name="connsiteY67" fmla="*/ 636624 h 1046508"/>
                  <a:gd name="connsiteX68" fmla="*/ 1104900 w 1200744"/>
                  <a:gd name="connsiteY68" fmla="*/ 817908 h 1046508"/>
                  <a:gd name="connsiteX69" fmla="*/ 971550 w 1200744"/>
                  <a:gd name="connsiteY69" fmla="*/ 946496 h 1046508"/>
                  <a:gd name="connsiteX70" fmla="*/ 752889 w 1200744"/>
                  <a:gd name="connsiteY70" fmla="*/ 946496 h 1046508"/>
                  <a:gd name="connsiteX71" fmla="*/ 749140 w 1200744"/>
                  <a:gd name="connsiteY71" fmla="*/ 965065 h 1046508"/>
                  <a:gd name="connsiteX72" fmla="*/ 626271 w 1200744"/>
                  <a:gd name="connsiteY72" fmla="*/ 1046508 h 1046508"/>
                  <a:gd name="connsiteX73" fmla="*/ 533770 w 1200744"/>
                  <a:gd name="connsiteY73" fmla="*/ 1046508 h 1046508"/>
                  <a:gd name="connsiteX74" fmla="*/ 410901 w 1200744"/>
                  <a:gd name="connsiteY74" fmla="*/ 965065 h 1046508"/>
                  <a:gd name="connsiteX75" fmla="*/ 407153 w 1200744"/>
                  <a:gd name="connsiteY75" fmla="*/ 946496 h 1046508"/>
                  <a:gd name="connsiteX76" fmla="*/ 190500 w 1200744"/>
                  <a:gd name="connsiteY76" fmla="*/ 946496 h 1046508"/>
                  <a:gd name="connsiteX77" fmla="*/ 59532 w 1200744"/>
                  <a:gd name="connsiteY77" fmla="*/ 825052 h 1046508"/>
                  <a:gd name="connsiteX78" fmla="*/ 59432 w 1200744"/>
                  <a:gd name="connsiteY78" fmla="*/ 710643 h 1046508"/>
                  <a:gd name="connsiteX79" fmla="*/ 48816 w 1200744"/>
                  <a:gd name="connsiteY79" fmla="*/ 710643 h 1046508"/>
                  <a:gd name="connsiteX80" fmla="*/ 14298 w 1200744"/>
                  <a:gd name="connsiteY80" fmla="*/ 696345 h 1046508"/>
                  <a:gd name="connsiteX81" fmla="*/ 0 w 1200744"/>
                  <a:gd name="connsiteY81" fmla="*/ 661828 h 1046508"/>
                  <a:gd name="connsiteX82" fmla="*/ 14298 w 1200744"/>
                  <a:gd name="connsiteY82" fmla="*/ 627310 h 1046508"/>
                  <a:gd name="connsiteX83" fmla="*/ 48816 w 1200744"/>
                  <a:gd name="connsiteY83" fmla="*/ 613012 h 1046508"/>
                  <a:gd name="connsiteX84" fmla="*/ 59346 w 1200744"/>
                  <a:gd name="connsiteY84" fmla="*/ 613012 h 1046508"/>
                  <a:gd name="connsiteX85" fmla="*/ 59247 w 1200744"/>
                  <a:gd name="connsiteY85" fmla="*/ 501147 h 1046508"/>
                  <a:gd name="connsiteX86" fmla="*/ 48816 w 1200744"/>
                  <a:gd name="connsiteY86" fmla="*/ 501147 h 1046508"/>
                  <a:gd name="connsiteX87" fmla="*/ 14298 w 1200744"/>
                  <a:gd name="connsiteY87" fmla="*/ 486849 h 1046508"/>
                  <a:gd name="connsiteX88" fmla="*/ 0 w 1200744"/>
                  <a:gd name="connsiteY88" fmla="*/ 452332 h 1046508"/>
                  <a:gd name="connsiteX89" fmla="*/ 14298 w 1200744"/>
                  <a:gd name="connsiteY89" fmla="*/ 417814 h 1046508"/>
                  <a:gd name="connsiteX90" fmla="*/ 48816 w 1200744"/>
                  <a:gd name="connsiteY90" fmla="*/ 403516 h 1046508"/>
                  <a:gd name="connsiteX91" fmla="*/ 59161 w 1200744"/>
                  <a:gd name="connsiteY91" fmla="*/ 403516 h 1046508"/>
                  <a:gd name="connsiteX92" fmla="*/ 59063 w 1200744"/>
                  <a:gd name="connsiteY92" fmla="*/ 291651 h 1046508"/>
                  <a:gd name="connsiteX93" fmla="*/ 48816 w 1200744"/>
                  <a:gd name="connsiteY93" fmla="*/ 291651 h 1046508"/>
                  <a:gd name="connsiteX94" fmla="*/ 14298 w 1200744"/>
                  <a:gd name="connsiteY94" fmla="*/ 277353 h 1046508"/>
                  <a:gd name="connsiteX95" fmla="*/ 0 w 1200744"/>
                  <a:gd name="connsiteY95" fmla="*/ 242836 h 1046508"/>
                  <a:gd name="connsiteX96" fmla="*/ 14298 w 1200744"/>
                  <a:gd name="connsiteY96" fmla="*/ 208318 h 1046508"/>
                  <a:gd name="connsiteX97" fmla="*/ 48816 w 1200744"/>
                  <a:gd name="connsiteY97" fmla="*/ 194020 h 1046508"/>
                  <a:gd name="connsiteX98" fmla="*/ 58977 w 1200744"/>
                  <a:gd name="connsiteY98" fmla="*/ 194020 h 1046508"/>
                  <a:gd name="connsiteX99" fmla="*/ 58806 w 1200744"/>
                  <a:gd name="connsiteY99"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83444 w 1200744"/>
                  <a:gd name="connsiteY34" fmla="*/ 235459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1157493 w 1200744"/>
                  <a:gd name="connsiteY45" fmla="*/ 347675 h 1046508"/>
                  <a:gd name="connsiteX46" fmla="*/ 1200471 w 1200744"/>
                  <a:gd name="connsiteY46" fmla="*/ 381525 h 1046508"/>
                  <a:gd name="connsiteX47" fmla="*/ 1200470 w 1200744"/>
                  <a:gd name="connsiteY47" fmla="*/ 381526 h 1046508"/>
                  <a:gd name="connsiteX48" fmla="*/ 1166620 w 1200744"/>
                  <a:gd name="connsiteY48" fmla="*/ 424503 h 1046508"/>
                  <a:gd name="connsiteX49" fmla="*/ 883444 w 1200744"/>
                  <a:gd name="connsiteY49" fmla="*/ 458146 h 1046508"/>
                  <a:gd name="connsiteX50" fmla="*/ 883444 w 1200744"/>
                  <a:gd name="connsiteY50" fmla="*/ 506141 h 1046508"/>
                  <a:gd name="connsiteX51" fmla="*/ 792956 w 1200744"/>
                  <a:gd name="connsiteY51" fmla="*/ 516892 h 1046508"/>
                  <a:gd name="connsiteX52" fmla="*/ 792956 w 1200744"/>
                  <a:gd name="connsiteY52" fmla="*/ 468897 h 1046508"/>
                  <a:gd name="connsiteX53" fmla="*/ 688181 w 1200744"/>
                  <a:gd name="connsiteY53" fmla="*/ 481345 h 1046508"/>
                  <a:gd name="connsiteX54" fmla="*/ 688181 w 1200744"/>
                  <a:gd name="connsiteY54" fmla="*/ 529340 h 1046508"/>
                  <a:gd name="connsiteX55" fmla="*/ 418176 w 1200744"/>
                  <a:gd name="connsiteY55" fmla="*/ 561418 h 1046508"/>
                  <a:gd name="connsiteX56" fmla="*/ 392350 w 1200744"/>
                  <a:gd name="connsiteY56" fmla="*/ 575897 h 1046508"/>
                  <a:gd name="connsiteX57" fmla="*/ 384326 w 1200744"/>
                  <a:gd name="connsiteY57" fmla="*/ 604396 h 1046508"/>
                  <a:gd name="connsiteX58" fmla="*/ 398804 w 1200744"/>
                  <a:gd name="connsiteY58" fmla="*/ 630221 h 1046508"/>
                  <a:gd name="connsiteX59" fmla="*/ 427304 w 1200744"/>
                  <a:gd name="connsiteY59" fmla="*/ 638245 h 1046508"/>
                  <a:gd name="connsiteX60" fmla="*/ 1104900 w 1200744"/>
                  <a:gd name="connsiteY60" fmla="*/ 557742 h 1046508"/>
                  <a:gd name="connsiteX61" fmla="*/ 1104900 w 1200744"/>
                  <a:gd name="connsiteY61" fmla="*/ 558713 h 1046508"/>
                  <a:gd name="connsiteX62" fmla="*/ 1157491 w 1200744"/>
                  <a:gd name="connsiteY62" fmla="*/ 552464 h 1046508"/>
                  <a:gd name="connsiteX63" fmla="*/ 1200469 w 1200744"/>
                  <a:gd name="connsiteY63" fmla="*/ 586314 h 1046508"/>
                  <a:gd name="connsiteX64" fmla="*/ 1200468 w 1200744"/>
                  <a:gd name="connsiteY64" fmla="*/ 586314 h 1046508"/>
                  <a:gd name="connsiteX65" fmla="*/ 1166618 w 1200744"/>
                  <a:gd name="connsiteY65" fmla="*/ 629292 h 1046508"/>
                  <a:gd name="connsiteX66" fmla="*/ 1104900 w 1200744"/>
                  <a:gd name="connsiteY66" fmla="*/ 636624 h 1046508"/>
                  <a:gd name="connsiteX67" fmla="*/ 1104900 w 1200744"/>
                  <a:gd name="connsiteY67" fmla="*/ 817908 h 1046508"/>
                  <a:gd name="connsiteX68" fmla="*/ 971550 w 1200744"/>
                  <a:gd name="connsiteY68" fmla="*/ 946496 h 1046508"/>
                  <a:gd name="connsiteX69" fmla="*/ 752889 w 1200744"/>
                  <a:gd name="connsiteY69" fmla="*/ 946496 h 1046508"/>
                  <a:gd name="connsiteX70" fmla="*/ 749140 w 1200744"/>
                  <a:gd name="connsiteY70" fmla="*/ 965065 h 1046508"/>
                  <a:gd name="connsiteX71" fmla="*/ 626271 w 1200744"/>
                  <a:gd name="connsiteY71" fmla="*/ 1046508 h 1046508"/>
                  <a:gd name="connsiteX72" fmla="*/ 533770 w 1200744"/>
                  <a:gd name="connsiteY72" fmla="*/ 1046508 h 1046508"/>
                  <a:gd name="connsiteX73" fmla="*/ 410901 w 1200744"/>
                  <a:gd name="connsiteY73" fmla="*/ 965065 h 1046508"/>
                  <a:gd name="connsiteX74" fmla="*/ 407153 w 1200744"/>
                  <a:gd name="connsiteY74" fmla="*/ 946496 h 1046508"/>
                  <a:gd name="connsiteX75" fmla="*/ 190500 w 1200744"/>
                  <a:gd name="connsiteY75" fmla="*/ 946496 h 1046508"/>
                  <a:gd name="connsiteX76" fmla="*/ 59532 w 1200744"/>
                  <a:gd name="connsiteY76" fmla="*/ 825052 h 1046508"/>
                  <a:gd name="connsiteX77" fmla="*/ 59432 w 1200744"/>
                  <a:gd name="connsiteY77" fmla="*/ 710643 h 1046508"/>
                  <a:gd name="connsiteX78" fmla="*/ 48816 w 1200744"/>
                  <a:gd name="connsiteY78" fmla="*/ 710643 h 1046508"/>
                  <a:gd name="connsiteX79" fmla="*/ 14298 w 1200744"/>
                  <a:gd name="connsiteY79" fmla="*/ 696345 h 1046508"/>
                  <a:gd name="connsiteX80" fmla="*/ 0 w 1200744"/>
                  <a:gd name="connsiteY80" fmla="*/ 661828 h 1046508"/>
                  <a:gd name="connsiteX81" fmla="*/ 14298 w 1200744"/>
                  <a:gd name="connsiteY81" fmla="*/ 627310 h 1046508"/>
                  <a:gd name="connsiteX82" fmla="*/ 48816 w 1200744"/>
                  <a:gd name="connsiteY82" fmla="*/ 613012 h 1046508"/>
                  <a:gd name="connsiteX83" fmla="*/ 59346 w 1200744"/>
                  <a:gd name="connsiteY83" fmla="*/ 613012 h 1046508"/>
                  <a:gd name="connsiteX84" fmla="*/ 59247 w 1200744"/>
                  <a:gd name="connsiteY84" fmla="*/ 501147 h 1046508"/>
                  <a:gd name="connsiteX85" fmla="*/ 48816 w 1200744"/>
                  <a:gd name="connsiteY85" fmla="*/ 501147 h 1046508"/>
                  <a:gd name="connsiteX86" fmla="*/ 14298 w 1200744"/>
                  <a:gd name="connsiteY86" fmla="*/ 486849 h 1046508"/>
                  <a:gd name="connsiteX87" fmla="*/ 0 w 1200744"/>
                  <a:gd name="connsiteY87" fmla="*/ 452332 h 1046508"/>
                  <a:gd name="connsiteX88" fmla="*/ 14298 w 1200744"/>
                  <a:gd name="connsiteY88" fmla="*/ 417814 h 1046508"/>
                  <a:gd name="connsiteX89" fmla="*/ 48816 w 1200744"/>
                  <a:gd name="connsiteY89" fmla="*/ 403516 h 1046508"/>
                  <a:gd name="connsiteX90" fmla="*/ 59161 w 1200744"/>
                  <a:gd name="connsiteY90" fmla="*/ 403516 h 1046508"/>
                  <a:gd name="connsiteX91" fmla="*/ 59063 w 1200744"/>
                  <a:gd name="connsiteY91" fmla="*/ 291651 h 1046508"/>
                  <a:gd name="connsiteX92" fmla="*/ 48816 w 1200744"/>
                  <a:gd name="connsiteY92" fmla="*/ 291651 h 1046508"/>
                  <a:gd name="connsiteX93" fmla="*/ 14298 w 1200744"/>
                  <a:gd name="connsiteY93" fmla="*/ 277353 h 1046508"/>
                  <a:gd name="connsiteX94" fmla="*/ 0 w 1200744"/>
                  <a:gd name="connsiteY94" fmla="*/ 242836 h 1046508"/>
                  <a:gd name="connsiteX95" fmla="*/ 14298 w 1200744"/>
                  <a:gd name="connsiteY95" fmla="*/ 208318 h 1046508"/>
                  <a:gd name="connsiteX96" fmla="*/ 48816 w 1200744"/>
                  <a:gd name="connsiteY96" fmla="*/ 194020 h 1046508"/>
                  <a:gd name="connsiteX97" fmla="*/ 58977 w 1200744"/>
                  <a:gd name="connsiteY97" fmla="*/ 194020 h 1046508"/>
                  <a:gd name="connsiteX98" fmla="*/ 58806 w 1200744"/>
                  <a:gd name="connsiteY98"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78682 w 1200744"/>
                  <a:gd name="connsiteY34" fmla="*/ 240221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1157493 w 1200744"/>
                  <a:gd name="connsiteY45" fmla="*/ 347675 h 1046508"/>
                  <a:gd name="connsiteX46" fmla="*/ 1200471 w 1200744"/>
                  <a:gd name="connsiteY46" fmla="*/ 381525 h 1046508"/>
                  <a:gd name="connsiteX47" fmla="*/ 1200470 w 1200744"/>
                  <a:gd name="connsiteY47" fmla="*/ 381526 h 1046508"/>
                  <a:gd name="connsiteX48" fmla="*/ 1166620 w 1200744"/>
                  <a:gd name="connsiteY48" fmla="*/ 424503 h 1046508"/>
                  <a:gd name="connsiteX49" fmla="*/ 883444 w 1200744"/>
                  <a:gd name="connsiteY49" fmla="*/ 458146 h 1046508"/>
                  <a:gd name="connsiteX50" fmla="*/ 883444 w 1200744"/>
                  <a:gd name="connsiteY50" fmla="*/ 506141 h 1046508"/>
                  <a:gd name="connsiteX51" fmla="*/ 792956 w 1200744"/>
                  <a:gd name="connsiteY51" fmla="*/ 516892 h 1046508"/>
                  <a:gd name="connsiteX52" fmla="*/ 792956 w 1200744"/>
                  <a:gd name="connsiteY52" fmla="*/ 468897 h 1046508"/>
                  <a:gd name="connsiteX53" fmla="*/ 688181 w 1200744"/>
                  <a:gd name="connsiteY53" fmla="*/ 481345 h 1046508"/>
                  <a:gd name="connsiteX54" fmla="*/ 688181 w 1200744"/>
                  <a:gd name="connsiteY54" fmla="*/ 529340 h 1046508"/>
                  <a:gd name="connsiteX55" fmla="*/ 418176 w 1200744"/>
                  <a:gd name="connsiteY55" fmla="*/ 561418 h 1046508"/>
                  <a:gd name="connsiteX56" fmla="*/ 392350 w 1200744"/>
                  <a:gd name="connsiteY56" fmla="*/ 575897 h 1046508"/>
                  <a:gd name="connsiteX57" fmla="*/ 384326 w 1200744"/>
                  <a:gd name="connsiteY57" fmla="*/ 604396 h 1046508"/>
                  <a:gd name="connsiteX58" fmla="*/ 398804 w 1200744"/>
                  <a:gd name="connsiteY58" fmla="*/ 630221 h 1046508"/>
                  <a:gd name="connsiteX59" fmla="*/ 427304 w 1200744"/>
                  <a:gd name="connsiteY59" fmla="*/ 638245 h 1046508"/>
                  <a:gd name="connsiteX60" fmla="*/ 1104900 w 1200744"/>
                  <a:gd name="connsiteY60" fmla="*/ 557742 h 1046508"/>
                  <a:gd name="connsiteX61" fmla="*/ 1104900 w 1200744"/>
                  <a:gd name="connsiteY61" fmla="*/ 558713 h 1046508"/>
                  <a:gd name="connsiteX62" fmla="*/ 1157491 w 1200744"/>
                  <a:gd name="connsiteY62" fmla="*/ 552464 h 1046508"/>
                  <a:gd name="connsiteX63" fmla="*/ 1200469 w 1200744"/>
                  <a:gd name="connsiteY63" fmla="*/ 586314 h 1046508"/>
                  <a:gd name="connsiteX64" fmla="*/ 1200468 w 1200744"/>
                  <a:gd name="connsiteY64" fmla="*/ 586314 h 1046508"/>
                  <a:gd name="connsiteX65" fmla="*/ 1166618 w 1200744"/>
                  <a:gd name="connsiteY65" fmla="*/ 629292 h 1046508"/>
                  <a:gd name="connsiteX66" fmla="*/ 1104900 w 1200744"/>
                  <a:gd name="connsiteY66" fmla="*/ 636624 h 1046508"/>
                  <a:gd name="connsiteX67" fmla="*/ 1104900 w 1200744"/>
                  <a:gd name="connsiteY67" fmla="*/ 817908 h 1046508"/>
                  <a:gd name="connsiteX68" fmla="*/ 971550 w 1200744"/>
                  <a:gd name="connsiteY68" fmla="*/ 946496 h 1046508"/>
                  <a:gd name="connsiteX69" fmla="*/ 752889 w 1200744"/>
                  <a:gd name="connsiteY69" fmla="*/ 946496 h 1046508"/>
                  <a:gd name="connsiteX70" fmla="*/ 749140 w 1200744"/>
                  <a:gd name="connsiteY70" fmla="*/ 965065 h 1046508"/>
                  <a:gd name="connsiteX71" fmla="*/ 626271 w 1200744"/>
                  <a:gd name="connsiteY71" fmla="*/ 1046508 h 1046508"/>
                  <a:gd name="connsiteX72" fmla="*/ 533770 w 1200744"/>
                  <a:gd name="connsiteY72" fmla="*/ 1046508 h 1046508"/>
                  <a:gd name="connsiteX73" fmla="*/ 410901 w 1200744"/>
                  <a:gd name="connsiteY73" fmla="*/ 965065 h 1046508"/>
                  <a:gd name="connsiteX74" fmla="*/ 407153 w 1200744"/>
                  <a:gd name="connsiteY74" fmla="*/ 946496 h 1046508"/>
                  <a:gd name="connsiteX75" fmla="*/ 190500 w 1200744"/>
                  <a:gd name="connsiteY75" fmla="*/ 946496 h 1046508"/>
                  <a:gd name="connsiteX76" fmla="*/ 59532 w 1200744"/>
                  <a:gd name="connsiteY76" fmla="*/ 825052 h 1046508"/>
                  <a:gd name="connsiteX77" fmla="*/ 59432 w 1200744"/>
                  <a:gd name="connsiteY77" fmla="*/ 710643 h 1046508"/>
                  <a:gd name="connsiteX78" fmla="*/ 48816 w 1200744"/>
                  <a:gd name="connsiteY78" fmla="*/ 710643 h 1046508"/>
                  <a:gd name="connsiteX79" fmla="*/ 14298 w 1200744"/>
                  <a:gd name="connsiteY79" fmla="*/ 696345 h 1046508"/>
                  <a:gd name="connsiteX80" fmla="*/ 0 w 1200744"/>
                  <a:gd name="connsiteY80" fmla="*/ 661828 h 1046508"/>
                  <a:gd name="connsiteX81" fmla="*/ 14298 w 1200744"/>
                  <a:gd name="connsiteY81" fmla="*/ 627310 h 1046508"/>
                  <a:gd name="connsiteX82" fmla="*/ 48816 w 1200744"/>
                  <a:gd name="connsiteY82" fmla="*/ 613012 h 1046508"/>
                  <a:gd name="connsiteX83" fmla="*/ 59346 w 1200744"/>
                  <a:gd name="connsiteY83" fmla="*/ 613012 h 1046508"/>
                  <a:gd name="connsiteX84" fmla="*/ 59247 w 1200744"/>
                  <a:gd name="connsiteY84" fmla="*/ 501147 h 1046508"/>
                  <a:gd name="connsiteX85" fmla="*/ 48816 w 1200744"/>
                  <a:gd name="connsiteY85" fmla="*/ 501147 h 1046508"/>
                  <a:gd name="connsiteX86" fmla="*/ 14298 w 1200744"/>
                  <a:gd name="connsiteY86" fmla="*/ 486849 h 1046508"/>
                  <a:gd name="connsiteX87" fmla="*/ 0 w 1200744"/>
                  <a:gd name="connsiteY87" fmla="*/ 452332 h 1046508"/>
                  <a:gd name="connsiteX88" fmla="*/ 14298 w 1200744"/>
                  <a:gd name="connsiteY88" fmla="*/ 417814 h 1046508"/>
                  <a:gd name="connsiteX89" fmla="*/ 48816 w 1200744"/>
                  <a:gd name="connsiteY89" fmla="*/ 403516 h 1046508"/>
                  <a:gd name="connsiteX90" fmla="*/ 59161 w 1200744"/>
                  <a:gd name="connsiteY90" fmla="*/ 403516 h 1046508"/>
                  <a:gd name="connsiteX91" fmla="*/ 59063 w 1200744"/>
                  <a:gd name="connsiteY91" fmla="*/ 291651 h 1046508"/>
                  <a:gd name="connsiteX92" fmla="*/ 48816 w 1200744"/>
                  <a:gd name="connsiteY92" fmla="*/ 291651 h 1046508"/>
                  <a:gd name="connsiteX93" fmla="*/ 14298 w 1200744"/>
                  <a:gd name="connsiteY93" fmla="*/ 277353 h 1046508"/>
                  <a:gd name="connsiteX94" fmla="*/ 0 w 1200744"/>
                  <a:gd name="connsiteY94" fmla="*/ 242836 h 1046508"/>
                  <a:gd name="connsiteX95" fmla="*/ 14298 w 1200744"/>
                  <a:gd name="connsiteY95" fmla="*/ 208318 h 1046508"/>
                  <a:gd name="connsiteX96" fmla="*/ 48816 w 1200744"/>
                  <a:gd name="connsiteY96" fmla="*/ 194020 h 1046508"/>
                  <a:gd name="connsiteX97" fmla="*/ 58977 w 1200744"/>
                  <a:gd name="connsiteY97" fmla="*/ 194020 h 1046508"/>
                  <a:gd name="connsiteX98" fmla="*/ 58806 w 1200744"/>
                  <a:gd name="connsiteY98" fmla="*/ 0 h 1046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200744" h="1046508">
                    <a:moveTo>
                      <a:pt x="269392" y="583922"/>
                    </a:moveTo>
                    <a:cubicBezTo>
                      <a:pt x="247034" y="583922"/>
                      <a:pt x="228910" y="602046"/>
                      <a:pt x="228910" y="624404"/>
                    </a:cubicBezTo>
                    <a:cubicBezTo>
                      <a:pt x="228910" y="646762"/>
                      <a:pt x="247034" y="664886"/>
                      <a:pt x="269392" y="664886"/>
                    </a:cubicBezTo>
                    <a:cubicBezTo>
                      <a:pt x="291750" y="664886"/>
                      <a:pt x="309874" y="646762"/>
                      <a:pt x="309874" y="624404"/>
                    </a:cubicBezTo>
                    <a:cubicBezTo>
                      <a:pt x="309874" y="602046"/>
                      <a:pt x="291750" y="583922"/>
                      <a:pt x="269392" y="583922"/>
                    </a:cubicBezTo>
                    <a:close/>
                    <a:moveTo>
                      <a:pt x="269392" y="373750"/>
                    </a:moveTo>
                    <a:cubicBezTo>
                      <a:pt x="247034" y="373750"/>
                      <a:pt x="228910" y="391874"/>
                      <a:pt x="228910" y="414232"/>
                    </a:cubicBezTo>
                    <a:cubicBezTo>
                      <a:pt x="228910" y="436590"/>
                      <a:pt x="247034" y="454714"/>
                      <a:pt x="269392" y="454714"/>
                    </a:cubicBezTo>
                    <a:cubicBezTo>
                      <a:pt x="291750" y="454714"/>
                      <a:pt x="309874" y="436590"/>
                      <a:pt x="309874" y="414232"/>
                    </a:cubicBezTo>
                    <a:cubicBezTo>
                      <a:pt x="309874" y="391874"/>
                      <a:pt x="291750" y="373750"/>
                      <a:pt x="269392" y="373750"/>
                    </a:cubicBezTo>
                    <a:close/>
                    <a:moveTo>
                      <a:pt x="269392" y="163063"/>
                    </a:moveTo>
                    <a:cubicBezTo>
                      <a:pt x="247034" y="163063"/>
                      <a:pt x="228910" y="181187"/>
                      <a:pt x="228910" y="203545"/>
                    </a:cubicBezTo>
                    <a:cubicBezTo>
                      <a:pt x="228910" y="225903"/>
                      <a:pt x="247034" y="244027"/>
                      <a:pt x="269392" y="244027"/>
                    </a:cubicBezTo>
                    <a:cubicBezTo>
                      <a:pt x="291750" y="244027"/>
                      <a:pt x="309874" y="225903"/>
                      <a:pt x="309874" y="203545"/>
                    </a:cubicBezTo>
                    <a:cubicBezTo>
                      <a:pt x="309874" y="181187"/>
                      <a:pt x="291750" y="163063"/>
                      <a:pt x="269392" y="163063"/>
                    </a:cubicBezTo>
                    <a:close/>
                    <a:moveTo>
                      <a:pt x="797719" y="0"/>
                    </a:moveTo>
                    <a:lnTo>
                      <a:pt x="883444" y="0"/>
                    </a:lnTo>
                    <a:lnTo>
                      <a:pt x="883444" y="79897"/>
                    </a:lnTo>
                    <a:lnTo>
                      <a:pt x="797719" y="90082"/>
                    </a:lnTo>
                    <a:lnTo>
                      <a:pt x="797719" y="0"/>
                    </a:lnTo>
                    <a:close/>
                    <a:moveTo>
                      <a:pt x="58806" y="0"/>
                    </a:moveTo>
                    <a:lnTo>
                      <a:pt x="692944" y="0"/>
                    </a:lnTo>
                    <a:lnTo>
                      <a:pt x="692944" y="102530"/>
                    </a:lnTo>
                    <a:lnTo>
                      <a:pt x="418176" y="135174"/>
                    </a:lnTo>
                    <a:cubicBezTo>
                      <a:pt x="407569" y="136435"/>
                      <a:pt x="398476" y="141875"/>
                      <a:pt x="392350" y="149653"/>
                    </a:cubicBezTo>
                    <a:lnTo>
                      <a:pt x="384326" y="178152"/>
                    </a:lnTo>
                    <a:lnTo>
                      <a:pt x="398804" y="203977"/>
                    </a:lnTo>
                    <a:cubicBezTo>
                      <a:pt x="406582" y="210103"/>
                      <a:pt x="416696" y="213262"/>
                      <a:pt x="427304" y="212001"/>
                    </a:cubicBezTo>
                    <a:lnTo>
                      <a:pt x="1104900" y="131498"/>
                    </a:lnTo>
                    <a:lnTo>
                      <a:pt x="1104900" y="134851"/>
                    </a:lnTo>
                    <a:lnTo>
                      <a:pt x="1157493" y="128603"/>
                    </a:lnTo>
                    <a:cubicBezTo>
                      <a:pt x="1178709" y="126082"/>
                      <a:pt x="1197951" y="141237"/>
                      <a:pt x="1200471" y="162453"/>
                    </a:cubicBezTo>
                    <a:lnTo>
                      <a:pt x="1200470" y="162453"/>
                    </a:lnTo>
                    <a:cubicBezTo>
                      <a:pt x="1202991" y="183669"/>
                      <a:pt x="1187836" y="202910"/>
                      <a:pt x="1166620" y="205431"/>
                    </a:cubicBezTo>
                    <a:lnTo>
                      <a:pt x="878682" y="240221"/>
                    </a:lnTo>
                    <a:lnTo>
                      <a:pt x="883444" y="298972"/>
                    </a:lnTo>
                    <a:lnTo>
                      <a:pt x="792956" y="309723"/>
                    </a:lnTo>
                    <a:lnTo>
                      <a:pt x="792956" y="265459"/>
                    </a:lnTo>
                    <a:lnTo>
                      <a:pt x="688181" y="265459"/>
                    </a:lnTo>
                    <a:lnTo>
                      <a:pt x="688181" y="322171"/>
                    </a:lnTo>
                    <a:lnTo>
                      <a:pt x="418176" y="354249"/>
                    </a:lnTo>
                    <a:cubicBezTo>
                      <a:pt x="407569" y="355510"/>
                      <a:pt x="398476" y="360950"/>
                      <a:pt x="392350" y="368728"/>
                    </a:cubicBezTo>
                    <a:lnTo>
                      <a:pt x="384326" y="397227"/>
                    </a:lnTo>
                    <a:lnTo>
                      <a:pt x="398804" y="423052"/>
                    </a:lnTo>
                    <a:cubicBezTo>
                      <a:pt x="406582" y="429178"/>
                      <a:pt x="416696" y="432337"/>
                      <a:pt x="427304" y="431076"/>
                    </a:cubicBezTo>
                    <a:lnTo>
                      <a:pt x="1157493" y="347675"/>
                    </a:lnTo>
                    <a:cubicBezTo>
                      <a:pt x="1178709" y="345155"/>
                      <a:pt x="1197950" y="360310"/>
                      <a:pt x="1200471" y="381525"/>
                    </a:cubicBezTo>
                    <a:lnTo>
                      <a:pt x="1200470" y="381526"/>
                    </a:lnTo>
                    <a:cubicBezTo>
                      <a:pt x="1202991" y="402741"/>
                      <a:pt x="1187836" y="421983"/>
                      <a:pt x="1166620" y="424503"/>
                    </a:cubicBezTo>
                    <a:lnTo>
                      <a:pt x="883444" y="458146"/>
                    </a:lnTo>
                    <a:lnTo>
                      <a:pt x="883444" y="506141"/>
                    </a:lnTo>
                    <a:lnTo>
                      <a:pt x="792956" y="516892"/>
                    </a:lnTo>
                    <a:lnTo>
                      <a:pt x="792956" y="468897"/>
                    </a:lnTo>
                    <a:lnTo>
                      <a:pt x="688181" y="481345"/>
                    </a:lnTo>
                    <a:lnTo>
                      <a:pt x="688181" y="529340"/>
                    </a:lnTo>
                    <a:lnTo>
                      <a:pt x="418176" y="561418"/>
                    </a:lnTo>
                    <a:cubicBezTo>
                      <a:pt x="407569" y="562679"/>
                      <a:pt x="398476" y="568119"/>
                      <a:pt x="392350" y="575897"/>
                    </a:cubicBezTo>
                    <a:lnTo>
                      <a:pt x="384326" y="604396"/>
                    </a:lnTo>
                    <a:lnTo>
                      <a:pt x="398804" y="630221"/>
                    </a:lnTo>
                    <a:cubicBezTo>
                      <a:pt x="406582" y="636347"/>
                      <a:pt x="416696" y="639506"/>
                      <a:pt x="427304" y="638245"/>
                    </a:cubicBezTo>
                    <a:lnTo>
                      <a:pt x="1104900" y="557742"/>
                    </a:lnTo>
                    <a:lnTo>
                      <a:pt x="1104900" y="558713"/>
                    </a:lnTo>
                    <a:lnTo>
                      <a:pt x="1157491" y="552464"/>
                    </a:lnTo>
                    <a:cubicBezTo>
                      <a:pt x="1178707" y="549944"/>
                      <a:pt x="1197948" y="565099"/>
                      <a:pt x="1200469" y="586314"/>
                    </a:cubicBezTo>
                    <a:lnTo>
                      <a:pt x="1200468" y="586314"/>
                    </a:lnTo>
                    <a:cubicBezTo>
                      <a:pt x="1202989" y="607530"/>
                      <a:pt x="1187834" y="626772"/>
                      <a:pt x="1166618" y="629292"/>
                    </a:cubicBezTo>
                    <a:lnTo>
                      <a:pt x="1104900" y="636624"/>
                    </a:lnTo>
                    <a:lnTo>
                      <a:pt x="1104900" y="817908"/>
                    </a:lnTo>
                    <a:lnTo>
                      <a:pt x="971550" y="946496"/>
                    </a:lnTo>
                    <a:lnTo>
                      <a:pt x="752889" y="946496"/>
                    </a:lnTo>
                    <a:lnTo>
                      <a:pt x="749140" y="965065"/>
                    </a:lnTo>
                    <a:cubicBezTo>
                      <a:pt x="728897" y="1012926"/>
                      <a:pt x="681506" y="1046508"/>
                      <a:pt x="626271" y="1046508"/>
                    </a:cubicBezTo>
                    <a:lnTo>
                      <a:pt x="533770" y="1046508"/>
                    </a:lnTo>
                    <a:cubicBezTo>
                      <a:pt x="478536" y="1046508"/>
                      <a:pt x="431145" y="1012926"/>
                      <a:pt x="410901" y="965065"/>
                    </a:cubicBezTo>
                    <a:lnTo>
                      <a:pt x="407153" y="946496"/>
                    </a:lnTo>
                    <a:lnTo>
                      <a:pt x="190500" y="946496"/>
                    </a:lnTo>
                    <a:lnTo>
                      <a:pt x="59532" y="825052"/>
                    </a:lnTo>
                    <a:cubicBezTo>
                      <a:pt x="59499" y="786916"/>
                      <a:pt x="59465" y="748779"/>
                      <a:pt x="59432" y="710643"/>
                    </a:cubicBezTo>
                    <a:lnTo>
                      <a:pt x="48816" y="710643"/>
                    </a:lnTo>
                    <a:cubicBezTo>
                      <a:pt x="35336" y="710643"/>
                      <a:pt x="23132" y="705179"/>
                      <a:pt x="14298" y="696345"/>
                    </a:cubicBezTo>
                    <a:lnTo>
                      <a:pt x="0" y="661828"/>
                    </a:lnTo>
                    <a:lnTo>
                      <a:pt x="14298" y="627310"/>
                    </a:lnTo>
                    <a:cubicBezTo>
                      <a:pt x="23132" y="618476"/>
                      <a:pt x="35336" y="613012"/>
                      <a:pt x="48816" y="613012"/>
                    </a:cubicBezTo>
                    <a:lnTo>
                      <a:pt x="59346" y="613012"/>
                    </a:lnTo>
                    <a:cubicBezTo>
                      <a:pt x="59313" y="575724"/>
                      <a:pt x="59280" y="538435"/>
                      <a:pt x="59247" y="501147"/>
                    </a:cubicBezTo>
                    <a:lnTo>
                      <a:pt x="48816" y="501147"/>
                    </a:lnTo>
                    <a:cubicBezTo>
                      <a:pt x="35336" y="501147"/>
                      <a:pt x="23132" y="495683"/>
                      <a:pt x="14298" y="486849"/>
                    </a:cubicBezTo>
                    <a:lnTo>
                      <a:pt x="0" y="452332"/>
                    </a:lnTo>
                    <a:lnTo>
                      <a:pt x="14298" y="417814"/>
                    </a:lnTo>
                    <a:cubicBezTo>
                      <a:pt x="23132" y="408980"/>
                      <a:pt x="35336" y="403516"/>
                      <a:pt x="48816" y="403516"/>
                    </a:cubicBezTo>
                    <a:lnTo>
                      <a:pt x="59161" y="403516"/>
                    </a:lnTo>
                    <a:cubicBezTo>
                      <a:pt x="59128" y="366228"/>
                      <a:pt x="59096" y="328939"/>
                      <a:pt x="59063" y="291651"/>
                    </a:cubicBezTo>
                    <a:lnTo>
                      <a:pt x="48816" y="291651"/>
                    </a:lnTo>
                    <a:cubicBezTo>
                      <a:pt x="35336" y="291651"/>
                      <a:pt x="23132" y="286187"/>
                      <a:pt x="14298" y="277353"/>
                    </a:cubicBezTo>
                    <a:lnTo>
                      <a:pt x="0" y="242836"/>
                    </a:lnTo>
                    <a:lnTo>
                      <a:pt x="14298" y="208318"/>
                    </a:lnTo>
                    <a:cubicBezTo>
                      <a:pt x="23132" y="199484"/>
                      <a:pt x="35336" y="194020"/>
                      <a:pt x="48816" y="194020"/>
                    </a:cubicBezTo>
                    <a:lnTo>
                      <a:pt x="58977" y="194020"/>
                    </a:lnTo>
                    <a:lnTo>
                      <a:pt x="58806"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201" name="Freeform 88">
                <a:extLst>
                  <a:ext uri="{FF2B5EF4-FFF2-40B4-BE49-F238E27FC236}">
                    <a16:creationId xmlns:a16="http://schemas.microsoft.com/office/drawing/2014/main" id="{71638FA9-4216-4778-814E-991C7DCA2553}"/>
                  </a:ext>
                </a:extLst>
              </p:cNvPr>
              <p:cNvSpPr/>
              <p:nvPr/>
            </p:nvSpPr>
            <p:spPr>
              <a:xfrm>
                <a:off x="4242295" y="1685754"/>
                <a:ext cx="3701002" cy="3743106"/>
              </a:xfrm>
              <a:custGeom>
                <a:avLst/>
                <a:gdLst>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0346 w 3701002"/>
                  <a:gd name="connsiteY11" fmla="*/ 3114359 h 3743106"/>
                  <a:gd name="connsiteX12" fmla="*/ 2659635 w 3701002"/>
                  <a:gd name="connsiteY12" fmla="*/ 3107286 h 3743106"/>
                  <a:gd name="connsiteX13" fmla="*/ 3122601 w 3701002"/>
                  <a:gd name="connsiteY13" fmla="*/ 2107732 h 3743106"/>
                  <a:gd name="connsiteX14" fmla="*/ 1850392 w 3701002"/>
                  <a:gd name="connsiteY14" fmla="*/ 812383 h 3743106"/>
                  <a:gd name="connsiteX15" fmla="*/ 578183 w 3701002"/>
                  <a:gd name="connsiteY15" fmla="*/ 2107732 h 3743106"/>
                  <a:gd name="connsiteX16" fmla="*/ 950805 w 3701002"/>
                  <a:gd name="connsiteY16" fmla="*/ 3023682 h 3743106"/>
                  <a:gd name="connsiteX17" fmla="*/ 1028685 w 3701002"/>
                  <a:gd name="connsiteY17" fmla="*/ 3095752 h 3743106"/>
                  <a:gd name="connsiteX18" fmla="*/ 1145044 w 3701002"/>
                  <a:gd name="connsiteY18" fmla="*/ 3252006 h 3743106"/>
                  <a:gd name="connsiteX19" fmla="*/ 1289824 w 3701002"/>
                  <a:gd name="connsiteY19" fmla="*/ 3549186 h 3743106"/>
                  <a:gd name="connsiteX20" fmla="*/ 1131709 w 3701002"/>
                  <a:gd name="connsiteY20" fmla="*/ 3739686 h 3743106"/>
                  <a:gd name="connsiteX21" fmla="*/ 881519 w 3701002"/>
                  <a:gd name="connsiteY21" fmla="*/ 3637451 h 3743106"/>
                  <a:gd name="connsiteX22" fmla="*/ 771664 w 3701002"/>
                  <a:gd name="connsiteY22" fmla="*/ 3290106 h 3743106"/>
                  <a:gd name="connsiteX23" fmla="*/ 377329 w 3701002"/>
                  <a:gd name="connsiteY23" fmla="*/ 3103416 h 3743106"/>
                  <a:gd name="connsiteX24" fmla="*/ 344944 w 3701002"/>
                  <a:gd name="connsiteY24" fmla="*/ 2482386 h 3743106"/>
                  <a:gd name="connsiteX25" fmla="*/ 139 w 3701002"/>
                  <a:gd name="connsiteY25" fmla="*/ 1970576 h 3743106"/>
                  <a:gd name="connsiteX26" fmla="*/ 451624 w 3701002"/>
                  <a:gd name="connsiteY26" fmla="*/ 1403521 h 3743106"/>
                  <a:gd name="connsiteX27" fmla="*/ 496709 w 3701002"/>
                  <a:gd name="connsiteY27" fmla="*/ 659301 h 3743106"/>
                  <a:gd name="connsiteX28" fmla="*/ 1199019 w 3701002"/>
                  <a:gd name="connsiteY28" fmla="*/ 517061 h 3743106"/>
                  <a:gd name="connsiteX29" fmla="*/ 1831479 w 3701002"/>
                  <a:gd name="connsiteY29"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028685 w 3701002"/>
                  <a:gd name="connsiteY16" fmla="*/ 3095752 h 3743106"/>
                  <a:gd name="connsiteX17" fmla="*/ 1145044 w 3701002"/>
                  <a:gd name="connsiteY17" fmla="*/ 3252006 h 3743106"/>
                  <a:gd name="connsiteX18" fmla="*/ 1289824 w 3701002"/>
                  <a:gd name="connsiteY18" fmla="*/ 3549186 h 3743106"/>
                  <a:gd name="connsiteX19" fmla="*/ 1131709 w 3701002"/>
                  <a:gd name="connsiteY19" fmla="*/ 3739686 h 3743106"/>
                  <a:gd name="connsiteX20" fmla="*/ 881519 w 3701002"/>
                  <a:gd name="connsiteY20" fmla="*/ 3637451 h 3743106"/>
                  <a:gd name="connsiteX21" fmla="*/ 771664 w 3701002"/>
                  <a:gd name="connsiteY21" fmla="*/ 3290106 h 3743106"/>
                  <a:gd name="connsiteX22" fmla="*/ 377329 w 3701002"/>
                  <a:gd name="connsiteY22" fmla="*/ 3103416 h 3743106"/>
                  <a:gd name="connsiteX23" fmla="*/ 344944 w 3701002"/>
                  <a:gd name="connsiteY23" fmla="*/ 2482386 h 3743106"/>
                  <a:gd name="connsiteX24" fmla="*/ 139 w 3701002"/>
                  <a:gd name="connsiteY24" fmla="*/ 1970576 h 3743106"/>
                  <a:gd name="connsiteX25" fmla="*/ 451624 w 3701002"/>
                  <a:gd name="connsiteY25" fmla="*/ 1403521 h 3743106"/>
                  <a:gd name="connsiteX26" fmla="*/ 496709 w 3701002"/>
                  <a:gd name="connsiteY26" fmla="*/ 659301 h 3743106"/>
                  <a:gd name="connsiteX27" fmla="*/ 1199019 w 3701002"/>
                  <a:gd name="connsiteY27" fmla="*/ 517061 h 3743106"/>
                  <a:gd name="connsiteX28" fmla="*/ 1831479 w 3701002"/>
                  <a:gd name="connsiteY28"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145044 w 3701002"/>
                  <a:gd name="connsiteY16" fmla="*/ 3252006 h 3743106"/>
                  <a:gd name="connsiteX17" fmla="*/ 1289824 w 3701002"/>
                  <a:gd name="connsiteY17" fmla="*/ 3549186 h 3743106"/>
                  <a:gd name="connsiteX18" fmla="*/ 1131709 w 3701002"/>
                  <a:gd name="connsiteY18" fmla="*/ 3739686 h 3743106"/>
                  <a:gd name="connsiteX19" fmla="*/ 881519 w 3701002"/>
                  <a:gd name="connsiteY19" fmla="*/ 3637451 h 3743106"/>
                  <a:gd name="connsiteX20" fmla="*/ 771664 w 3701002"/>
                  <a:gd name="connsiteY20" fmla="*/ 3290106 h 3743106"/>
                  <a:gd name="connsiteX21" fmla="*/ 377329 w 3701002"/>
                  <a:gd name="connsiteY21" fmla="*/ 3103416 h 3743106"/>
                  <a:gd name="connsiteX22" fmla="*/ 344944 w 3701002"/>
                  <a:gd name="connsiteY22" fmla="*/ 2482386 h 3743106"/>
                  <a:gd name="connsiteX23" fmla="*/ 139 w 3701002"/>
                  <a:gd name="connsiteY23" fmla="*/ 1970576 h 3743106"/>
                  <a:gd name="connsiteX24" fmla="*/ 451624 w 3701002"/>
                  <a:gd name="connsiteY24" fmla="*/ 1403521 h 3743106"/>
                  <a:gd name="connsiteX25" fmla="*/ 496709 w 3701002"/>
                  <a:gd name="connsiteY25" fmla="*/ 659301 h 3743106"/>
                  <a:gd name="connsiteX26" fmla="*/ 1199019 w 3701002"/>
                  <a:gd name="connsiteY26" fmla="*/ 517061 h 3743106"/>
                  <a:gd name="connsiteX27" fmla="*/ 1831479 w 3701002"/>
                  <a:gd name="connsiteY27"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145044 w 3701002"/>
                  <a:gd name="connsiteY16" fmla="*/ 3252006 h 3743106"/>
                  <a:gd name="connsiteX17" fmla="*/ 1289824 w 3701002"/>
                  <a:gd name="connsiteY17" fmla="*/ 3549186 h 3743106"/>
                  <a:gd name="connsiteX18" fmla="*/ 1131709 w 3701002"/>
                  <a:gd name="connsiteY18" fmla="*/ 3739686 h 3743106"/>
                  <a:gd name="connsiteX19" fmla="*/ 881519 w 3701002"/>
                  <a:gd name="connsiteY19" fmla="*/ 3637451 h 3743106"/>
                  <a:gd name="connsiteX20" fmla="*/ 771664 w 3701002"/>
                  <a:gd name="connsiteY20" fmla="*/ 3290106 h 3743106"/>
                  <a:gd name="connsiteX21" fmla="*/ 377329 w 3701002"/>
                  <a:gd name="connsiteY21" fmla="*/ 3103416 h 3743106"/>
                  <a:gd name="connsiteX22" fmla="*/ 344944 w 3701002"/>
                  <a:gd name="connsiteY22" fmla="*/ 2482386 h 3743106"/>
                  <a:gd name="connsiteX23" fmla="*/ 139 w 3701002"/>
                  <a:gd name="connsiteY23" fmla="*/ 1970576 h 3743106"/>
                  <a:gd name="connsiteX24" fmla="*/ 451624 w 3701002"/>
                  <a:gd name="connsiteY24" fmla="*/ 1403521 h 3743106"/>
                  <a:gd name="connsiteX25" fmla="*/ 496709 w 3701002"/>
                  <a:gd name="connsiteY25" fmla="*/ 659301 h 3743106"/>
                  <a:gd name="connsiteX26" fmla="*/ 1199019 w 3701002"/>
                  <a:gd name="connsiteY26" fmla="*/ 517061 h 3743106"/>
                  <a:gd name="connsiteX27" fmla="*/ 1831479 w 3701002"/>
                  <a:gd name="connsiteY27" fmla="*/ 171 h 3743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701002" h="3743106">
                    <a:moveTo>
                      <a:pt x="1831479" y="171"/>
                    </a:moveTo>
                    <a:cubicBezTo>
                      <a:pt x="2193958" y="-9460"/>
                      <a:pt x="2228989" y="388262"/>
                      <a:pt x="2478544" y="516426"/>
                    </a:cubicBezTo>
                    <a:cubicBezTo>
                      <a:pt x="2724924" y="638240"/>
                      <a:pt x="3031735" y="420753"/>
                      <a:pt x="3214509" y="673906"/>
                    </a:cubicBezTo>
                    <a:cubicBezTo>
                      <a:pt x="3397283" y="927059"/>
                      <a:pt x="3125874" y="1106394"/>
                      <a:pt x="3270389" y="1425746"/>
                    </a:cubicBezTo>
                    <a:cubicBezTo>
                      <a:pt x="3414904" y="1745098"/>
                      <a:pt x="3685678" y="1679112"/>
                      <a:pt x="3700601" y="1942319"/>
                    </a:cubicBezTo>
                    <a:cubicBezTo>
                      <a:pt x="3712349" y="2221401"/>
                      <a:pt x="3463112" y="2181714"/>
                      <a:pt x="3354844" y="2512866"/>
                    </a:cubicBezTo>
                    <a:cubicBezTo>
                      <a:pt x="3238639" y="2836081"/>
                      <a:pt x="3476765" y="2888309"/>
                      <a:pt x="3320872" y="3113258"/>
                    </a:cubicBezTo>
                    <a:cubicBezTo>
                      <a:pt x="3231655" y="3262007"/>
                      <a:pt x="3076132" y="3153476"/>
                      <a:pt x="2933839" y="3291059"/>
                    </a:cubicBezTo>
                    <a:cubicBezTo>
                      <a:pt x="2791546" y="3428642"/>
                      <a:pt x="2888756" y="3603161"/>
                      <a:pt x="2771914" y="3691109"/>
                    </a:cubicBezTo>
                    <a:cubicBezTo>
                      <a:pt x="2688410" y="3783819"/>
                      <a:pt x="2499817" y="3735717"/>
                      <a:pt x="2440444" y="3640626"/>
                    </a:cubicBezTo>
                    <a:cubicBezTo>
                      <a:pt x="2381071" y="3545535"/>
                      <a:pt x="2441714" y="3442506"/>
                      <a:pt x="2501404" y="3320586"/>
                    </a:cubicBezTo>
                    <a:lnTo>
                      <a:pt x="2659635" y="3107286"/>
                    </a:lnTo>
                    <a:cubicBezTo>
                      <a:pt x="2942380" y="2869700"/>
                      <a:pt x="3122601" y="2510145"/>
                      <a:pt x="3122601" y="2107732"/>
                    </a:cubicBezTo>
                    <a:cubicBezTo>
                      <a:pt x="3122601" y="1392331"/>
                      <a:pt x="2553014" y="812383"/>
                      <a:pt x="1850392" y="812383"/>
                    </a:cubicBezTo>
                    <a:cubicBezTo>
                      <a:pt x="1147770" y="812383"/>
                      <a:pt x="578183" y="1392331"/>
                      <a:pt x="578183" y="2107732"/>
                    </a:cubicBezTo>
                    <a:cubicBezTo>
                      <a:pt x="578183" y="2465433"/>
                      <a:pt x="720580" y="2789270"/>
                      <a:pt x="950805" y="3023682"/>
                    </a:cubicBezTo>
                    <a:cubicBezTo>
                      <a:pt x="1039364" y="3104553"/>
                      <a:pt x="1080298" y="3175898"/>
                      <a:pt x="1145044" y="3252006"/>
                    </a:cubicBezTo>
                    <a:cubicBezTo>
                      <a:pt x="1213624" y="3361226"/>
                      <a:pt x="1292047" y="3467906"/>
                      <a:pt x="1289824" y="3549186"/>
                    </a:cubicBezTo>
                    <a:cubicBezTo>
                      <a:pt x="1287602" y="3630466"/>
                      <a:pt x="1199760" y="3724975"/>
                      <a:pt x="1131709" y="3739686"/>
                    </a:cubicBezTo>
                    <a:cubicBezTo>
                      <a:pt x="1063658" y="3754397"/>
                      <a:pt x="935176" y="3721906"/>
                      <a:pt x="881519" y="3637451"/>
                    </a:cubicBezTo>
                    <a:cubicBezTo>
                      <a:pt x="827862" y="3552996"/>
                      <a:pt x="922371" y="3429912"/>
                      <a:pt x="771664" y="3290106"/>
                    </a:cubicBezTo>
                    <a:cubicBezTo>
                      <a:pt x="620957" y="3150300"/>
                      <a:pt x="489724" y="3259626"/>
                      <a:pt x="377329" y="3103416"/>
                    </a:cubicBezTo>
                    <a:cubicBezTo>
                      <a:pt x="245884" y="2847193"/>
                      <a:pt x="472103" y="2764062"/>
                      <a:pt x="344944" y="2482386"/>
                    </a:cubicBezTo>
                    <a:cubicBezTo>
                      <a:pt x="189211" y="2141178"/>
                      <a:pt x="8552" y="2246432"/>
                      <a:pt x="139" y="1970576"/>
                    </a:cubicBezTo>
                    <a:cubicBezTo>
                      <a:pt x="-7481" y="1701865"/>
                      <a:pt x="299012" y="1730017"/>
                      <a:pt x="451624" y="1403521"/>
                    </a:cubicBezTo>
                    <a:cubicBezTo>
                      <a:pt x="528036" y="943675"/>
                      <a:pt x="318168" y="908644"/>
                      <a:pt x="496709" y="659301"/>
                    </a:cubicBezTo>
                    <a:cubicBezTo>
                      <a:pt x="675250" y="409958"/>
                      <a:pt x="956978" y="650728"/>
                      <a:pt x="1199019" y="517061"/>
                    </a:cubicBezTo>
                    <a:cubicBezTo>
                      <a:pt x="1485510" y="418319"/>
                      <a:pt x="1469000" y="9802"/>
                      <a:pt x="1831479" y="171"/>
                    </a:cubicBez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grpSp>
      </p:grpSp>
      <p:sp>
        <p:nvSpPr>
          <p:cNvPr id="202" name="Rectangle 201">
            <a:extLst>
              <a:ext uri="{FF2B5EF4-FFF2-40B4-BE49-F238E27FC236}">
                <a16:creationId xmlns:a16="http://schemas.microsoft.com/office/drawing/2014/main" id="{22683802-75F6-473A-8B94-953A62AFBFBC}"/>
              </a:ext>
            </a:extLst>
          </p:cNvPr>
          <p:cNvSpPr/>
          <p:nvPr/>
        </p:nvSpPr>
        <p:spPr>
          <a:xfrm>
            <a:off x="1708463" y="5410787"/>
            <a:ext cx="1722161" cy="738664"/>
          </a:xfrm>
          <a:prstGeom prst="rect">
            <a:avLst/>
          </a:prstGeom>
        </p:spPr>
        <p:txBody>
          <a:bodyPr wrap="square">
            <a:sp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prstClr val="black"/>
                </a:solidFill>
                <a:effectLst/>
                <a:uLnTx/>
                <a:uFillTx/>
                <a:latin typeface="+mj-lt"/>
                <a:ea typeface="+mn-ea"/>
                <a:cs typeface="Segoe UI Semilight" panose="020B0402040204020203" pitchFamily="34" charset="0"/>
              </a:rPr>
              <a:t>reduction in cost per policy after transformation </a:t>
            </a:r>
          </a:p>
        </p:txBody>
      </p:sp>
      <p:sp>
        <p:nvSpPr>
          <p:cNvPr id="203" name="TextBox 202">
            <a:extLst>
              <a:ext uri="{FF2B5EF4-FFF2-40B4-BE49-F238E27FC236}">
                <a16:creationId xmlns:a16="http://schemas.microsoft.com/office/drawing/2014/main" id="{3EE75F51-C7B9-42A5-B15F-9D9CDD9FEBDA}"/>
              </a:ext>
            </a:extLst>
          </p:cNvPr>
          <p:cNvSpPr txBox="1"/>
          <p:nvPr/>
        </p:nvSpPr>
        <p:spPr>
          <a:xfrm>
            <a:off x="2110273" y="4935054"/>
            <a:ext cx="893193" cy="523220"/>
          </a:xfrm>
          <a:prstGeom prst="rect">
            <a:avLst/>
          </a:prstGeom>
          <a:solidFill>
            <a:schemeClr val="bg1"/>
          </a:solidFill>
        </p:spPr>
        <p:txBody>
          <a:bodyPr wrap="none" rtlCol="0">
            <a:spAutoFit/>
          </a:bodyPr>
          <a:lstStyle>
            <a:defPPr>
              <a:defRPr lang="en-US"/>
            </a:defPPr>
            <a:lvl1pPr defTabSz="914377" fontAlgn="base">
              <a:spcBef>
                <a:spcPct val="0"/>
              </a:spcBef>
              <a:spcAft>
                <a:spcPct val="0"/>
              </a:spcAft>
              <a:defRPr sz="2000" b="1" kern="0">
                <a:solidFill>
                  <a:schemeClr val="accent1"/>
                </a:solidFill>
                <a:cs typeface="Arial" charset="0"/>
              </a:defRPr>
            </a:lvl1pPr>
          </a:lstStyle>
          <a:p>
            <a:pPr marL="0" marR="0" lvl="0" indent="0" algn="l" defTabSz="914377" rtl="0" eaLnBrk="1" fontAlgn="base" latinLnBrk="0" hangingPunct="1">
              <a:lnSpc>
                <a:spcPct val="100000"/>
              </a:lnSpc>
              <a:spcBef>
                <a:spcPct val="0"/>
              </a:spcBef>
              <a:spcAft>
                <a:spcPct val="0"/>
              </a:spcAft>
              <a:buClrTx/>
              <a:buSzTx/>
              <a:buFontTx/>
              <a:buNone/>
              <a:tabLst/>
              <a:defRPr/>
            </a:pPr>
            <a:r>
              <a:rPr lang="en-US" sz="2800">
                <a:solidFill>
                  <a:srgbClr val="0066A1"/>
                </a:solidFill>
                <a:latin typeface="+mj-lt"/>
              </a:rPr>
              <a:t>66</a:t>
            </a:r>
            <a:r>
              <a:rPr kumimoji="0" lang="en-US" sz="2800" b="1" i="0" u="none" strike="noStrike" kern="0" cap="none" spc="0" normalizeH="0" baseline="0" noProof="0">
                <a:ln>
                  <a:noFill/>
                </a:ln>
                <a:solidFill>
                  <a:srgbClr val="0066A1"/>
                </a:solidFill>
                <a:effectLst/>
                <a:uLnTx/>
                <a:uFillTx/>
                <a:latin typeface="+mj-lt"/>
                <a:ea typeface="+mn-ea"/>
                <a:cs typeface="Arial" charset="0"/>
              </a:rPr>
              <a:t>%</a:t>
            </a:r>
          </a:p>
        </p:txBody>
      </p:sp>
      <p:sp>
        <p:nvSpPr>
          <p:cNvPr id="204" name="Rectangle 203">
            <a:extLst>
              <a:ext uri="{FF2B5EF4-FFF2-40B4-BE49-F238E27FC236}">
                <a16:creationId xmlns:a16="http://schemas.microsoft.com/office/drawing/2014/main" id="{63DFCD6D-DC3C-4C32-A81A-DB27435622A4}"/>
              </a:ext>
            </a:extLst>
          </p:cNvPr>
          <p:cNvSpPr/>
          <p:nvPr/>
        </p:nvSpPr>
        <p:spPr bwMode="auto">
          <a:xfrm>
            <a:off x="6398204" y="3026363"/>
            <a:ext cx="5222296" cy="457200"/>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indent="0" defTabSz="932123" fontAlgn="base">
              <a:lnSpc>
                <a:spcPct val="100000"/>
              </a:lnSpc>
              <a:spcBef>
                <a:spcPct val="0"/>
              </a:spcBef>
              <a:spcAft>
                <a:spcPct val="0"/>
              </a:spcAft>
              <a:buClrTx/>
              <a:buSzTx/>
              <a:buFontTx/>
              <a:buNone/>
              <a:tabLst/>
              <a:defRPr/>
            </a:pPr>
            <a:r>
              <a:rPr lang="en-US" sz="1400" kern="0" dirty="0">
                <a:solidFill>
                  <a:prstClr val="black"/>
                </a:solidFill>
                <a:cs typeface="Arial" panose="020B0604020202020204" pitchFamily="34" charset="0"/>
              </a:rPr>
              <a:t>Policy data migration from legacy systems to Sapiens with automated tool-based data migration approach</a:t>
            </a:r>
          </a:p>
        </p:txBody>
      </p:sp>
    </p:spTree>
    <p:extLst>
      <p:ext uri="{BB962C8B-B14F-4D97-AF65-F5344CB8AC3E}">
        <p14:creationId xmlns:p14="http://schemas.microsoft.com/office/powerpoint/2010/main" val="239240525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bwMode="auto">
          <a:xfrm>
            <a:off x="244937" y="1725311"/>
            <a:ext cx="6740377" cy="1452466"/>
          </a:xfrm>
          <a:prstGeom prst="rect">
            <a:avLst/>
          </a:prstGeom>
          <a:noFill/>
          <a:ln>
            <a:noFill/>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indent="-225425" defTabSz="932123" fontAlgn="base">
              <a:spcBef>
                <a:spcPts val="600"/>
              </a:spcBef>
              <a:spcAft>
                <a:spcPts val="600"/>
              </a:spcAft>
              <a:buClr>
                <a:srgbClr val="0066A1"/>
              </a:buClr>
              <a:buSzPct val="80000"/>
              <a:buFont typeface="Lucida Sans Unicode" panose="020B0602030504020204" pitchFamily="34" charset="0"/>
              <a:buChar char="▶"/>
              <a:defRPr/>
            </a:pPr>
            <a:r>
              <a:rPr lang="en-US" sz="1400" kern="0">
                <a:solidFill>
                  <a:prstClr val="black"/>
                </a:solidFill>
                <a:cs typeface="Arial" panose="020B0604020202020204" pitchFamily="34" charset="0"/>
              </a:rPr>
              <a:t>Legacy Policy Admin Systems – </a:t>
            </a:r>
            <a:r>
              <a:rPr lang="en-US" sz="1400" kern="0" err="1">
                <a:solidFill>
                  <a:prstClr val="black"/>
                </a:solidFill>
                <a:cs typeface="Arial" panose="020B0604020202020204" pitchFamily="34" charset="0"/>
              </a:rPr>
              <a:t>LANMark</a:t>
            </a:r>
            <a:r>
              <a:rPr lang="en-US" sz="1400" kern="0">
                <a:solidFill>
                  <a:prstClr val="black"/>
                </a:solidFill>
                <a:cs typeface="Arial" panose="020B0604020202020204" pitchFamily="34" charset="0"/>
              </a:rPr>
              <a:t>, Vantage, TRAD</a:t>
            </a:r>
          </a:p>
          <a:p>
            <a:pPr indent="-225425" defTabSz="932123" fontAlgn="base">
              <a:spcBef>
                <a:spcPts val="600"/>
              </a:spcBef>
              <a:spcAft>
                <a:spcPts val="600"/>
              </a:spcAft>
              <a:buClr>
                <a:srgbClr val="0066A1"/>
              </a:buClr>
              <a:buSzPct val="80000"/>
              <a:buFont typeface="Lucida Sans Unicode" panose="020B0602030504020204" pitchFamily="34" charset="0"/>
              <a:buChar char="▶"/>
              <a:defRPr/>
            </a:pPr>
            <a:r>
              <a:rPr lang="en-US" sz="1400" kern="0">
                <a:solidFill>
                  <a:prstClr val="black"/>
                </a:solidFill>
                <a:cs typeface="Arial" panose="020B0604020202020204" pitchFamily="34" charset="0"/>
              </a:rPr>
              <a:t>Need to improve “Speed to Market” for new products</a:t>
            </a:r>
          </a:p>
          <a:p>
            <a:pPr indent="-225425" defTabSz="932123" fontAlgn="base">
              <a:spcBef>
                <a:spcPts val="600"/>
              </a:spcBef>
              <a:spcAft>
                <a:spcPts val="600"/>
              </a:spcAft>
              <a:buClr>
                <a:srgbClr val="0066A1"/>
              </a:buClr>
              <a:buSzPct val="80000"/>
              <a:buFont typeface="Lucida Sans Unicode" panose="020B0602030504020204" pitchFamily="34" charset="0"/>
              <a:buChar char="▶"/>
              <a:defRPr/>
            </a:pPr>
            <a:r>
              <a:rPr lang="en-US" sz="1400" kern="0">
                <a:solidFill>
                  <a:prstClr val="black"/>
                </a:solidFill>
                <a:cs typeface="Arial" panose="020B0604020202020204" pitchFamily="34" charset="0"/>
              </a:rPr>
              <a:t>Improve distributor and customer servicing</a:t>
            </a:r>
          </a:p>
        </p:txBody>
      </p:sp>
      <p:sp>
        <p:nvSpPr>
          <p:cNvPr id="6" name="Title 5"/>
          <p:cNvSpPr>
            <a:spLocks noGrp="1"/>
          </p:cNvSpPr>
          <p:nvPr>
            <p:ph type="title"/>
          </p:nvPr>
        </p:nvSpPr>
        <p:spPr/>
        <p:txBody>
          <a:bodyPr vert="horz" lIns="0" tIns="45720" rIns="91440" bIns="45720" rtlCol="0" anchor="ctr">
            <a:normAutofit fontScale="90000"/>
          </a:bodyPr>
          <a:lstStyle/>
          <a:p>
            <a:r>
              <a:rPr lang="en-US" sz="2800"/>
              <a:t>Core System Modernization @ Leading Life and Annuities Services provider</a:t>
            </a:r>
          </a:p>
        </p:txBody>
      </p:sp>
      <p:sp>
        <p:nvSpPr>
          <p:cNvPr id="18" name="Rectangle 17"/>
          <p:cNvSpPr/>
          <p:nvPr/>
        </p:nvSpPr>
        <p:spPr>
          <a:xfrm>
            <a:off x="0" y="1058551"/>
            <a:ext cx="12210067" cy="557790"/>
          </a:xfrm>
          <a:prstGeom prst="rect">
            <a:avLst/>
          </a:prstGeom>
          <a:solidFill>
            <a:srgbClr val="0070C0"/>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274320" tIns="91440" rIns="91440" bIns="91440" numCol="1" spcCol="0" rtlCol="0" fromWordArt="0" anchor="ctr" anchorCtr="0" forceAA="0" compatLnSpc="1">
            <a:prstTxWarp prst="textNoShape">
              <a:avLst/>
            </a:prstTxWarp>
            <a:noAutofit/>
          </a:bodyPr>
          <a:lstStyle/>
          <a:p>
            <a:pPr marL="0" lvl="2" algn="ctr"/>
            <a:r>
              <a:rPr lang="en-US" sz="2000" b="1" kern="0">
                <a:solidFill>
                  <a:prstClr val="white"/>
                </a:solidFill>
                <a:latin typeface="+mj-lt"/>
              </a:rPr>
              <a:t>Consolidation and Modernization of Legacy Policy Admin System to Oracle </a:t>
            </a:r>
            <a:r>
              <a:rPr lang="en-US" sz="2000" b="1" kern="0" err="1">
                <a:solidFill>
                  <a:prstClr val="white"/>
                </a:solidFill>
                <a:latin typeface="+mj-lt"/>
              </a:rPr>
              <a:t>AdminServer</a:t>
            </a:r>
            <a:endParaRPr lang="en-US" sz="2000" b="1" kern="0">
              <a:solidFill>
                <a:prstClr val="white"/>
              </a:solidFill>
              <a:latin typeface="+mj-lt"/>
            </a:endParaRPr>
          </a:p>
        </p:txBody>
      </p:sp>
      <p:sp>
        <p:nvSpPr>
          <p:cNvPr id="30" name="TextBox 29"/>
          <p:cNvSpPr txBox="1"/>
          <p:nvPr/>
        </p:nvSpPr>
        <p:spPr>
          <a:xfrm>
            <a:off x="387473" y="3382055"/>
            <a:ext cx="158168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prstClr val="black"/>
                </a:solidFill>
                <a:effectLst/>
                <a:uLnTx/>
                <a:uFillTx/>
                <a:latin typeface="+mj-lt"/>
                <a:ea typeface="+mn-ea"/>
                <a:cs typeface="Arial" charset="0"/>
              </a:rPr>
              <a:t>RESULTS</a:t>
            </a:r>
            <a:endParaRPr kumimoji="0" lang="en-US" sz="1800" b="0" i="0" u="none" strike="noStrike" kern="0" cap="none" spc="0" normalizeH="0" baseline="0" noProof="0">
              <a:ln>
                <a:noFill/>
              </a:ln>
              <a:solidFill>
                <a:prstClr val="black"/>
              </a:solidFill>
              <a:effectLst/>
              <a:uLnTx/>
              <a:uFillTx/>
              <a:latin typeface="+mj-lt"/>
              <a:ea typeface="+mn-ea"/>
              <a:cs typeface="Arial" charset="0"/>
            </a:endParaRPr>
          </a:p>
        </p:txBody>
      </p:sp>
      <p:sp>
        <p:nvSpPr>
          <p:cNvPr id="38" name="Oval 37"/>
          <p:cNvSpPr/>
          <p:nvPr/>
        </p:nvSpPr>
        <p:spPr bwMode="auto">
          <a:xfrm>
            <a:off x="501116" y="3867559"/>
            <a:ext cx="914400" cy="914400"/>
          </a:xfrm>
          <a:prstGeom prst="ellipse">
            <a:avLst/>
          </a:prstGeom>
          <a:solidFill>
            <a:schemeClr val="bg1">
              <a:lumMod val="95000"/>
            </a:schemeClr>
          </a:solidFill>
          <a:ln w="38100" cap="flat" cmpd="sng" algn="ctr">
            <a:noFill/>
            <a:prstDash val="solid"/>
            <a:headEnd type="none" w="med" len="med"/>
            <a:tailEnd type="none" w="med" len="med"/>
          </a:ln>
          <a:effectLst>
            <a:innerShdw blurRad="114300">
              <a:prstClr val="black"/>
            </a:innerShdw>
          </a:effectLst>
        </p:spPr>
        <p:txBody>
          <a:bodyPr vert="horz" wrap="square" lIns="0" tIns="0" rIns="0" bIns="0" numCol="1" rtlCol="0" anchor="ctr" anchorCtr="0" compatLnSpc="1">
            <a:prstTxWarp prst="textNoShape">
              <a:avLst/>
            </a:prstTxWarp>
          </a:bodyPr>
          <a:lstStyle/>
          <a:p>
            <a:pPr marL="0" marR="0" lvl="0" indent="0" algn="ctr" defTabSz="932567"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102" normalizeH="0" baseline="0" noProof="0">
                <a:ln w="3175">
                  <a:noFill/>
                </a:ln>
                <a:solidFill>
                  <a:srgbClr val="00573B"/>
                </a:solidFill>
                <a:effectLst/>
                <a:uLnTx/>
                <a:uFillTx/>
                <a:latin typeface="+mj-lt"/>
                <a:ea typeface="+mn-ea"/>
                <a:cs typeface="Segoe UI Semilight" panose="020B0402040204020203" pitchFamily="34" charset="0"/>
              </a:rPr>
              <a:t>75%</a:t>
            </a:r>
          </a:p>
        </p:txBody>
      </p:sp>
      <p:sp>
        <p:nvSpPr>
          <p:cNvPr id="37" name="Rectangle 36"/>
          <p:cNvSpPr/>
          <p:nvPr/>
        </p:nvSpPr>
        <p:spPr bwMode="auto">
          <a:xfrm>
            <a:off x="6807469" y="3406318"/>
            <a:ext cx="5089853" cy="572952"/>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45720" rIns="91440" bIns="45720" numCol="1" spcCol="0" rtlCol="0" fromWordArt="0" anchor="ctr" anchorCtr="0" forceAA="0" compatLnSpc="1">
            <a:prstTxWarp prst="textNoShape">
              <a:avLst/>
            </a:prstTxWarp>
            <a:noAutofit/>
          </a:bodyPr>
          <a:lstStyle/>
          <a:p>
            <a:pPr marR="0" indent="0" defTabSz="932123" fontAlgn="base">
              <a:lnSpc>
                <a:spcPct val="100000"/>
              </a:lnSpc>
              <a:spcBef>
                <a:spcPct val="0"/>
              </a:spcBef>
              <a:spcAft>
                <a:spcPct val="0"/>
              </a:spcAft>
              <a:buClrTx/>
              <a:buSzTx/>
              <a:buFontTx/>
              <a:buNone/>
              <a:tabLst/>
              <a:defRPr/>
            </a:pPr>
            <a:r>
              <a:rPr lang="en-US" sz="1400" kern="0">
                <a:solidFill>
                  <a:prstClr val="black"/>
                </a:solidFill>
                <a:cs typeface="Arial" panose="020B0604020202020204" pitchFamily="34" charset="0"/>
              </a:rPr>
              <a:t>Data mining for data migration sequencing</a:t>
            </a:r>
          </a:p>
        </p:txBody>
      </p:sp>
      <p:sp>
        <p:nvSpPr>
          <p:cNvPr id="47" name="Rectangle 46"/>
          <p:cNvSpPr/>
          <p:nvPr/>
        </p:nvSpPr>
        <p:spPr bwMode="auto">
          <a:xfrm>
            <a:off x="6821888" y="4106503"/>
            <a:ext cx="4919711" cy="572952"/>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45720" rIns="91440" bIns="45720" numCol="1" spcCol="0" rtlCol="0" fromWordArt="0" anchor="ctr" anchorCtr="0" forceAA="0" compatLnSpc="1">
            <a:prstTxWarp prst="textNoShape">
              <a:avLst/>
            </a:prstTxWarp>
            <a:noAutofit/>
          </a:bodyPr>
          <a:lstStyle/>
          <a:p>
            <a:pPr marR="0" indent="0" defTabSz="932123" fontAlgn="base">
              <a:lnSpc>
                <a:spcPct val="100000"/>
              </a:lnSpc>
              <a:spcBef>
                <a:spcPct val="0"/>
              </a:spcBef>
              <a:spcAft>
                <a:spcPct val="0"/>
              </a:spcAft>
              <a:buClrTx/>
              <a:buSzTx/>
              <a:buFontTx/>
              <a:buNone/>
              <a:tabLst/>
              <a:defRPr/>
            </a:pPr>
            <a:r>
              <a:rPr lang="en-US" sz="1400" kern="0">
                <a:solidFill>
                  <a:prstClr val="black"/>
                </a:solidFill>
                <a:cs typeface="Arial" panose="020B0604020202020204" pitchFamily="34" charset="0"/>
              </a:rPr>
              <a:t>Designed and executed data migration, integration and migration programs </a:t>
            </a:r>
          </a:p>
        </p:txBody>
      </p:sp>
      <p:sp>
        <p:nvSpPr>
          <p:cNvPr id="52" name="Rectangle 51"/>
          <p:cNvSpPr/>
          <p:nvPr/>
        </p:nvSpPr>
        <p:spPr bwMode="auto">
          <a:xfrm>
            <a:off x="6879514" y="4763268"/>
            <a:ext cx="4860130" cy="572952"/>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45720" rIns="91440" bIns="45720" numCol="1" spcCol="0" rtlCol="0" fromWordArt="0" anchor="ctr" anchorCtr="0" forceAA="0" compatLnSpc="1">
            <a:prstTxWarp prst="textNoShape">
              <a:avLst/>
            </a:prstTxWarp>
            <a:noAutofit/>
          </a:bodyPr>
          <a:lstStyle/>
          <a:p>
            <a:pPr marR="0" indent="0" defTabSz="932123" fontAlgn="base">
              <a:lnSpc>
                <a:spcPct val="100000"/>
              </a:lnSpc>
              <a:spcBef>
                <a:spcPct val="0"/>
              </a:spcBef>
              <a:spcAft>
                <a:spcPct val="0"/>
              </a:spcAft>
              <a:buClrTx/>
              <a:buSzTx/>
              <a:buFontTx/>
              <a:buNone/>
              <a:tabLst/>
              <a:defRPr/>
            </a:pPr>
            <a:r>
              <a:rPr lang="en-US" sz="1400" kern="0">
                <a:solidFill>
                  <a:prstClr val="black"/>
                </a:solidFill>
                <a:cs typeface="Arial" panose="020B0604020202020204" pitchFamily="34" charset="0"/>
              </a:rPr>
              <a:t>Test automation leveraging compare utilities</a:t>
            </a:r>
          </a:p>
        </p:txBody>
      </p:sp>
      <p:sp>
        <p:nvSpPr>
          <p:cNvPr id="43" name="Rectangle 42"/>
          <p:cNvSpPr/>
          <p:nvPr/>
        </p:nvSpPr>
        <p:spPr bwMode="auto">
          <a:xfrm>
            <a:off x="6843319" y="5382453"/>
            <a:ext cx="5024202" cy="572952"/>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45720" rIns="91440" bIns="45720" numCol="1" spcCol="0" rtlCol="0" fromWordArt="0" anchor="ctr" anchorCtr="0" forceAA="0" compatLnSpc="1">
            <a:prstTxWarp prst="textNoShape">
              <a:avLst/>
            </a:prstTxWarp>
            <a:noAutofit/>
          </a:bodyPr>
          <a:lstStyle/>
          <a:p>
            <a:pPr marR="0" indent="0" defTabSz="932123" fontAlgn="base">
              <a:lnSpc>
                <a:spcPct val="100000"/>
              </a:lnSpc>
              <a:spcBef>
                <a:spcPct val="0"/>
              </a:spcBef>
              <a:spcAft>
                <a:spcPct val="0"/>
              </a:spcAft>
              <a:buClrTx/>
              <a:buSzTx/>
              <a:buFontTx/>
              <a:buNone/>
              <a:tabLst/>
              <a:defRPr/>
            </a:pPr>
            <a:r>
              <a:rPr lang="en-US" sz="1400" kern="0">
                <a:solidFill>
                  <a:prstClr val="black"/>
                </a:solidFill>
                <a:cs typeface="Arial" panose="020B0604020202020204" pitchFamily="34" charset="0"/>
              </a:rPr>
              <a:t>Documentation of legacy business processes</a:t>
            </a:r>
          </a:p>
        </p:txBody>
      </p:sp>
      <p:sp>
        <p:nvSpPr>
          <p:cNvPr id="29" name="Oval 28"/>
          <p:cNvSpPr/>
          <p:nvPr/>
        </p:nvSpPr>
        <p:spPr bwMode="auto">
          <a:xfrm>
            <a:off x="2507412" y="3867559"/>
            <a:ext cx="914400" cy="914400"/>
          </a:xfrm>
          <a:prstGeom prst="ellipse">
            <a:avLst/>
          </a:prstGeom>
          <a:solidFill>
            <a:schemeClr val="bg1">
              <a:lumMod val="95000"/>
            </a:schemeClr>
          </a:solidFill>
          <a:ln w="38100" cap="flat" cmpd="sng" algn="ctr">
            <a:noFill/>
            <a:prstDash val="solid"/>
            <a:headEnd type="none" w="med" len="med"/>
            <a:tailEnd type="none" w="med" len="med"/>
          </a:ln>
          <a:effectLst>
            <a:innerShdw blurRad="114300">
              <a:prstClr val="black"/>
            </a:innerShdw>
          </a:effectLst>
        </p:spPr>
        <p:txBody>
          <a:bodyPr vert="horz" wrap="square" lIns="0" tIns="0" rIns="0" bIns="0" numCol="1" rtlCol="0" anchor="ctr" anchorCtr="0" compatLnSpc="1">
            <a:prstTxWarp prst="textNoShape">
              <a:avLst/>
            </a:prstTxWarp>
          </a:bodyPr>
          <a:lstStyle/>
          <a:p>
            <a:pPr marL="0" marR="0" lvl="0" indent="0" algn="ctr" defTabSz="932567"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102" normalizeH="0" baseline="0" noProof="0">
                <a:ln w="3175">
                  <a:noFill/>
                </a:ln>
                <a:solidFill>
                  <a:srgbClr val="00573B"/>
                </a:solidFill>
                <a:effectLst/>
                <a:uLnTx/>
                <a:uFillTx/>
                <a:latin typeface="+mj-lt"/>
                <a:ea typeface="+mn-ea"/>
                <a:cs typeface="Segoe UI Semilight" panose="020B0402040204020203" pitchFamily="34" charset="0"/>
              </a:rPr>
              <a:t>5.8M</a:t>
            </a:r>
          </a:p>
        </p:txBody>
      </p:sp>
      <p:sp>
        <p:nvSpPr>
          <p:cNvPr id="32" name="Oval 31"/>
          <p:cNvSpPr/>
          <p:nvPr/>
        </p:nvSpPr>
        <p:spPr bwMode="auto">
          <a:xfrm>
            <a:off x="4513707" y="3867559"/>
            <a:ext cx="914400" cy="914400"/>
          </a:xfrm>
          <a:prstGeom prst="ellipse">
            <a:avLst/>
          </a:prstGeom>
          <a:solidFill>
            <a:schemeClr val="bg1">
              <a:lumMod val="95000"/>
            </a:schemeClr>
          </a:solidFill>
          <a:ln w="38100" cap="flat" cmpd="sng" algn="ctr">
            <a:noFill/>
            <a:prstDash val="solid"/>
            <a:headEnd type="none" w="med" len="med"/>
            <a:tailEnd type="none" w="med" len="med"/>
          </a:ln>
          <a:effectLst>
            <a:innerShdw blurRad="114300">
              <a:prstClr val="black"/>
            </a:innerShdw>
          </a:effectLst>
        </p:spPr>
        <p:txBody>
          <a:bodyPr vert="horz" wrap="square" lIns="0" tIns="0" rIns="0" bIns="0" numCol="1" rtlCol="0" anchor="ctr" anchorCtr="0" compatLnSpc="1">
            <a:prstTxWarp prst="textNoShape">
              <a:avLst/>
            </a:prstTxWarp>
          </a:bodyPr>
          <a:lstStyle/>
          <a:p>
            <a:pPr marL="0" marR="0" lvl="0" indent="0" algn="ctr" defTabSz="932567"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102" normalizeH="0" baseline="0" noProof="0">
                <a:ln w="3175">
                  <a:noFill/>
                </a:ln>
                <a:solidFill>
                  <a:srgbClr val="00573B"/>
                </a:solidFill>
                <a:effectLst/>
                <a:uLnTx/>
                <a:uFillTx/>
                <a:latin typeface="+mj-lt"/>
                <a:ea typeface="+mn-ea"/>
                <a:cs typeface="Segoe UI Semilight" panose="020B0402040204020203" pitchFamily="34" charset="0"/>
              </a:rPr>
              <a:t>150K</a:t>
            </a:r>
          </a:p>
        </p:txBody>
      </p:sp>
      <p:sp>
        <p:nvSpPr>
          <p:cNvPr id="34" name="TextBox 33"/>
          <p:cNvSpPr txBox="1"/>
          <p:nvPr/>
        </p:nvSpPr>
        <p:spPr>
          <a:xfrm>
            <a:off x="244937" y="5799346"/>
            <a:ext cx="301712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a:ln>
                  <a:noFill/>
                </a:ln>
                <a:solidFill>
                  <a:prstClr val="black"/>
                </a:solidFill>
                <a:effectLst/>
                <a:uLnTx/>
                <a:uFillTx/>
                <a:latin typeface="+mj-lt"/>
                <a:ea typeface="+mn-ea"/>
                <a:cs typeface="Arial" charset="0"/>
              </a:rPr>
              <a:t>Tools &amp; Accelerators</a:t>
            </a:r>
            <a:endParaRPr kumimoji="0" lang="en-US" sz="1400" b="0" i="0" u="none" strike="noStrike" kern="0" cap="none" spc="0" normalizeH="0" baseline="0" noProof="0">
              <a:ln>
                <a:noFill/>
              </a:ln>
              <a:solidFill>
                <a:prstClr val="black"/>
              </a:solidFill>
              <a:effectLst/>
              <a:uLnTx/>
              <a:uFillTx/>
              <a:latin typeface="+mj-lt"/>
              <a:ea typeface="+mn-ea"/>
              <a:cs typeface="Arial" charset="0"/>
            </a:endParaRPr>
          </a:p>
        </p:txBody>
      </p:sp>
      <p:sp>
        <p:nvSpPr>
          <p:cNvPr id="35" name="TextBox 34"/>
          <p:cNvSpPr txBox="1"/>
          <p:nvPr/>
        </p:nvSpPr>
        <p:spPr>
          <a:xfrm>
            <a:off x="2964966" y="5698795"/>
            <a:ext cx="3918259" cy="625812"/>
          </a:xfrm>
          <a:prstGeom prst="rect">
            <a:avLst/>
          </a:prstGeom>
          <a:noFill/>
        </p:spPr>
        <p:txBody>
          <a:bodyPr wrap="square" rtlCol="0">
            <a:spAutoFit/>
          </a:bodyPr>
          <a:lstStyle>
            <a:defPPr>
              <a:defRPr lang="en-US"/>
            </a:defPPr>
            <a:lvl1pPr marL="174625" marR="0" lvl="0" indent="-174625" fontAlgn="auto">
              <a:lnSpc>
                <a:spcPct val="100000"/>
              </a:lnSpc>
              <a:spcBef>
                <a:spcPts val="300"/>
              </a:spcBef>
              <a:spcAft>
                <a:spcPts val="500"/>
              </a:spcAft>
              <a:buClrTx/>
              <a:buSzTx/>
              <a:buFont typeface="Wingdings" panose="05000000000000000000" pitchFamily="2" charset="2"/>
              <a:buChar char="§"/>
              <a:tabLst/>
              <a:defRPr sz="1400">
                <a:solidFill>
                  <a:prstClr val="black"/>
                </a:solidFill>
                <a:latin typeface="Arial"/>
              </a:defRPr>
            </a:lvl1pPr>
          </a:lstStyle>
          <a:p>
            <a:pPr marL="174625" marR="0" lvl="0" indent="-174625" algn="l" defTabSz="914400" rtl="0" eaLnBrk="1" fontAlgn="auto" latinLnBrk="0" hangingPunct="1">
              <a:lnSpc>
                <a:spcPct val="100000"/>
              </a:lnSpc>
              <a:spcBef>
                <a:spcPts val="300"/>
              </a:spcBef>
              <a:spcAft>
                <a:spcPts val="500"/>
              </a:spcAft>
              <a:buClrTx/>
              <a:buSzTx/>
              <a:buFont typeface="Wingdings" panose="05000000000000000000" pitchFamily="2" charset="2"/>
              <a:buChar char="§"/>
              <a:tabLst/>
              <a:defRPr/>
            </a:pPr>
            <a:r>
              <a:rPr kumimoji="0" lang="en-US" sz="1400" b="0" i="0" u="none" strike="noStrike" kern="1200" cap="none" spc="0" normalizeH="0" baseline="0" noProof="0">
                <a:ln>
                  <a:noFill/>
                </a:ln>
                <a:solidFill>
                  <a:prstClr val="black"/>
                </a:solidFill>
                <a:effectLst/>
                <a:uLnTx/>
                <a:uFillTx/>
                <a:latin typeface="+mj-lt"/>
                <a:ea typeface="+mn-ea"/>
                <a:cs typeface="+mn-cs"/>
              </a:rPr>
              <a:t>Business Rules Extraction tool</a:t>
            </a:r>
          </a:p>
          <a:p>
            <a:pPr marL="174625" marR="0" lvl="0" indent="-174625" algn="l" defTabSz="914400" rtl="0" eaLnBrk="1" fontAlgn="auto" latinLnBrk="0" hangingPunct="1">
              <a:lnSpc>
                <a:spcPct val="100000"/>
              </a:lnSpc>
              <a:spcBef>
                <a:spcPts val="300"/>
              </a:spcBef>
              <a:spcAft>
                <a:spcPts val="500"/>
              </a:spcAft>
              <a:buClrTx/>
              <a:buSzTx/>
              <a:buFont typeface="Wingdings" panose="05000000000000000000" pitchFamily="2" charset="2"/>
              <a:buChar char="§"/>
              <a:tabLst/>
              <a:defRPr/>
            </a:pPr>
            <a:r>
              <a:rPr kumimoji="0" lang="en-US" sz="1400" b="0" i="0" u="none" strike="noStrike" kern="1200" cap="none" spc="0" normalizeH="0" baseline="0" noProof="0">
                <a:ln>
                  <a:noFill/>
                </a:ln>
                <a:solidFill>
                  <a:prstClr val="black"/>
                </a:solidFill>
                <a:effectLst/>
                <a:uLnTx/>
                <a:uFillTx/>
                <a:latin typeface="+mj-lt"/>
                <a:ea typeface="+mn-ea"/>
                <a:cs typeface="+mn-cs"/>
              </a:rPr>
              <a:t>Data Hub to facilitate policy conversion</a:t>
            </a:r>
          </a:p>
        </p:txBody>
      </p:sp>
      <p:sp>
        <p:nvSpPr>
          <p:cNvPr id="41" name="Rectangle 40">
            <a:extLst>
              <a:ext uri="{FF2B5EF4-FFF2-40B4-BE49-F238E27FC236}">
                <a16:creationId xmlns:a16="http://schemas.microsoft.com/office/drawing/2014/main" id="{7886C19D-7D69-4569-BD89-421B35223BE6}"/>
              </a:ext>
            </a:extLst>
          </p:cNvPr>
          <p:cNvSpPr/>
          <p:nvPr/>
        </p:nvSpPr>
        <p:spPr>
          <a:xfrm>
            <a:off x="311222" y="3731329"/>
            <a:ext cx="5413179" cy="130802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white"/>
              </a:solidFill>
              <a:effectLst/>
              <a:uLnTx/>
              <a:uFillTx/>
              <a:latin typeface="+mj-lt"/>
              <a:ea typeface="+mn-ea"/>
              <a:cs typeface="+mn-cs"/>
            </a:endParaRPr>
          </a:p>
        </p:txBody>
      </p:sp>
      <p:sp>
        <p:nvSpPr>
          <p:cNvPr id="25" name="Rectangle 24"/>
          <p:cNvSpPr/>
          <p:nvPr/>
        </p:nvSpPr>
        <p:spPr>
          <a:xfrm>
            <a:off x="365684" y="4805995"/>
            <a:ext cx="1327880" cy="738664"/>
          </a:xfrm>
          <a:prstGeom prst="rect">
            <a:avLst/>
          </a:prstGeom>
          <a:solidFill>
            <a:schemeClr val="bg1"/>
          </a:solid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prstClr val="black"/>
                </a:solidFill>
                <a:effectLst/>
                <a:uLnTx/>
                <a:uFillTx/>
                <a:latin typeface="+mj-lt"/>
                <a:ea typeface="+mn-ea"/>
                <a:cs typeface="Segoe UI Semilight" panose="020B0402040204020203" pitchFamily="34" charset="0"/>
              </a:rPr>
              <a:t>Improvement in Speed to Market</a:t>
            </a:r>
          </a:p>
        </p:txBody>
      </p:sp>
      <p:sp>
        <p:nvSpPr>
          <p:cNvPr id="28" name="Rectangle 27"/>
          <p:cNvSpPr/>
          <p:nvPr/>
        </p:nvSpPr>
        <p:spPr>
          <a:xfrm>
            <a:off x="2241485" y="4819082"/>
            <a:ext cx="1463040" cy="523220"/>
          </a:xfrm>
          <a:prstGeom prst="rect">
            <a:avLst/>
          </a:prstGeom>
          <a:solidFill>
            <a:schemeClr val="bg1"/>
          </a:solid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prstClr val="black"/>
                </a:solidFill>
                <a:effectLst/>
                <a:uLnTx/>
                <a:uFillTx/>
                <a:latin typeface="+mj-lt"/>
                <a:ea typeface="+mn-ea"/>
                <a:cs typeface="Segoe UI Semilight" panose="020B0402040204020203" pitchFamily="34" charset="0"/>
              </a:rPr>
              <a:t>Policies Migrated</a:t>
            </a:r>
          </a:p>
        </p:txBody>
      </p:sp>
      <p:sp>
        <p:nvSpPr>
          <p:cNvPr id="31" name="Rectangle 30"/>
          <p:cNvSpPr/>
          <p:nvPr/>
        </p:nvSpPr>
        <p:spPr>
          <a:xfrm>
            <a:off x="4122651" y="4760144"/>
            <a:ext cx="1562100" cy="954107"/>
          </a:xfrm>
          <a:prstGeom prst="rect">
            <a:avLst/>
          </a:prstGeom>
          <a:solidFill>
            <a:schemeClr val="bg1"/>
          </a:solid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prstClr val="black"/>
                </a:solidFill>
                <a:effectLst/>
                <a:uLnTx/>
                <a:uFillTx/>
                <a:latin typeface="+mj-lt"/>
                <a:ea typeface="+mn-ea"/>
                <a:cs typeface="Segoe UI Semilight" panose="020B0402040204020203" pitchFamily="34" charset="0"/>
              </a:rPr>
              <a:t>Policies administered with New Platform</a:t>
            </a:r>
          </a:p>
        </p:txBody>
      </p:sp>
      <p:cxnSp>
        <p:nvCxnSpPr>
          <p:cNvPr id="33" name="Straight Connector 32">
            <a:extLst>
              <a:ext uri="{FF2B5EF4-FFF2-40B4-BE49-F238E27FC236}">
                <a16:creationId xmlns:a16="http://schemas.microsoft.com/office/drawing/2014/main" id="{3A66DEE0-5F5D-41B6-BD08-30B31E17AA22}"/>
              </a:ext>
            </a:extLst>
          </p:cNvPr>
          <p:cNvCxnSpPr/>
          <p:nvPr/>
        </p:nvCxnSpPr>
        <p:spPr>
          <a:xfrm>
            <a:off x="6817010" y="2391891"/>
            <a:ext cx="0" cy="3607272"/>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9AB1A149-45AD-4B83-AB9F-974CB5D4D034}"/>
              </a:ext>
            </a:extLst>
          </p:cNvPr>
          <p:cNvGrpSpPr/>
          <p:nvPr/>
        </p:nvGrpSpPr>
        <p:grpSpPr>
          <a:xfrm>
            <a:off x="6577038" y="2559022"/>
            <a:ext cx="474070" cy="474070"/>
            <a:chOff x="6447430" y="2675492"/>
            <a:chExt cx="474070" cy="474070"/>
          </a:xfrm>
        </p:grpSpPr>
        <p:sp>
          <p:nvSpPr>
            <p:cNvPr id="40" name="Oval 39">
              <a:extLst>
                <a:ext uri="{FF2B5EF4-FFF2-40B4-BE49-F238E27FC236}">
                  <a16:creationId xmlns:a16="http://schemas.microsoft.com/office/drawing/2014/main" id="{53404272-71BA-4630-AAB7-99AB4A159F77}"/>
                </a:ext>
              </a:extLst>
            </p:cNvPr>
            <p:cNvSpPr/>
            <p:nvPr/>
          </p:nvSpPr>
          <p:spPr>
            <a:xfrm>
              <a:off x="6447430" y="2675492"/>
              <a:ext cx="474070" cy="474070"/>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white"/>
                </a:solidFill>
                <a:effectLst/>
                <a:uLnTx/>
                <a:uFillTx/>
                <a:latin typeface="+mj-lt"/>
                <a:ea typeface="+mn-ea"/>
                <a:cs typeface="+mn-cs"/>
              </a:endParaRPr>
            </a:p>
          </p:txBody>
        </p:sp>
        <p:grpSp>
          <p:nvGrpSpPr>
            <p:cNvPr id="42" name="Group 41">
              <a:extLst>
                <a:ext uri="{FF2B5EF4-FFF2-40B4-BE49-F238E27FC236}">
                  <a16:creationId xmlns:a16="http://schemas.microsoft.com/office/drawing/2014/main" id="{2530BB25-2E45-44EA-B5E2-8E68731AC7D3}"/>
                </a:ext>
              </a:extLst>
            </p:cNvPr>
            <p:cNvGrpSpPr/>
            <p:nvPr/>
          </p:nvGrpSpPr>
          <p:grpSpPr>
            <a:xfrm>
              <a:off x="6518177" y="2715380"/>
              <a:ext cx="333474" cy="369626"/>
              <a:chOff x="3114466" y="105602"/>
              <a:chExt cx="5971657" cy="6619048"/>
            </a:xfrm>
            <a:solidFill>
              <a:schemeClr val="accent5"/>
            </a:solidFill>
          </p:grpSpPr>
          <p:sp>
            <p:nvSpPr>
              <p:cNvPr id="48" name="Oval 47">
                <a:extLst>
                  <a:ext uri="{FF2B5EF4-FFF2-40B4-BE49-F238E27FC236}">
                    <a16:creationId xmlns:a16="http://schemas.microsoft.com/office/drawing/2014/main" id="{20F37A46-8DCD-437B-8177-CB00EF2D943B}"/>
                  </a:ext>
                </a:extLst>
              </p:cNvPr>
              <p:cNvSpPr/>
              <p:nvPr/>
            </p:nvSpPr>
            <p:spPr>
              <a:xfrm>
                <a:off x="5744819" y="745435"/>
                <a:ext cx="695738" cy="695738"/>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50" name="Oval 49">
                <a:extLst>
                  <a:ext uri="{FF2B5EF4-FFF2-40B4-BE49-F238E27FC236}">
                    <a16:creationId xmlns:a16="http://schemas.microsoft.com/office/drawing/2014/main" id="{18E6E5D2-A9DB-4FDD-833D-B21252C40834}"/>
                  </a:ext>
                </a:extLst>
              </p:cNvPr>
              <p:cNvSpPr/>
              <p:nvPr/>
            </p:nvSpPr>
            <p:spPr>
              <a:xfrm>
                <a:off x="6626711" y="1319213"/>
                <a:ext cx="628234" cy="62823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51" name="Oval 50">
                <a:extLst>
                  <a:ext uri="{FF2B5EF4-FFF2-40B4-BE49-F238E27FC236}">
                    <a16:creationId xmlns:a16="http://schemas.microsoft.com/office/drawing/2014/main" id="{9EE90F34-4D3D-4A9C-8FEB-341B111AEA5A}"/>
                  </a:ext>
                </a:extLst>
              </p:cNvPr>
              <p:cNvSpPr/>
              <p:nvPr/>
            </p:nvSpPr>
            <p:spPr>
              <a:xfrm>
                <a:off x="4921736" y="1319213"/>
                <a:ext cx="628234" cy="62823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53" name="Oval 52">
                <a:extLst>
                  <a:ext uri="{FF2B5EF4-FFF2-40B4-BE49-F238E27FC236}">
                    <a16:creationId xmlns:a16="http://schemas.microsoft.com/office/drawing/2014/main" id="{345B7415-D369-42A8-A62E-DCDCDEBDE9D0}"/>
                  </a:ext>
                </a:extLst>
              </p:cNvPr>
              <p:cNvSpPr/>
              <p:nvPr/>
            </p:nvSpPr>
            <p:spPr>
              <a:xfrm>
                <a:off x="4140684" y="1766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54" name="Oval 53">
                <a:extLst>
                  <a:ext uri="{FF2B5EF4-FFF2-40B4-BE49-F238E27FC236}">
                    <a16:creationId xmlns:a16="http://schemas.microsoft.com/office/drawing/2014/main" id="{50F8D0D3-A6C8-4885-8A0B-5D7BAF0242AF}"/>
                  </a:ext>
                </a:extLst>
              </p:cNvPr>
              <p:cNvSpPr/>
              <p:nvPr/>
            </p:nvSpPr>
            <p:spPr>
              <a:xfrm>
                <a:off x="7510049" y="1766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55" name="Oval 54">
                <a:extLst>
                  <a:ext uri="{FF2B5EF4-FFF2-40B4-BE49-F238E27FC236}">
                    <a16:creationId xmlns:a16="http://schemas.microsoft.com/office/drawing/2014/main" id="{FEA3DDED-94EB-4CA2-933B-2422E321BBF0}"/>
                  </a:ext>
                </a:extLst>
              </p:cNvPr>
              <p:cNvSpPr/>
              <p:nvPr/>
            </p:nvSpPr>
            <p:spPr>
              <a:xfrm>
                <a:off x="7716285" y="2579410"/>
                <a:ext cx="612706" cy="61270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56" name="Oval 55">
                <a:extLst>
                  <a:ext uri="{FF2B5EF4-FFF2-40B4-BE49-F238E27FC236}">
                    <a16:creationId xmlns:a16="http://schemas.microsoft.com/office/drawing/2014/main" id="{D592F066-DF9C-4D39-8653-41A890C10238}"/>
                  </a:ext>
                </a:extLst>
              </p:cNvPr>
              <p:cNvSpPr/>
              <p:nvPr/>
            </p:nvSpPr>
            <p:spPr>
              <a:xfrm>
                <a:off x="3849963" y="2569471"/>
                <a:ext cx="612706" cy="61270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57" name="Oval 56">
                <a:extLst>
                  <a:ext uri="{FF2B5EF4-FFF2-40B4-BE49-F238E27FC236}">
                    <a16:creationId xmlns:a16="http://schemas.microsoft.com/office/drawing/2014/main" id="{EFAFF6CA-A2FD-4B9A-9310-3526C352AAEB}"/>
                  </a:ext>
                </a:extLst>
              </p:cNvPr>
              <p:cNvSpPr/>
              <p:nvPr/>
            </p:nvSpPr>
            <p:spPr>
              <a:xfrm>
                <a:off x="3740632" y="1416532"/>
                <a:ext cx="394046" cy="39404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58" name="Oval 57">
                <a:extLst>
                  <a:ext uri="{FF2B5EF4-FFF2-40B4-BE49-F238E27FC236}">
                    <a16:creationId xmlns:a16="http://schemas.microsoft.com/office/drawing/2014/main" id="{E5E16DBF-EA1D-44AD-B748-604789163388}"/>
                  </a:ext>
                </a:extLst>
              </p:cNvPr>
              <p:cNvSpPr/>
              <p:nvPr/>
            </p:nvSpPr>
            <p:spPr>
              <a:xfrm>
                <a:off x="8054215" y="1416532"/>
                <a:ext cx="394046" cy="39404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59" name="Oval 58">
                <a:extLst>
                  <a:ext uri="{FF2B5EF4-FFF2-40B4-BE49-F238E27FC236}">
                    <a16:creationId xmlns:a16="http://schemas.microsoft.com/office/drawing/2014/main" id="{E06C7D3A-D149-480F-8439-5E614392B5A6}"/>
                  </a:ext>
                </a:extLst>
              </p:cNvPr>
              <p:cNvSpPr/>
              <p:nvPr/>
            </p:nvSpPr>
            <p:spPr>
              <a:xfrm>
                <a:off x="5878581" y="105602"/>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60" name="Oval 59">
                <a:extLst>
                  <a:ext uri="{FF2B5EF4-FFF2-40B4-BE49-F238E27FC236}">
                    <a16:creationId xmlns:a16="http://schemas.microsoft.com/office/drawing/2014/main" id="{34B78500-D3C4-429B-A438-F541A374F322}"/>
                  </a:ext>
                </a:extLst>
              </p:cNvPr>
              <p:cNvSpPr/>
              <p:nvPr/>
            </p:nvSpPr>
            <p:spPr>
              <a:xfrm>
                <a:off x="3114466" y="3419473"/>
                <a:ext cx="319296" cy="31929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61" name="Oval 60">
                <a:extLst>
                  <a:ext uri="{FF2B5EF4-FFF2-40B4-BE49-F238E27FC236}">
                    <a16:creationId xmlns:a16="http://schemas.microsoft.com/office/drawing/2014/main" id="{89565F3D-DDB6-4866-9C89-09B8D532F517}"/>
                  </a:ext>
                </a:extLst>
              </p:cNvPr>
              <p:cNvSpPr/>
              <p:nvPr/>
            </p:nvSpPr>
            <p:spPr>
              <a:xfrm>
                <a:off x="3794675" y="5116270"/>
                <a:ext cx="282026" cy="28202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62" name="Oval 61">
                <a:extLst>
                  <a:ext uri="{FF2B5EF4-FFF2-40B4-BE49-F238E27FC236}">
                    <a16:creationId xmlns:a16="http://schemas.microsoft.com/office/drawing/2014/main" id="{FC61C0A3-DB3E-4A54-8E6C-E799684EEF36}"/>
                  </a:ext>
                </a:extLst>
              </p:cNvPr>
              <p:cNvSpPr/>
              <p:nvPr/>
            </p:nvSpPr>
            <p:spPr>
              <a:xfrm>
                <a:off x="4640020" y="5060156"/>
                <a:ext cx="342902" cy="3429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63" name="Oval 62">
                <a:extLst>
                  <a:ext uri="{FF2B5EF4-FFF2-40B4-BE49-F238E27FC236}">
                    <a16:creationId xmlns:a16="http://schemas.microsoft.com/office/drawing/2014/main" id="{6D579E2D-55F8-43AD-A78E-1CC4848408FD}"/>
                  </a:ext>
                </a:extLst>
              </p:cNvPr>
              <p:cNvSpPr/>
              <p:nvPr/>
            </p:nvSpPr>
            <p:spPr>
              <a:xfrm>
                <a:off x="4155592" y="4790040"/>
                <a:ext cx="373546" cy="37354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64" name="Oval 63">
                <a:extLst>
                  <a:ext uri="{FF2B5EF4-FFF2-40B4-BE49-F238E27FC236}">
                    <a16:creationId xmlns:a16="http://schemas.microsoft.com/office/drawing/2014/main" id="{E0793BB9-674F-4BF2-BE67-3B950EA2EAE4}"/>
                  </a:ext>
                </a:extLst>
              </p:cNvPr>
              <p:cNvSpPr/>
              <p:nvPr/>
            </p:nvSpPr>
            <p:spPr>
              <a:xfrm>
                <a:off x="3892206" y="4042948"/>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65" name="Oval 64">
                <a:extLst>
                  <a:ext uri="{FF2B5EF4-FFF2-40B4-BE49-F238E27FC236}">
                    <a16:creationId xmlns:a16="http://schemas.microsoft.com/office/drawing/2014/main" id="{D399BAB0-3516-4B58-844D-C984353BA0F2}"/>
                  </a:ext>
                </a:extLst>
              </p:cNvPr>
              <p:cNvSpPr/>
              <p:nvPr/>
            </p:nvSpPr>
            <p:spPr>
              <a:xfrm>
                <a:off x="7758528" y="4052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66" name="Oval 65">
                <a:extLst>
                  <a:ext uri="{FF2B5EF4-FFF2-40B4-BE49-F238E27FC236}">
                    <a16:creationId xmlns:a16="http://schemas.microsoft.com/office/drawing/2014/main" id="{8B2DB493-61A6-4D96-AFFE-3005C333DE07}"/>
                  </a:ext>
                </a:extLst>
              </p:cNvPr>
              <p:cNvSpPr/>
              <p:nvPr/>
            </p:nvSpPr>
            <p:spPr>
              <a:xfrm>
                <a:off x="3632338" y="3395454"/>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67" name="Oval 66">
                <a:extLst>
                  <a:ext uri="{FF2B5EF4-FFF2-40B4-BE49-F238E27FC236}">
                    <a16:creationId xmlns:a16="http://schemas.microsoft.com/office/drawing/2014/main" id="{BF59407E-CA65-48B3-A8FE-561A86AA4C76}"/>
                  </a:ext>
                </a:extLst>
              </p:cNvPr>
              <p:cNvSpPr/>
              <p:nvPr/>
            </p:nvSpPr>
            <p:spPr>
              <a:xfrm>
                <a:off x="8122650" y="3395454"/>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68" name="Oval 67">
                <a:extLst>
                  <a:ext uri="{FF2B5EF4-FFF2-40B4-BE49-F238E27FC236}">
                    <a16:creationId xmlns:a16="http://schemas.microsoft.com/office/drawing/2014/main" id="{19205B2E-3328-4849-B83A-EBB4D950F76A}"/>
                  </a:ext>
                </a:extLst>
              </p:cNvPr>
              <p:cNvSpPr/>
              <p:nvPr/>
            </p:nvSpPr>
            <p:spPr>
              <a:xfrm>
                <a:off x="8747366" y="3412330"/>
                <a:ext cx="338757" cy="338757"/>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69" name="Oval 68">
                <a:extLst>
                  <a:ext uri="{FF2B5EF4-FFF2-40B4-BE49-F238E27FC236}">
                    <a16:creationId xmlns:a16="http://schemas.microsoft.com/office/drawing/2014/main" id="{7E1B8B35-09BC-4F04-A8FC-29FE733543C1}"/>
                  </a:ext>
                </a:extLst>
              </p:cNvPr>
              <p:cNvSpPr/>
              <p:nvPr/>
            </p:nvSpPr>
            <p:spPr>
              <a:xfrm>
                <a:off x="7659444" y="4792108"/>
                <a:ext cx="372514" cy="37251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70" name="Oval 69">
                <a:extLst>
                  <a:ext uri="{FF2B5EF4-FFF2-40B4-BE49-F238E27FC236}">
                    <a16:creationId xmlns:a16="http://schemas.microsoft.com/office/drawing/2014/main" id="{F99871AA-1A2B-4757-B898-2F9DE8182388}"/>
                  </a:ext>
                </a:extLst>
              </p:cNvPr>
              <p:cNvSpPr/>
              <p:nvPr/>
            </p:nvSpPr>
            <p:spPr>
              <a:xfrm>
                <a:off x="7208355" y="5062538"/>
                <a:ext cx="341242" cy="34124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71" name="Oval 70">
                <a:extLst>
                  <a:ext uri="{FF2B5EF4-FFF2-40B4-BE49-F238E27FC236}">
                    <a16:creationId xmlns:a16="http://schemas.microsoft.com/office/drawing/2014/main" id="{D5D11487-74C3-48CD-BBE8-104843203A07}"/>
                  </a:ext>
                </a:extLst>
              </p:cNvPr>
              <p:cNvSpPr/>
              <p:nvPr/>
            </p:nvSpPr>
            <p:spPr>
              <a:xfrm>
                <a:off x="8113230" y="5122069"/>
                <a:ext cx="274566" cy="27456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72" name="Freeform 60">
                <a:extLst>
                  <a:ext uri="{FF2B5EF4-FFF2-40B4-BE49-F238E27FC236}">
                    <a16:creationId xmlns:a16="http://schemas.microsoft.com/office/drawing/2014/main" id="{41921D2F-3244-48BB-BABD-67ED756814D9}"/>
                  </a:ext>
                </a:extLst>
              </p:cNvPr>
              <p:cNvSpPr/>
              <p:nvPr/>
            </p:nvSpPr>
            <p:spPr>
              <a:xfrm>
                <a:off x="5507831" y="5678142"/>
                <a:ext cx="1200744" cy="1046508"/>
              </a:xfrm>
              <a:custGeom>
                <a:avLst/>
                <a:gdLst>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58806 w 1200744"/>
                  <a:gd name="connsiteY19" fmla="*/ 0 h 1046508"/>
                  <a:gd name="connsiteX20" fmla="*/ 692944 w 1200744"/>
                  <a:gd name="connsiteY20" fmla="*/ 0 h 1046508"/>
                  <a:gd name="connsiteX21" fmla="*/ 692944 w 1200744"/>
                  <a:gd name="connsiteY21" fmla="*/ 102530 h 1046508"/>
                  <a:gd name="connsiteX22" fmla="*/ 418176 w 1200744"/>
                  <a:gd name="connsiteY22" fmla="*/ 135174 h 1046508"/>
                  <a:gd name="connsiteX23" fmla="*/ 392350 w 1200744"/>
                  <a:gd name="connsiteY23" fmla="*/ 149653 h 1046508"/>
                  <a:gd name="connsiteX24" fmla="*/ 384326 w 1200744"/>
                  <a:gd name="connsiteY24" fmla="*/ 178152 h 1046508"/>
                  <a:gd name="connsiteX25" fmla="*/ 398804 w 1200744"/>
                  <a:gd name="connsiteY25" fmla="*/ 203977 h 1046508"/>
                  <a:gd name="connsiteX26" fmla="*/ 427304 w 1200744"/>
                  <a:gd name="connsiteY26" fmla="*/ 212001 h 1046508"/>
                  <a:gd name="connsiteX27" fmla="*/ 1104900 w 1200744"/>
                  <a:gd name="connsiteY27" fmla="*/ 131498 h 1046508"/>
                  <a:gd name="connsiteX28" fmla="*/ 1104900 w 1200744"/>
                  <a:gd name="connsiteY28" fmla="*/ 134851 h 1046508"/>
                  <a:gd name="connsiteX29" fmla="*/ 1157493 w 1200744"/>
                  <a:gd name="connsiteY29" fmla="*/ 128603 h 1046508"/>
                  <a:gd name="connsiteX30" fmla="*/ 1200471 w 1200744"/>
                  <a:gd name="connsiteY30" fmla="*/ 162453 h 1046508"/>
                  <a:gd name="connsiteX31" fmla="*/ 1200470 w 1200744"/>
                  <a:gd name="connsiteY31" fmla="*/ 162453 h 1046508"/>
                  <a:gd name="connsiteX32" fmla="*/ 1166620 w 1200744"/>
                  <a:gd name="connsiteY32" fmla="*/ 205431 h 1046508"/>
                  <a:gd name="connsiteX33" fmla="*/ 892471 w 1200744"/>
                  <a:gd name="connsiteY33" fmla="*/ 238001 h 1046508"/>
                  <a:gd name="connsiteX34" fmla="*/ 883444 w 1200744"/>
                  <a:gd name="connsiteY34" fmla="*/ 235459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688181 w 1200744"/>
                  <a:gd name="connsiteY45" fmla="*/ 400083 h 1046508"/>
                  <a:gd name="connsiteX46" fmla="*/ 688181 w 1200744"/>
                  <a:gd name="connsiteY46" fmla="*/ 403433 h 1046508"/>
                  <a:gd name="connsiteX47" fmla="*/ 792956 w 1200744"/>
                  <a:gd name="connsiteY47" fmla="*/ 390985 h 1046508"/>
                  <a:gd name="connsiteX48" fmla="*/ 792956 w 1200744"/>
                  <a:gd name="connsiteY48" fmla="*/ 387635 h 1046508"/>
                  <a:gd name="connsiteX49" fmla="*/ 883444 w 1200744"/>
                  <a:gd name="connsiteY49" fmla="*/ 376884 h 1046508"/>
                  <a:gd name="connsiteX50" fmla="*/ 883444 w 1200744"/>
                  <a:gd name="connsiteY50" fmla="*/ 380235 h 1046508"/>
                  <a:gd name="connsiteX51" fmla="*/ 1157493 w 1200744"/>
                  <a:gd name="connsiteY51" fmla="*/ 347675 h 1046508"/>
                  <a:gd name="connsiteX52" fmla="*/ 1200471 w 1200744"/>
                  <a:gd name="connsiteY52" fmla="*/ 381525 h 1046508"/>
                  <a:gd name="connsiteX53" fmla="*/ 1200470 w 1200744"/>
                  <a:gd name="connsiteY53" fmla="*/ 381526 h 1046508"/>
                  <a:gd name="connsiteX54" fmla="*/ 1166620 w 1200744"/>
                  <a:gd name="connsiteY54" fmla="*/ 424503 h 1046508"/>
                  <a:gd name="connsiteX55" fmla="*/ 883444 w 1200744"/>
                  <a:gd name="connsiteY55" fmla="*/ 458146 h 1046508"/>
                  <a:gd name="connsiteX56" fmla="*/ 883444 w 1200744"/>
                  <a:gd name="connsiteY56" fmla="*/ 506141 h 1046508"/>
                  <a:gd name="connsiteX57" fmla="*/ 792956 w 1200744"/>
                  <a:gd name="connsiteY57" fmla="*/ 516892 h 1046508"/>
                  <a:gd name="connsiteX58" fmla="*/ 792956 w 1200744"/>
                  <a:gd name="connsiteY58" fmla="*/ 468897 h 1046508"/>
                  <a:gd name="connsiteX59" fmla="*/ 688181 w 1200744"/>
                  <a:gd name="connsiteY59" fmla="*/ 481345 h 1046508"/>
                  <a:gd name="connsiteX60" fmla="*/ 688181 w 1200744"/>
                  <a:gd name="connsiteY60" fmla="*/ 529340 h 1046508"/>
                  <a:gd name="connsiteX61" fmla="*/ 418176 w 1200744"/>
                  <a:gd name="connsiteY61" fmla="*/ 561418 h 1046508"/>
                  <a:gd name="connsiteX62" fmla="*/ 392350 w 1200744"/>
                  <a:gd name="connsiteY62" fmla="*/ 575897 h 1046508"/>
                  <a:gd name="connsiteX63" fmla="*/ 384326 w 1200744"/>
                  <a:gd name="connsiteY63" fmla="*/ 604396 h 1046508"/>
                  <a:gd name="connsiteX64" fmla="*/ 398804 w 1200744"/>
                  <a:gd name="connsiteY64" fmla="*/ 630221 h 1046508"/>
                  <a:gd name="connsiteX65" fmla="*/ 427304 w 1200744"/>
                  <a:gd name="connsiteY65" fmla="*/ 638245 h 1046508"/>
                  <a:gd name="connsiteX66" fmla="*/ 1104900 w 1200744"/>
                  <a:gd name="connsiteY66" fmla="*/ 557742 h 1046508"/>
                  <a:gd name="connsiteX67" fmla="*/ 1104900 w 1200744"/>
                  <a:gd name="connsiteY67" fmla="*/ 558713 h 1046508"/>
                  <a:gd name="connsiteX68" fmla="*/ 1157491 w 1200744"/>
                  <a:gd name="connsiteY68" fmla="*/ 552464 h 1046508"/>
                  <a:gd name="connsiteX69" fmla="*/ 1200469 w 1200744"/>
                  <a:gd name="connsiteY69" fmla="*/ 586314 h 1046508"/>
                  <a:gd name="connsiteX70" fmla="*/ 1200468 w 1200744"/>
                  <a:gd name="connsiteY70" fmla="*/ 586314 h 1046508"/>
                  <a:gd name="connsiteX71" fmla="*/ 1166618 w 1200744"/>
                  <a:gd name="connsiteY71" fmla="*/ 629292 h 1046508"/>
                  <a:gd name="connsiteX72" fmla="*/ 1104900 w 1200744"/>
                  <a:gd name="connsiteY72" fmla="*/ 636624 h 1046508"/>
                  <a:gd name="connsiteX73" fmla="*/ 1104900 w 1200744"/>
                  <a:gd name="connsiteY73" fmla="*/ 817908 h 1046508"/>
                  <a:gd name="connsiteX74" fmla="*/ 971550 w 1200744"/>
                  <a:gd name="connsiteY74" fmla="*/ 946496 h 1046508"/>
                  <a:gd name="connsiteX75" fmla="*/ 752889 w 1200744"/>
                  <a:gd name="connsiteY75" fmla="*/ 946496 h 1046508"/>
                  <a:gd name="connsiteX76" fmla="*/ 749140 w 1200744"/>
                  <a:gd name="connsiteY76" fmla="*/ 965065 h 1046508"/>
                  <a:gd name="connsiteX77" fmla="*/ 626271 w 1200744"/>
                  <a:gd name="connsiteY77" fmla="*/ 1046508 h 1046508"/>
                  <a:gd name="connsiteX78" fmla="*/ 533770 w 1200744"/>
                  <a:gd name="connsiteY78" fmla="*/ 1046508 h 1046508"/>
                  <a:gd name="connsiteX79" fmla="*/ 410901 w 1200744"/>
                  <a:gd name="connsiteY79" fmla="*/ 965065 h 1046508"/>
                  <a:gd name="connsiteX80" fmla="*/ 407153 w 1200744"/>
                  <a:gd name="connsiteY80" fmla="*/ 946496 h 1046508"/>
                  <a:gd name="connsiteX81" fmla="*/ 190500 w 1200744"/>
                  <a:gd name="connsiteY81" fmla="*/ 946496 h 1046508"/>
                  <a:gd name="connsiteX82" fmla="*/ 59532 w 1200744"/>
                  <a:gd name="connsiteY82" fmla="*/ 825052 h 1046508"/>
                  <a:gd name="connsiteX83" fmla="*/ 59432 w 1200744"/>
                  <a:gd name="connsiteY83" fmla="*/ 710643 h 1046508"/>
                  <a:gd name="connsiteX84" fmla="*/ 48816 w 1200744"/>
                  <a:gd name="connsiteY84" fmla="*/ 710643 h 1046508"/>
                  <a:gd name="connsiteX85" fmla="*/ 14298 w 1200744"/>
                  <a:gd name="connsiteY85" fmla="*/ 696345 h 1046508"/>
                  <a:gd name="connsiteX86" fmla="*/ 0 w 1200744"/>
                  <a:gd name="connsiteY86" fmla="*/ 661828 h 1046508"/>
                  <a:gd name="connsiteX87" fmla="*/ 14298 w 1200744"/>
                  <a:gd name="connsiteY87" fmla="*/ 627310 h 1046508"/>
                  <a:gd name="connsiteX88" fmla="*/ 48816 w 1200744"/>
                  <a:gd name="connsiteY88" fmla="*/ 613012 h 1046508"/>
                  <a:gd name="connsiteX89" fmla="*/ 59346 w 1200744"/>
                  <a:gd name="connsiteY89" fmla="*/ 613012 h 1046508"/>
                  <a:gd name="connsiteX90" fmla="*/ 59247 w 1200744"/>
                  <a:gd name="connsiteY90" fmla="*/ 501147 h 1046508"/>
                  <a:gd name="connsiteX91" fmla="*/ 48816 w 1200744"/>
                  <a:gd name="connsiteY91" fmla="*/ 501147 h 1046508"/>
                  <a:gd name="connsiteX92" fmla="*/ 14298 w 1200744"/>
                  <a:gd name="connsiteY92" fmla="*/ 486849 h 1046508"/>
                  <a:gd name="connsiteX93" fmla="*/ 0 w 1200744"/>
                  <a:gd name="connsiteY93" fmla="*/ 452332 h 1046508"/>
                  <a:gd name="connsiteX94" fmla="*/ 14298 w 1200744"/>
                  <a:gd name="connsiteY94" fmla="*/ 417814 h 1046508"/>
                  <a:gd name="connsiteX95" fmla="*/ 48816 w 1200744"/>
                  <a:gd name="connsiteY95" fmla="*/ 403516 h 1046508"/>
                  <a:gd name="connsiteX96" fmla="*/ 59161 w 1200744"/>
                  <a:gd name="connsiteY96" fmla="*/ 403516 h 1046508"/>
                  <a:gd name="connsiteX97" fmla="*/ 59063 w 1200744"/>
                  <a:gd name="connsiteY97" fmla="*/ 291651 h 1046508"/>
                  <a:gd name="connsiteX98" fmla="*/ 48816 w 1200744"/>
                  <a:gd name="connsiteY98" fmla="*/ 291651 h 1046508"/>
                  <a:gd name="connsiteX99" fmla="*/ 14298 w 1200744"/>
                  <a:gd name="connsiteY99" fmla="*/ 277353 h 1046508"/>
                  <a:gd name="connsiteX100" fmla="*/ 0 w 1200744"/>
                  <a:gd name="connsiteY100" fmla="*/ 242836 h 1046508"/>
                  <a:gd name="connsiteX101" fmla="*/ 14298 w 1200744"/>
                  <a:gd name="connsiteY101" fmla="*/ 208318 h 1046508"/>
                  <a:gd name="connsiteX102" fmla="*/ 48816 w 1200744"/>
                  <a:gd name="connsiteY102" fmla="*/ 194020 h 1046508"/>
                  <a:gd name="connsiteX103" fmla="*/ 58977 w 1200744"/>
                  <a:gd name="connsiteY103" fmla="*/ 19402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792956 w 1200744"/>
                  <a:gd name="connsiteY49" fmla="*/ 387635 h 1046508"/>
                  <a:gd name="connsiteX50" fmla="*/ 883444 w 1200744"/>
                  <a:gd name="connsiteY50" fmla="*/ 376884 h 1046508"/>
                  <a:gd name="connsiteX51" fmla="*/ 1157493 w 1200744"/>
                  <a:gd name="connsiteY51" fmla="*/ 347675 h 1046508"/>
                  <a:gd name="connsiteX52" fmla="*/ 1200471 w 1200744"/>
                  <a:gd name="connsiteY52" fmla="*/ 381525 h 1046508"/>
                  <a:gd name="connsiteX53" fmla="*/ 1200470 w 1200744"/>
                  <a:gd name="connsiteY53" fmla="*/ 381526 h 1046508"/>
                  <a:gd name="connsiteX54" fmla="*/ 1166620 w 1200744"/>
                  <a:gd name="connsiteY54" fmla="*/ 424503 h 1046508"/>
                  <a:gd name="connsiteX55" fmla="*/ 883444 w 1200744"/>
                  <a:gd name="connsiteY55" fmla="*/ 458146 h 1046508"/>
                  <a:gd name="connsiteX56" fmla="*/ 883444 w 1200744"/>
                  <a:gd name="connsiteY56" fmla="*/ 506141 h 1046508"/>
                  <a:gd name="connsiteX57" fmla="*/ 792956 w 1200744"/>
                  <a:gd name="connsiteY57" fmla="*/ 516892 h 1046508"/>
                  <a:gd name="connsiteX58" fmla="*/ 792956 w 1200744"/>
                  <a:gd name="connsiteY58" fmla="*/ 468897 h 1046508"/>
                  <a:gd name="connsiteX59" fmla="*/ 688181 w 1200744"/>
                  <a:gd name="connsiteY59" fmla="*/ 481345 h 1046508"/>
                  <a:gd name="connsiteX60" fmla="*/ 688181 w 1200744"/>
                  <a:gd name="connsiteY60" fmla="*/ 529340 h 1046508"/>
                  <a:gd name="connsiteX61" fmla="*/ 418176 w 1200744"/>
                  <a:gd name="connsiteY61" fmla="*/ 561418 h 1046508"/>
                  <a:gd name="connsiteX62" fmla="*/ 392350 w 1200744"/>
                  <a:gd name="connsiteY62" fmla="*/ 575897 h 1046508"/>
                  <a:gd name="connsiteX63" fmla="*/ 384326 w 1200744"/>
                  <a:gd name="connsiteY63" fmla="*/ 604396 h 1046508"/>
                  <a:gd name="connsiteX64" fmla="*/ 398804 w 1200744"/>
                  <a:gd name="connsiteY64" fmla="*/ 630221 h 1046508"/>
                  <a:gd name="connsiteX65" fmla="*/ 427304 w 1200744"/>
                  <a:gd name="connsiteY65" fmla="*/ 638245 h 1046508"/>
                  <a:gd name="connsiteX66" fmla="*/ 1104900 w 1200744"/>
                  <a:gd name="connsiteY66" fmla="*/ 557742 h 1046508"/>
                  <a:gd name="connsiteX67" fmla="*/ 1104900 w 1200744"/>
                  <a:gd name="connsiteY67" fmla="*/ 558713 h 1046508"/>
                  <a:gd name="connsiteX68" fmla="*/ 1157491 w 1200744"/>
                  <a:gd name="connsiteY68" fmla="*/ 552464 h 1046508"/>
                  <a:gd name="connsiteX69" fmla="*/ 1200469 w 1200744"/>
                  <a:gd name="connsiteY69" fmla="*/ 586314 h 1046508"/>
                  <a:gd name="connsiteX70" fmla="*/ 1200468 w 1200744"/>
                  <a:gd name="connsiteY70" fmla="*/ 586314 h 1046508"/>
                  <a:gd name="connsiteX71" fmla="*/ 1166618 w 1200744"/>
                  <a:gd name="connsiteY71" fmla="*/ 629292 h 1046508"/>
                  <a:gd name="connsiteX72" fmla="*/ 1104900 w 1200744"/>
                  <a:gd name="connsiteY72" fmla="*/ 636624 h 1046508"/>
                  <a:gd name="connsiteX73" fmla="*/ 1104900 w 1200744"/>
                  <a:gd name="connsiteY73" fmla="*/ 817908 h 1046508"/>
                  <a:gd name="connsiteX74" fmla="*/ 971550 w 1200744"/>
                  <a:gd name="connsiteY74" fmla="*/ 946496 h 1046508"/>
                  <a:gd name="connsiteX75" fmla="*/ 752889 w 1200744"/>
                  <a:gd name="connsiteY75" fmla="*/ 946496 h 1046508"/>
                  <a:gd name="connsiteX76" fmla="*/ 749140 w 1200744"/>
                  <a:gd name="connsiteY76" fmla="*/ 965065 h 1046508"/>
                  <a:gd name="connsiteX77" fmla="*/ 626271 w 1200744"/>
                  <a:gd name="connsiteY77" fmla="*/ 1046508 h 1046508"/>
                  <a:gd name="connsiteX78" fmla="*/ 533770 w 1200744"/>
                  <a:gd name="connsiteY78" fmla="*/ 1046508 h 1046508"/>
                  <a:gd name="connsiteX79" fmla="*/ 410901 w 1200744"/>
                  <a:gd name="connsiteY79" fmla="*/ 965065 h 1046508"/>
                  <a:gd name="connsiteX80" fmla="*/ 407153 w 1200744"/>
                  <a:gd name="connsiteY80" fmla="*/ 946496 h 1046508"/>
                  <a:gd name="connsiteX81" fmla="*/ 190500 w 1200744"/>
                  <a:gd name="connsiteY81" fmla="*/ 946496 h 1046508"/>
                  <a:gd name="connsiteX82" fmla="*/ 59532 w 1200744"/>
                  <a:gd name="connsiteY82" fmla="*/ 825052 h 1046508"/>
                  <a:gd name="connsiteX83" fmla="*/ 59432 w 1200744"/>
                  <a:gd name="connsiteY83" fmla="*/ 710643 h 1046508"/>
                  <a:gd name="connsiteX84" fmla="*/ 48816 w 1200744"/>
                  <a:gd name="connsiteY84" fmla="*/ 710643 h 1046508"/>
                  <a:gd name="connsiteX85" fmla="*/ 14298 w 1200744"/>
                  <a:gd name="connsiteY85" fmla="*/ 696345 h 1046508"/>
                  <a:gd name="connsiteX86" fmla="*/ 0 w 1200744"/>
                  <a:gd name="connsiteY86" fmla="*/ 661828 h 1046508"/>
                  <a:gd name="connsiteX87" fmla="*/ 14298 w 1200744"/>
                  <a:gd name="connsiteY87" fmla="*/ 627310 h 1046508"/>
                  <a:gd name="connsiteX88" fmla="*/ 48816 w 1200744"/>
                  <a:gd name="connsiteY88" fmla="*/ 613012 h 1046508"/>
                  <a:gd name="connsiteX89" fmla="*/ 59346 w 1200744"/>
                  <a:gd name="connsiteY89" fmla="*/ 613012 h 1046508"/>
                  <a:gd name="connsiteX90" fmla="*/ 59247 w 1200744"/>
                  <a:gd name="connsiteY90" fmla="*/ 501147 h 1046508"/>
                  <a:gd name="connsiteX91" fmla="*/ 48816 w 1200744"/>
                  <a:gd name="connsiteY91" fmla="*/ 501147 h 1046508"/>
                  <a:gd name="connsiteX92" fmla="*/ 14298 w 1200744"/>
                  <a:gd name="connsiteY92" fmla="*/ 486849 h 1046508"/>
                  <a:gd name="connsiteX93" fmla="*/ 0 w 1200744"/>
                  <a:gd name="connsiteY93" fmla="*/ 452332 h 1046508"/>
                  <a:gd name="connsiteX94" fmla="*/ 14298 w 1200744"/>
                  <a:gd name="connsiteY94" fmla="*/ 417814 h 1046508"/>
                  <a:gd name="connsiteX95" fmla="*/ 48816 w 1200744"/>
                  <a:gd name="connsiteY95" fmla="*/ 403516 h 1046508"/>
                  <a:gd name="connsiteX96" fmla="*/ 59161 w 1200744"/>
                  <a:gd name="connsiteY96" fmla="*/ 403516 h 1046508"/>
                  <a:gd name="connsiteX97" fmla="*/ 59063 w 1200744"/>
                  <a:gd name="connsiteY97" fmla="*/ 291651 h 1046508"/>
                  <a:gd name="connsiteX98" fmla="*/ 48816 w 1200744"/>
                  <a:gd name="connsiteY98" fmla="*/ 291651 h 1046508"/>
                  <a:gd name="connsiteX99" fmla="*/ 14298 w 1200744"/>
                  <a:gd name="connsiteY99" fmla="*/ 277353 h 1046508"/>
                  <a:gd name="connsiteX100" fmla="*/ 0 w 1200744"/>
                  <a:gd name="connsiteY100" fmla="*/ 242836 h 1046508"/>
                  <a:gd name="connsiteX101" fmla="*/ 14298 w 1200744"/>
                  <a:gd name="connsiteY101" fmla="*/ 208318 h 1046508"/>
                  <a:gd name="connsiteX102" fmla="*/ 48816 w 1200744"/>
                  <a:gd name="connsiteY102" fmla="*/ 194020 h 1046508"/>
                  <a:gd name="connsiteX103" fmla="*/ 58977 w 1200744"/>
                  <a:gd name="connsiteY103" fmla="*/ 194020 h 1046508"/>
                  <a:gd name="connsiteX104" fmla="*/ 58806 w 1200744"/>
                  <a:gd name="connsiteY104"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792956 w 1200744"/>
                  <a:gd name="connsiteY49" fmla="*/ 387635 h 1046508"/>
                  <a:gd name="connsiteX50" fmla="*/ 1157493 w 1200744"/>
                  <a:gd name="connsiteY50" fmla="*/ 347675 h 1046508"/>
                  <a:gd name="connsiteX51" fmla="*/ 1200471 w 1200744"/>
                  <a:gd name="connsiteY51" fmla="*/ 381525 h 1046508"/>
                  <a:gd name="connsiteX52" fmla="*/ 1200470 w 1200744"/>
                  <a:gd name="connsiteY52" fmla="*/ 381526 h 1046508"/>
                  <a:gd name="connsiteX53" fmla="*/ 1166620 w 1200744"/>
                  <a:gd name="connsiteY53" fmla="*/ 424503 h 1046508"/>
                  <a:gd name="connsiteX54" fmla="*/ 883444 w 1200744"/>
                  <a:gd name="connsiteY54" fmla="*/ 458146 h 1046508"/>
                  <a:gd name="connsiteX55" fmla="*/ 883444 w 1200744"/>
                  <a:gd name="connsiteY55" fmla="*/ 506141 h 1046508"/>
                  <a:gd name="connsiteX56" fmla="*/ 792956 w 1200744"/>
                  <a:gd name="connsiteY56" fmla="*/ 516892 h 1046508"/>
                  <a:gd name="connsiteX57" fmla="*/ 792956 w 1200744"/>
                  <a:gd name="connsiteY57" fmla="*/ 468897 h 1046508"/>
                  <a:gd name="connsiteX58" fmla="*/ 688181 w 1200744"/>
                  <a:gd name="connsiteY58" fmla="*/ 481345 h 1046508"/>
                  <a:gd name="connsiteX59" fmla="*/ 688181 w 1200744"/>
                  <a:gd name="connsiteY59" fmla="*/ 529340 h 1046508"/>
                  <a:gd name="connsiteX60" fmla="*/ 418176 w 1200744"/>
                  <a:gd name="connsiteY60" fmla="*/ 561418 h 1046508"/>
                  <a:gd name="connsiteX61" fmla="*/ 392350 w 1200744"/>
                  <a:gd name="connsiteY61" fmla="*/ 575897 h 1046508"/>
                  <a:gd name="connsiteX62" fmla="*/ 384326 w 1200744"/>
                  <a:gd name="connsiteY62" fmla="*/ 604396 h 1046508"/>
                  <a:gd name="connsiteX63" fmla="*/ 398804 w 1200744"/>
                  <a:gd name="connsiteY63" fmla="*/ 630221 h 1046508"/>
                  <a:gd name="connsiteX64" fmla="*/ 427304 w 1200744"/>
                  <a:gd name="connsiteY64" fmla="*/ 638245 h 1046508"/>
                  <a:gd name="connsiteX65" fmla="*/ 1104900 w 1200744"/>
                  <a:gd name="connsiteY65" fmla="*/ 557742 h 1046508"/>
                  <a:gd name="connsiteX66" fmla="*/ 1104900 w 1200744"/>
                  <a:gd name="connsiteY66" fmla="*/ 558713 h 1046508"/>
                  <a:gd name="connsiteX67" fmla="*/ 1157491 w 1200744"/>
                  <a:gd name="connsiteY67" fmla="*/ 552464 h 1046508"/>
                  <a:gd name="connsiteX68" fmla="*/ 1200469 w 1200744"/>
                  <a:gd name="connsiteY68" fmla="*/ 586314 h 1046508"/>
                  <a:gd name="connsiteX69" fmla="*/ 1200468 w 1200744"/>
                  <a:gd name="connsiteY69" fmla="*/ 586314 h 1046508"/>
                  <a:gd name="connsiteX70" fmla="*/ 1166618 w 1200744"/>
                  <a:gd name="connsiteY70" fmla="*/ 629292 h 1046508"/>
                  <a:gd name="connsiteX71" fmla="*/ 1104900 w 1200744"/>
                  <a:gd name="connsiteY71" fmla="*/ 636624 h 1046508"/>
                  <a:gd name="connsiteX72" fmla="*/ 1104900 w 1200744"/>
                  <a:gd name="connsiteY72" fmla="*/ 817908 h 1046508"/>
                  <a:gd name="connsiteX73" fmla="*/ 971550 w 1200744"/>
                  <a:gd name="connsiteY73" fmla="*/ 946496 h 1046508"/>
                  <a:gd name="connsiteX74" fmla="*/ 752889 w 1200744"/>
                  <a:gd name="connsiteY74" fmla="*/ 946496 h 1046508"/>
                  <a:gd name="connsiteX75" fmla="*/ 749140 w 1200744"/>
                  <a:gd name="connsiteY75" fmla="*/ 965065 h 1046508"/>
                  <a:gd name="connsiteX76" fmla="*/ 626271 w 1200744"/>
                  <a:gd name="connsiteY76" fmla="*/ 1046508 h 1046508"/>
                  <a:gd name="connsiteX77" fmla="*/ 533770 w 1200744"/>
                  <a:gd name="connsiteY77" fmla="*/ 1046508 h 1046508"/>
                  <a:gd name="connsiteX78" fmla="*/ 410901 w 1200744"/>
                  <a:gd name="connsiteY78" fmla="*/ 965065 h 1046508"/>
                  <a:gd name="connsiteX79" fmla="*/ 407153 w 1200744"/>
                  <a:gd name="connsiteY79" fmla="*/ 946496 h 1046508"/>
                  <a:gd name="connsiteX80" fmla="*/ 190500 w 1200744"/>
                  <a:gd name="connsiteY80" fmla="*/ 946496 h 1046508"/>
                  <a:gd name="connsiteX81" fmla="*/ 59532 w 1200744"/>
                  <a:gd name="connsiteY81" fmla="*/ 825052 h 1046508"/>
                  <a:gd name="connsiteX82" fmla="*/ 59432 w 1200744"/>
                  <a:gd name="connsiteY82" fmla="*/ 710643 h 1046508"/>
                  <a:gd name="connsiteX83" fmla="*/ 48816 w 1200744"/>
                  <a:gd name="connsiteY83" fmla="*/ 710643 h 1046508"/>
                  <a:gd name="connsiteX84" fmla="*/ 14298 w 1200744"/>
                  <a:gd name="connsiteY84" fmla="*/ 696345 h 1046508"/>
                  <a:gd name="connsiteX85" fmla="*/ 0 w 1200744"/>
                  <a:gd name="connsiteY85" fmla="*/ 661828 h 1046508"/>
                  <a:gd name="connsiteX86" fmla="*/ 14298 w 1200744"/>
                  <a:gd name="connsiteY86" fmla="*/ 627310 h 1046508"/>
                  <a:gd name="connsiteX87" fmla="*/ 48816 w 1200744"/>
                  <a:gd name="connsiteY87" fmla="*/ 613012 h 1046508"/>
                  <a:gd name="connsiteX88" fmla="*/ 59346 w 1200744"/>
                  <a:gd name="connsiteY88" fmla="*/ 613012 h 1046508"/>
                  <a:gd name="connsiteX89" fmla="*/ 59247 w 1200744"/>
                  <a:gd name="connsiteY89" fmla="*/ 501147 h 1046508"/>
                  <a:gd name="connsiteX90" fmla="*/ 48816 w 1200744"/>
                  <a:gd name="connsiteY90" fmla="*/ 501147 h 1046508"/>
                  <a:gd name="connsiteX91" fmla="*/ 14298 w 1200744"/>
                  <a:gd name="connsiteY91" fmla="*/ 486849 h 1046508"/>
                  <a:gd name="connsiteX92" fmla="*/ 0 w 1200744"/>
                  <a:gd name="connsiteY92" fmla="*/ 452332 h 1046508"/>
                  <a:gd name="connsiteX93" fmla="*/ 14298 w 1200744"/>
                  <a:gd name="connsiteY93" fmla="*/ 417814 h 1046508"/>
                  <a:gd name="connsiteX94" fmla="*/ 48816 w 1200744"/>
                  <a:gd name="connsiteY94" fmla="*/ 403516 h 1046508"/>
                  <a:gd name="connsiteX95" fmla="*/ 59161 w 1200744"/>
                  <a:gd name="connsiteY95" fmla="*/ 403516 h 1046508"/>
                  <a:gd name="connsiteX96" fmla="*/ 59063 w 1200744"/>
                  <a:gd name="connsiteY96" fmla="*/ 291651 h 1046508"/>
                  <a:gd name="connsiteX97" fmla="*/ 48816 w 1200744"/>
                  <a:gd name="connsiteY97" fmla="*/ 291651 h 1046508"/>
                  <a:gd name="connsiteX98" fmla="*/ 14298 w 1200744"/>
                  <a:gd name="connsiteY98" fmla="*/ 277353 h 1046508"/>
                  <a:gd name="connsiteX99" fmla="*/ 0 w 1200744"/>
                  <a:gd name="connsiteY99" fmla="*/ 242836 h 1046508"/>
                  <a:gd name="connsiteX100" fmla="*/ 14298 w 1200744"/>
                  <a:gd name="connsiteY100" fmla="*/ 208318 h 1046508"/>
                  <a:gd name="connsiteX101" fmla="*/ 48816 w 1200744"/>
                  <a:gd name="connsiteY101" fmla="*/ 194020 h 1046508"/>
                  <a:gd name="connsiteX102" fmla="*/ 58977 w 1200744"/>
                  <a:gd name="connsiteY102" fmla="*/ 194020 h 1046508"/>
                  <a:gd name="connsiteX103" fmla="*/ 58806 w 1200744"/>
                  <a:gd name="connsiteY103"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1157493 w 1200744"/>
                  <a:gd name="connsiteY49" fmla="*/ 347675 h 1046508"/>
                  <a:gd name="connsiteX50" fmla="*/ 1200471 w 1200744"/>
                  <a:gd name="connsiteY50" fmla="*/ 381525 h 1046508"/>
                  <a:gd name="connsiteX51" fmla="*/ 1200470 w 1200744"/>
                  <a:gd name="connsiteY51" fmla="*/ 381526 h 1046508"/>
                  <a:gd name="connsiteX52" fmla="*/ 1166620 w 1200744"/>
                  <a:gd name="connsiteY52" fmla="*/ 424503 h 1046508"/>
                  <a:gd name="connsiteX53" fmla="*/ 883444 w 1200744"/>
                  <a:gd name="connsiteY53" fmla="*/ 458146 h 1046508"/>
                  <a:gd name="connsiteX54" fmla="*/ 883444 w 1200744"/>
                  <a:gd name="connsiteY54" fmla="*/ 506141 h 1046508"/>
                  <a:gd name="connsiteX55" fmla="*/ 792956 w 1200744"/>
                  <a:gd name="connsiteY55" fmla="*/ 516892 h 1046508"/>
                  <a:gd name="connsiteX56" fmla="*/ 792956 w 1200744"/>
                  <a:gd name="connsiteY56" fmla="*/ 468897 h 1046508"/>
                  <a:gd name="connsiteX57" fmla="*/ 688181 w 1200744"/>
                  <a:gd name="connsiteY57" fmla="*/ 481345 h 1046508"/>
                  <a:gd name="connsiteX58" fmla="*/ 688181 w 1200744"/>
                  <a:gd name="connsiteY58" fmla="*/ 529340 h 1046508"/>
                  <a:gd name="connsiteX59" fmla="*/ 418176 w 1200744"/>
                  <a:gd name="connsiteY59" fmla="*/ 561418 h 1046508"/>
                  <a:gd name="connsiteX60" fmla="*/ 392350 w 1200744"/>
                  <a:gd name="connsiteY60" fmla="*/ 575897 h 1046508"/>
                  <a:gd name="connsiteX61" fmla="*/ 384326 w 1200744"/>
                  <a:gd name="connsiteY61" fmla="*/ 604396 h 1046508"/>
                  <a:gd name="connsiteX62" fmla="*/ 398804 w 1200744"/>
                  <a:gd name="connsiteY62" fmla="*/ 630221 h 1046508"/>
                  <a:gd name="connsiteX63" fmla="*/ 427304 w 1200744"/>
                  <a:gd name="connsiteY63" fmla="*/ 638245 h 1046508"/>
                  <a:gd name="connsiteX64" fmla="*/ 1104900 w 1200744"/>
                  <a:gd name="connsiteY64" fmla="*/ 557742 h 1046508"/>
                  <a:gd name="connsiteX65" fmla="*/ 1104900 w 1200744"/>
                  <a:gd name="connsiteY65" fmla="*/ 558713 h 1046508"/>
                  <a:gd name="connsiteX66" fmla="*/ 1157491 w 1200744"/>
                  <a:gd name="connsiteY66" fmla="*/ 552464 h 1046508"/>
                  <a:gd name="connsiteX67" fmla="*/ 1200469 w 1200744"/>
                  <a:gd name="connsiteY67" fmla="*/ 586314 h 1046508"/>
                  <a:gd name="connsiteX68" fmla="*/ 1200468 w 1200744"/>
                  <a:gd name="connsiteY68" fmla="*/ 586314 h 1046508"/>
                  <a:gd name="connsiteX69" fmla="*/ 1166618 w 1200744"/>
                  <a:gd name="connsiteY69" fmla="*/ 629292 h 1046508"/>
                  <a:gd name="connsiteX70" fmla="*/ 1104900 w 1200744"/>
                  <a:gd name="connsiteY70" fmla="*/ 636624 h 1046508"/>
                  <a:gd name="connsiteX71" fmla="*/ 1104900 w 1200744"/>
                  <a:gd name="connsiteY71" fmla="*/ 817908 h 1046508"/>
                  <a:gd name="connsiteX72" fmla="*/ 971550 w 1200744"/>
                  <a:gd name="connsiteY72" fmla="*/ 946496 h 1046508"/>
                  <a:gd name="connsiteX73" fmla="*/ 752889 w 1200744"/>
                  <a:gd name="connsiteY73" fmla="*/ 946496 h 1046508"/>
                  <a:gd name="connsiteX74" fmla="*/ 749140 w 1200744"/>
                  <a:gd name="connsiteY74" fmla="*/ 965065 h 1046508"/>
                  <a:gd name="connsiteX75" fmla="*/ 626271 w 1200744"/>
                  <a:gd name="connsiteY75" fmla="*/ 1046508 h 1046508"/>
                  <a:gd name="connsiteX76" fmla="*/ 533770 w 1200744"/>
                  <a:gd name="connsiteY76" fmla="*/ 1046508 h 1046508"/>
                  <a:gd name="connsiteX77" fmla="*/ 410901 w 1200744"/>
                  <a:gd name="connsiteY77" fmla="*/ 965065 h 1046508"/>
                  <a:gd name="connsiteX78" fmla="*/ 407153 w 1200744"/>
                  <a:gd name="connsiteY78" fmla="*/ 946496 h 1046508"/>
                  <a:gd name="connsiteX79" fmla="*/ 190500 w 1200744"/>
                  <a:gd name="connsiteY79" fmla="*/ 946496 h 1046508"/>
                  <a:gd name="connsiteX80" fmla="*/ 59532 w 1200744"/>
                  <a:gd name="connsiteY80" fmla="*/ 825052 h 1046508"/>
                  <a:gd name="connsiteX81" fmla="*/ 59432 w 1200744"/>
                  <a:gd name="connsiteY81" fmla="*/ 710643 h 1046508"/>
                  <a:gd name="connsiteX82" fmla="*/ 48816 w 1200744"/>
                  <a:gd name="connsiteY82" fmla="*/ 710643 h 1046508"/>
                  <a:gd name="connsiteX83" fmla="*/ 14298 w 1200744"/>
                  <a:gd name="connsiteY83" fmla="*/ 696345 h 1046508"/>
                  <a:gd name="connsiteX84" fmla="*/ 0 w 1200744"/>
                  <a:gd name="connsiteY84" fmla="*/ 661828 h 1046508"/>
                  <a:gd name="connsiteX85" fmla="*/ 14298 w 1200744"/>
                  <a:gd name="connsiteY85" fmla="*/ 627310 h 1046508"/>
                  <a:gd name="connsiteX86" fmla="*/ 48816 w 1200744"/>
                  <a:gd name="connsiteY86" fmla="*/ 613012 h 1046508"/>
                  <a:gd name="connsiteX87" fmla="*/ 59346 w 1200744"/>
                  <a:gd name="connsiteY87" fmla="*/ 613012 h 1046508"/>
                  <a:gd name="connsiteX88" fmla="*/ 59247 w 1200744"/>
                  <a:gd name="connsiteY88" fmla="*/ 501147 h 1046508"/>
                  <a:gd name="connsiteX89" fmla="*/ 48816 w 1200744"/>
                  <a:gd name="connsiteY89" fmla="*/ 501147 h 1046508"/>
                  <a:gd name="connsiteX90" fmla="*/ 14298 w 1200744"/>
                  <a:gd name="connsiteY90" fmla="*/ 486849 h 1046508"/>
                  <a:gd name="connsiteX91" fmla="*/ 0 w 1200744"/>
                  <a:gd name="connsiteY91" fmla="*/ 452332 h 1046508"/>
                  <a:gd name="connsiteX92" fmla="*/ 14298 w 1200744"/>
                  <a:gd name="connsiteY92" fmla="*/ 417814 h 1046508"/>
                  <a:gd name="connsiteX93" fmla="*/ 48816 w 1200744"/>
                  <a:gd name="connsiteY93" fmla="*/ 403516 h 1046508"/>
                  <a:gd name="connsiteX94" fmla="*/ 59161 w 1200744"/>
                  <a:gd name="connsiteY94" fmla="*/ 403516 h 1046508"/>
                  <a:gd name="connsiteX95" fmla="*/ 59063 w 1200744"/>
                  <a:gd name="connsiteY95" fmla="*/ 291651 h 1046508"/>
                  <a:gd name="connsiteX96" fmla="*/ 48816 w 1200744"/>
                  <a:gd name="connsiteY96" fmla="*/ 291651 h 1046508"/>
                  <a:gd name="connsiteX97" fmla="*/ 14298 w 1200744"/>
                  <a:gd name="connsiteY97" fmla="*/ 277353 h 1046508"/>
                  <a:gd name="connsiteX98" fmla="*/ 0 w 1200744"/>
                  <a:gd name="connsiteY98" fmla="*/ 242836 h 1046508"/>
                  <a:gd name="connsiteX99" fmla="*/ 14298 w 1200744"/>
                  <a:gd name="connsiteY99" fmla="*/ 208318 h 1046508"/>
                  <a:gd name="connsiteX100" fmla="*/ 48816 w 1200744"/>
                  <a:gd name="connsiteY100" fmla="*/ 194020 h 1046508"/>
                  <a:gd name="connsiteX101" fmla="*/ 58977 w 1200744"/>
                  <a:gd name="connsiteY101" fmla="*/ 194020 h 1046508"/>
                  <a:gd name="connsiteX102" fmla="*/ 58806 w 1200744"/>
                  <a:gd name="connsiteY102"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1157493 w 1200744"/>
                  <a:gd name="connsiteY48" fmla="*/ 347675 h 1046508"/>
                  <a:gd name="connsiteX49" fmla="*/ 1200471 w 1200744"/>
                  <a:gd name="connsiteY49" fmla="*/ 381525 h 1046508"/>
                  <a:gd name="connsiteX50" fmla="*/ 1200470 w 1200744"/>
                  <a:gd name="connsiteY50" fmla="*/ 381526 h 1046508"/>
                  <a:gd name="connsiteX51" fmla="*/ 1166620 w 1200744"/>
                  <a:gd name="connsiteY51" fmla="*/ 424503 h 1046508"/>
                  <a:gd name="connsiteX52" fmla="*/ 883444 w 1200744"/>
                  <a:gd name="connsiteY52" fmla="*/ 458146 h 1046508"/>
                  <a:gd name="connsiteX53" fmla="*/ 883444 w 1200744"/>
                  <a:gd name="connsiteY53" fmla="*/ 506141 h 1046508"/>
                  <a:gd name="connsiteX54" fmla="*/ 792956 w 1200744"/>
                  <a:gd name="connsiteY54" fmla="*/ 516892 h 1046508"/>
                  <a:gd name="connsiteX55" fmla="*/ 792956 w 1200744"/>
                  <a:gd name="connsiteY55" fmla="*/ 468897 h 1046508"/>
                  <a:gd name="connsiteX56" fmla="*/ 688181 w 1200744"/>
                  <a:gd name="connsiteY56" fmla="*/ 481345 h 1046508"/>
                  <a:gd name="connsiteX57" fmla="*/ 688181 w 1200744"/>
                  <a:gd name="connsiteY57" fmla="*/ 529340 h 1046508"/>
                  <a:gd name="connsiteX58" fmla="*/ 418176 w 1200744"/>
                  <a:gd name="connsiteY58" fmla="*/ 561418 h 1046508"/>
                  <a:gd name="connsiteX59" fmla="*/ 392350 w 1200744"/>
                  <a:gd name="connsiteY59" fmla="*/ 575897 h 1046508"/>
                  <a:gd name="connsiteX60" fmla="*/ 384326 w 1200744"/>
                  <a:gd name="connsiteY60" fmla="*/ 604396 h 1046508"/>
                  <a:gd name="connsiteX61" fmla="*/ 398804 w 1200744"/>
                  <a:gd name="connsiteY61" fmla="*/ 630221 h 1046508"/>
                  <a:gd name="connsiteX62" fmla="*/ 427304 w 1200744"/>
                  <a:gd name="connsiteY62" fmla="*/ 638245 h 1046508"/>
                  <a:gd name="connsiteX63" fmla="*/ 1104900 w 1200744"/>
                  <a:gd name="connsiteY63" fmla="*/ 557742 h 1046508"/>
                  <a:gd name="connsiteX64" fmla="*/ 1104900 w 1200744"/>
                  <a:gd name="connsiteY64" fmla="*/ 558713 h 1046508"/>
                  <a:gd name="connsiteX65" fmla="*/ 1157491 w 1200744"/>
                  <a:gd name="connsiteY65" fmla="*/ 552464 h 1046508"/>
                  <a:gd name="connsiteX66" fmla="*/ 1200469 w 1200744"/>
                  <a:gd name="connsiteY66" fmla="*/ 586314 h 1046508"/>
                  <a:gd name="connsiteX67" fmla="*/ 1200468 w 1200744"/>
                  <a:gd name="connsiteY67" fmla="*/ 586314 h 1046508"/>
                  <a:gd name="connsiteX68" fmla="*/ 1166618 w 1200744"/>
                  <a:gd name="connsiteY68" fmla="*/ 629292 h 1046508"/>
                  <a:gd name="connsiteX69" fmla="*/ 1104900 w 1200744"/>
                  <a:gd name="connsiteY69" fmla="*/ 636624 h 1046508"/>
                  <a:gd name="connsiteX70" fmla="*/ 1104900 w 1200744"/>
                  <a:gd name="connsiteY70" fmla="*/ 817908 h 1046508"/>
                  <a:gd name="connsiteX71" fmla="*/ 971550 w 1200744"/>
                  <a:gd name="connsiteY71" fmla="*/ 946496 h 1046508"/>
                  <a:gd name="connsiteX72" fmla="*/ 752889 w 1200744"/>
                  <a:gd name="connsiteY72" fmla="*/ 946496 h 1046508"/>
                  <a:gd name="connsiteX73" fmla="*/ 749140 w 1200744"/>
                  <a:gd name="connsiteY73" fmla="*/ 965065 h 1046508"/>
                  <a:gd name="connsiteX74" fmla="*/ 626271 w 1200744"/>
                  <a:gd name="connsiteY74" fmla="*/ 1046508 h 1046508"/>
                  <a:gd name="connsiteX75" fmla="*/ 533770 w 1200744"/>
                  <a:gd name="connsiteY75" fmla="*/ 1046508 h 1046508"/>
                  <a:gd name="connsiteX76" fmla="*/ 410901 w 1200744"/>
                  <a:gd name="connsiteY76" fmla="*/ 965065 h 1046508"/>
                  <a:gd name="connsiteX77" fmla="*/ 407153 w 1200744"/>
                  <a:gd name="connsiteY77" fmla="*/ 946496 h 1046508"/>
                  <a:gd name="connsiteX78" fmla="*/ 190500 w 1200744"/>
                  <a:gd name="connsiteY78" fmla="*/ 946496 h 1046508"/>
                  <a:gd name="connsiteX79" fmla="*/ 59532 w 1200744"/>
                  <a:gd name="connsiteY79" fmla="*/ 825052 h 1046508"/>
                  <a:gd name="connsiteX80" fmla="*/ 59432 w 1200744"/>
                  <a:gd name="connsiteY80" fmla="*/ 710643 h 1046508"/>
                  <a:gd name="connsiteX81" fmla="*/ 48816 w 1200744"/>
                  <a:gd name="connsiteY81" fmla="*/ 710643 h 1046508"/>
                  <a:gd name="connsiteX82" fmla="*/ 14298 w 1200744"/>
                  <a:gd name="connsiteY82" fmla="*/ 696345 h 1046508"/>
                  <a:gd name="connsiteX83" fmla="*/ 0 w 1200744"/>
                  <a:gd name="connsiteY83" fmla="*/ 661828 h 1046508"/>
                  <a:gd name="connsiteX84" fmla="*/ 14298 w 1200744"/>
                  <a:gd name="connsiteY84" fmla="*/ 627310 h 1046508"/>
                  <a:gd name="connsiteX85" fmla="*/ 48816 w 1200744"/>
                  <a:gd name="connsiteY85" fmla="*/ 613012 h 1046508"/>
                  <a:gd name="connsiteX86" fmla="*/ 59346 w 1200744"/>
                  <a:gd name="connsiteY86" fmla="*/ 613012 h 1046508"/>
                  <a:gd name="connsiteX87" fmla="*/ 59247 w 1200744"/>
                  <a:gd name="connsiteY87" fmla="*/ 501147 h 1046508"/>
                  <a:gd name="connsiteX88" fmla="*/ 48816 w 1200744"/>
                  <a:gd name="connsiteY88" fmla="*/ 501147 h 1046508"/>
                  <a:gd name="connsiteX89" fmla="*/ 14298 w 1200744"/>
                  <a:gd name="connsiteY89" fmla="*/ 486849 h 1046508"/>
                  <a:gd name="connsiteX90" fmla="*/ 0 w 1200744"/>
                  <a:gd name="connsiteY90" fmla="*/ 452332 h 1046508"/>
                  <a:gd name="connsiteX91" fmla="*/ 14298 w 1200744"/>
                  <a:gd name="connsiteY91" fmla="*/ 417814 h 1046508"/>
                  <a:gd name="connsiteX92" fmla="*/ 48816 w 1200744"/>
                  <a:gd name="connsiteY92" fmla="*/ 403516 h 1046508"/>
                  <a:gd name="connsiteX93" fmla="*/ 59161 w 1200744"/>
                  <a:gd name="connsiteY93" fmla="*/ 403516 h 1046508"/>
                  <a:gd name="connsiteX94" fmla="*/ 59063 w 1200744"/>
                  <a:gd name="connsiteY94" fmla="*/ 291651 h 1046508"/>
                  <a:gd name="connsiteX95" fmla="*/ 48816 w 1200744"/>
                  <a:gd name="connsiteY95" fmla="*/ 291651 h 1046508"/>
                  <a:gd name="connsiteX96" fmla="*/ 14298 w 1200744"/>
                  <a:gd name="connsiteY96" fmla="*/ 277353 h 1046508"/>
                  <a:gd name="connsiteX97" fmla="*/ 0 w 1200744"/>
                  <a:gd name="connsiteY97" fmla="*/ 242836 h 1046508"/>
                  <a:gd name="connsiteX98" fmla="*/ 14298 w 1200744"/>
                  <a:gd name="connsiteY98" fmla="*/ 208318 h 1046508"/>
                  <a:gd name="connsiteX99" fmla="*/ 48816 w 1200744"/>
                  <a:gd name="connsiteY99" fmla="*/ 194020 h 1046508"/>
                  <a:gd name="connsiteX100" fmla="*/ 58977 w 1200744"/>
                  <a:gd name="connsiteY100" fmla="*/ 194020 h 1046508"/>
                  <a:gd name="connsiteX101" fmla="*/ 58806 w 1200744"/>
                  <a:gd name="connsiteY101"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1157493 w 1200744"/>
                  <a:gd name="connsiteY47" fmla="*/ 347675 h 1046508"/>
                  <a:gd name="connsiteX48" fmla="*/ 1200471 w 1200744"/>
                  <a:gd name="connsiteY48" fmla="*/ 381525 h 1046508"/>
                  <a:gd name="connsiteX49" fmla="*/ 1200470 w 1200744"/>
                  <a:gd name="connsiteY49" fmla="*/ 381526 h 1046508"/>
                  <a:gd name="connsiteX50" fmla="*/ 1166620 w 1200744"/>
                  <a:gd name="connsiteY50" fmla="*/ 424503 h 1046508"/>
                  <a:gd name="connsiteX51" fmla="*/ 883444 w 1200744"/>
                  <a:gd name="connsiteY51" fmla="*/ 458146 h 1046508"/>
                  <a:gd name="connsiteX52" fmla="*/ 883444 w 1200744"/>
                  <a:gd name="connsiteY52" fmla="*/ 506141 h 1046508"/>
                  <a:gd name="connsiteX53" fmla="*/ 792956 w 1200744"/>
                  <a:gd name="connsiteY53" fmla="*/ 516892 h 1046508"/>
                  <a:gd name="connsiteX54" fmla="*/ 792956 w 1200744"/>
                  <a:gd name="connsiteY54" fmla="*/ 468897 h 1046508"/>
                  <a:gd name="connsiteX55" fmla="*/ 688181 w 1200744"/>
                  <a:gd name="connsiteY55" fmla="*/ 481345 h 1046508"/>
                  <a:gd name="connsiteX56" fmla="*/ 688181 w 1200744"/>
                  <a:gd name="connsiteY56" fmla="*/ 529340 h 1046508"/>
                  <a:gd name="connsiteX57" fmla="*/ 418176 w 1200744"/>
                  <a:gd name="connsiteY57" fmla="*/ 561418 h 1046508"/>
                  <a:gd name="connsiteX58" fmla="*/ 392350 w 1200744"/>
                  <a:gd name="connsiteY58" fmla="*/ 575897 h 1046508"/>
                  <a:gd name="connsiteX59" fmla="*/ 384326 w 1200744"/>
                  <a:gd name="connsiteY59" fmla="*/ 604396 h 1046508"/>
                  <a:gd name="connsiteX60" fmla="*/ 398804 w 1200744"/>
                  <a:gd name="connsiteY60" fmla="*/ 630221 h 1046508"/>
                  <a:gd name="connsiteX61" fmla="*/ 427304 w 1200744"/>
                  <a:gd name="connsiteY61" fmla="*/ 638245 h 1046508"/>
                  <a:gd name="connsiteX62" fmla="*/ 1104900 w 1200744"/>
                  <a:gd name="connsiteY62" fmla="*/ 557742 h 1046508"/>
                  <a:gd name="connsiteX63" fmla="*/ 1104900 w 1200744"/>
                  <a:gd name="connsiteY63" fmla="*/ 558713 h 1046508"/>
                  <a:gd name="connsiteX64" fmla="*/ 1157491 w 1200744"/>
                  <a:gd name="connsiteY64" fmla="*/ 552464 h 1046508"/>
                  <a:gd name="connsiteX65" fmla="*/ 1200469 w 1200744"/>
                  <a:gd name="connsiteY65" fmla="*/ 586314 h 1046508"/>
                  <a:gd name="connsiteX66" fmla="*/ 1200468 w 1200744"/>
                  <a:gd name="connsiteY66" fmla="*/ 586314 h 1046508"/>
                  <a:gd name="connsiteX67" fmla="*/ 1166618 w 1200744"/>
                  <a:gd name="connsiteY67" fmla="*/ 629292 h 1046508"/>
                  <a:gd name="connsiteX68" fmla="*/ 1104900 w 1200744"/>
                  <a:gd name="connsiteY68" fmla="*/ 636624 h 1046508"/>
                  <a:gd name="connsiteX69" fmla="*/ 1104900 w 1200744"/>
                  <a:gd name="connsiteY69" fmla="*/ 817908 h 1046508"/>
                  <a:gd name="connsiteX70" fmla="*/ 971550 w 1200744"/>
                  <a:gd name="connsiteY70" fmla="*/ 946496 h 1046508"/>
                  <a:gd name="connsiteX71" fmla="*/ 752889 w 1200744"/>
                  <a:gd name="connsiteY71" fmla="*/ 946496 h 1046508"/>
                  <a:gd name="connsiteX72" fmla="*/ 749140 w 1200744"/>
                  <a:gd name="connsiteY72" fmla="*/ 965065 h 1046508"/>
                  <a:gd name="connsiteX73" fmla="*/ 626271 w 1200744"/>
                  <a:gd name="connsiteY73" fmla="*/ 1046508 h 1046508"/>
                  <a:gd name="connsiteX74" fmla="*/ 533770 w 1200744"/>
                  <a:gd name="connsiteY74" fmla="*/ 1046508 h 1046508"/>
                  <a:gd name="connsiteX75" fmla="*/ 410901 w 1200744"/>
                  <a:gd name="connsiteY75" fmla="*/ 965065 h 1046508"/>
                  <a:gd name="connsiteX76" fmla="*/ 407153 w 1200744"/>
                  <a:gd name="connsiteY76" fmla="*/ 946496 h 1046508"/>
                  <a:gd name="connsiteX77" fmla="*/ 190500 w 1200744"/>
                  <a:gd name="connsiteY77" fmla="*/ 946496 h 1046508"/>
                  <a:gd name="connsiteX78" fmla="*/ 59532 w 1200744"/>
                  <a:gd name="connsiteY78" fmla="*/ 825052 h 1046508"/>
                  <a:gd name="connsiteX79" fmla="*/ 59432 w 1200744"/>
                  <a:gd name="connsiteY79" fmla="*/ 710643 h 1046508"/>
                  <a:gd name="connsiteX80" fmla="*/ 48816 w 1200744"/>
                  <a:gd name="connsiteY80" fmla="*/ 710643 h 1046508"/>
                  <a:gd name="connsiteX81" fmla="*/ 14298 w 1200744"/>
                  <a:gd name="connsiteY81" fmla="*/ 696345 h 1046508"/>
                  <a:gd name="connsiteX82" fmla="*/ 0 w 1200744"/>
                  <a:gd name="connsiteY82" fmla="*/ 661828 h 1046508"/>
                  <a:gd name="connsiteX83" fmla="*/ 14298 w 1200744"/>
                  <a:gd name="connsiteY83" fmla="*/ 627310 h 1046508"/>
                  <a:gd name="connsiteX84" fmla="*/ 48816 w 1200744"/>
                  <a:gd name="connsiteY84" fmla="*/ 613012 h 1046508"/>
                  <a:gd name="connsiteX85" fmla="*/ 59346 w 1200744"/>
                  <a:gd name="connsiteY85" fmla="*/ 613012 h 1046508"/>
                  <a:gd name="connsiteX86" fmla="*/ 59247 w 1200744"/>
                  <a:gd name="connsiteY86" fmla="*/ 501147 h 1046508"/>
                  <a:gd name="connsiteX87" fmla="*/ 48816 w 1200744"/>
                  <a:gd name="connsiteY87" fmla="*/ 501147 h 1046508"/>
                  <a:gd name="connsiteX88" fmla="*/ 14298 w 1200744"/>
                  <a:gd name="connsiteY88" fmla="*/ 486849 h 1046508"/>
                  <a:gd name="connsiteX89" fmla="*/ 0 w 1200744"/>
                  <a:gd name="connsiteY89" fmla="*/ 452332 h 1046508"/>
                  <a:gd name="connsiteX90" fmla="*/ 14298 w 1200744"/>
                  <a:gd name="connsiteY90" fmla="*/ 417814 h 1046508"/>
                  <a:gd name="connsiteX91" fmla="*/ 48816 w 1200744"/>
                  <a:gd name="connsiteY91" fmla="*/ 403516 h 1046508"/>
                  <a:gd name="connsiteX92" fmla="*/ 59161 w 1200744"/>
                  <a:gd name="connsiteY92" fmla="*/ 403516 h 1046508"/>
                  <a:gd name="connsiteX93" fmla="*/ 59063 w 1200744"/>
                  <a:gd name="connsiteY93" fmla="*/ 291651 h 1046508"/>
                  <a:gd name="connsiteX94" fmla="*/ 48816 w 1200744"/>
                  <a:gd name="connsiteY94" fmla="*/ 291651 h 1046508"/>
                  <a:gd name="connsiteX95" fmla="*/ 14298 w 1200744"/>
                  <a:gd name="connsiteY95" fmla="*/ 277353 h 1046508"/>
                  <a:gd name="connsiteX96" fmla="*/ 0 w 1200744"/>
                  <a:gd name="connsiteY96" fmla="*/ 242836 h 1046508"/>
                  <a:gd name="connsiteX97" fmla="*/ 14298 w 1200744"/>
                  <a:gd name="connsiteY97" fmla="*/ 208318 h 1046508"/>
                  <a:gd name="connsiteX98" fmla="*/ 48816 w 1200744"/>
                  <a:gd name="connsiteY98" fmla="*/ 194020 h 1046508"/>
                  <a:gd name="connsiteX99" fmla="*/ 58977 w 1200744"/>
                  <a:gd name="connsiteY99" fmla="*/ 194020 h 1046508"/>
                  <a:gd name="connsiteX100" fmla="*/ 58806 w 1200744"/>
                  <a:gd name="connsiteY100"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1157493 w 1200744"/>
                  <a:gd name="connsiteY46" fmla="*/ 347675 h 1046508"/>
                  <a:gd name="connsiteX47" fmla="*/ 1200471 w 1200744"/>
                  <a:gd name="connsiteY47" fmla="*/ 381525 h 1046508"/>
                  <a:gd name="connsiteX48" fmla="*/ 1200470 w 1200744"/>
                  <a:gd name="connsiteY48" fmla="*/ 381526 h 1046508"/>
                  <a:gd name="connsiteX49" fmla="*/ 1166620 w 1200744"/>
                  <a:gd name="connsiteY49" fmla="*/ 424503 h 1046508"/>
                  <a:gd name="connsiteX50" fmla="*/ 883444 w 1200744"/>
                  <a:gd name="connsiteY50" fmla="*/ 458146 h 1046508"/>
                  <a:gd name="connsiteX51" fmla="*/ 883444 w 1200744"/>
                  <a:gd name="connsiteY51" fmla="*/ 506141 h 1046508"/>
                  <a:gd name="connsiteX52" fmla="*/ 792956 w 1200744"/>
                  <a:gd name="connsiteY52" fmla="*/ 516892 h 1046508"/>
                  <a:gd name="connsiteX53" fmla="*/ 792956 w 1200744"/>
                  <a:gd name="connsiteY53" fmla="*/ 468897 h 1046508"/>
                  <a:gd name="connsiteX54" fmla="*/ 688181 w 1200744"/>
                  <a:gd name="connsiteY54" fmla="*/ 481345 h 1046508"/>
                  <a:gd name="connsiteX55" fmla="*/ 688181 w 1200744"/>
                  <a:gd name="connsiteY55" fmla="*/ 529340 h 1046508"/>
                  <a:gd name="connsiteX56" fmla="*/ 418176 w 1200744"/>
                  <a:gd name="connsiteY56" fmla="*/ 561418 h 1046508"/>
                  <a:gd name="connsiteX57" fmla="*/ 392350 w 1200744"/>
                  <a:gd name="connsiteY57" fmla="*/ 575897 h 1046508"/>
                  <a:gd name="connsiteX58" fmla="*/ 384326 w 1200744"/>
                  <a:gd name="connsiteY58" fmla="*/ 604396 h 1046508"/>
                  <a:gd name="connsiteX59" fmla="*/ 398804 w 1200744"/>
                  <a:gd name="connsiteY59" fmla="*/ 630221 h 1046508"/>
                  <a:gd name="connsiteX60" fmla="*/ 427304 w 1200744"/>
                  <a:gd name="connsiteY60" fmla="*/ 638245 h 1046508"/>
                  <a:gd name="connsiteX61" fmla="*/ 1104900 w 1200744"/>
                  <a:gd name="connsiteY61" fmla="*/ 557742 h 1046508"/>
                  <a:gd name="connsiteX62" fmla="*/ 1104900 w 1200744"/>
                  <a:gd name="connsiteY62" fmla="*/ 558713 h 1046508"/>
                  <a:gd name="connsiteX63" fmla="*/ 1157491 w 1200744"/>
                  <a:gd name="connsiteY63" fmla="*/ 552464 h 1046508"/>
                  <a:gd name="connsiteX64" fmla="*/ 1200469 w 1200744"/>
                  <a:gd name="connsiteY64" fmla="*/ 586314 h 1046508"/>
                  <a:gd name="connsiteX65" fmla="*/ 1200468 w 1200744"/>
                  <a:gd name="connsiteY65" fmla="*/ 586314 h 1046508"/>
                  <a:gd name="connsiteX66" fmla="*/ 1166618 w 1200744"/>
                  <a:gd name="connsiteY66" fmla="*/ 629292 h 1046508"/>
                  <a:gd name="connsiteX67" fmla="*/ 1104900 w 1200744"/>
                  <a:gd name="connsiteY67" fmla="*/ 636624 h 1046508"/>
                  <a:gd name="connsiteX68" fmla="*/ 1104900 w 1200744"/>
                  <a:gd name="connsiteY68" fmla="*/ 817908 h 1046508"/>
                  <a:gd name="connsiteX69" fmla="*/ 971550 w 1200744"/>
                  <a:gd name="connsiteY69" fmla="*/ 946496 h 1046508"/>
                  <a:gd name="connsiteX70" fmla="*/ 752889 w 1200744"/>
                  <a:gd name="connsiteY70" fmla="*/ 946496 h 1046508"/>
                  <a:gd name="connsiteX71" fmla="*/ 749140 w 1200744"/>
                  <a:gd name="connsiteY71" fmla="*/ 965065 h 1046508"/>
                  <a:gd name="connsiteX72" fmla="*/ 626271 w 1200744"/>
                  <a:gd name="connsiteY72" fmla="*/ 1046508 h 1046508"/>
                  <a:gd name="connsiteX73" fmla="*/ 533770 w 1200744"/>
                  <a:gd name="connsiteY73" fmla="*/ 1046508 h 1046508"/>
                  <a:gd name="connsiteX74" fmla="*/ 410901 w 1200744"/>
                  <a:gd name="connsiteY74" fmla="*/ 965065 h 1046508"/>
                  <a:gd name="connsiteX75" fmla="*/ 407153 w 1200744"/>
                  <a:gd name="connsiteY75" fmla="*/ 946496 h 1046508"/>
                  <a:gd name="connsiteX76" fmla="*/ 190500 w 1200744"/>
                  <a:gd name="connsiteY76" fmla="*/ 946496 h 1046508"/>
                  <a:gd name="connsiteX77" fmla="*/ 59532 w 1200744"/>
                  <a:gd name="connsiteY77" fmla="*/ 825052 h 1046508"/>
                  <a:gd name="connsiteX78" fmla="*/ 59432 w 1200744"/>
                  <a:gd name="connsiteY78" fmla="*/ 710643 h 1046508"/>
                  <a:gd name="connsiteX79" fmla="*/ 48816 w 1200744"/>
                  <a:gd name="connsiteY79" fmla="*/ 710643 h 1046508"/>
                  <a:gd name="connsiteX80" fmla="*/ 14298 w 1200744"/>
                  <a:gd name="connsiteY80" fmla="*/ 696345 h 1046508"/>
                  <a:gd name="connsiteX81" fmla="*/ 0 w 1200744"/>
                  <a:gd name="connsiteY81" fmla="*/ 661828 h 1046508"/>
                  <a:gd name="connsiteX82" fmla="*/ 14298 w 1200744"/>
                  <a:gd name="connsiteY82" fmla="*/ 627310 h 1046508"/>
                  <a:gd name="connsiteX83" fmla="*/ 48816 w 1200744"/>
                  <a:gd name="connsiteY83" fmla="*/ 613012 h 1046508"/>
                  <a:gd name="connsiteX84" fmla="*/ 59346 w 1200744"/>
                  <a:gd name="connsiteY84" fmla="*/ 613012 h 1046508"/>
                  <a:gd name="connsiteX85" fmla="*/ 59247 w 1200744"/>
                  <a:gd name="connsiteY85" fmla="*/ 501147 h 1046508"/>
                  <a:gd name="connsiteX86" fmla="*/ 48816 w 1200744"/>
                  <a:gd name="connsiteY86" fmla="*/ 501147 h 1046508"/>
                  <a:gd name="connsiteX87" fmla="*/ 14298 w 1200744"/>
                  <a:gd name="connsiteY87" fmla="*/ 486849 h 1046508"/>
                  <a:gd name="connsiteX88" fmla="*/ 0 w 1200744"/>
                  <a:gd name="connsiteY88" fmla="*/ 452332 h 1046508"/>
                  <a:gd name="connsiteX89" fmla="*/ 14298 w 1200744"/>
                  <a:gd name="connsiteY89" fmla="*/ 417814 h 1046508"/>
                  <a:gd name="connsiteX90" fmla="*/ 48816 w 1200744"/>
                  <a:gd name="connsiteY90" fmla="*/ 403516 h 1046508"/>
                  <a:gd name="connsiteX91" fmla="*/ 59161 w 1200744"/>
                  <a:gd name="connsiteY91" fmla="*/ 403516 h 1046508"/>
                  <a:gd name="connsiteX92" fmla="*/ 59063 w 1200744"/>
                  <a:gd name="connsiteY92" fmla="*/ 291651 h 1046508"/>
                  <a:gd name="connsiteX93" fmla="*/ 48816 w 1200744"/>
                  <a:gd name="connsiteY93" fmla="*/ 291651 h 1046508"/>
                  <a:gd name="connsiteX94" fmla="*/ 14298 w 1200744"/>
                  <a:gd name="connsiteY94" fmla="*/ 277353 h 1046508"/>
                  <a:gd name="connsiteX95" fmla="*/ 0 w 1200744"/>
                  <a:gd name="connsiteY95" fmla="*/ 242836 h 1046508"/>
                  <a:gd name="connsiteX96" fmla="*/ 14298 w 1200744"/>
                  <a:gd name="connsiteY96" fmla="*/ 208318 h 1046508"/>
                  <a:gd name="connsiteX97" fmla="*/ 48816 w 1200744"/>
                  <a:gd name="connsiteY97" fmla="*/ 194020 h 1046508"/>
                  <a:gd name="connsiteX98" fmla="*/ 58977 w 1200744"/>
                  <a:gd name="connsiteY98" fmla="*/ 194020 h 1046508"/>
                  <a:gd name="connsiteX99" fmla="*/ 58806 w 1200744"/>
                  <a:gd name="connsiteY99"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83444 w 1200744"/>
                  <a:gd name="connsiteY34" fmla="*/ 235459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1157493 w 1200744"/>
                  <a:gd name="connsiteY45" fmla="*/ 347675 h 1046508"/>
                  <a:gd name="connsiteX46" fmla="*/ 1200471 w 1200744"/>
                  <a:gd name="connsiteY46" fmla="*/ 381525 h 1046508"/>
                  <a:gd name="connsiteX47" fmla="*/ 1200470 w 1200744"/>
                  <a:gd name="connsiteY47" fmla="*/ 381526 h 1046508"/>
                  <a:gd name="connsiteX48" fmla="*/ 1166620 w 1200744"/>
                  <a:gd name="connsiteY48" fmla="*/ 424503 h 1046508"/>
                  <a:gd name="connsiteX49" fmla="*/ 883444 w 1200744"/>
                  <a:gd name="connsiteY49" fmla="*/ 458146 h 1046508"/>
                  <a:gd name="connsiteX50" fmla="*/ 883444 w 1200744"/>
                  <a:gd name="connsiteY50" fmla="*/ 506141 h 1046508"/>
                  <a:gd name="connsiteX51" fmla="*/ 792956 w 1200744"/>
                  <a:gd name="connsiteY51" fmla="*/ 516892 h 1046508"/>
                  <a:gd name="connsiteX52" fmla="*/ 792956 w 1200744"/>
                  <a:gd name="connsiteY52" fmla="*/ 468897 h 1046508"/>
                  <a:gd name="connsiteX53" fmla="*/ 688181 w 1200744"/>
                  <a:gd name="connsiteY53" fmla="*/ 481345 h 1046508"/>
                  <a:gd name="connsiteX54" fmla="*/ 688181 w 1200744"/>
                  <a:gd name="connsiteY54" fmla="*/ 529340 h 1046508"/>
                  <a:gd name="connsiteX55" fmla="*/ 418176 w 1200744"/>
                  <a:gd name="connsiteY55" fmla="*/ 561418 h 1046508"/>
                  <a:gd name="connsiteX56" fmla="*/ 392350 w 1200744"/>
                  <a:gd name="connsiteY56" fmla="*/ 575897 h 1046508"/>
                  <a:gd name="connsiteX57" fmla="*/ 384326 w 1200744"/>
                  <a:gd name="connsiteY57" fmla="*/ 604396 h 1046508"/>
                  <a:gd name="connsiteX58" fmla="*/ 398804 w 1200744"/>
                  <a:gd name="connsiteY58" fmla="*/ 630221 h 1046508"/>
                  <a:gd name="connsiteX59" fmla="*/ 427304 w 1200744"/>
                  <a:gd name="connsiteY59" fmla="*/ 638245 h 1046508"/>
                  <a:gd name="connsiteX60" fmla="*/ 1104900 w 1200744"/>
                  <a:gd name="connsiteY60" fmla="*/ 557742 h 1046508"/>
                  <a:gd name="connsiteX61" fmla="*/ 1104900 w 1200744"/>
                  <a:gd name="connsiteY61" fmla="*/ 558713 h 1046508"/>
                  <a:gd name="connsiteX62" fmla="*/ 1157491 w 1200744"/>
                  <a:gd name="connsiteY62" fmla="*/ 552464 h 1046508"/>
                  <a:gd name="connsiteX63" fmla="*/ 1200469 w 1200744"/>
                  <a:gd name="connsiteY63" fmla="*/ 586314 h 1046508"/>
                  <a:gd name="connsiteX64" fmla="*/ 1200468 w 1200744"/>
                  <a:gd name="connsiteY64" fmla="*/ 586314 h 1046508"/>
                  <a:gd name="connsiteX65" fmla="*/ 1166618 w 1200744"/>
                  <a:gd name="connsiteY65" fmla="*/ 629292 h 1046508"/>
                  <a:gd name="connsiteX66" fmla="*/ 1104900 w 1200744"/>
                  <a:gd name="connsiteY66" fmla="*/ 636624 h 1046508"/>
                  <a:gd name="connsiteX67" fmla="*/ 1104900 w 1200744"/>
                  <a:gd name="connsiteY67" fmla="*/ 817908 h 1046508"/>
                  <a:gd name="connsiteX68" fmla="*/ 971550 w 1200744"/>
                  <a:gd name="connsiteY68" fmla="*/ 946496 h 1046508"/>
                  <a:gd name="connsiteX69" fmla="*/ 752889 w 1200744"/>
                  <a:gd name="connsiteY69" fmla="*/ 946496 h 1046508"/>
                  <a:gd name="connsiteX70" fmla="*/ 749140 w 1200744"/>
                  <a:gd name="connsiteY70" fmla="*/ 965065 h 1046508"/>
                  <a:gd name="connsiteX71" fmla="*/ 626271 w 1200744"/>
                  <a:gd name="connsiteY71" fmla="*/ 1046508 h 1046508"/>
                  <a:gd name="connsiteX72" fmla="*/ 533770 w 1200744"/>
                  <a:gd name="connsiteY72" fmla="*/ 1046508 h 1046508"/>
                  <a:gd name="connsiteX73" fmla="*/ 410901 w 1200744"/>
                  <a:gd name="connsiteY73" fmla="*/ 965065 h 1046508"/>
                  <a:gd name="connsiteX74" fmla="*/ 407153 w 1200744"/>
                  <a:gd name="connsiteY74" fmla="*/ 946496 h 1046508"/>
                  <a:gd name="connsiteX75" fmla="*/ 190500 w 1200744"/>
                  <a:gd name="connsiteY75" fmla="*/ 946496 h 1046508"/>
                  <a:gd name="connsiteX76" fmla="*/ 59532 w 1200744"/>
                  <a:gd name="connsiteY76" fmla="*/ 825052 h 1046508"/>
                  <a:gd name="connsiteX77" fmla="*/ 59432 w 1200744"/>
                  <a:gd name="connsiteY77" fmla="*/ 710643 h 1046508"/>
                  <a:gd name="connsiteX78" fmla="*/ 48816 w 1200744"/>
                  <a:gd name="connsiteY78" fmla="*/ 710643 h 1046508"/>
                  <a:gd name="connsiteX79" fmla="*/ 14298 w 1200744"/>
                  <a:gd name="connsiteY79" fmla="*/ 696345 h 1046508"/>
                  <a:gd name="connsiteX80" fmla="*/ 0 w 1200744"/>
                  <a:gd name="connsiteY80" fmla="*/ 661828 h 1046508"/>
                  <a:gd name="connsiteX81" fmla="*/ 14298 w 1200744"/>
                  <a:gd name="connsiteY81" fmla="*/ 627310 h 1046508"/>
                  <a:gd name="connsiteX82" fmla="*/ 48816 w 1200744"/>
                  <a:gd name="connsiteY82" fmla="*/ 613012 h 1046508"/>
                  <a:gd name="connsiteX83" fmla="*/ 59346 w 1200744"/>
                  <a:gd name="connsiteY83" fmla="*/ 613012 h 1046508"/>
                  <a:gd name="connsiteX84" fmla="*/ 59247 w 1200744"/>
                  <a:gd name="connsiteY84" fmla="*/ 501147 h 1046508"/>
                  <a:gd name="connsiteX85" fmla="*/ 48816 w 1200744"/>
                  <a:gd name="connsiteY85" fmla="*/ 501147 h 1046508"/>
                  <a:gd name="connsiteX86" fmla="*/ 14298 w 1200744"/>
                  <a:gd name="connsiteY86" fmla="*/ 486849 h 1046508"/>
                  <a:gd name="connsiteX87" fmla="*/ 0 w 1200744"/>
                  <a:gd name="connsiteY87" fmla="*/ 452332 h 1046508"/>
                  <a:gd name="connsiteX88" fmla="*/ 14298 w 1200744"/>
                  <a:gd name="connsiteY88" fmla="*/ 417814 h 1046508"/>
                  <a:gd name="connsiteX89" fmla="*/ 48816 w 1200744"/>
                  <a:gd name="connsiteY89" fmla="*/ 403516 h 1046508"/>
                  <a:gd name="connsiteX90" fmla="*/ 59161 w 1200744"/>
                  <a:gd name="connsiteY90" fmla="*/ 403516 h 1046508"/>
                  <a:gd name="connsiteX91" fmla="*/ 59063 w 1200744"/>
                  <a:gd name="connsiteY91" fmla="*/ 291651 h 1046508"/>
                  <a:gd name="connsiteX92" fmla="*/ 48816 w 1200744"/>
                  <a:gd name="connsiteY92" fmla="*/ 291651 h 1046508"/>
                  <a:gd name="connsiteX93" fmla="*/ 14298 w 1200744"/>
                  <a:gd name="connsiteY93" fmla="*/ 277353 h 1046508"/>
                  <a:gd name="connsiteX94" fmla="*/ 0 w 1200744"/>
                  <a:gd name="connsiteY94" fmla="*/ 242836 h 1046508"/>
                  <a:gd name="connsiteX95" fmla="*/ 14298 w 1200744"/>
                  <a:gd name="connsiteY95" fmla="*/ 208318 h 1046508"/>
                  <a:gd name="connsiteX96" fmla="*/ 48816 w 1200744"/>
                  <a:gd name="connsiteY96" fmla="*/ 194020 h 1046508"/>
                  <a:gd name="connsiteX97" fmla="*/ 58977 w 1200744"/>
                  <a:gd name="connsiteY97" fmla="*/ 194020 h 1046508"/>
                  <a:gd name="connsiteX98" fmla="*/ 58806 w 1200744"/>
                  <a:gd name="connsiteY98"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78682 w 1200744"/>
                  <a:gd name="connsiteY34" fmla="*/ 240221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1157493 w 1200744"/>
                  <a:gd name="connsiteY45" fmla="*/ 347675 h 1046508"/>
                  <a:gd name="connsiteX46" fmla="*/ 1200471 w 1200744"/>
                  <a:gd name="connsiteY46" fmla="*/ 381525 h 1046508"/>
                  <a:gd name="connsiteX47" fmla="*/ 1200470 w 1200744"/>
                  <a:gd name="connsiteY47" fmla="*/ 381526 h 1046508"/>
                  <a:gd name="connsiteX48" fmla="*/ 1166620 w 1200744"/>
                  <a:gd name="connsiteY48" fmla="*/ 424503 h 1046508"/>
                  <a:gd name="connsiteX49" fmla="*/ 883444 w 1200744"/>
                  <a:gd name="connsiteY49" fmla="*/ 458146 h 1046508"/>
                  <a:gd name="connsiteX50" fmla="*/ 883444 w 1200744"/>
                  <a:gd name="connsiteY50" fmla="*/ 506141 h 1046508"/>
                  <a:gd name="connsiteX51" fmla="*/ 792956 w 1200744"/>
                  <a:gd name="connsiteY51" fmla="*/ 516892 h 1046508"/>
                  <a:gd name="connsiteX52" fmla="*/ 792956 w 1200744"/>
                  <a:gd name="connsiteY52" fmla="*/ 468897 h 1046508"/>
                  <a:gd name="connsiteX53" fmla="*/ 688181 w 1200744"/>
                  <a:gd name="connsiteY53" fmla="*/ 481345 h 1046508"/>
                  <a:gd name="connsiteX54" fmla="*/ 688181 w 1200744"/>
                  <a:gd name="connsiteY54" fmla="*/ 529340 h 1046508"/>
                  <a:gd name="connsiteX55" fmla="*/ 418176 w 1200744"/>
                  <a:gd name="connsiteY55" fmla="*/ 561418 h 1046508"/>
                  <a:gd name="connsiteX56" fmla="*/ 392350 w 1200744"/>
                  <a:gd name="connsiteY56" fmla="*/ 575897 h 1046508"/>
                  <a:gd name="connsiteX57" fmla="*/ 384326 w 1200744"/>
                  <a:gd name="connsiteY57" fmla="*/ 604396 h 1046508"/>
                  <a:gd name="connsiteX58" fmla="*/ 398804 w 1200744"/>
                  <a:gd name="connsiteY58" fmla="*/ 630221 h 1046508"/>
                  <a:gd name="connsiteX59" fmla="*/ 427304 w 1200744"/>
                  <a:gd name="connsiteY59" fmla="*/ 638245 h 1046508"/>
                  <a:gd name="connsiteX60" fmla="*/ 1104900 w 1200744"/>
                  <a:gd name="connsiteY60" fmla="*/ 557742 h 1046508"/>
                  <a:gd name="connsiteX61" fmla="*/ 1104900 w 1200744"/>
                  <a:gd name="connsiteY61" fmla="*/ 558713 h 1046508"/>
                  <a:gd name="connsiteX62" fmla="*/ 1157491 w 1200744"/>
                  <a:gd name="connsiteY62" fmla="*/ 552464 h 1046508"/>
                  <a:gd name="connsiteX63" fmla="*/ 1200469 w 1200744"/>
                  <a:gd name="connsiteY63" fmla="*/ 586314 h 1046508"/>
                  <a:gd name="connsiteX64" fmla="*/ 1200468 w 1200744"/>
                  <a:gd name="connsiteY64" fmla="*/ 586314 h 1046508"/>
                  <a:gd name="connsiteX65" fmla="*/ 1166618 w 1200744"/>
                  <a:gd name="connsiteY65" fmla="*/ 629292 h 1046508"/>
                  <a:gd name="connsiteX66" fmla="*/ 1104900 w 1200744"/>
                  <a:gd name="connsiteY66" fmla="*/ 636624 h 1046508"/>
                  <a:gd name="connsiteX67" fmla="*/ 1104900 w 1200744"/>
                  <a:gd name="connsiteY67" fmla="*/ 817908 h 1046508"/>
                  <a:gd name="connsiteX68" fmla="*/ 971550 w 1200744"/>
                  <a:gd name="connsiteY68" fmla="*/ 946496 h 1046508"/>
                  <a:gd name="connsiteX69" fmla="*/ 752889 w 1200744"/>
                  <a:gd name="connsiteY69" fmla="*/ 946496 h 1046508"/>
                  <a:gd name="connsiteX70" fmla="*/ 749140 w 1200744"/>
                  <a:gd name="connsiteY70" fmla="*/ 965065 h 1046508"/>
                  <a:gd name="connsiteX71" fmla="*/ 626271 w 1200744"/>
                  <a:gd name="connsiteY71" fmla="*/ 1046508 h 1046508"/>
                  <a:gd name="connsiteX72" fmla="*/ 533770 w 1200744"/>
                  <a:gd name="connsiteY72" fmla="*/ 1046508 h 1046508"/>
                  <a:gd name="connsiteX73" fmla="*/ 410901 w 1200744"/>
                  <a:gd name="connsiteY73" fmla="*/ 965065 h 1046508"/>
                  <a:gd name="connsiteX74" fmla="*/ 407153 w 1200744"/>
                  <a:gd name="connsiteY74" fmla="*/ 946496 h 1046508"/>
                  <a:gd name="connsiteX75" fmla="*/ 190500 w 1200744"/>
                  <a:gd name="connsiteY75" fmla="*/ 946496 h 1046508"/>
                  <a:gd name="connsiteX76" fmla="*/ 59532 w 1200744"/>
                  <a:gd name="connsiteY76" fmla="*/ 825052 h 1046508"/>
                  <a:gd name="connsiteX77" fmla="*/ 59432 w 1200744"/>
                  <a:gd name="connsiteY77" fmla="*/ 710643 h 1046508"/>
                  <a:gd name="connsiteX78" fmla="*/ 48816 w 1200744"/>
                  <a:gd name="connsiteY78" fmla="*/ 710643 h 1046508"/>
                  <a:gd name="connsiteX79" fmla="*/ 14298 w 1200744"/>
                  <a:gd name="connsiteY79" fmla="*/ 696345 h 1046508"/>
                  <a:gd name="connsiteX80" fmla="*/ 0 w 1200744"/>
                  <a:gd name="connsiteY80" fmla="*/ 661828 h 1046508"/>
                  <a:gd name="connsiteX81" fmla="*/ 14298 w 1200744"/>
                  <a:gd name="connsiteY81" fmla="*/ 627310 h 1046508"/>
                  <a:gd name="connsiteX82" fmla="*/ 48816 w 1200744"/>
                  <a:gd name="connsiteY82" fmla="*/ 613012 h 1046508"/>
                  <a:gd name="connsiteX83" fmla="*/ 59346 w 1200744"/>
                  <a:gd name="connsiteY83" fmla="*/ 613012 h 1046508"/>
                  <a:gd name="connsiteX84" fmla="*/ 59247 w 1200744"/>
                  <a:gd name="connsiteY84" fmla="*/ 501147 h 1046508"/>
                  <a:gd name="connsiteX85" fmla="*/ 48816 w 1200744"/>
                  <a:gd name="connsiteY85" fmla="*/ 501147 h 1046508"/>
                  <a:gd name="connsiteX86" fmla="*/ 14298 w 1200744"/>
                  <a:gd name="connsiteY86" fmla="*/ 486849 h 1046508"/>
                  <a:gd name="connsiteX87" fmla="*/ 0 w 1200744"/>
                  <a:gd name="connsiteY87" fmla="*/ 452332 h 1046508"/>
                  <a:gd name="connsiteX88" fmla="*/ 14298 w 1200744"/>
                  <a:gd name="connsiteY88" fmla="*/ 417814 h 1046508"/>
                  <a:gd name="connsiteX89" fmla="*/ 48816 w 1200744"/>
                  <a:gd name="connsiteY89" fmla="*/ 403516 h 1046508"/>
                  <a:gd name="connsiteX90" fmla="*/ 59161 w 1200744"/>
                  <a:gd name="connsiteY90" fmla="*/ 403516 h 1046508"/>
                  <a:gd name="connsiteX91" fmla="*/ 59063 w 1200744"/>
                  <a:gd name="connsiteY91" fmla="*/ 291651 h 1046508"/>
                  <a:gd name="connsiteX92" fmla="*/ 48816 w 1200744"/>
                  <a:gd name="connsiteY92" fmla="*/ 291651 h 1046508"/>
                  <a:gd name="connsiteX93" fmla="*/ 14298 w 1200744"/>
                  <a:gd name="connsiteY93" fmla="*/ 277353 h 1046508"/>
                  <a:gd name="connsiteX94" fmla="*/ 0 w 1200744"/>
                  <a:gd name="connsiteY94" fmla="*/ 242836 h 1046508"/>
                  <a:gd name="connsiteX95" fmla="*/ 14298 w 1200744"/>
                  <a:gd name="connsiteY95" fmla="*/ 208318 h 1046508"/>
                  <a:gd name="connsiteX96" fmla="*/ 48816 w 1200744"/>
                  <a:gd name="connsiteY96" fmla="*/ 194020 h 1046508"/>
                  <a:gd name="connsiteX97" fmla="*/ 58977 w 1200744"/>
                  <a:gd name="connsiteY97" fmla="*/ 194020 h 1046508"/>
                  <a:gd name="connsiteX98" fmla="*/ 58806 w 1200744"/>
                  <a:gd name="connsiteY98" fmla="*/ 0 h 1046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200744" h="1046508">
                    <a:moveTo>
                      <a:pt x="269392" y="583922"/>
                    </a:moveTo>
                    <a:cubicBezTo>
                      <a:pt x="247034" y="583922"/>
                      <a:pt x="228910" y="602046"/>
                      <a:pt x="228910" y="624404"/>
                    </a:cubicBezTo>
                    <a:cubicBezTo>
                      <a:pt x="228910" y="646762"/>
                      <a:pt x="247034" y="664886"/>
                      <a:pt x="269392" y="664886"/>
                    </a:cubicBezTo>
                    <a:cubicBezTo>
                      <a:pt x="291750" y="664886"/>
                      <a:pt x="309874" y="646762"/>
                      <a:pt x="309874" y="624404"/>
                    </a:cubicBezTo>
                    <a:cubicBezTo>
                      <a:pt x="309874" y="602046"/>
                      <a:pt x="291750" y="583922"/>
                      <a:pt x="269392" y="583922"/>
                    </a:cubicBezTo>
                    <a:close/>
                    <a:moveTo>
                      <a:pt x="269392" y="373750"/>
                    </a:moveTo>
                    <a:cubicBezTo>
                      <a:pt x="247034" y="373750"/>
                      <a:pt x="228910" y="391874"/>
                      <a:pt x="228910" y="414232"/>
                    </a:cubicBezTo>
                    <a:cubicBezTo>
                      <a:pt x="228910" y="436590"/>
                      <a:pt x="247034" y="454714"/>
                      <a:pt x="269392" y="454714"/>
                    </a:cubicBezTo>
                    <a:cubicBezTo>
                      <a:pt x="291750" y="454714"/>
                      <a:pt x="309874" y="436590"/>
                      <a:pt x="309874" y="414232"/>
                    </a:cubicBezTo>
                    <a:cubicBezTo>
                      <a:pt x="309874" y="391874"/>
                      <a:pt x="291750" y="373750"/>
                      <a:pt x="269392" y="373750"/>
                    </a:cubicBezTo>
                    <a:close/>
                    <a:moveTo>
                      <a:pt x="269392" y="163063"/>
                    </a:moveTo>
                    <a:cubicBezTo>
                      <a:pt x="247034" y="163063"/>
                      <a:pt x="228910" y="181187"/>
                      <a:pt x="228910" y="203545"/>
                    </a:cubicBezTo>
                    <a:cubicBezTo>
                      <a:pt x="228910" y="225903"/>
                      <a:pt x="247034" y="244027"/>
                      <a:pt x="269392" y="244027"/>
                    </a:cubicBezTo>
                    <a:cubicBezTo>
                      <a:pt x="291750" y="244027"/>
                      <a:pt x="309874" y="225903"/>
                      <a:pt x="309874" y="203545"/>
                    </a:cubicBezTo>
                    <a:cubicBezTo>
                      <a:pt x="309874" y="181187"/>
                      <a:pt x="291750" y="163063"/>
                      <a:pt x="269392" y="163063"/>
                    </a:cubicBezTo>
                    <a:close/>
                    <a:moveTo>
                      <a:pt x="797719" y="0"/>
                    </a:moveTo>
                    <a:lnTo>
                      <a:pt x="883444" y="0"/>
                    </a:lnTo>
                    <a:lnTo>
                      <a:pt x="883444" y="79897"/>
                    </a:lnTo>
                    <a:lnTo>
                      <a:pt x="797719" y="90082"/>
                    </a:lnTo>
                    <a:lnTo>
                      <a:pt x="797719" y="0"/>
                    </a:lnTo>
                    <a:close/>
                    <a:moveTo>
                      <a:pt x="58806" y="0"/>
                    </a:moveTo>
                    <a:lnTo>
                      <a:pt x="692944" y="0"/>
                    </a:lnTo>
                    <a:lnTo>
                      <a:pt x="692944" y="102530"/>
                    </a:lnTo>
                    <a:lnTo>
                      <a:pt x="418176" y="135174"/>
                    </a:lnTo>
                    <a:cubicBezTo>
                      <a:pt x="407569" y="136435"/>
                      <a:pt x="398476" y="141875"/>
                      <a:pt x="392350" y="149653"/>
                    </a:cubicBezTo>
                    <a:lnTo>
                      <a:pt x="384326" y="178152"/>
                    </a:lnTo>
                    <a:lnTo>
                      <a:pt x="398804" y="203977"/>
                    </a:lnTo>
                    <a:cubicBezTo>
                      <a:pt x="406582" y="210103"/>
                      <a:pt x="416696" y="213262"/>
                      <a:pt x="427304" y="212001"/>
                    </a:cubicBezTo>
                    <a:lnTo>
                      <a:pt x="1104900" y="131498"/>
                    </a:lnTo>
                    <a:lnTo>
                      <a:pt x="1104900" y="134851"/>
                    </a:lnTo>
                    <a:lnTo>
                      <a:pt x="1157493" y="128603"/>
                    </a:lnTo>
                    <a:cubicBezTo>
                      <a:pt x="1178709" y="126082"/>
                      <a:pt x="1197951" y="141237"/>
                      <a:pt x="1200471" y="162453"/>
                    </a:cubicBezTo>
                    <a:lnTo>
                      <a:pt x="1200470" y="162453"/>
                    </a:lnTo>
                    <a:cubicBezTo>
                      <a:pt x="1202991" y="183669"/>
                      <a:pt x="1187836" y="202910"/>
                      <a:pt x="1166620" y="205431"/>
                    </a:cubicBezTo>
                    <a:lnTo>
                      <a:pt x="878682" y="240221"/>
                    </a:lnTo>
                    <a:lnTo>
                      <a:pt x="883444" y="298972"/>
                    </a:lnTo>
                    <a:lnTo>
                      <a:pt x="792956" y="309723"/>
                    </a:lnTo>
                    <a:lnTo>
                      <a:pt x="792956" y="265459"/>
                    </a:lnTo>
                    <a:lnTo>
                      <a:pt x="688181" y="265459"/>
                    </a:lnTo>
                    <a:lnTo>
                      <a:pt x="688181" y="322171"/>
                    </a:lnTo>
                    <a:lnTo>
                      <a:pt x="418176" y="354249"/>
                    </a:lnTo>
                    <a:cubicBezTo>
                      <a:pt x="407569" y="355510"/>
                      <a:pt x="398476" y="360950"/>
                      <a:pt x="392350" y="368728"/>
                    </a:cubicBezTo>
                    <a:lnTo>
                      <a:pt x="384326" y="397227"/>
                    </a:lnTo>
                    <a:lnTo>
                      <a:pt x="398804" y="423052"/>
                    </a:lnTo>
                    <a:cubicBezTo>
                      <a:pt x="406582" y="429178"/>
                      <a:pt x="416696" y="432337"/>
                      <a:pt x="427304" y="431076"/>
                    </a:cubicBezTo>
                    <a:lnTo>
                      <a:pt x="1157493" y="347675"/>
                    </a:lnTo>
                    <a:cubicBezTo>
                      <a:pt x="1178709" y="345155"/>
                      <a:pt x="1197950" y="360310"/>
                      <a:pt x="1200471" y="381525"/>
                    </a:cubicBezTo>
                    <a:lnTo>
                      <a:pt x="1200470" y="381526"/>
                    </a:lnTo>
                    <a:cubicBezTo>
                      <a:pt x="1202991" y="402741"/>
                      <a:pt x="1187836" y="421983"/>
                      <a:pt x="1166620" y="424503"/>
                    </a:cubicBezTo>
                    <a:lnTo>
                      <a:pt x="883444" y="458146"/>
                    </a:lnTo>
                    <a:lnTo>
                      <a:pt x="883444" y="506141"/>
                    </a:lnTo>
                    <a:lnTo>
                      <a:pt x="792956" y="516892"/>
                    </a:lnTo>
                    <a:lnTo>
                      <a:pt x="792956" y="468897"/>
                    </a:lnTo>
                    <a:lnTo>
                      <a:pt x="688181" y="481345"/>
                    </a:lnTo>
                    <a:lnTo>
                      <a:pt x="688181" y="529340"/>
                    </a:lnTo>
                    <a:lnTo>
                      <a:pt x="418176" y="561418"/>
                    </a:lnTo>
                    <a:cubicBezTo>
                      <a:pt x="407569" y="562679"/>
                      <a:pt x="398476" y="568119"/>
                      <a:pt x="392350" y="575897"/>
                    </a:cubicBezTo>
                    <a:lnTo>
                      <a:pt x="384326" y="604396"/>
                    </a:lnTo>
                    <a:lnTo>
                      <a:pt x="398804" y="630221"/>
                    </a:lnTo>
                    <a:cubicBezTo>
                      <a:pt x="406582" y="636347"/>
                      <a:pt x="416696" y="639506"/>
                      <a:pt x="427304" y="638245"/>
                    </a:cubicBezTo>
                    <a:lnTo>
                      <a:pt x="1104900" y="557742"/>
                    </a:lnTo>
                    <a:lnTo>
                      <a:pt x="1104900" y="558713"/>
                    </a:lnTo>
                    <a:lnTo>
                      <a:pt x="1157491" y="552464"/>
                    </a:lnTo>
                    <a:cubicBezTo>
                      <a:pt x="1178707" y="549944"/>
                      <a:pt x="1197948" y="565099"/>
                      <a:pt x="1200469" y="586314"/>
                    </a:cubicBezTo>
                    <a:lnTo>
                      <a:pt x="1200468" y="586314"/>
                    </a:lnTo>
                    <a:cubicBezTo>
                      <a:pt x="1202989" y="607530"/>
                      <a:pt x="1187834" y="626772"/>
                      <a:pt x="1166618" y="629292"/>
                    </a:cubicBezTo>
                    <a:lnTo>
                      <a:pt x="1104900" y="636624"/>
                    </a:lnTo>
                    <a:lnTo>
                      <a:pt x="1104900" y="817908"/>
                    </a:lnTo>
                    <a:lnTo>
                      <a:pt x="971550" y="946496"/>
                    </a:lnTo>
                    <a:lnTo>
                      <a:pt x="752889" y="946496"/>
                    </a:lnTo>
                    <a:lnTo>
                      <a:pt x="749140" y="965065"/>
                    </a:lnTo>
                    <a:cubicBezTo>
                      <a:pt x="728897" y="1012926"/>
                      <a:pt x="681506" y="1046508"/>
                      <a:pt x="626271" y="1046508"/>
                    </a:cubicBezTo>
                    <a:lnTo>
                      <a:pt x="533770" y="1046508"/>
                    </a:lnTo>
                    <a:cubicBezTo>
                      <a:pt x="478536" y="1046508"/>
                      <a:pt x="431145" y="1012926"/>
                      <a:pt x="410901" y="965065"/>
                    </a:cubicBezTo>
                    <a:lnTo>
                      <a:pt x="407153" y="946496"/>
                    </a:lnTo>
                    <a:lnTo>
                      <a:pt x="190500" y="946496"/>
                    </a:lnTo>
                    <a:lnTo>
                      <a:pt x="59532" y="825052"/>
                    </a:lnTo>
                    <a:cubicBezTo>
                      <a:pt x="59499" y="786916"/>
                      <a:pt x="59465" y="748779"/>
                      <a:pt x="59432" y="710643"/>
                    </a:cubicBezTo>
                    <a:lnTo>
                      <a:pt x="48816" y="710643"/>
                    </a:lnTo>
                    <a:cubicBezTo>
                      <a:pt x="35336" y="710643"/>
                      <a:pt x="23132" y="705179"/>
                      <a:pt x="14298" y="696345"/>
                    </a:cubicBezTo>
                    <a:lnTo>
                      <a:pt x="0" y="661828"/>
                    </a:lnTo>
                    <a:lnTo>
                      <a:pt x="14298" y="627310"/>
                    </a:lnTo>
                    <a:cubicBezTo>
                      <a:pt x="23132" y="618476"/>
                      <a:pt x="35336" y="613012"/>
                      <a:pt x="48816" y="613012"/>
                    </a:cubicBezTo>
                    <a:lnTo>
                      <a:pt x="59346" y="613012"/>
                    </a:lnTo>
                    <a:cubicBezTo>
                      <a:pt x="59313" y="575724"/>
                      <a:pt x="59280" y="538435"/>
                      <a:pt x="59247" y="501147"/>
                    </a:cubicBezTo>
                    <a:lnTo>
                      <a:pt x="48816" y="501147"/>
                    </a:lnTo>
                    <a:cubicBezTo>
                      <a:pt x="35336" y="501147"/>
                      <a:pt x="23132" y="495683"/>
                      <a:pt x="14298" y="486849"/>
                    </a:cubicBezTo>
                    <a:lnTo>
                      <a:pt x="0" y="452332"/>
                    </a:lnTo>
                    <a:lnTo>
                      <a:pt x="14298" y="417814"/>
                    </a:lnTo>
                    <a:cubicBezTo>
                      <a:pt x="23132" y="408980"/>
                      <a:pt x="35336" y="403516"/>
                      <a:pt x="48816" y="403516"/>
                    </a:cubicBezTo>
                    <a:lnTo>
                      <a:pt x="59161" y="403516"/>
                    </a:lnTo>
                    <a:cubicBezTo>
                      <a:pt x="59128" y="366228"/>
                      <a:pt x="59096" y="328939"/>
                      <a:pt x="59063" y="291651"/>
                    </a:cubicBezTo>
                    <a:lnTo>
                      <a:pt x="48816" y="291651"/>
                    </a:lnTo>
                    <a:cubicBezTo>
                      <a:pt x="35336" y="291651"/>
                      <a:pt x="23132" y="286187"/>
                      <a:pt x="14298" y="277353"/>
                    </a:cubicBezTo>
                    <a:lnTo>
                      <a:pt x="0" y="242836"/>
                    </a:lnTo>
                    <a:lnTo>
                      <a:pt x="14298" y="208318"/>
                    </a:lnTo>
                    <a:cubicBezTo>
                      <a:pt x="23132" y="199484"/>
                      <a:pt x="35336" y="194020"/>
                      <a:pt x="48816" y="194020"/>
                    </a:cubicBezTo>
                    <a:lnTo>
                      <a:pt x="58977" y="194020"/>
                    </a:lnTo>
                    <a:lnTo>
                      <a:pt x="58806"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73" name="Freeform 61">
                <a:extLst>
                  <a:ext uri="{FF2B5EF4-FFF2-40B4-BE49-F238E27FC236}">
                    <a16:creationId xmlns:a16="http://schemas.microsoft.com/office/drawing/2014/main" id="{C8B9C364-AEF2-49F2-B9AB-B56A95C146FF}"/>
                  </a:ext>
                </a:extLst>
              </p:cNvPr>
              <p:cNvSpPr/>
              <p:nvPr/>
            </p:nvSpPr>
            <p:spPr>
              <a:xfrm>
                <a:off x="4242295" y="1685754"/>
                <a:ext cx="3701002" cy="3743106"/>
              </a:xfrm>
              <a:custGeom>
                <a:avLst/>
                <a:gdLst>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0346 w 3701002"/>
                  <a:gd name="connsiteY11" fmla="*/ 3114359 h 3743106"/>
                  <a:gd name="connsiteX12" fmla="*/ 2659635 w 3701002"/>
                  <a:gd name="connsiteY12" fmla="*/ 3107286 h 3743106"/>
                  <a:gd name="connsiteX13" fmla="*/ 3122601 w 3701002"/>
                  <a:gd name="connsiteY13" fmla="*/ 2107732 h 3743106"/>
                  <a:gd name="connsiteX14" fmla="*/ 1850392 w 3701002"/>
                  <a:gd name="connsiteY14" fmla="*/ 812383 h 3743106"/>
                  <a:gd name="connsiteX15" fmla="*/ 578183 w 3701002"/>
                  <a:gd name="connsiteY15" fmla="*/ 2107732 h 3743106"/>
                  <a:gd name="connsiteX16" fmla="*/ 950805 w 3701002"/>
                  <a:gd name="connsiteY16" fmla="*/ 3023682 h 3743106"/>
                  <a:gd name="connsiteX17" fmla="*/ 1028685 w 3701002"/>
                  <a:gd name="connsiteY17" fmla="*/ 3095752 h 3743106"/>
                  <a:gd name="connsiteX18" fmla="*/ 1145044 w 3701002"/>
                  <a:gd name="connsiteY18" fmla="*/ 3252006 h 3743106"/>
                  <a:gd name="connsiteX19" fmla="*/ 1289824 w 3701002"/>
                  <a:gd name="connsiteY19" fmla="*/ 3549186 h 3743106"/>
                  <a:gd name="connsiteX20" fmla="*/ 1131709 w 3701002"/>
                  <a:gd name="connsiteY20" fmla="*/ 3739686 h 3743106"/>
                  <a:gd name="connsiteX21" fmla="*/ 881519 w 3701002"/>
                  <a:gd name="connsiteY21" fmla="*/ 3637451 h 3743106"/>
                  <a:gd name="connsiteX22" fmla="*/ 771664 w 3701002"/>
                  <a:gd name="connsiteY22" fmla="*/ 3290106 h 3743106"/>
                  <a:gd name="connsiteX23" fmla="*/ 377329 w 3701002"/>
                  <a:gd name="connsiteY23" fmla="*/ 3103416 h 3743106"/>
                  <a:gd name="connsiteX24" fmla="*/ 344944 w 3701002"/>
                  <a:gd name="connsiteY24" fmla="*/ 2482386 h 3743106"/>
                  <a:gd name="connsiteX25" fmla="*/ 139 w 3701002"/>
                  <a:gd name="connsiteY25" fmla="*/ 1970576 h 3743106"/>
                  <a:gd name="connsiteX26" fmla="*/ 451624 w 3701002"/>
                  <a:gd name="connsiteY26" fmla="*/ 1403521 h 3743106"/>
                  <a:gd name="connsiteX27" fmla="*/ 496709 w 3701002"/>
                  <a:gd name="connsiteY27" fmla="*/ 659301 h 3743106"/>
                  <a:gd name="connsiteX28" fmla="*/ 1199019 w 3701002"/>
                  <a:gd name="connsiteY28" fmla="*/ 517061 h 3743106"/>
                  <a:gd name="connsiteX29" fmla="*/ 1831479 w 3701002"/>
                  <a:gd name="connsiteY29"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028685 w 3701002"/>
                  <a:gd name="connsiteY16" fmla="*/ 3095752 h 3743106"/>
                  <a:gd name="connsiteX17" fmla="*/ 1145044 w 3701002"/>
                  <a:gd name="connsiteY17" fmla="*/ 3252006 h 3743106"/>
                  <a:gd name="connsiteX18" fmla="*/ 1289824 w 3701002"/>
                  <a:gd name="connsiteY18" fmla="*/ 3549186 h 3743106"/>
                  <a:gd name="connsiteX19" fmla="*/ 1131709 w 3701002"/>
                  <a:gd name="connsiteY19" fmla="*/ 3739686 h 3743106"/>
                  <a:gd name="connsiteX20" fmla="*/ 881519 w 3701002"/>
                  <a:gd name="connsiteY20" fmla="*/ 3637451 h 3743106"/>
                  <a:gd name="connsiteX21" fmla="*/ 771664 w 3701002"/>
                  <a:gd name="connsiteY21" fmla="*/ 3290106 h 3743106"/>
                  <a:gd name="connsiteX22" fmla="*/ 377329 w 3701002"/>
                  <a:gd name="connsiteY22" fmla="*/ 3103416 h 3743106"/>
                  <a:gd name="connsiteX23" fmla="*/ 344944 w 3701002"/>
                  <a:gd name="connsiteY23" fmla="*/ 2482386 h 3743106"/>
                  <a:gd name="connsiteX24" fmla="*/ 139 w 3701002"/>
                  <a:gd name="connsiteY24" fmla="*/ 1970576 h 3743106"/>
                  <a:gd name="connsiteX25" fmla="*/ 451624 w 3701002"/>
                  <a:gd name="connsiteY25" fmla="*/ 1403521 h 3743106"/>
                  <a:gd name="connsiteX26" fmla="*/ 496709 w 3701002"/>
                  <a:gd name="connsiteY26" fmla="*/ 659301 h 3743106"/>
                  <a:gd name="connsiteX27" fmla="*/ 1199019 w 3701002"/>
                  <a:gd name="connsiteY27" fmla="*/ 517061 h 3743106"/>
                  <a:gd name="connsiteX28" fmla="*/ 1831479 w 3701002"/>
                  <a:gd name="connsiteY28"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145044 w 3701002"/>
                  <a:gd name="connsiteY16" fmla="*/ 3252006 h 3743106"/>
                  <a:gd name="connsiteX17" fmla="*/ 1289824 w 3701002"/>
                  <a:gd name="connsiteY17" fmla="*/ 3549186 h 3743106"/>
                  <a:gd name="connsiteX18" fmla="*/ 1131709 w 3701002"/>
                  <a:gd name="connsiteY18" fmla="*/ 3739686 h 3743106"/>
                  <a:gd name="connsiteX19" fmla="*/ 881519 w 3701002"/>
                  <a:gd name="connsiteY19" fmla="*/ 3637451 h 3743106"/>
                  <a:gd name="connsiteX20" fmla="*/ 771664 w 3701002"/>
                  <a:gd name="connsiteY20" fmla="*/ 3290106 h 3743106"/>
                  <a:gd name="connsiteX21" fmla="*/ 377329 w 3701002"/>
                  <a:gd name="connsiteY21" fmla="*/ 3103416 h 3743106"/>
                  <a:gd name="connsiteX22" fmla="*/ 344944 w 3701002"/>
                  <a:gd name="connsiteY22" fmla="*/ 2482386 h 3743106"/>
                  <a:gd name="connsiteX23" fmla="*/ 139 w 3701002"/>
                  <a:gd name="connsiteY23" fmla="*/ 1970576 h 3743106"/>
                  <a:gd name="connsiteX24" fmla="*/ 451624 w 3701002"/>
                  <a:gd name="connsiteY24" fmla="*/ 1403521 h 3743106"/>
                  <a:gd name="connsiteX25" fmla="*/ 496709 w 3701002"/>
                  <a:gd name="connsiteY25" fmla="*/ 659301 h 3743106"/>
                  <a:gd name="connsiteX26" fmla="*/ 1199019 w 3701002"/>
                  <a:gd name="connsiteY26" fmla="*/ 517061 h 3743106"/>
                  <a:gd name="connsiteX27" fmla="*/ 1831479 w 3701002"/>
                  <a:gd name="connsiteY27"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145044 w 3701002"/>
                  <a:gd name="connsiteY16" fmla="*/ 3252006 h 3743106"/>
                  <a:gd name="connsiteX17" fmla="*/ 1289824 w 3701002"/>
                  <a:gd name="connsiteY17" fmla="*/ 3549186 h 3743106"/>
                  <a:gd name="connsiteX18" fmla="*/ 1131709 w 3701002"/>
                  <a:gd name="connsiteY18" fmla="*/ 3739686 h 3743106"/>
                  <a:gd name="connsiteX19" fmla="*/ 881519 w 3701002"/>
                  <a:gd name="connsiteY19" fmla="*/ 3637451 h 3743106"/>
                  <a:gd name="connsiteX20" fmla="*/ 771664 w 3701002"/>
                  <a:gd name="connsiteY20" fmla="*/ 3290106 h 3743106"/>
                  <a:gd name="connsiteX21" fmla="*/ 377329 w 3701002"/>
                  <a:gd name="connsiteY21" fmla="*/ 3103416 h 3743106"/>
                  <a:gd name="connsiteX22" fmla="*/ 344944 w 3701002"/>
                  <a:gd name="connsiteY22" fmla="*/ 2482386 h 3743106"/>
                  <a:gd name="connsiteX23" fmla="*/ 139 w 3701002"/>
                  <a:gd name="connsiteY23" fmla="*/ 1970576 h 3743106"/>
                  <a:gd name="connsiteX24" fmla="*/ 451624 w 3701002"/>
                  <a:gd name="connsiteY24" fmla="*/ 1403521 h 3743106"/>
                  <a:gd name="connsiteX25" fmla="*/ 496709 w 3701002"/>
                  <a:gd name="connsiteY25" fmla="*/ 659301 h 3743106"/>
                  <a:gd name="connsiteX26" fmla="*/ 1199019 w 3701002"/>
                  <a:gd name="connsiteY26" fmla="*/ 517061 h 3743106"/>
                  <a:gd name="connsiteX27" fmla="*/ 1831479 w 3701002"/>
                  <a:gd name="connsiteY27" fmla="*/ 171 h 3743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701002" h="3743106">
                    <a:moveTo>
                      <a:pt x="1831479" y="171"/>
                    </a:moveTo>
                    <a:cubicBezTo>
                      <a:pt x="2193958" y="-9460"/>
                      <a:pt x="2228989" y="388262"/>
                      <a:pt x="2478544" y="516426"/>
                    </a:cubicBezTo>
                    <a:cubicBezTo>
                      <a:pt x="2724924" y="638240"/>
                      <a:pt x="3031735" y="420753"/>
                      <a:pt x="3214509" y="673906"/>
                    </a:cubicBezTo>
                    <a:cubicBezTo>
                      <a:pt x="3397283" y="927059"/>
                      <a:pt x="3125874" y="1106394"/>
                      <a:pt x="3270389" y="1425746"/>
                    </a:cubicBezTo>
                    <a:cubicBezTo>
                      <a:pt x="3414904" y="1745098"/>
                      <a:pt x="3685678" y="1679112"/>
                      <a:pt x="3700601" y="1942319"/>
                    </a:cubicBezTo>
                    <a:cubicBezTo>
                      <a:pt x="3712349" y="2221401"/>
                      <a:pt x="3463112" y="2181714"/>
                      <a:pt x="3354844" y="2512866"/>
                    </a:cubicBezTo>
                    <a:cubicBezTo>
                      <a:pt x="3238639" y="2836081"/>
                      <a:pt x="3476765" y="2888309"/>
                      <a:pt x="3320872" y="3113258"/>
                    </a:cubicBezTo>
                    <a:cubicBezTo>
                      <a:pt x="3231655" y="3262007"/>
                      <a:pt x="3076132" y="3153476"/>
                      <a:pt x="2933839" y="3291059"/>
                    </a:cubicBezTo>
                    <a:cubicBezTo>
                      <a:pt x="2791546" y="3428642"/>
                      <a:pt x="2888756" y="3603161"/>
                      <a:pt x="2771914" y="3691109"/>
                    </a:cubicBezTo>
                    <a:cubicBezTo>
                      <a:pt x="2688410" y="3783819"/>
                      <a:pt x="2499817" y="3735717"/>
                      <a:pt x="2440444" y="3640626"/>
                    </a:cubicBezTo>
                    <a:cubicBezTo>
                      <a:pt x="2381071" y="3545535"/>
                      <a:pt x="2441714" y="3442506"/>
                      <a:pt x="2501404" y="3320586"/>
                    </a:cubicBezTo>
                    <a:lnTo>
                      <a:pt x="2659635" y="3107286"/>
                    </a:lnTo>
                    <a:cubicBezTo>
                      <a:pt x="2942380" y="2869700"/>
                      <a:pt x="3122601" y="2510145"/>
                      <a:pt x="3122601" y="2107732"/>
                    </a:cubicBezTo>
                    <a:cubicBezTo>
                      <a:pt x="3122601" y="1392331"/>
                      <a:pt x="2553014" y="812383"/>
                      <a:pt x="1850392" y="812383"/>
                    </a:cubicBezTo>
                    <a:cubicBezTo>
                      <a:pt x="1147770" y="812383"/>
                      <a:pt x="578183" y="1392331"/>
                      <a:pt x="578183" y="2107732"/>
                    </a:cubicBezTo>
                    <a:cubicBezTo>
                      <a:pt x="578183" y="2465433"/>
                      <a:pt x="720580" y="2789270"/>
                      <a:pt x="950805" y="3023682"/>
                    </a:cubicBezTo>
                    <a:cubicBezTo>
                      <a:pt x="1039364" y="3104553"/>
                      <a:pt x="1080298" y="3175898"/>
                      <a:pt x="1145044" y="3252006"/>
                    </a:cubicBezTo>
                    <a:cubicBezTo>
                      <a:pt x="1213624" y="3361226"/>
                      <a:pt x="1292047" y="3467906"/>
                      <a:pt x="1289824" y="3549186"/>
                    </a:cubicBezTo>
                    <a:cubicBezTo>
                      <a:pt x="1287602" y="3630466"/>
                      <a:pt x="1199760" y="3724975"/>
                      <a:pt x="1131709" y="3739686"/>
                    </a:cubicBezTo>
                    <a:cubicBezTo>
                      <a:pt x="1063658" y="3754397"/>
                      <a:pt x="935176" y="3721906"/>
                      <a:pt x="881519" y="3637451"/>
                    </a:cubicBezTo>
                    <a:cubicBezTo>
                      <a:pt x="827862" y="3552996"/>
                      <a:pt x="922371" y="3429912"/>
                      <a:pt x="771664" y="3290106"/>
                    </a:cubicBezTo>
                    <a:cubicBezTo>
                      <a:pt x="620957" y="3150300"/>
                      <a:pt x="489724" y="3259626"/>
                      <a:pt x="377329" y="3103416"/>
                    </a:cubicBezTo>
                    <a:cubicBezTo>
                      <a:pt x="245884" y="2847193"/>
                      <a:pt x="472103" y="2764062"/>
                      <a:pt x="344944" y="2482386"/>
                    </a:cubicBezTo>
                    <a:cubicBezTo>
                      <a:pt x="189211" y="2141178"/>
                      <a:pt x="8552" y="2246432"/>
                      <a:pt x="139" y="1970576"/>
                    </a:cubicBezTo>
                    <a:cubicBezTo>
                      <a:pt x="-7481" y="1701865"/>
                      <a:pt x="299012" y="1730017"/>
                      <a:pt x="451624" y="1403521"/>
                    </a:cubicBezTo>
                    <a:cubicBezTo>
                      <a:pt x="528036" y="943675"/>
                      <a:pt x="318168" y="908644"/>
                      <a:pt x="496709" y="659301"/>
                    </a:cubicBezTo>
                    <a:cubicBezTo>
                      <a:pt x="675250" y="409958"/>
                      <a:pt x="956978" y="650728"/>
                      <a:pt x="1199019" y="517061"/>
                    </a:cubicBezTo>
                    <a:cubicBezTo>
                      <a:pt x="1485510" y="418319"/>
                      <a:pt x="1469000" y="9802"/>
                      <a:pt x="1831479" y="171"/>
                    </a:cubicBez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grpSp>
      </p:grpSp>
      <p:grpSp>
        <p:nvGrpSpPr>
          <p:cNvPr id="74" name="Group 73">
            <a:extLst>
              <a:ext uri="{FF2B5EF4-FFF2-40B4-BE49-F238E27FC236}">
                <a16:creationId xmlns:a16="http://schemas.microsoft.com/office/drawing/2014/main" id="{D2721952-9B7B-498A-B262-E27879B066AE}"/>
              </a:ext>
            </a:extLst>
          </p:cNvPr>
          <p:cNvGrpSpPr/>
          <p:nvPr/>
        </p:nvGrpSpPr>
        <p:grpSpPr>
          <a:xfrm>
            <a:off x="6577038" y="4179896"/>
            <a:ext cx="474070" cy="474070"/>
            <a:chOff x="6447430" y="2675492"/>
            <a:chExt cx="474070" cy="474070"/>
          </a:xfrm>
        </p:grpSpPr>
        <p:sp>
          <p:nvSpPr>
            <p:cNvPr id="75" name="Oval 74">
              <a:extLst>
                <a:ext uri="{FF2B5EF4-FFF2-40B4-BE49-F238E27FC236}">
                  <a16:creationId xmlns:a16="http://schemas.microsoft.com/office/drawing/2014/main" id="{F7E6E1B2-3015-48DB-80D0-8E7AB88529D6}"/>
                </a:ext>
              </a:extLst>
            </p:cNvPr>
            <p:cNvSpPr/>
            <p:nvPr/>
          </p:nvSpPr>
          <p:spPr>
            <a:xfrm>
              <a:off x="6447430" y="2675492"/>
              <a:ext cx="474070" cy="474070"/>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white"/>
                </a:solidFill>
                <a:effectLst/>
                <a:uLnTx/>
                <a:uFillTx/>
                <a:latin typeface="+mj-lt"/>
                <a:ea typeface="+mn-ea"/>
                <a:cs typeface="+mn-cs"/>
              </a:endParaRPr>
            </a:p>
          </p:txBody>
        </p:sp>
        <p:grpSp>
          <p:nvGrpSpPr>
            <p:cNvPr id="76" name="Group 75">
              <a:extLst>
                <a:ext uri="{FF2B5EF4-FFF2-40B4-BE49-F238E27FC236}">
                  <a16:creationId xmlns:a16="http://schemas.microsoft.com/office/drawing/2014/main" id="{BFAEF88C-AA2F-4DFF-987F-40014C7473A4}"/>
                </a:ext>
              </a:extLst>
            </p:cNvPr>
            <p:cNvGrpSpPr/>
            <p:nvPr/>
          </p:nvGrpSpPr>
          <p:grpSpPr>
            <a:xfrm>
              <a:off x="6518177" y="2715380"/>
              <a:ext cx="333474" cy="369626"/>
              <a:chOff x="3114466" y="105602"/>
              <a:chExt cx="5971657" cy="6619048"/>
            </a:xfrm>
            <a:solidFill>
              <a:schemeClr val="accent5"/>
            </a:solidFill>
          </p:grpSpPr>
          <p:sp>
            <p:nvSpPr>
              <p:cNvPr id="77" name="Oval 76">
                <a:extLst>
                  <a:ext uri="{FF2B5EF4-FFF2-40B4-BE49-F238E27FC236}">
                    <a16:creationId xmlns:a16="http://schemas.microsoft.com/office/drawing/2014/main" id="{04CFF520-FFCC-4D7E-9D59-8D4F93BE7CF3}"/>
                  </a:ext>
                </a:extLst>
              </p:cNvPr>
              <p:cNvSpPr/>
              <p:nvPr/>
            </p:nvSpPr>
            <p:spPr>
              <a:xfrm>
                <a:off x="5744819" y="745435"/>
                <a:ext cx="695738" cy="695738"/>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78" name="Oval 77">
                <a:extLst>
                  <a:ext uri="{FF2B5EF4-FFF2-40B4-BE49-F238E27FC236}">
                    <a16:creationId xmlns:a16="http://schemas.microsoft.com/office/drawing/2014/main" id="{E599384D-E27B-4CF3-8BAD-75E3D8DB24DB}"/>
                  </a:ext>
                </a:extLst>
              </p:cNvPr>
              <p:cNvSpPr/>
              <p:nvPr/>
            </p:nvSpPr>
            <p:spPr>
              <a:xfrm>
                <a:off x="6626711" y="1319213"/>
                <a:ext cx="628234" cy="62823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79" name="Oval 78">
                <a:extLst>
                  <a:ext uri="{FF2B5EF4-FFF2-40B4-BE49-F238E27FC236}">
                    <a16:creationId xmlns:a16="http://schemas.microsoft.com/office/drawing/2014/main" id="{8B9CCA84-3F86-4B47-AB20-7A70E8B4913B}"/>
                  </a:ext>
                </a:extLst>
              </p:cNvPr>
              <p:cNvSpPr/>
              <p:nvPr/>
            </p:nvSpPr>
            <p:spPr>
              <a:xfrm>
                <a:off x="4921736" y="1319213"/>
                <a:ext cx="628234" cy="62823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80" name="Oval 79">
                <a:extLst>
                  <a:ext uri="{FF2B5EF4-FFF2-40B4-BE49-F238E27FC236}">
                    <a16:creationId xmlns:a16="http://schemas.microsoft.com/office/drawing/2014/main" id="{9C0E30ED-52EA-4854-9F03-9F65B9A365CB}"/>
                  </a:ext>
                </a:extLst>
              </p:cNvPr>
              <p:cNvSpPr/>
              <p:nvPr/>
            </p:nvSpPr>
            <p:spPr>
              <a:xfrm>
                <a:off x="4140684" y="1766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81" name="Oval 80">
                <a:extLst>
                  <a:ext uri="{FF2B5EF4-FFF2-40B4-BE49-F238E27FC236}">
                    <a16:creationId xmlns:a16="http://schemas.microsoft.com/office/drawing/2014/main" id="{FC61202F-5DA9-4BDC-A17F-1848CF69F2F0}"/>
                  </a:ext>
                </a:extLst>
              </p:cNvPr>
              <p:cNvSpPr/>
              <p:nvPr/>
            </p:nvSpPr>
            <p:spPr>
              <a:xfrm>
                <a:off x="7510049" y="1766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82" name="Oval 81">
                <a:extLst>
                  <a:ext uri="{FF2B5EF4-FFF2-40B4-BE49-F238E27FC236}">
                    <a16:creationId xmlns:a16="http://schemas.microsoft.com/office/drawing/2014/main" id="{BD89878B-1AE4-4610-9D0A-F0315F1CD41E}"/>
                  </a:ext>
                </a:extLst>
              </p:cNvPr>
              <p:cNvSpPr/>
              <p:nvPr/>
            </p:nvSpPr>
            <p:spPr>
              <a:xfrm>
                <a:off x="7716285" y="2579410"/>
                <a:ext cx="612706" cy="61270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83" name="Oval 82">
                <a:extLst>
                  <a:ext uri="{FF2B5EF4-FFF2-40B4-BE49-F238E27FC236}">
                    <a16:creationId xmlns:a16="http://schemas.microsoft.com/office/drawing/2014/main" id="{070A45EF-5720-4F7D-B715-164D64772095}"/>
                  </a:ext>
                </a:extLst>
              </p:cNvPr>
              <p:cNvSpPr/>
              <p:nvPr/>
            </p:nvSpPr>
            <p:spPr>
              <a:xfrm>
                <a:off x="3849963" y="2569471"/>
                <a:ext cx="612706" cy="61270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84" name="Oval 83">
                <a:extLst>
                  <a:ext uri="{FF2B5EF4-FFF2-40B4-BE49-F238E27FC236}">
                    <a16:creationId xmlns:a16="http://schemas.microsoft.com/office/drawing/2014/main" id="{D13FC905-3D1C-437E-9BE4-5B4B1B5F0FC4}"/>
                  </a:ext>
                </a:extLst>
              </p:cNvPr>
              <p:cNvSpPr/>
              <p:nvPr/>
            </p:nvSpPr>
            <p:spPr>
              <a:xfrm>
                <a:off x="3740632" y="1416532"/>
                <a:ext cx="394046" cy="39404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85" name="Oval 84">
                <a:extLst>
                  <a:ext uri="{FF2B5EF4-FFF2-40B4-BE49-F238E27FC236}">
                    <a16:creationId xmlns:a16="http://schemas.microsoft.com/office/drawing/2014/main" id="{D23F9929-8165-4EF9-A199-F9E68E5E815A}"/>
                  </a:ext>
                </a:extLst>
              </p:cNvPr>
              <p:cNvSpPr/>
              <p:nvPr/>
            </p:nvSpPr>
            <p:spPr>
              <a:xfrm>
                <a:off x="8054215" y="1416532"/>
                <a:ext cx="394046" cy="39404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86" name="Oval 85">
                <a:extLst>
                  <a:ext uri="{FF2B5EF4-FFF2-40B4-BE49-F238E27FC236}">
                    <a16:creationId xmlns:a16="http://schemas.microsoft.com/office/drawing/2014/main" id="{A6A375F8-8F5B-454B-8210-48139D11F65A}"/>
                  </a:ext>
                </a:extLst>
              </p:cNvPr>
              <p:cNvSpPr/>
              <p:nvPr/>
            </p:nvSpPr>
            <p:spPr>
              <a:xfrm>
                <a:off x="5878581" y="105602"/>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87" name="Oval 86">
                <a:extLst>
                  <a:ext uri="{FF2B5EF4-FFF2-40B4-BE49-F238E27FC236}">
                    <a16:creationId xmlns:a16="http://schemas.microsoft.com/office/drawing/2014/main" id="{7BC02552-1242-43FF-BAAD-97D96A7B0DFB}"/>
                  </a:ext>
                </a:extLst>
              </p:cNvPr>
              <p:cNvSpPr/>
              <p:nvPr/>
            </p:nvSpPr>
            <p:spPr>
              <a:xfrm>
                <a:off x="3114466" y="3419473"/>
                <a:ext cx="319296" cy="31929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88" name="Oval 87">
                <a:extLst>
                  <a:ext uri="{FF2B5EF4-FFF2-40B4-BE49-F238E27FC236}">
                    <a16:creationId xmlns:a16="http://schemas.microsoft.com/office/drawing/2014/main" id="{F1F8E5B2-9230-47E4-AE84-8BD1B4E32EB2}"/>
                  </a:ext>
                </a:extLst>
              </p:cNvPr>
              <p:cNvSpPr/>
              <p:nvPr/>
            </p:nvSpPr>
            <p:spPr>
              <a:xfrm>
                <a:off x="3794675" y="5116270"/>
                <a:ext cx="282026" cy="28202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89" name="Oval 88">
                <a:extLst>
                  <a:ext uri="{FF2B5EF4-FFF2-40B4-BE49-F238E27FC236}">
                    <a16:creationId xmlns:a16="http://schemas.microsoft.com/office/drawing/2014/main" id="{E0997D41-95CC-40F4-818F-5AC0290C31A0}"/>
                  </a:ext>
                </a:extLst>
              </p:cNvPr>
              <p:cNvSpPr/>
              <p:nvPr/>
            </p:nvSpPr>
            <p:spPr>
              <a:xfrm>
                <a:off x="4640020" y="5060156"/>
                <a:ext cx="342902" cy="3429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90" name="Oval 89">
                <a:extLst>
                  <a:ext uri="{FF2B5EF4-FFF2-40B4-BE49-F238E27FC236}">
                    <a16:creationId xmlns:a16="http://schemas.microsoft.com/office/drawing/2014/main" id="{3EEEF711-026E-4043-B797-B4165D82ADE2}"/>
                  </a:ext>
                </a:extLst>
              </p:cNvPr>
              <p:cNvSpPr/>
              <p:nvPr/>
            </p:nvSpPr>
            <p:spPr>
              <a:xfrm>
                <a:off x="4155592" y="4790040"/>
                <a:ext cx="373546" cy="37354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91" name="Oval 90">
                <a:extLst>
                  <a:ext uri="{FF2B5EF4-FFF2-40B4-BE49-F238E27FC236}">
                    <a16:creationId xmlns:a16="http://schemas.microsoft.com/office/drawing/2014/main" id="{18F79EDC-F974-41AD-BE11-D89B92C1780E}"/>
                  </a:ext>
                </a:extLst>
              </p:cNvPr>
              <p:cNvSpPr/>
              <p:nvPr/>
            </p:nvSpPr>
            <p:spPr>
              <a:xfrm>
                <a:off x="3892206" y="4042948"/>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92" name="Oval 91">
                <a:extLst>
                  <a:ext uri="{FF2B5EF4-FFF2-40B4-BE49-F238E27FC236}">
                    <a16:creationId xmlns:a16="http://schemas.microsoft.com/office/drawing/2014/main" id="{7B04A7A9-838A-4EA8-8552-CCCAA771513E}"/>
                  </a:ext>
                </a:extLst>
              </p:cNvPr>
              <p:cNvSpPr/>
              <p:nvPr/>
            </p:nvSpPr>
            <p:spPr>
              <a:xfrm>
                <a:off x="7758528" y="4052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93" name="Oval 92">
                <a:extLst>
                  <a:ext uri="{FF2B5EF4-FFF2-40B4-BE49-F238E27FC236}">
                    <a16:creationId xmlns:a16="http://schemas.microsoft.com/office/drawing/2014/main" id="{5406B0A9-BAA1-4600-9D51-E3378AF330A1}"/>
                  </a:ext>
                </a:extLst>
              </p:cNvPr>
              <p:cNvSpPr/>
              <p:nvPr/>
            </p:nvSpPr>
            <p:spPr>
              <a:xfrm>
                <a:off x="3632338" y="3395454"/>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94" name="Oval 93">
                <a:extLst>
                  <a:ext uri="{FF2B5EF4-FFF2-40B4-BE49-F238E27FC236}">
                    <a16:creationId xmlns:a16="http://schemas.microsoft.com/office/drawing/2014/main" id="{C9194837-46C7-4231-91C2-10826174DD22}"/>
                  </a:ext>
                </a:extLst>
              </p:cNvPr>
              <p:cNvSpPr/>
              <p:nvPr/>
            </p:nvSpPr>
            <p:spPr>
              <a:xfrm>
                <a:off x="8122650" y="3395454"/>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95" name="Oval 94">
                <a:extLst>
                  <a:ext uri="{FF2B5EF4-FFF2-40B4-BE49-F238E27FC236}">
                    <a16:creationId xmlns:a16="http://schemas.microsoft.com/office/drawing/2014/main" id="{D9B20850-354A-413B-8B18-00D0BB3EAEC9}"/>
                  </a:ext>
                </a:extLst>
              </p:cNvPr>
              <p:cNvSpPr/>
              <p:nvPr/>
            </p:nvSpPr>
            <p:spPr>
              <a:xfrm>
                <a:off x="8747366" y="3412330"/>
                <a:ext cx="338757" cy="338757"/>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96" name="Oval 95">
                <a:extLst>
                  <a:ext uri="{FF2B5EF4-FFF2-40B4-BE49-F238E27FC236}">
                    <a16:creationId xmlns:a16="http://schemas.microsoft.com/office/drawing/2014/main" id="{11388D89-7E5A-44E2-BA3F-AC04EE76AF1A}"/>
                  </a:ext>
                </a:extLst>
              </p:cNvPr>
              <p:cNvSpPr/>
              <p:nvPr/>
            </p:nvSpPr>
            <p:spPr>
              <a:xfrm>
                <a:off x="7659444" y="4792108"/>
                <a:ext cx="372514" cy="37251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97" name="Oval 96">
                <a:extLst>
                  <a:ext uri="{FF2B5EF4-FFF2-40B4-BE49-F238E27FC236}">
                    <a16:creationId xmlns:a16="http://schemas.microsoft.com/office/drawing/2014/main" id="{9EED1F17-5ABC-4774-885B-DB6FD7C785DB}"/>
                  </a:ext>
                </a:extLst>
              </p:cNvPr>
              <p:cNvSpPr/>
              <p:nvPr/>
            </p:nvSpPr>
            <p:spPr>
              <a:xfrm>
                <a:off x="7208355" y="5062538"/>
                <a:ext cx="341242" cy="34124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98" name="Oval 97">
                <a:extLst>
                  <a:ext uri="{FF2B5EF4-FFF2-40B4-BE49-F238E27FC236}">
                    <a16:creationId xmlns:a16="http://schemas.microsoft.com/office/drawing/2014/main" id="{61C04608-3245-45B7-B86C-F5ABBEA863C2}"/>
                  </a:ext>
                </a:extLst>
              </p:cNvPr>
              <p:cNvSpPr/>
              <p:nvPr/>
            </p:nvSpPr>
            <p:spPr>
              <a:xfrm>
                <a:off x="8113230" y="5122069"/>
                <a:ext cx="274566" cy="27456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99" name="Freeform 87">
                <a:extLst>
                  <a:ext uri="{FF2B5EF4-FFF2-40B4-BE49-F238E27FC236}">
                    <a16:creationId xmlns:a16="http://schemas.microsoft.com/office/drawing/2014/main" id="{0CB97996-38ED-460C-BEF1-4162A7611F05}"/>
                  </a:ext>
                </a:extLst>
              </p:cNvPr>
              <p:cNvSpPr/>
              <p:nvPr/>
            </p:nvSpPr>
            <p:spPr>
              <a:xfrm>
                <a:off x="5507831" y="5678142"/>
                <a:ext cx="1200744" cy="1046508"/>
              </a:xfrm>
              <a:custGeom>
                <a:avLst/>
                <a:gdLst>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58806 w 1200744"/>
                  <a:gd name="connsiteY19" fmla="*/ 0 h 1046508"/>
                  <a:gd name="connsiteX20" fmla="*/ 692944 w 1200744"/>
                  <a:gd name="connsiteY20" fmla="*/ 0 h 1046508"/>
                  <a:gd name="connsiteX21" fmla="*/ 692944 w 1200744"/>
                  <a:gd name="connsiteY21" fmla="*/ 102530 h 1046508"/>
                  <a:gd name="connsiteX22" fmla="*/ 418176 w 1200744"/>
                  <a:gd name="connsiteY22" fmla="*/ 135174 h 1046508"/>
                  <a:gd name="connsiteX23" fmla="*/ 392350 w 1200744"/>
                  <a:gd name="connsiteY23" fmla="*/ 149653 h 1046508"/>
                  <a:gd name="connsiteX24" fmla="*/ 384326 w 1200744"/>
                  <a:gd name="connsiteY24" fmla="*/ 178152 h 1046508"/>
                  <a:gd name="connsiteX25" fmla="*/ 398804 w 1200744"/>
                  <a:gd name="connsiteY25" fmla="*/ 203977 h 1046508"/>
                  <a:gd name="connsiteX26" fmla="*/ 427304 w 1200744"/>
                  <a:gd name="connsiteY26" fmla="*/ 212001 h 1046508"/>
                  <a:gd name="connsiteX27" fmla="*/ 1104900 w 1200744"/>
                  <a:gd name="connsiteY27" fmla="*/ 131498 h 1046508"/>
                  <a:gd name="connsiteX28" fmla="*/ 1104900 w 1200744"/>
                  <a:gd name="connsiteY28" fmla="*/ 134851 h 1046508"/>
                  <a:gd name="connsiteX29" fmla="*/ 1157493 w 1200744"/>
                  <a:gd name="connsiteY29" fmla="*/ 128603 h 1046508"/>
                  <a:gd name="connsiteX30" fmla="*/ 1200471 w 1200744"/>
                  <a:gd name="connsiteY30" fmla="*/ 162453 h 1046508"/>
                  <a:gd name="connsiteX31" fmla="*/ 1200470 w 1200744"/>
                  <a:gd name="connsiteY31" fmla="*/ 162453 h 1046508"/>
                  <a:gd name="connsiteX32" fmla="*/ 1166620 w 1200744"/>
                  <a:gd name="connsiteY32" fmla="*/ 205431 h 1046508"/>
                  <a:gd name="connsiteX33" fmla="*/ 892471 w 1200744"/>
                  <a:gd name="connsiteY33" fmla="*/ 238001 h 1046508"/>
                  <a:gd name="connsiteX34" fmla="*/ 883444 w 1200744"/>
                  <a:gd name="connsiteY34" fmla="*/ 235459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688181 w 1200744"/>
                  <a:gd name="connsiteY45" fmla="*/ 400083 h 1046508"/>
                  <a:gd name="connsiteX46" fmla="*/ 688181 w 1200744"/>
                  <a:gd name="connsiteY46" fmla="*/ 403433 h 1046508"/>
                  <a:gd name="connsiteX47" fmla="*/ 792956 w 1200744"/>
                  <a:gd name="connsiteY47" fmla="*/ 390985 h 1046508"/>
                  <a:gd name="connsiteX48" fmla="*/ 792956 w 1200744"/>
                  <a:gd name="connsiteY48" fmla="*/ 387635 h 1046508"/>
                  <a:gd name="connsiteX49" fmla="*/ 883444 w 1200744"/>
                  <a:gd name="connsiteY49" fmla="*/ 376884 h 1046508"/>
                  <a:gd name="connsiteX50" fmla="*/ 883444 w 1200744"/>
                  <a:gd name="connsiteY50" fmla="*/ 380235 h 1046508"/>
                  <a:gd name="connsiteX51" fmla="*/ 1157493 w 1200744"/>
                  <a:gd name="connsiteY51" fmla="*/ 347675 h 1046508"/>
                  <a:gd name="connsiteX52" fmla="*/ 1200471 w 1200744"/>
                  <a:gd name="connsiteY52" fmla="*/ 381525 h 1046508"/>
                  <a:gd name="connsiteX53" fmla="*/ 1200470 w 1200744"/>
                  <a:gd name="connsiteY53" fmla="*/ 381526 h 1046508"/>
                  <a:gd name="connsiteX54" fmla="*/ 1166620 w 1200744"/>
                  <a:gd name="connsiteY54" fmla="*/ 424503 h 1046508"/>
                  <a:gd name="connsiteX55" fmla="*/ 883444 w 1200744"/>
                  <a:gd name="connsiteY55" fmla="*/ 458146 h 1046508"/>
                  <a:gd name="connsiteX56" fmla="*/ 883444 w 1200744"/>
                  <a:gd name="connsiteY56" fmla="*/ 506141 h 1046508"/>
                  <a:gd name="connsiteX57" fmla="*/ 792956 w 1200744"/>
                  <a:gd name="connsiteY57" fmla="*/ 516892 h 1046508"/>
                  <a:gd name="connsiteX58" fmla="*/ 792956 w 1200744"/>
                  <a:gd name="connsiteY58" fmla="*/ 468897 h 1046508"/>
                  <a:gd name="connsiteX59" fmla="*/ 688181 w 1200744"/>
                  <a:gd name="connsiteY59" fmla="*/ 481345 h 1046508"/>
                  <a:gd name="connsiteX60" fmla="*/ 688181 w 1200744"/>
                  <a:gd name="connsiteY60" fmla="*/ 529340 h 1046508"/>
                  <a:gd name="connsiteX61" fmla="*/ 418176 w 1200744"/>
                  <a:gd name="connsiteY61" fmla="*/ 561418 h 1046508"/>
                  <a:gd name="connsiteX62" fmla="*/ 392350 w 1200744"/>
                  <a:gd name="connsiteY62" fmla="*/ 575897 h 1046508"/>
                  <a:gd name="connsiteX63" fmla="*/ 384326 w 1200744"/>
                  <a:gd name="connsiteY63" fmla="*/ 604396 h 1046508"/>
                  <a:gd name="connsiteX64" fmla="*/ 398804 w 1200744"/>
                  <a:gd name="connsiteY64" fmla="*/ 630221 h 1046508"/>
                  <a:gd name="connsiteX65" fmla="*/ 427304 w 1200744"/>
                  <a:gd name="connsiteY65" fmla="*/ 638245 h 1046508"/>
                  <a:gd name="connsiteX66" fmla="*/ 1104900 w 1200744"/>
                  <a:gd name="connsiteY66" fmla="*/ 557742 h 1046508"/>
                  <a:gd name="connsiteX67" fmla="*/ 1104900 w 1200744"/>
                  <a:gd name="connsiteY67" fmla="*/ 558713 h 1046508"/>
                  <a:gd name="connsiteX68" fmla="*/ 1157491 w 1200744"/>
                  <a:gd name="connsiteY68" fmla="*/ 552464 h 1046508"/>
                  <a:gd name="connsiteX69" fmla="*/ 1200469 w 1200744"/>
                  <a:gd name="connsiteY69" fmla="*/ 586314 h 1046508"/>
                  <a:gd name="connsiteX70" fmla="*/ 1200468 w 1200744"/>
                  <a:gd name="connsiteY70" fmla="*/ 586314 h 1046508"/>
                  <a:gd name="connsiteX71" fmla="*/ 1166618 w 1200744"/>
                  <a:gd name="connsiteY71" fmla="*/ 629292 h 1046508"/>
                  <a:gd name="connsiteX72" fmla="*/ 1104900 w 1200744"/>
                  <a:gd name="connsiteY72" fmla="*/ 636624 h 1046508"/>
                  <a:gd name="connsiteX73" fmla="*/ 1104900 w 1200744"/>
                  <a:gd name="connsiteY73" fmla="*/ 817908 h 1046508"/>
                  <a:gd name="connsiteX74" fmla="*/ 971550 w 1200744"/>
                  <a:gd name="connsiteY74" fmla="*/ 946496 h 1046508"/>
                  <a:gd name="connsiteX75" fmla="*/ 752889 w 1200744"/>
                  <a:gd name="connsiteY75" fmla="*/ 946496 h 1046508"/>
                  <a:gd name="connsiteX76" fmla="*/ 749140 w 1200744"/>
                  <a:gd name="connsiteY76" fmla="*/ 965065 h 1046508"/>
                  <a:gd name="connsiteX77" fmla="*/ 626271 w 1200744"/>
                  <a:gd name="connsiteY77" fmla="*/ 1046508 h 1046508"/>
                  <a:gd name="connsiteX78" fmla="*/ 533770 w 1200744"/>
                  <a:gd name="connsiteY78" fmla="*/ 1046508 h 1046508"/>
                  <a:gd name="connsiteX79" fmla="*/ 410901 w 1200744"/>
                  <a:gd name="connsiteY79" fmla="*/ 965065 h 1046508"/>
                  <a:gd name="connsiteX80" fmla="*/ 407153 w 1200744"/>
                  <a:gd name="connsiteY80" fmla="*/ 946496 h 1046508"/>
                  <a:gd name="connsiteX81" fmla="*/ 190500 w 1200744"/>
                  <a:gd name="connsiteY81" fmla="*/ 946496 h 1046508"/>
                  <a:gd name="connsiteX82" fmla="*/ 59532 w 1200744"/>
                  <a:gd name="connsiteY82" fmla="*/ 825052 h 1046508"/>
                  <a:gd name="connsiteX83" fmla="*/ 59432 w 1200744"/>
                  <a:gd name="connsiteY83" fmla="*/ 710643 h 1046508"/>
                  <a:gd name="connsiteX84" fmla="*/ 48816 w 1200744"/>
                  <a:gd name="connsiteY84" fmla="*/ 710643 h 1046508"/>
                  <a:gd name="connsiteX85" fmla="*/ 14298 w 1200744"/>
                  <a:gd name="connsiteY85" fmla="*/ 696345 h 1046508"/>
                  <a:gd name="connsiteX86" fmla="*/ 0 w 1200744"/>
                  <a:gd name="connsiteY86" fmla="*/ 661828 h 1046508"/>
                  <a:gd name="connsiteX87" fmla="*/ 14298 w 1200744"/>
                  <a:gd name="connsiteY87" fmla="*/ 627310 h 1046508"/>
                  <a:gd name="connsiteX88" fmla="*/ 48816 w 1200744"/>
                  <a:gd name="connsiteY88" fmla="*/ 613012 h 1046508"/>
                  <a:gd name="connsiteX89" fmla="*/ 59346 w 1200744"/>
                  <a:gd name="connsiteY89" fmla="*/ 613012 h 1046508"/>
                  <a:gd name="connsiteX90" fmla="*/ 59247 w 1200744"/>
                  <a:gd name="connsiteY90" fmla="*/ 501147 h 1046508"/>
                  <a:gd name="connsiteX91" fmla="*/ 48816 w 1200744"/>
                  <a:gd name="connsiteY91" fmla="*/ 501147 h 1046508"/>
                  <a:gd name="connsiteX92" fmla="*/ 14298 w 1200744"/>
                  <a:gd name="connsiteY92" fmla="*/ 486849 h 1046508"/>
                  <a:gd name="connsiteX93" fmla="*/ 0 w 1200744"/>
                  <a:gd name="connsiteY93" fmla="*/ 452332 h 1046508"/>
                  <a:gd name="connsiteX94" fmla="*/ 14298 w 1200744"/>
                  <a:gd name="connsiteY94" fmla="*/ 417814 h 1046508"/>
                  <a:gd name="connsiteX95" fmla="*/ 48816 w 1200744"/>
                  <a:gd name="connsiteY95" fmla="*/ 403516 h 1046508"/>
                  <a:gd name="connsiteX96" fmla="*/ 59161 w 1200744"/>
                  <a:gd name="connsiteY96" fmla="*/ 403516 h 1046508"/>
                  <a:gd name="connsiteX97" fmla="*/ 59063 w 1200744"/>
                  <a:gd name="connsiteY97" fmla="*/ 291651 h 1046508"/>
                  <a:gd name="connsiteX98" fmla="*/ 48816 w 1200744"/>
                  <a:gd name="connsiteY98" fmla="*/ 291651 h 1046508"/>
                  <a:gd name="connsiteX99" fmla="*/ 14298 w 1200744"/>
                  <a:gd name="connsiteY99" fmla="*/ 277353 h 1046508"/>
                  <a:gd name="connsiteX100" fmla="*/ 0 w 1200744"/>
                  <a:gd name="connsiteY100" fmla="*/ 242836 h 1046508"/>
                  <a:gd name="connsiteX101" fmla="*/ 14298 w 1200744"/>
                  <a:gd name="connsiteY101" fmla="*/ 208318 h 1046508"/>
                  <a:gd name="connsiteX102" fmla="*/ 48816 w 1200744"/>
                  <a:gd name="connsiteY102" fmla="*/ 194020 h 1046508"/>
                  <a:gd name="connsiteX103" fmla="*/ 58977 w 1200744"/>
                  <a:gd name="connsiteY103" fmla="*/ 19402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792956 w 1200744"/>
                  <a:gd name="connsiteY49" fmla="*/ 387635 h 1046508"/>
                  <a:gd name="connsiteX50" fmla="*/ 883444 w 1200744"/>
                  <a:gd name="connsiteY50" fmla="*/ 376884 h 1046508"/>
                  <a:gd name="connsiteX51" fmla="*/ 1157493 w 1200744"/>
                  <a:gd name="connsiteY51" fmla="*/ 347675 h 1046508"/>
                  <a:gd name="connsiteX52" fmla="*/ 1200471 w 1200744"/>
                  <a:gd name="connsiteY52" fmla="*/ 381525 h 1046508"/>
                  <a:gd name="connsiteX53" fmla="*/ 1200470 w 1200744"/>
                  <a:gd name="connsiteY53" fmla="*/ 381526 h 1046508"/>
                  <a:gd name="connsiteX54" fmla="*/ 1166620 w 1200744"/>
                  <a:gd name="connsiteY54" fmla="*/ 424503 h 1046508"/>
                  <a:gd name="connsiteX55" fmla="*/ 883444 w 1200744"/>
                  <a:gd name="connsiteY55" fmla="*/ 458146 h 1046508"/>
                  <a:gd name="connsiteX56" fmla="*/ 883444 w 1200744"/>
                  <a:gd name="connsiteY56" fmla="*/ 506141 h 1046508"/>
                  <a:gd name="connsiteX57" fmla="*/ 792956 w 1200744"/>
                  <a:gd name="connsiteY57" fmla="*/ 516892 h 1046508"/>
                  <a:gd name="connsiteX58" fmla="*/ 792956 w 1200744"/>
                  <a:gd name="connsiteY58" fmla="*/ 468897 h 1046508"/>
                  <a:gd name="connsiteX59" fmla="*/ 688181 w 1200744"/>
                  <a:gd name="connsiteY59" fmla="*/ 481345 h 1046508"/>
                  <a:gd name="connsiteX60" fmla="*/ 688181 w 1200744"/>
                  <a:gd name="connsiteY60" fmla="*/ 529340 h 1046508"/>
                  <a:gd name="connsiteX61" fmla="*/ 418176 w 1200744"/>
                  <a:gd name="connsiteY61" fmla="*/ 561418 h 1046508"/>
                  <a:gd name="connsiteX62" fmla="*/ 392350 w 1200744"/>
                  <a:gd name="connsiteY62" fmla="*/ 575897 h 1046508"/>
                  <a:gd name="connsiteX63" fmla="*/ 384326 w 1200744"/>
                  <a:gd name="connsiteY63" fmla="*/ 604396 h 1046508"/>
                  <a:gd name="connsiteX64" fmla="*/ 398804 w 1200744"/>
                  <a:gd name="connsiteY64" fmla="*/ 630221 h 1046508"/>
                  <a:gd name="connsiteX65" fmla="*/ 427304 w 1200744"/>
                  <a:gd name="connsiteY65" fmla="*/ 638245 h 1046508"/>
                  <a:gd name="connsiteX66" fmla="*/ 1104900 w 1200744"/>
                  <a:gd name="connsiteY66" fmla="*/ 557742 h 1046508"/>
                  <a:gd name="connsiteX67" fmla="*/ 1104900 w 1200744"/>
                  <a:gd name="connsiteY67" fmla="*/ 558713 h 1046508"/>
                  <a:gd name="connsiteX68" fmla="*/ 1157491 w 1200744"/>
                  <a:gd name="connsiteY68" fmla="*/ 552464 h 1046508"/>
                  <a:gd name="connsiteX69" fmla="*/ 1200469 w 1200744"/>
                  <a:gd name="connsiteY69" fmla="*/ 586314 h 1046508"/>
                  <a:gd name="connsiteX70" fmla="*/ 1200468 w 1200744"/>
                  <a:gd name="connsiteY70" fmla="*/ 586314 h 1046508"/>
                  <a:gd name="connsiteX71" fmla="*/ 1166618 w 1200744"/>
                  <a:gd name="connsiteY71" fmla="*/ 629292 h 1046508"/>
                  <a:gd name="connsiteX72" fmla="*/ 1104900 w 1200744"/>
                  <a:gd name="connsiteY72" fmla="*/ 636624 h 1046508"/>
                  <a:gd name="connsiteX73" fmla="*/ 1104900 w 1200744"/>
                  <a:gd name="connsiteY73" fmla="*/ 817908 h 1046508"/>
                  <a:gd name="connsiteX74" fmla="*/ 971550 w 1200744"/>
                  <a:gd name="connsiteY74" fmla="*/ 946496 h 1046508"/>
                  <a:gd name="connsiteX75" fmla="*/ 752889 w 1200744"/>
                  <a:gd name="connsiteY75" fmla="*/ 946496 h 1046508"/>
                  <a:gd name="connsiteX76" fmla="*/ 749140 w 1200744"/>
                  <a:gd name="connsiteY76" fmla="*/ 965065 h 1046508"/>
                  <a:gd name="connsiteX77" fmla="*/ 626271 w 1200744"/>
                  <a:gd name="connsiteY77" fmla="*/ 1046508 h 1046508"/>
                  <a:gd name="connsiteX78" fmla="*/ 533770 w 1200744"/>
                  <a:gd name="connsiteY78" fmla="*/ 1046508 h 1046508"/>
                  <a:gd name="connsiteX79" fmla="*/ 410901 w 1200744"/>
                  <a:gd name="connsiteY79" fmla="*/ 965065 h 1046508"/>
                  <a:gd name="connsiteX80" fmla="*/ 407153 w 1200744"/>
                  <a:gd name="connsiteY80" fmla="*/ 946496 h 1046508"/>
                  <a:gd name="connsiteX81" fmla="*/ 190500 w 1200744"/>
                  <a:gd name="connsiteY81" fmla="*/ 946496 h 1046508"/>
                  <a:gd name="connsiteX82" fmla="*/ 59532 w 1200744"/>
                  <a:gd name="connsiteY82" fmla="*/ 825052 h 1046508"/>
                  <a:gd name="connsiteX83" fmla="*/ 59432 w 1200744"/>
                  <a:gd name="connsiteY83" fmla="*/ 710643 h 1046508"/>
                  <a:gd name="connsiteX84" fmla="*/ 48816 w 1200744"/>
                  <a:gd name="connsiteY84" fmla="*/ 710643 h 1046508"/>
                  <a:gd name="connsiteX85" fmla="*/ 14298 w 1200744"/>
                  <a:gd name="connsiteY85" fmla="*/ 696345 h 1046508"/>
                  <a:gd name="connsiteX86" fmla="*/ 0 w 1200744"/>
                  <a:gd name="connsiteY86" fmla="*/ 661828 h 1046508"/>
                  <a:gd name="connsiteX87" fmla="*/ 14298 w 1200744"/>
                  <a:gd name="connsiteY87" fmla="*/ 627310 h 1046508"/>
                  <a:gd name="connsiteX88" fmla="*/ 48816 w 1200744"/>
                  <a:gd name="connsiteY88" fmla="*/ 613012 h 1046508"/>
                  <a:gd name="connsiteX89" fmla="*/ 59346 w 1200744"/>
                  <a:gd name="connsiteY89" fmla="*/ 613012 h 1046508"/>
                  <a:gd name="connsiteX90" fmla="*/ 59247 w 1200744"/>
                  <a:gd name="connsiteY90" fmla="*/ 501147 h 1046508"/>
                  <a:gd name="connsiteX91" fmla="*/ 48816 w 1200744"/>
                  <a:gd name="connsiteY91" fmla="*/ 501147 h 1046508"/>
                  <a:gd name="connsiteX92" fmla="*/ 14298 w 1200744"/>
                  <a:gd name="connsiteY92" fmla="*/ 486849 h 1046508"/>
                  <a:gd name="connsiteX93" fmla="*/ 0 w 1200744"/>
                  <a:gd name="connsiteY93" fmla="*/ 452332 h 1046508"/>
                  <a:gd name="connsiteX94" fmla="*/ 14298 w 1200744"/>
                  <a:gd name="connsiteY94" fmla="*/ 417814 h 1046508"/>
                  <a:gd name="connsiteX95" fmla="*/ 48816 w 1200744"/>
                  <a:gd name="connsiteY95" fmla="*/ 403516 h 1046508"/>
                  <a:gd name="connsiteX96" fmla="*/ 59161 w 1200744"/>
                  <a:gd name="connsiteY96" fmla="*/ 403516 h 1046508"/>
                  <a:gd name="connsiteX97" fmla="*/ 59063 w 1200744"/>
                  <a:gd name="connsiteY97" fmla="*/ 291651 h 1046508"/>
                  <a:gd name="connsiteX98" fmla="*/ 48816 w 1200744"/>
                  <a:gd name="connsiteY98" fmla="*/ 291651 h 1046508"/>
                  <a:gd name="connsiteX99" fmla="*/ 14298 w 1200744"/>
                  <a:gd name="connsiteY99" fmla="*/ 277353 h 1046508"/>
                  <a:gd name="connsiteX100" fmla="*/ 0 w 1200744"/>
                  <a:gd name="connsiteY100" fmla="*/ 242836 h 1046508"/>
                  <a:gd name="connsiteX101" fmla="*/ 14298 w 1200744"/>
                  <a:gd name="connsiteY101" fmla="*/ 208318 h 1046508"/>
                  <a:gd name="connsiteX102" fmla="*/ 48816 w 1200744"/>
                  <a:gd name="connsiteY102" fmla="*/ 194020 h 1046508"/>
                  <a:gd name="connsiteX103" fmla="*/ 58977 w 1200744"/>
                  <a:gd name="connsiteY103" fmla="*/ 194020 h 1046508"/>
                  <a:gd name="connsiteX104" fmla="*/ 58806 w 1200744"/>
                  <a:gd name="connsiteY104"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792956 w 1200744"/>
                  <a:gd name="connsiteY49" fmla="*/ 387635 h 1046508"/>
                  <a:gd name="connsiteX50" fmla="*/ 1157493 w 1200744"/>
                  <a:gd name="connsiteY50" fmla="*/ 347675 h 1046508"/>
                  <a:gd name="connsiteX51" fmla="*/ 1200471 w 1200744"/>
                  <a:gd name="connsiteY51" fmla="*/ 381525 h 1046508"/>
                  <a:gd name="connsiteX52" fmla="*/ 1200470 w 1200744"/>
                  <a:gd name="connsiteY52" fmla="*/ 381526 h 1046508"/>
                  <a:gd name="connsiteX53" fmla="*/ 1166620 w 1200744"/>
                  <a:gd name="connsiteY53" fmla="*/ 424503 h 1046508"/>
                  <a:gd name="connsiteX54" fmla="*/ 883444 w 1200744"/>
                  <a:gd name="connsiteY54" fmla="*/ 458146 h 1046508"/>
                  <a:gd name="connsiteX55" fmla="*/ 883444 w 1200744"/>
                  <a:gd name="connsiteY55" fmla="*/ 506141 h 1046508"/>
                  <a:gd name="connsiteX56" fmla="*/ 792956 w 1200744"/>
                  <a:gd name="connsiteY56" fmla="*/ 516892 h 1046508"/>
                  <a:gd name="connsiteX57" fmla="*/ 792956 w 1200744"/>
                  <a:gd name="connsiteY57" fmla="*/ 468897 h 1046508"/>
                  <a:gd name="connsiteX58" fmla="*/ 688181 w 1200744"/>
                  <a:gd name="connsiteY58" fmla="*/ 481345 h 1046508"/>
                  <a:gd name="connsiteX59" fmla="*/ 688181 w 1200744"/>
                  <a:gd name="connsiteY59" fmla="*/ 529340 h 1046508"/>
                  <a:gd name="connsiteX60" fmla="*/ 418176 w 1200744"/>
                  <a:gd name="connsiteY60" fmla="*/ 561418 h 1046508"/>
                  <a:gd name="connsiteX61" fmla="*/ 392350 w 1200744"/>
                  <a:gd name="connsiteY61" fmla="*/ 575897 h 1046508"/>
                  <a:gd name="connsiteX62" fmla="*/ 384326 w 1200744"/>
                  <a:gd name="connsiteY62" fmla="*/ 604396 h 1046508"/>
                  <a:gd name="connsiteX63" fmla="*/ 398804 w 1200744"/>
                  <a:gd name="connsiteY63" fmla="*/ 630221 h 1046508"/>
                  <a:gd name="connsiteX64" fmla="*/ 427304 w 1200744"/>
                  <a:gd name="connsiteY64" fmla="*/ 638245 h 1046508"/>
                  <a:gd name="connsiteX65" fmla="*/ 1104900 w 1200744"/>
                  <a:gd name="connsiteY65" fmla="*/ 557742 h 1046508"/>
                  <a:gd name="connsiteX66" fmla="*/ 1104900 w 1200744"/>
                  <a:gd name="connsiteY66" fmla="*/ 558713 h 1046508"/>
                  <a:gd name="connsiteX67" fmla="*/ 1157491 w 1200744"/>
                  <a:gd name="connsiteY67" fmla="*/ 552464 h 1046508"/>
                  <a:gd name="connsiteX68" fmla="*/ 1200469 w 1200744"/>
                  <a:gd name="connsiteY68" fmla="*/ 586314 h 1046508"/>
                  <a:gd name="connsiteX69" fmla="*/ 1200468 w 1200744"/>
                  <a:gd name="connsiteY69" fmla="*/ 586314 h 1046508"/>
                  <a:gd name="connsiteX70" fmla="*/ 1166618 w 1200744"/>
                  <a:gd name="connsiteY70" fmla="*/ 629292 h 1046508"/>
                  <a:gd name="connsiteX71" fmla="*/ 1104900 w 1200744"/>
                  <a:gd name="connsiteY71" fmla="*/ 636624 h 1046508"/>
                  <a:gd name="connsiteX72" fmla="*/ 1104900 w 1200744"/>
                  <a:gd name="connsiteY72" fmla="*/ 817908 h 1046508"/>
                  <a:gd name="connsiteX73" fmla="*/ 971550 w 1200744"/>
                  <a:gd name="connsiteY73" fmla="*/ 946496 h 1046508"/>
                  <a:gd name="connsiteX74" fmla="*/ 752889 w 1200744"/>
                  <a:gd name="connsiteY74" fmla="*/ 946496 h 1046508"/>
                  <a:gd name="connsiteX75" fmla="*/ 749140 w 1200744"/>
                  <a:gd name="connsiteY75" fmla="*/ 965065 h 1046508"/>
                  <a:gd name="connsiteX76" fmla="*/ 626271 w 1200744"/>
                  <a:gd name="connsiteY76" fmla="*/ 1046508 h 1046508"/>
                  <a:gd name="connsiteX77" fmla="*/ 533770 w 1200744"/>
                  <a:gd name="connsiteY77" fmla="*/ 1046508 h 1046508"/>
                  <a:gd name="connsiteX78" fmla="*/ 410901 w 1200744"/>
                  <a:gd name="connsiteY78" fmla="*/ 965065 h 1046508"/>
                  <a:gd name="connsiteX79" fmla="*/ 407153 w 1200744"/>
                  <a:gd name="connsiteY79" fmla="*/ 946496 h 1046508"/>
                  <a:gd name="connsiteX80" fmla="*/ 190500 w 1200744"/>
                  <a:gd name="connsiteY80" fmla="*/ 946496 h 1046508"/>
                  <a:gd name="connsiteX81" fmla="*/ 59532 w 1200744"/>
                  <a:gd name="connsiteY81" fmla="*/ 825052 h 1046508"/>
                  <a:gd name="connsiteX82" fmla="*/ 59432 w 1200744"/>
                  <a:gd name="connsiteY82" fmla="*/ 710643 h 1046508"/>
                  <a:gd name="connsiteX83" fmla="*/ 48816 w 1200744"/>
                  <a:gd name="connsiteY83" fmla="*/ 710643 h 1046508"/>
                  <a:gd name="connsiteX84" fmla="*/ 14298 w 1200744"/>
                  <a:gd name="connsiteY84" fmla="*/ 696345 h 1046508"/>
                  <a:gd name="connsiteX85" fmla="*/ 0 w 1200744"/>
                  <a:gd name="connsiteY85" fmla="*/ 661828 h 1046508"/>
                  <a:gd name="connsiteX86" fmla="*/ 14298 w 1200744"/>
                  <a:gd name="connsiteY86" fmla="*/ 627310 h 1046508"/>
                  <a:gd name="connsiteX87" fmla="*/ 48816 w 1200744"/>
                  <a:gd name="connsiteY87" fmla="*/ 613012 h 1046508"/>
                  <a:gd name="connsiteX88" fmla="*/ 59346 w 1200744"/>
                  <a:gd name="connsiteY88" fmla="*/ 613012 h 1046508"/>
                  <a:gd name="connsiteX89" fmla="*/ 59247 w 1200744"/>
                  <a:gd name="connsiteY89" fmla="*/ 501147 h 1046508"/>
                  <a:gd name="connsiteX90" fmla="*/ 48816 w 1200744"/>
                  <a:gd name="connsiteY90" fmla="*/ 501147 h 1046508"/>
                  <a:gd name="connsiteX91" fmla="*/ 14298 w 1200744"/>
                  <a:gd name="connsiteY91" fmla="*/ 486849 h 1046508"/>
                  <a:gd name="connsiteX92" fmla="*/ 0 w 1200744"/>
                  <a:gd name="connsiteY92" fmla="*/ 452332 h 1046508"/>
                  <a:gd name="connsiteX93" fmla="*/ 14298 w 1200744"/>
                  <a:gd name="connsiteY93" fmla="*/ 417814 h 1046508"/>
                  <a:gd name="connsiteX94" fmla="*/ 48816 w 1200744"/>
                  <a:gd name="connsiteY94" fmla="*/ 403516 h 1046508"/>
                  <a:gd name="connsiteX95" fmla="*/ 59161 w 1200744"/>
                  <a:gd name="connsiteY95" fmla="*/ 403516 h 1046508"/>
                  <a:gd name="connsiteX96" fmla="*/ 59063 w 1200744"/>
                  <a:gd name="connsiteY96" fmla="*/ 291651 h 1046508"/>
                  <a:gd name="connsiteX97" fmla="*/ 48816 w 1200744"/>
                  <a:gd name="connsiteY97" fmla="*/ 291651 h 1046508"/>
                  <a:gd name="connsiteX98" fmla="*/ 14298 w 1200744"/>
                  <a:gd name="connsiteY98" fmla="*/ 277353 h 1046508"/>
                  <a:gd name="connsiteX99" fmla="*/ 0 w 1200744"/>
                  <a:gd name="connsiteY99" fmla="*/ 242836 h 1046508"/>
                  <a:gd name="connsiteX100" fmla="*/ 14298 w 1200744"/>
                  <a:gd name="connsiteY100" fmla="*/ 208318 h 1046508"/>
                  <a:gd name="connsiteX101" fmla="*/ 48816 w 1200744"/>
                  <a:gd name="connsiteY101" fmla="*/ 194020 h 1046508"/>
                  <a:gd name="connsiteX102" fmla="*/ 58977 w 1200744"/>
                  <a:gd name="connsiteY102" fmla="*/ 194020 h 1046508"/>
                  <a:gd name="connsiteX103" fmla="*/ 58806 w 1200744"/>
                  <a:gd name="connsiteY103"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1157493 w 1200744"/>
                  <a:gd name="connsiteY49" fmla="*/ 347675 h 1046508"/>
                  <a:gd name="connsiteX50" fmla="*/ 1200471 w 1200744"/>
                  <a:gd name="connsiteY50" fmla="*/ 381525 h 1046508"/>
                  <a:gd name="connsiteX51" fmla="*/ 1200470 w 1200744"/>
                  <a:gd name="connsiteY51" fmla="*/ 381526 h 1046508"/>
                  <a:gd name="connsiteX52" fmla="*/ 1166620 w 1200744"/>
                  <a:gd name="connsiteY52" fmla="*/ 424503 h 1046508"/>
                  <a:gd name="connsiteX53" fmla="*/ 883444 w 1200744"/>
                  <a:gd name="connsiteY53" fmla="*/ 458146 h 1046508"/>
                  <a:gd name="connsiteX54" fmla="*/ 883444 w 1200744"/>
                  <a:gd name="connsiteY54" fmla="*/ 506141 h 1046508"/>
                  <a:gd name="connsiteX55" fmla="*/ 792956 w 1200744"/>
                  <a:gd name="connsiteY55" fmla="*/ 516892 h 1046508"/>
                  <a:gd name="connsiteX56" fmla="*/ 792956 w 1200744"/>
                  <a:gd name="connsiteY56" fmla="*/ 468897 h 1046508"/>
                  <a:gd name="connsiteX57" fmla="*/ 688181 w 1200744"/>
                  <a:gd name="connsiteY57" fmla="*/ 481345 h 1046508"/>
                  <a:gd name="connsiteX58" fmla="*/ 688181 w 1200744"/>
                  <a:gd name="connsiteY58" fmla="*/ 529340 h 1046508"/>
                  <a:gd name="connsiteX59" fmla="*/ 418176 w 1200744"/>
                  <a:gd name="connsiteY59" fmla="*/ 561418 h 1046508"/>
                  <a:gd name="connsiteX60" fmla="*/ 392350 w 1200744"/>
                  <a:gd name="connsiteY60" fmla="*/ 575897 h 1046508"/>
                  <a:gd name="connsiteX61" fmla="*/ 384326 w 1200744"/>
                  <a:gd name="connsiteY61" fmla="*/ 604396 h 1046508"/>
                  <a:gd name="connsiteX62" fmla="*/ 398804 w 1200744"/>
                  <a:gd name="connsiteY62" fmla="*/ 630221 h 1046508"/>
                  <a:gd name="connsiteX63" fmla="*/ 427304 w 1200744"/>
                  <a:gd name="connsiteY63" fmla="*/ 638245 h 1046508"/>
                  <a:gd name="connsiteX64" fmla="*/ 1104900 w 1200744"/>
                  <a:gd name="connsiteY64" fmla="*/ 557742 h 1046508"/>
                  <a:gd name="connsiteX65" fmla="*/ 1104900 w 1200744"/>
                  <a:gd name="connsiteY65" fmla="*/ 558713 h 1046508"/>
                  <a:gd name="connsiteX66" fmla="*/ 1157491 w 1200744"/>
                  <a:gd name="connsiteY66" fmla="*/ 552464 h 1046508"/>
                  <a:gd name="connsiteX67" fmla="*/ 1200469 w 1200744"/>
                  <a:gd name="connsiteY67" fmla="*/ 586314 h 1046508"/>
                  <a:gd name="connsiteX68" fmla="*/ 1200468 w 1200744"/>
                  <a:gd name="connsiteY68" fmla="*/ 586314 h 1046508"/>
                  <a:gd name="connsiteX69" fmla="*/ 1166618 w 1200744"/>
                  <a:gd name="connsiteY69" fmla="*/ 629292 h 1046508"/>
                  <a:gd name="connsiteX70" fmla="*/ 1104900 w 1200744"/>
                  <a:gd name="connsiteY70" fmla="*/ 636624 h 1046508"/>
                  <a:gd name="connsiteX71" fmla="*/ 1104900 w 1200744"/>
                  <a:gd name="connsiteY71" fmla="*/ 817908 h 1046508"/>
                  <a:gd name="connsiteX72" fmla="*/ 971550 w 1200744"/>
                  <a:gd name="connsiteY72" fmla="*/ 946496 h 1046508"/>
                  <a:gd name="connsiteX73" fmla="*/ 752889 w 1200744"/>
                  <a:gd name="connsiteY73" fmla="*/ 946496 h 1046508"/>
                  <a:gd name="connsiteX74" fmla="*/ 749140 w 1200744"/>
                  <a:gd name="connsiteY74" fmla="*/ 965065 h 1046508"/>
                  <a:gd name="connsiteX75" fmla="*/ 626271 w 1200744"/>
                  <a:gd name="connsiteY75" fmla="*/ 1046508 h 1046508"/>
                  <a:gd name="connsiteX76" fmla="*/ 533770 w 1200744"/>
                  <a:gd name="connsiteY76" fmla="*/ 1046508 h 1046508"/>
                  <a:gd name="connsiteX77" fmla="*/ 410901 w 1200744"/>
                  <a:gd name="connsiteY77" fmla="*/ 965065 h 1046508"/>
                  <a:gd name="connsiteX78" fmla="*/ 407153 w 1200744"/>
                  <a:gd name="connsiteY78" fmla="*/ 946496 h 1046508"/>
                  <a:gd name="connsiteX79" fmla="*/ 190500 w 1200744"/>
                  <a:gd name="connsiteY79" fmla="*/ 946496 h 1046508"/>
                  <a:gd name="connsiteX80" fmla="*/ 59532 w 1200744"/>
                  <a:gd name="connsiteY80" fmla="*/ 825052 h 1046508"/>
                  <a:gd name="connsiteX81" fmla="*/ 59432 w 1200744"/>
                  <a:gd name="connsiteY81" fmla="*/ 710643 h 1046508"/>
                  <a:gd name="connsiteX82" fmla="*/ 48816 w 1200744"/>
                  <a:gd name="connsiteY82" fmla="*/ 710643 h 1046508"/>
                  <a:gd name="connsiteX83" fmla="*/ 14298 w 1200744"/>
                  <a:gd name="connsiteY83" fmla="*/ 696345 h 1046508"/>
                  <a:gd name="connsiteX84" fmla="*/ 0 w 1200744"/>
                  <a:gd name="connsiteY84" fmla="*/ 661828 h 1046508"/>
                  <a:gd name="connsiteX85" fmla="*/ 14298 w 1200744"/>
                  <a:gd name="connsiteY85" fmla="*/ 627310 h 1046508"/>
                  <a:gd name="connsiteX86" fmla="*/ 48816 w 1200744"/>
                  <a:gd name="connsiteY86" fmla="*/ 613012 h 1046508"/>
                  <a:gd name="connsiteX87" fmla="*/ 59346 w 1200744"/>
                  <a:gd name="connsiteY87" fmla="*/ 613012 h 1046508"/>
                  <a:gd name="connsiteX88" fmla="*/ 59247 w 1200744"/>
                  <a:gd name="connsiteY88" fmla="*/ 501147 h 1046508"/>
                  <a:gd name="connsiteX89" fmla="*/ 48816 w 1200744"/>
                  <a:gd name="connsiteY89" fmla="*/ 501147 h 1046508"/>
                  <a:gd name="connsiteX90" fmla="*/ 14298 w 1200744"/>
                  <a:gd name="connsiteY90" fmla="*/ 486849 h 1046508"/>
                  <a:gd name="connsiteX91" fmla="*/ 0 w 1200744"/>
                  <a:gd name="connsiteY91" fmla="*/ 452332 h 1046508"/>
                  <a:gd name="connsiteX92" fmla="*/ 14298 w 1200744"/>
                  <a:gd name="connsiteY92" fmla="*/ 417814 h 1046508"/>
                  <a:gd name="connsiteX93" fmla="*/ 48816 w 1200744"/>
                  <a:gd name="connsiteY93" fmla="*/ 403516 h 1046508"/>
                  <a:gd name="connsiteX94" fmla="*/ 59161 w 1200744"/>
                  <a:gd name="connsiteY94" fmla="*/ 403516 h 1046508"/>
                  <a:gd name="connsiteX95" fmla="*/ 59063 w 1200744"/>
                  <a:gd name="connsiteY95" fmla="*/ 291651 h 1046508"/>
                  <a:gd name="connsiteX96" fmla="*/ 48816 w 1200744"/>
                  <a:gd name="connsiteY96" fmla="*/ 291651 h 1046508"/>
                  <a:gd name="connsiteX97" fmla="*/ 14298 w 1200744"/>
                  <a:gd name="connsiteY97" fmla="*/ 277353 h 1046508"/>
                  <a:gd name="connsiteX98" fmla="*/ 0 w 1200744"/>
                  <a:gd name="connsiteY98" fmla="*/ 242836 h 1046508"/>
                  <a:gd name="connsiteX99" fmla="*/ 14298 w 1200744"/>
                  <a:gd name="connsiteY99" fmla="*/ 208318 h 1046508"/>
                  <a:gd name="connsiteX100" fmla="*/ 48816 w 1200744"/>
                  <a:gd name="connsiteY100" fmla="*/ 194020 h 1046508"/>
                  <a:gd name="connsiteX101" fmla="*/ 58977 w 1200744"/>
                  <a:gd name="connsiteY101" fmla="*/ 194020 h 1046508"/>
                  <a:gd name="connsiteX102" fmla="*/ 58806 w 1200744"/>
                  <a:gd name="connsiteY102"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1157493 w 1200744"/>
                  <a:gd name="connsiteY48" fmla="*/ 347675 h 1046508"/>
                  <a:gd name="connsiteX49" fmla="*/ 1200471 w 1200744"/>
                  <a:gd name="connsiteY49" fmla="*/ 381525 h 1046508"/>
                  <a:gd name="connsiteX50" fmla="*/ 1200470 w 1200744"/>
                  <a:gd name="connsiteY50" fmla="*/ 381526 h 1046508"/>
                  <a:gd name="connsiteX51" fmla="*/ 1166620 w 1200744"/>
                  <a:gd name="connsiteY51" fmla="*/ 424503 h 1046508"/>
                  <a:gd name="connsiteX52" fmla="*/ 883444 w 1200744"/>
                  <a:gd name="connsiteY52" fmla="*/ 458146 h 1046508"/>
                  <a:gd name="connsiteX53" fmla="*/ 883444 w 1200744"/>
                  <a:gd name="connsiteY53" fmla="*/ 506141 h 1046508"/>
                  <a:gd name="connsiteX54" fmla="*/ 792956 w 1200744"/>
                  <a:gd name="connsiteY54" fmla="*/ 516892 h 1046508"/>
                  <a:gd name="connsiteX55" fmla="*/ 792956 w 1200744"/>
                  <a:gd name="connsiteY55" fmla="*/ 468897 h 1046508"/>
                  <a:gd name="connsiteX56" fmla="*/ 688181 w 1200744"/>
                  <a:gd name="connsiteY56" fmla="*/ 481345 h 1046508"/>
                  <a:gd name="connsiteX57" fmla="*/ 688181 w 1200744"/>
                  <a:gd name="connsiteY57" fmla="*/ 529340 h 1046508"/>
                  <a:gd name="connsiteX58" fmla="*/ 418176 w 1200744"/>
                  <a:gd name="connsiteY58" fmla="*/ 561418 h 1046508"/>
                  <a:gd name="connsiteX59" fmla="*/ 392350 w 1200744"/>
                  <a:gd name="connsiteY59" fmla="*/ 575897 h 1046508"/>
                  <a:gd name="connsiteX60" fmla="*/ 384326 w 1200744"/>
                  <a:gd name="connsiteY60" fmla="*/ 604396 h 1046508"/>
                  <a:gd name="connsiteX61" fmla="*/ 398804 w 1200744"/>
                  <a:gd name="connsiteY61" fmla="*/ 630221 h 1046508"/>
                  <a:gd name="connsiteX62" fmla="*/ 427304 w 1200744"/>
                  <a:gd name="connsiteY62" fmla="*/ 638245 h 1046508"/>
                  <a:gd name="connsiteX63" fmla="*/ 1104900 w 1200744"/>
                  <a:gd name="connsiteY63" fmla="*/ 557742 h 1046508"/>
                  <a:gd name="connsiteX64" fmla="*/ 1104900 w 1200744"/>
                  <a:gd name="connsiteY64" fmla="*/ 558713 h 1046508"/>
                  <a:gd name="connsiteX65" fmla="*/ 1157491 w 1200744"/>
                  <a:gd name="connsiteY65" fmla="*/ 552464 h 1046508"/>
                  <a:gd name="connsiteX66" fmla="*/ 1200469 w 1200744"/>
                  <a:gd name="connsiteY66" fmla="*/ 586314 h 1046508"/>
                  <a:gd name="connsiteX67" fmla="*/ 1200468 w 1200744"/>
                  <a:gd name="connsiteY67" fmla="*/ 586314 h 1046508"/>
                  <a:gd name="connsiteX68" fmla="*/ 1166618 w 1200744"/>
                  <a:gd name="connsiteY68" fmla="*/ 629292 h 1046508"/>
                  <a:gd name="connsiteX69" fmla="*/ 1104900 w 1200744"/>
                  <a:gd name="connsiteY69" fmla="*/ 636624 h 1046508"/>
                  <a:gd name="connsiteX70" fmla="*/ 1104900 w 1200744"/>
                  <a:gd name="connsiteY70" fmla="*/ 817908 h 1046508"/>
                  <a:gd name="connsiteX71" fmla="*/ 971550 w 1200744"/>
                  <a:gd name="connsiteY71" fmla="*/ 946496 h 1046508"/>
                  <a:gd name="connsiteX72" fmla="*/ 752889 w 1200744"/>
                  <a:gd name="connsiteY72" fmla="*/ 946496 h 1046508"/>
                  <a:gd name="connsiteX73" fmla="*/ 749140 w 1200744"/>
                  <a:gd name="connsiteY73" fmla="*/ 965065 h 1046508"/>
                  <a:gd name="connsiteX74" fmla="*/ 626271 w 1200744"/>
                  <a:gd name="connsiteY74" fmla="*/ 1046508 h 1046508"/>
                  <a:gd name="connsiteX75" fmla="*/ 533770 w 1200744"/>
                  <a:gd name="connsiteY75" fmla="*/ 1046508 h 1046508"/>
                  <a:gd name="connsiteX76" fmla="*/ 410901 w 1200744"/>
                  <a:gd name="connsiteY76" fmla="*/ 965065 h 1046508"/>
                  <a:gd name="connsiteX77" fmla="*/ 407153 w 1200744"/>
                  <a:gd name="connsiteY77" fmla="*/ 946496 h 1046508"/>
                  <a:gd name="connsiteX78" fmla="*/ 190500 w 1200744"/>
                  <a:gd name="connsiteY78" fmla="*/ 946496 h 1046508"/>
                  <a:gd name="connsiteX79" fmla="*/ 59532 w 1200744"/>
                  <a:gd name="connsiteY79" fmla="*/ 825052 h 1046508"/>
                  <a:gd name="connsiteX80" fmla="*/ 59432 w 1200744"/>
                  <a:gd name="connsiteY80" fmla="*/ 710643 h 1046508"/>
                  <a:gd name="connsiteX81" fmla="*/ 48816 w 1200744"/>
                  <a:gd name="connsiteY81" fmla="*/ 710643 h 1046508"/>
                  <a:gd name="connsiteX82" fmla="*/ 14298 w 1200744"/>
                  <a:gd name="connsiteY82" fmla="*/ 696345 h 1046508"/>
                  <a:gd name="connsiteX83" fmla="*/ 0 w 1200744"/>
                  <a:gd name="connsiteY83" fmla="*/ 661828 h 1046508"/>
                  <a:gd name="connsiteX84" fmla="*/ 14298 w 1200744"/>
                  <a:gd name="connsiteY84" fmla="*/ 627310 h 1046508"/>
                  <a:gd name="connsiteX85" fmla="*/ 48816 w 1200744"/>
                  <a:gd name="connsiteY85" fmla="*/ 613012 h 1046508"/>
                  <a:gd name="connsiteX86" fmla="*/ 59346 w 1200744"/>
                  <a:gd name="connsiteY86" fmla="*/ 613012 h 1046508"/>
                  <a:gd name="connsiteX87" fmla="*/ 59247 w 1200744"/>
                  <a:gd name="connsiteY87" fmla="*/ 501147 h 1046508"/>
                  <a:gd name="connsiteX88" fmla="*/ 48816 w 1200744"/>
                  <a:gd name="connsiteY88" fmla="*/ 501147 h 1046508"/>
                  <a:gd name="connsiteX89" fmla="*/ 14298 w 1200744"/>
                  <a:gd name="connsiteY89" fmla="*/ 486849 h 1046508"/>
                  <a:gd name="connsiteX90" fmla="*/ 0 w 1200744"/>
                  <a:gd name="connsiteY90" fmla="*/ 452332 h 1046508"/>
                  <a:gd name="connsiteX91" fmla="*/ 14298 w 1200744"/>
                  <a:gd name="connsiteY91" fmla="*/ 417814 h 1046508"/>
                  <a:gd name="connsiteX92" fmla="*/ 48816 w 1200744"/>
                  <a:gd name="connsiteY92" fmla="*/ 403516 h 1046508"/>
                  <a:gd name="connsiteX93" fmla="*/ 59161 w 1200744"/>
                  <a:gd name="connsiteY93" fmla="*/ 403516 h 1046508"/>
                  <a:gd name="connsiteX94" fmla="*/ 59063 w 1200744"/>
                  <a:gd name="connsiteY94" fmla="*/ 291651 h 1046508"/>
                  <a:gd name="connsiteX95" fmla="*/ 48816 w 1200744"/>
                  <a:gd name="connsiteY95" fmla="*/ 291651 h 1046508"/>
                  <a:gd name="connsiteX96" fmla="*/ 14298 w 1200744"/>
                  <a:gd name="connsiteY96" fmla="*/ 277353 h 1046508"/>
                  <a:gd name="connsiteX97" fmla="*/ 0 w 1200744"/>
                  <a:gd name="connsiteY97" fmla="*/ 242836 h 1046508"/>
                  <a:gd name="connsiteX98" fmla="*/ 14298 w 1200744"/>
                  <a:gd name="connsiteY98" fmla="*/ 208318 h 1046508"/>
                  <a:gd name="connsiteX99" fmla="*/ 48816 w 1200744"/>
                  <a:gd name="connsiteY99" fmla="*/ 194020 h 1046508"/>
                  <a:gd name="connsiteX100" fmla="*/ 58977 w 1200744"/>
                  <a:gd name="connsiteY100" fmla="*/ 194020 h 1046508"/>
                  <a:gd name="connsiteX101" fmla="*/ 58806 w 1200744"/>
                  <a:gd name="connsiteY101"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1157493 w 1200744"/>
                  <a:gd name="connsiteY47" fmla="*/ 347675 h 1046508"/>
                  <a:gd name="connsiteX48" fmla="*/ 1200471 w 1200744"/>
                  <a:gd name="connsiteY48" fmla="*/ 381525 h 1046508"/>
                  <a:gd name="connsiteX49" fmla="*/ 1200470 w 1200744"/>
                  <a:gd name="connsiteY49" fmla="*/ 381526 h 1046508"/>
                  <a:gd name="connsiteX50" fmla="*/ 1166620 w 1200744"/>
                  <a:gd name="connsiteY50" fmla="*/ 424503 h 1046508"/>
                  <a:gd name="connsiteX51" fmla="*/ 883444 w 1200744"/>
                  <a:gd name="connsiteY51" fmla="*/ 458146 h 1046508"/>
                  <a:gd name="connsiteX52" fmla="*/ 883444 w 1200744"/>
                  <a:gd name="connsiteY52" fmla="*/ 506141 h 1046508"/>
                  <a:gd name="connsiteX53" fmla="*/ 792956 w 1200744"/>
                  <a:gd name="connsiteY53" fmla="*/ 516892 h 1046508"/>
                  <a:gd name="connsiteX54" fmla="*/ 792956 w 1200744"/>
                  <a:gd name="connsiteY54" fmla="*/ 468897 h 1046508"/>
                  <a:gd name="connsiteX55" fmla="*/ 688181 w 1200744"/>
                  <a:gd name="connsiteY55" fmla="*/ 481345 h 1046508"/>
                  <a:gd name="connsiteX56" fmla="*/ 688181 w 1200744"/>
                  <a:gd name="connsiteY56" fmla="*/ 529340 h 1046508"/>
                  <a:gd name="connsiteX57" fmla="*/ 418176 w 1200744"/>
                  <a:gd name="connsiteY57" fmla="*/ 561418 h 1046508"/>
                  <a:gd name="connsiteX58" fmla="*/ 392350 w 1200744"/>
                  <a:gd name="connsiteY58" fmla="*/ 575897 h 1046508"/>
                  <a:gd name="connsiteX59" fmla="*/ 384326 w 1200744"/>
                  <a:gd name="connsiteY59" fmla="*/ 604396 h 1046508"/>
                  <a:gd name="connsiteX60" fmla="*/ 398804 w 1200744"/>
                  <a:gd name="connsiteY60" fmla="*/ 630221 h 1046508"/>
                  <a:gd name="connsiteX61" fmla="*/ 427304 w 1200744"/>
                  <a:gd name="connsiteY61" fmla="*/ 638245 h 1046508"/>
                  <a:gd name="connsiteX62" fmla="*/ 1104900 w 1200744"/>
                  <a:gd name="connsiteY62" fmla="*/ 557742 h 1046508"/>
                  <a:gd name="connsiteX63" fmla="*/ 1104900 w 1200744"/>
                  <a:gd name="connsiteY63" fmla="*/ 558713 h 1046508"/>
                  <a:gd name="connsiteX64" fmla="*/ 1157491 w 1200744"/>
                  <a:gd name="connsiteY64" fmla="*/ 552464 h 1046508"/>
                  <a:gd name="connsiteX65" fmla="*/ 1200469 w 1200744"/>
                  <a:gd name="connsiteY65" fmla="*/ 586314 h 1046508"/>
                  <a:gd name="connsiteX66" fmla="*/ 1200468 w 1200744"/>
                  <a:gd name="connsiteY66" fmla="*/ 586314 h 1046508"/>
                  <a:gd name="connsiteX67" fmla="*/ 1166618 w 1200744"/>
                  <a:gd name="connsiteY67" fmla="*/ 629292 h 1046508"/>
                  <a:gd name="connsiteX68" fmla="*/ 1104900 w 1200744"/>
                  <a:gd name="connsiteY68" fmla="*/ 636624 h 1046508"/>
                  <a:gd name="connsiteX69" fmla="*/ 1104900 w 1200744"/>
                  <a:gd name="connsiteY69" fmla="*/ 817908 h 1046508"/>
                  <a:gd name="connsiteX70" fmla="*/ 971550 w 1200744"/>
                  <a:gd name="connsiteY70" fmla="*/ 946496 h 1046508"/>
                  <a:gd name="connsiteX71" fmla="*/ 752889 w 1200744"/>
                  <a:gd name="connsiteY71" fmla="*/ 946496 h 1046508"/>
                  <a:gd name="connsiteX72" fmla="*/ 749140 w 1200744"/>
                  <a:gd name="connsiteY72" fmla="*/ 965065 h 1046508"/>
                  <a:gd name="connsiteX73" fmla="*/ 626271 w 1200744"/>
                  <a:gd name="connsiteY73" fmla="*/ 1046508 h 1046508"/>
                  <a:gd name="connsiteX74" fmla="*/ 533770 w 1200744"/>
                  <a:gd name="connsiteY74" fmla="*/ 1046508 h 1046508"/>
                  <a:gd name="connsiteX75" fmla="*/ 410901 w 1200744"/>
                  <a:gd name="connsiteY75" fmla="*/ 965065 h 1046508"/>
                  <a:gd name="connsiteX76" fmla="*/ 407153 w 1200744"/>
                  <a:gd name="connsiteY76" fmla="*/ 946496 h 1046508"/>
                  <a:gd name="connsiteX77" fmla="*/ 190500 w 1200744"/>
                  <a:gd name="connsiteY77" fmla="*/ 946496 h 1046508"/>
                  <a:gd name="connsiteX78" fmla="*/ 59532 w 1200744"/>
                  <a:gd name="connsiteY78" fmla="*/ 825052 h 1046508"/>
                  <a:gd name="connsiteX79" fmla="*/ 59432 w 1200744"/>
                  <a:gd name="connsiteY79" fmla="*/ 710643 h 1046508"/>
                  <a:gd name="connsiteX80" fmla="*/ 48816 w 1200744"/>
                  <a:gd name="connsiteY80" fmla="*/ 710643 h 1046508"/>
                  <a:gd name="connsiteX81" fmla="*/ 14298 w 1200744"/>
                  <a:gd name="connsiteY81" fmla="*/ 696345 h 1046508"/>
                  <a:gd name="connsiteX82" fmla="*/ 0 w 1200744"/>
                  <a:gd name="connsiteY82" fmla="*/ 661828 h 1046508"/>
                  <a:gd name="connsiteX83" fmla="*/ 14298 w 1200744"/>
                  <a:gd name="connsiteY83" fmla="*/ 627310 h 1046508"/>
                  <a:gd name="connsiteX84" fmla="*/ 48816 w 1200744"/>
                  <a:gd name="connsiteY84" fmla="*/ 613012 h 1046508"/>
                  <a:gd name="connsiteX85" fmla="*/ 59346 w 1200744"/>
                  <a:gd name="connsiteY85" fmla="*/ 613012 h 1046508"/>
                  <a:gd name="connsiteX86" fmla="*/ 59247 w 1200744"/>
                  <a:gd name="connsiteY86" fmla="*/ 501147 h 1046508"/>
                  <a:gd name="connsiteX87" fmla="*/ 48816 w 1200744"/>
                  <a:gd name="connsiteY87" fmla="*/ 501147 h 1046508"/>
                  <a:gd name="connsiteX88" fmla="*/ 14298 w 1200744"/>
                  <a:gd name="connsiteY88" fmla="*/ 486849 h 1046508"/>
                  <a:gd name="connsiteX89" fmla="*/ 0 w 1200744"/>
                  <a:gd name="connsiteY89" fmla="*/ 452332 h 1046508"/>
                  <a:gd name="connsiteX90" fmla="*/ 14298 w 1200744"/>
                  <a:gd name="connsiteY90" fmla="*/ 417814 h 1046508"/>
                  <a:gd name="connsiteX91" fmla="*/ 48816 w 1200744"/>
                  <a:gd name="connsiteY91" fmla="*/ 403516 h 1046508"/>
                  <a:gd name="connsiteX92" fmla="*/ 59161 w 1200744"/>
                  <a:gd name="connsiteY92" fmla="*/ 403516 h 1046508"/>
                  <a:gd name="connsiteX93" fmla="*/ 59063 w 1200744"/>
                  <a:gd name="connsiteY93" fmla="*/ 291651 h 1046508"/>
                  <a:gd name="connsiteX94" fmla="*/ 48816 w 1200744"/>
                  <a:gd name="connsiteY94" fmla="*/ 291651 h 1046508"/>
                  <a:gd name="connsiteX95" fmla="*/ 14298 w 1200744"/>
                  <a:gd name="connsiteY95" fmla="*/ 277353 h 1046508"/>
                  <a:gd name="connsiteX96" fmla="*/ 0 w 1200744"/>
                  <a:gd name="connsiteY96" fmla="*/ 242836 h 1046508"/>
                  <a:gd name="connsiteX97" fmla="*/ 14298 w 1200744"/>
                  <a:gd name="connsiteY97" fmla="*/ 208318 h 1046508"/>
                  <a:gd name="connsiteX98" fmla="*/ 48816 w 1200744"/>
                  <a:gd name="connsiteY98" fmla="*/ 194020 h 1046508"/>
                  <a:gd name="connsiteX99" fmla="*/ 58977 w 1200744"/>
                  <a:gd name="connsiteY99" fmla="*/ 194020 h 1046508"/>
                  <a:gd name="connsiteX100" fmla="*/ 58806 w 1200744"/>
                  <a:gd name="connsiteY100"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1157493 w 1200744"/>
                  <a:gd name="connsiteY46" fmla="*/ 347675 h 1046508"/>
                  <a:gd name="connsiteX47" fmla="*/ 1200471 w 1200744"/>
                  <a:gd name="connsiteY47" fmla="*/ 381525 h 1046508"/>
                  <a:gd name="connsiteX48" fmla="*/ 1200470 w 1200744"/>
                  <a:gd name="connsiteY48" fmla="*/ 381526 h 1046508"/>
                  <a:gd name="connsiteX49" fmla="*/ 1166620 w 1200744"/>
                  <a:gd name="connsiteY49" fmla="*/ 424503 h 1046508"/>
                  <a:gd name="connsiteX50" fmla="*/ 883444 w 1200744"/>
                  <a:gd name="connsiteY50" fmla="*/ 458146 h 1046508"/>
                  <a:gd name="connsiteX51" fmla="*/ 883444 w 1200744"/>
                  <a:gd name="connsiteY51" fmla="*/ 506141 h 1046508"/>
                  <a:gd name="connsiteX52" fmla="*/ 792956 w 1200744"/>
                  <a:gd name="connsiteY52" fmla="*/ 516892 h 1046508"/>
                  <a:gd name="connsiteX53" fmla="*/ 792956 w 1200744"/>
                  <a:gd name="connsiteY53" fmla="*/ 468897 h 1046508"/>
                  <a:gd name="connsiteX54" fmla="*/ 688181 w 1200744"/>
                  <a:gd name="connsiteY54" fmla="*/ 481345 h 1046508"/>
                  <a:gd name="connsiteX55" fmla="*/ 688181 w 1200744"/>
                  <a:gd name="connsiteY55" fmla="*/ 529340 h 1046508"/>
                  <a:gd name="connsiteX56" fmla="*/ 418176 w 1200744"/>
                  <a:gd name="connsiteY56" fmla="*/ 561418 h 1046508"/>
                  <a:gd name="connsiteX57" fmla="*/ 392350 w 1200744"/>
                  <a:gd name="connsiteY57" fmla="*/ 575897 h 1046508"/>
                  <a:gd name="connsiteX58" fmla="*/ 384326 w 1200744"/>
                  <a:gd name="connsiteY58" fmla="*/ 604396 h 1046508"/>
                  <a:gd name="connsiteX59" fmla="*/ 398804 w 1200744"/>
                  <a:gd name="connsiteY59" fmla="*/ 630221 h 1046508"/>
                  <a:gd name="connsiteX60" fmla="*/ 427304 w 1200744"/>
                  <a:gd name="connsiteY60" fmla="*/ 638245 h 1046508"/>
                  <a:gd name="connsiteX61" fmla="*/ 1104900 w 1200744"/>
                  <a:gd name="connsiteY61" fmla="*/ 557742 h 1046508"/>
                  <a:gd name="connsiteX62" fmla="*/ 1104900 w 1200744"/>
                  <a:gd name="connsiteY62" fmla="*/ 558713 h 1046508"/>
                  <a:gd name="connsiteX63" fmla="*/ 1157491 w 1200744"/>
                  <a:gd name="connsiteY63" fmla="*/ 552464 h 1046508"/>
                  <a:gd name="connsiteX64" fmla="*/ 1200469 w 1200744"/>
                  <a:gd name="connsiteY64" fmla="*/ 586314 h 1046508"/>
                  <a:gd name="connsiteX65" fmla="*/ 1200468 w 1200744"/>
                  <a:gd name="connsiteY65" fmla="*/ 586314 h 1046508"/>
                  <a:gd name="connsiteX66" fmla="*/ 1166618 w 1200744"/>
                  <a:gd name="connsiteY66" fmla="*/ 629292 h 1046508"/>
                  <a:gd name="connsiteX67" fmla="*/ 1104900 w 1200744"/>
                  <a:gd name="connsiteY67" fmla="*/ 636624 h 1046508"/>
                  <a:gd name="connsiteX68" fmla="*/ 1104900 w 1200744"/>
                  <a:gd name="connsiteY68" fmla="*/ 817908 h 1046508"/>
                  <a:gd name="connsiteX69" fmla="*/ 971550 w 1200744"/>
                  <a:gd name="connsiteY69" fmla="*/ 946496 h 1046508"/>
                  <a:gd name="connsiteX70" fmla="*/ 752889 w 1200744"/>
                  <a:gd name="connsiteY70" fmla="*/ 946496 h 1046508"/>
                  <a:gd name="connsiteX71" fmla="*/ 749140 w 1200744"/>
                  <a:gd name="connsiteY71" fmla="*/ 965065 h 1046508"/>
                  <a:gd name="connsiteX72" fmla="*/ 626271 w 1200744"/>
                  <a:gd name="connsiteY72" fmla="*/ 1046508 h 1046508"/>
                  <a:gd name="connsiteX73" fmla="*/ 533770 w 1200744"/>
                  <a:gd name="connsiteY73" fmla="*/ 1046508 h 1046508"/>
                  <a:gd name="connsiteX74" fmla="*/ 410901 w 1200744"/>
                  <a:gd name="connsiteY74" fmla="*/ 965065 h 1046508"/>
                  <a:gd name="connsiteX75" fmla="*/ 407153 w 1200744"/>
                  <a:gd name="connsiteY75" fmla="*/ 946496 h 1046508"/>
                  <a:gd name="connsiteX76" fmla="*/ 190500 w 1200744"/>
                  <a:gd name="connsiteY76" fmla="*/ 946496 h 1046508"/>
                  <a:gd name="connsiteX77" fmla="*/ 59532 w 1200744"/>
                  <a:gd name="connsiteY77" fmla="*/ 825052 h 1046508"/>
                  <a:gd name="connsiteX78" fmla="*/ 59432 w 1200744"/>
                  <a:gd name="connsiteY78" fmla="*/ 710643 h 1046508"/>
                  <a:gd name="connsiteX79" fmla="*/ 48816 w 1200744"/>
                  <a:gd name="connsiteY79" fmla="*/ 710643 h 1046508"/>
                  <a:gd name="connsiteX80" fmla="*/ 14298 w 1200744"/>
                  <a:gd name="connsiteY80" fmla="*/ 696345 h 1046508"/>
                  <a:gd name="connsiteX81" fmla="*/ 0 w 1200744"/>
                  <a:gd name="connsiteY81" fmla="*/ 661828 h 1046508"/>
                  <a:gd name="connsiteX82" fmla="*/ 14298 w 1200744"/>
                  <a:gd name="connsiteY82" fmla="*/ 627310 h 1046508"/>
                  <a:gd name="connsiteX83" fmla="*/ 48816 w 1200744"/>
                  <a:gd name="connsiteY83" fmla="*/ 613012 h 1046508"/>
                  <a:gd name="connsiteX84" fmla="*/ 59346 w 1200744"/>
                  <a:gd name="connsiteY84" fmla="*/ 613012 h 1046508"/>
                  <a:gd name="connsiteX85" fmla="*/ 59247 w 1200744"/>
                  <a:gd name="connsiteY85" fmla="*/ 501147 h 1046508"/>
                  <a:gd name="connsiteX86" fmla="*/ 48816 w 1200744"/>
                  <a:gd name="connsiteY86" fmla="*/ 501147 h 1046508"/>
                  <a:gd name="connsiteX87" fmla="*/ 14298 w 1200744"/>
                  <a:gd name="connsiteY87" fmla="*/ 486849 h 1046508"/>
                  <a:gd name="connsiteX88" fmla="*/ 0 w 1200744"/>
                  <a:gd name="connsiteY88" fmla="*/ 452332 h 1046508"/>
                  <a:gd name="connsiteX89" fmla="*/ 14298 w 1200744"/>
                  <a:gd name="connsiteY89" fmla="*/ 417814 h 1046508"/>
                  <a:gd name="connsiteX90" fmla="*/ 48816 w 1200744"/>
                  <a:gd name="connsiteY90" fmla="*/ 403516 h 1046508"/>
                  <a:gd name="connsiteX91" fmla="*/ 59161 w 1200744"/>
                  <a:gd name="connsiteY91" fmla="*/ 403516 h 1046508"/>
                  <a:gd name="connsiteX92" fmla="*/ 59063 w 1200744"/>
                  <a:gd name="connsiteY92" fmla="*/ 291651 h 1046508"/>
                  <a:gd name="connsiteX93" fmla="*/ 48816 w 1200744"/>
                  <a:gd name="connsiteY93" fmla="*/ 291651 h 1046508"/>
                  <a:gd name="connsiteX94" fmla="*/ 14298 w 1200744"/>
                  <a:gd name="connsiteY94" fmla="*/ 277353 h 1046508"/>
                  <a:gd name="connsiteX95" fmla="*/ 0 w 1200744"/>
                  <a:gd name="connsiteY95" fmla="*/ 242836 h 1046508"/>
                  <a:gd name="connsiteX96" fmla="*/ 14298 w 1200744"/>
                  <a:gd name="connsiteY96" fmla="*/ 208318 h 1046508"/>
                  <a:gd name="connsiteX97" fmla="*/ 48816 w 1200744"/>
                  <a:gd name="connsiteY97" fmla="*/ 194020 h 1046508"/>
                  <a:gd name="connsiteX98" fmla="*/ 58977 w 1200744"/>
                  <a:gd name="connsiteY98" fmla="*/ 194020 h 1046508"/>
                  <a:gd name="connsiteX99" fmla="*/ 58806 w 1200744"/>
                  <a:gd name="connsiteY99"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83444 w 1200744"/>
                  <a:gd name="connsiteY34" fmla="*/ 235459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1157493 w 1200744"/>
                  <a:gd name="connsiteY45" fmla="*/ 347675 h 1046508"/>
                  <a:gd name="connsiteX46" fmla="*/ 1200471 w 1200744"/>
                  <a:gd name="connsiteY46" fmla="*/ 381525 h 1046508"/>
                  <a:gd name="connsiteX47" fmla="*/ 1200470 w 1200744"/>
                  <a:gd name="connsiteY47" fmla="*/ 381526 h 1046508"/>
                  <a:gd name="connsiteX48" fmla="*/ 1166620 w 1200744"/>
                  <a:gd name="connsiteY48" fmla="*/ 424503 h 1046508"/>
                  <a:gd name="connsiteX49" fmla="*/ 883444 w 1200744"/>
                  <a:gd name="connsiteY49" fmla="*/ 458146 h 1046508"/>
                  <a:gd name="connsiteX50" fmla="*/ 883444 w 1200744"/>
                  <a:gd name="connsiteY50" fmla="*/ 506141 h 1046508"/>
                  <a:gd name="connsiteX51" fmla="*/ 792956 w 1200744"/>
                  <a:gd name="connsiteY51" fmla="*/ 516892 h 1046508"/>
                  <a:gd name="connsiteX52" fmla="*/ 792956 w 1200744"/>
                  <a:gd name="connsiteY52" fmla="*/ 468897 h 1046508"/>
                  <a:gd name="connsiteX53" fmla="*/ 688181 w 1200744"/>
                  <a:gd name="connsiteY53" fmla="*/ 481345 h 1046508"/>
                  <a:gd name="connsiteX54" fmla="*/ 688181 w 1200744"/>
                  <a:gd name="connsiteY54" fmla="*/ 529340 h 1046508"/>
                  <a:gd name="connsiteX55" fmla="*/ 418176 w 1200744"/>
                  <a:gd name="connsiteY55" fmla="*/ 561418 h 1046508"/>
                  <a:gd name="connsiteX56" fmla="*/ 392350 w 1200744"/>
                  <a:gd name="connsiteY56" fmla="*/ 575897 h 1046508"/>
                  <a:gd name="connsiteX57" fmla="*/ 384326 w 1200744"/>
                  <a:gd name="connsiteY57" fmla="*/ 604396 h 1046508"/>
                  <a:gd name="connsiteX58" fmla="*/ 398804 w 1200744"/>
                  <a:gd name="connsiteY58" fmla="*/ 630221 h 1046508"/>
                  <a:gd name="connsiteX59" fmla="*/ 427304 w 1200744"/>
                  <a:gd name="connsiteY59" fmla="*/ 638245 h 1046508"/>
                  <a:gd name="connsiteX60" fmla="*/ 1104900 w 1200744"/>
                  <a:gd name="connsiteY60" fmla="*/ 557742 h 1046508"/>
                  <a:gd name="connsiteX61" fmla="*/ 1104900 w 1200744"/>
                  <a:gd name="connsiteY61" fmla="*/ 558713 h 1046508"/>
                  <a:gd name="connsiteX62" fmla="*/ 1157491 w 1200744"/>
                  <a:gd name="connsiteY62" fmla="*/ 552464 h 1046508"/>
                  <a:gd name="connsiteX63" fmla="*/ 1200469 w 1200744"/>
                  <a:gd name="connsiteY63" fmla="*/ 586314 h 1046508"/>
                  <a:gd name="connsiteX64" fmla="*/ 1200468 w 1200744"/>
                  <a:gd name="connsiteY64" fmla="*/ 586314 h 1046508"/>
                  <a:gd name="connsiteX65" fmla="*/ 1166618 w 1200744"/>
                  <a:gd name="connsiteY65" fmla="*/ 629292 h 1046508"/>
                  <a:gd name="connsiteX66" fmla="*/ 1104900 w 1200744"/>
                  <a:gd name="connsiteY66" fmla="*/ 636624 h 1046508"/>
                  <a:gd name="connsiteX67" fmla="*/ 1104900 w 1200744"/>
                  <a:gd name="connsiteY67" fmla="*/ 817908 h 1046508"/>
                  <a:gd name="connsiteX68" fmla="*/ 971550 w 1200744"/>
                  <a:gd name="connsiteY68" fmla="*/ 946496 h 1046508"/>
                  <a:gd name="connsiteX69" fmla="*/ 752889 w 1200744"/>
                  <a:gd name="connsiteY69" fmla="*/ 946496 h 1046508"/>
                  <a:gd name="connsiteX70" fmla="*/ 749140 w 1200744"/>
                  <a:gd name="connsiteY70" fmla="*/ 965065 h 1046508"/>
                  <a:gd name="connsiteX71" fmla="*/ 626271 w 1200744"/>
                  <a:gd name="connsiteY71" fmla="*/ 1046508 h 1046508"/>
                  <a:gd name="connsiteX72" fmla="*/ 533770 w 1200744"/>
                  <a:gd name="connsiteY72" fmla="*/ 1046508 h 1046508"/>
                  <a:gd name="connsiteX73" fmla="*/ 410901 w 1200744"/>
                  <a:gd name="connsiteY73" fmla="*/ 965065 h 1046508"/>
                  <a:gd name="connsiteX74" fmla="*/ 407153 w 1200744"/>
                  <a:gd name="connsiteY74" fmla="*/ 946496 h 1046508"/>
                  <a:gd name="connsiteX75" fmla="*/ 190500 w 1200744"/>
                  <a:gd name="connsiteY75" fmla="*/ 946496 h 1046508"/>
                  <a:gd name="connsiteX76" fmla="*/ 59532 w 1200744"/>
                  <a:gd name="connsiteY76" fmla="*/ 825052 h 1046508"/>
                  <a:gd name="connsiteX77" fmla="*/ 59432 w 1200744"/>
                  <a:gd name="connsiteY77" fmla="*/ 710643 h 1046508"/>
                  <a:gd name="connsiteX78" fmla="*/ 48816 w 1200744"/>
                  <a:gd name="connsiteY78" fmla="*/ 710643 h 1046508"/>
                  <a:gd name="connsiteX79" fmla="*/ 14298 w 1200744"/>
                  <a:gd name="connsiteY79" fmla="*/ 696345 h 1046508"/>
                  <a:gd name="connsiteX80" fmla="*/ 0 w 1200744"/>
                  <a:gd name="connsiteY80" fmla="*/ 661828 h 1046508"/>
                  <a:gd name="connsiteX81" fmla="*/ 14298 w 1200744"/>
                  <a:gd name="connsiteY81" fmla="*/ 627310 h 1046508"/>
                  <a:gd name="connsiteX82" fmla="*/ 48816 w 1200744"/>
                  <a:gd name="connsiteY82" fmla="*/ 613012 h 1046508"/>
                  <a:gd name="connsiteX83" fmla="*/ 59346 w 1200744"/>
                  <a:gd name="connsiteY83" fmla="*/ 613012 h 1046508"/>
                  <a:gd name="connsiteX84" fmla="*/ 59247 w 1200744"/>
                  <a:gd name="connsiteY84" fmla="*/ 501147 h 1046508"/>
                  <a:gd name="connsiteX85" fmla="*/ 48816 w 1200744"/>
                  <a:gd name="connsiteY85" fmla="*/ 501147 h 1046508"/>
                  <a:gd name="connsiteX86" fmla="*/ 14298 w 1200744"/>
                  <a:gd name="connsiteY86" fmla="*/ 486849 h 1046508"/>
                  <a:gd name="connsiteX87" fmla="*/ 0 w 1200744"/>
                  <a:gd name="connsiteY87" fmla="*/ 452332 h 1046508"/>
                  <a:gd name="connsiteX88" fmla="*/ 14298 w 1200744"/>
                  <a:gd name="connsiteY88" fmla="*/ 417814 h 1046508"/>
                  <a:gd name="connsiteX89" fmla="*/ 48816 w 1200744"/>
                  <a:gd name="connsiteY89" fmla="*/ 403516 h 1046508"/>
                  <a:gd name="connsiteX90" fmla="*/ 59161 w 1200744"/>
                  <a:gd name="connsiteY90" fmla="*/ 403516 h 1046508"/>
                  <a:gd name="connsiteX91" fmla="*/ 59063 w 1200744"/>
                  <a:gd name="connsiteY91" fmla="*/ 291651 h 1046508"/>
                  <a:gd name="connsiteX92" fmla="*/ 48816 w 1200744"/>
                  <a:gd name="connsiteY92" fmla="*/ 291651 h 1046508"/>
                  <a:gd name="connsiteX93" fmla="*/ 14298 w 1200744"/>
                  <a:gd name="connsiteY93" fmla="*/ 277353 h 1046508"/>
                  <a:gd name="connsiteX94" fmla="*/ 0 w 1200744"/>
                  <a:gd name="connsiteY94" fmla="*/ 242836 h 1046508"/>
                  <a:gd name="connsiteX95" fmla="*/ 14298 w 1200744"/>
                  <a:gd name="connsiteY95" fmla="*/ 208318 h 1046508"/>
                  <a:gd name="connsiteX96" fmla="*/ 48816 w 1200744"/>
                  <a:gd name="connsiteY96" fmla="*/ 194020 h 1046508"/>
                  <a:gd name="connsiteX97" fmla="*/ 58977 w 1200744"/>
                  <a:gd name="connsiteY97" fmla="*/ 194020 h 1046508"/>
                  <a:gd name="connsiteX98" fmla="*/ 58806 w 1200744"/>
                  <a:gd name="connsiteY98"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78682 w 1200744"/>
                  <a:gd name="connsiteY34" fmla="*/ 240221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1157493 w 1200744"/>
                  <a:gd name="connsiteY45" fmla="*/ 347675 h 1046508"/>
                  <a:gd name="connsiteX46" fmla="*/ 1200471 w 1200744"/>
                  <a:gd name="connsiteY46" fmla="*/ 381525 h 1046508"/>
                  <a:gd name="connsiteX47" fmla="*/ 1200470 w 1200744"/>
                  <a:gd name="connsiteY47" fmla="*/ 381526 h 1046508"/>
                  <a:gd name="connsiteX48" fmla="*/ 1166620 w 1200744"/>
                  <a:gd name="connsiteY48" fmla="*/ 424503 h 1046508"/>
                  <a:gd name="connsiteX49" fmla="*/ 883444 w 1200744"/>
                  <a:gd name="connsiteY49" fmla="*/ 458146 h 1046508"/>
                  <a:gd name="connsiteX50" fmla="*/ 883444 w 1200744"/>
                  <a:gd name="connsiteY50" fmla="*/ 506141 h 1046508"/>
                  <a:gd name="connsiteX51" fmla="*/ 792956 w 1200744"/>
                  <a:gd name="connsiteY51" fmla="*/ 516892 h 1046508"/>
                  <a:gd name="connsiteX52" fmla="*/ 792956 w 1200744"/>
                  <a:gd name="connsiteY52" fmla="*/ 468897 h 1046508"/>
                  <a:gd name="connsiteX53" fmla="*/ 688181 w 1200744"/>
                  <a:gd name="connsiteY53" fmla="*/ 481345 h 1046508"/>
                  <a:gd name="connsiteX54" fmla="*/ 688181 w 1200744"/>
                  <a:gd name="connsiteY54" fmla="*/ 529340 h 1046508"/>
                  <a:gd name="connsiteX55" fmla="*/ 418176 w 1200744"/>
                  <a:gd name="connsiteY55" fmla="*/ 561418 h 1046508"/>
                  <a:gd name="connsiteX56" fmla="*/ 392350 w 1200744"/>
                  <a:gd name="connsiteY56" fmla="*/ 575897 h 1046508"/>
                  <a:gd name="connsiteX57" fmla="*/ 384326 w 1200744"/>
                  <a:gd name="connsiteY57" fmla="*/ 604396 h 1046508"/>
                  <a:gd name="connsiteX58" fmla="*/ 398804 w 1200744"/>
                  <a:gd name="connsiteY58" fmla="*/ 630221 h 1046508"/>
                  <a:gd name="connsiteX59" fmla="*/ 427304 w 1200744"/>
                  <a:gd name="connsiteY59" fmla="*/ 638245 h 1046508"/>
                  <a:gd name="connsiteX60" fmla="*/ 1104900 w 1200744"/>
                  <a:gd name="connsiteY60" fmla="*/ 557742 h 1046508"/>
                  <a:gd name="connsiteX61" fmla="*/ 1104900 w 1200744"/>
                  <a:gd name="connsiteY61" fmla="*/ 558713 h 1046508"/>
                  <a:gd name="connsiteX62" fmla="*/ 1157491 w 1200744"/>
                  <a:gd name="connsiteY62" fmla="*/ 552464 h 1046508"/>
                  <a:gd name="connsiteX63" fmla="*/ 1200469 w 1200744"/>
                  <a:gd name="connsiteY63" fmla="*/ 586314 h 1046508"/>
                  <a:gd name="connsiteX64" fmla="*/ 1200468 w 1200744"/>
                  <a:gd name="connsiteY64" fmla="*/ 586314 h 1046508"/>
                  <a:gd name="connsiteX65" fmla="*/ 1166618 w 1200744"/>
                  <a:gd name="connsiteY65" fmla="*/ 629292 h 1046508"/>
                  <a:gd name="connsiteX66" fmla="*/ 1104900 w 1200744"/>
                  <a:gd name="connsiteY66" fmla="*/ 636624 h 1046508"/>
                  <a:gd name="connsiteX67" fmla="*/ 1104900 w 1200744"/>
                  <a:gd name="connsiteY67" fmla="*/ 817908 h 1046508"/>
                  <a:gd name="connsiteX68" fmla="*/ 971550 w 1200744"/>
                  <a:gd name="connsiteY68" fmla="*/ 946496 h 1046508"/>
                  <a:gd name="connsiteX69" fmla="*/ 752889 w 1200744"/>
                  <a:gd name="connsiteY69" fmla="*/ 946496 h 1046508"/>
                  <a:gd name="connsiteX70" fmla="*/ 749140 w 1200744"/>
                  <a:gd name="connsiteY70" fmla="*/ 965065 h 1046508"/>
                  <a:gd name="connsiteX71" fmla="*/ 626271 w 1200744"/>
                  <a:gd name="connsiteY71" fmla="*/ 1046508 h 1046508"/>
                  <a:gd name="connsiteX72" fmla="*/ 533770 w 1200744"/>
                  <a:gd name="connsiteY72" fmla="*/ 1046508 h 1046508"/>
                  <a:gd name="connsiteX73" fmla="*/ 410901 w 1200744"/>
                  <a:gd name="connsiteY73" fmla="*/ 965065 h 1046508"/>
                  <a:gd name="connsiteX74" fmla="*/ 407153 w 1200744"/>
                  <a:gd name="connsiteY74" fmla="*/ 946496 h 1046508"/>
                  <a:gd name="connsiteX75" fmla="*/ 190500 w 1200744"/>
                  <a:gd name="connsiteY75" fmla="*/ 946496 h 1046508"/>
                  <a:gd name="connsiteX76" fmla="*/ 59532 w 1200744"/>
                  <a:gd name="connsiteY76" fmla="*/ 825052 h 1046508"/>
                  <a:gd name="connsiteX77" fmla="*/ 59432 w 1200744"/>
                  <a:gd name="connsiteY77" fmla="*/ 710643 h 1046508"/>
                  <a:gd name="connsiteX78" fmla="*/ 48816 w 1200744"/>
                  <a:gd name="connsiteY78" fmla="*/ 710643 h 1046508"/>
                  <a:gd name="connsiteX79" fmla="*/ 14298 w 1200744"/>
                  <a:gd name="connsiteY79" fmla="*/ 696345 h 1046508"/>
                  <a:gd name="connsiteX80" fmla="*/ 0 w 1200744"/>
                  <a:gd name="connsiteY80" fmla="*/ 661828 h 1046508"/>
                  <a:gd name="connsiteX81" fmla="*/ 14298 w 1200744"/>
                  <a:gd name="connsiteY81" fmla="*/ 627310 h 1046508"/>
                  <a:gd name="connsiteX82" fmla="*/ 48816 w 1200744"/>
                  <a:gd name="connsiteY82" fmla="*/ 613012 h 1046508"/>
                  <a:gd name="connsiteX83" fmla="*/ 59346 w 1200744"/>
                  <a:gd name="connsiteY83" fmla="*/ 613012 h 1046508"/>
                  <a:gd name="connsiteX84" fmla="*/ 59247 w 1200744"/>
                  <a:gd name="connsiteY84" fmla="*/ 501147 h 1046508"/>
                  <a:gd name="connsiteX85" fmla="*/ 48816 w 1200744"/>
                  <a:gd name="connsiteY85" fmla="*/ 501147 h 1046508"/>
                  <a:gd name="connsiteX86" fmla="*/ 14298 w 1200744"/>
                  <a:gd name="connsiteY86" fmla="*/ 486849 h 1046508"/>
                  <a:gd name="connsiteX87" fmla="*/ 0 w 1200744"/>
                  <a:gd name="connsiteY87" fmla="*/ 452332 h 1046508"/>
                  <a:gd name="connsiteX88" fmla="*/ 14298 w 1200744"/>
                  <a:gd name="connsiteY88" fmla="*/ 417814 h 1046508"/>
                  <a:gd name="connsiteX89" fmla="*/ 48816 w 1200744"/>
                  <a:gd name="connsiteY89" fmla="*/ 403516 h 1046508"/>
                  <a:gd name="connsiteX90" fmla="*/ 59161 w 1200744"/>
                  <a:gd name="connsiteY90" fmla="*/ 403516 h 1046508"/>
                  <a:gd name="connsiteX91" fmla="*/ 59063 w 1200744"/>
                  <a:gd name="connsiteY91" fmla="*/ 291651 h 1046508"/>
                  <a:gd name="connsiteX92" fmla="*/ 48816 w 1200744"/>
                  <a:gd name="connsiteY92" fmla="*/ 291651 h 1046508"/>
                  <a:gd name="connsiteX93" fmla="*/ 14298 w 1200744"/>
                  <a:gd name="connsiteY93" fmla="*/ 277353 h 1046508"/>
                  <a:gd name="connsiteX94" fmla="*/ 0 w 1200744"/>
                  <a:gd name="connsiteY94" fmla="*/ 242836 h 1046508"/>
                  <a:gd name="connsiteX95" fmla="*/ 14298 w 1200744"/>
                  <a:gd name="connsiteY95" fmla="*/ 208318 h 1046508"/>
                  <a:gd name="connsiteX96" fmla="*/ 48816 w 1200744"/>
                  <a:gd name="connsiteY96" fmla="*/ 194020 h 1046508"/>
                  <a:gd name="connsiteX97" fmla="*/ 58977 w 1200744"/>
                  <a:gd name="connsiteY97" fmla="*/ 194020 h 1046508"/>
                  <a:gd name="connsiteX98" fmla="*/ 58806 w 1200744"/>
                  <a:gd name="connsiteY98" fmla="*/ 0 h 1046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200744" h="1046508">
                    <a:moveTo>
                      <a:pt x="269392" y="583922"/>
                    </a:moveTo>
                    <a:cubicBezTo>
                      <a:pt x="247034" y="583922"/>
                      <a:pt x="228910" y="602046"/>
                      <a:pt x="228910" y="624404"/>
                    </a:cubicBezTo>
                    <a:cubicBezTo>
                      <a:pt x="228910" y="646762"/>
                      <a:pt x="247034" y="664886"/>
                      <a:pt x="269392" y="664886"/>
                    </a:cubicBezTo>
                    <a:cubicBezTo>
                      <a:pt x="291750" y="664886"/>
                      <a:pt x="309874" y="646762"/>
                      <a:pt x="309874" y="624404"/>
                    </a:cubicBezTo>
                    <a:cubicBezTo>
                      <a:pt x="309874" y="602046"/>
                      <a:pt x="291750" y="583922"/>
                      <a:pt x="269392" y="583922"/>
                    </a:cubicBezTo>
                    <a:close/>
                    <a:moveTo>
                      <a:pt x="269392" y="373750"/>
                    </a:moveTo>
                    <a:cubicBezTo>
                      <a:pt x="247034" y="373750"/>
                      <a:pt x="228910" y="391874"/>
                      <a:pt x="228910" y="414232"/>
                    </a:cubicBezTo>
                    <a:cubicBezTo>
                      <a:pt x="228910" y="436590"/>
                      <a:pt x="247034" y="454714"/>
                      <a:pt x="269392" y="454714"/>
                    </a:cubicBezTo>
                    <a:cubicBezTo>
                      <a:pt x="291750" y="454714"/>
                      <a:pt x="309874" y="436590"/>
                      <a:pt x="309874" y="414232"/>
                    </a:cubicBezTo>
                    <a:cubicBezTo>
                      <a:pt x="309874" y="391874"/>
                      <a:pt x="291750" y="373750"/>
                      <a:pt x="269392" y="373750"/>
                    </a:cubicBezTo>
                    <a:close/>
                    <a:moveTo>
                      <a:pt x="269392" y="163063"/>
                    </a:moveTo>
                    <a:cubicBezTo>
                      <a:pt x="247034" y="163063"/>
                      <a:pt x="228910" y="181187"/>
                      <a:pt x="228910" y="203545"/>
                    </a:cubicBezTo>
                    <a:cubicBezTo>
                      <a:pt x="228910" y="225903"/>
                      <a:pt x="247034" y="244027"/>
                      <a:pt x="269392" y="244027"/>
                    </a:cubicBezTo>
                    <a:cubicBezTo>
                      <a:pt x="291750" y="244027"/>
                      <a:pt x="309874" y="225903"/>
                      <a:pt x="309874" y="203545"/>
                    </a:cubicBezTo>
                    <a:cubicBezTo>
                      <a:pt x="309874" y="181187"/>
                      <a:pt x="291750" y="163063"/>
                      <a:pt x="269392" y="163063"/>
                    </a:cubicBezTo>
                    <a:close/>
                    <a:moveTo>
                      <a:pt x="797719" y="0"/>
                    </a:moveTo>
                    <a:lnTo>
                      <a:pt x="883444" y="0"/>
                    </a:lnTo>
                    <a:lnTo>
                      <a:pt x="883444" y="79897"/>
                    </a:lnTo>
                    <a:lnTo>
                      <a:pt x="797719" y="90082"/>
                    </a:lnTo>
                    <a:lnTo>
                      <a:pt x="797719" y="0"/>
                    </a:lnTo>
                    <a:close/>
                    <a:moveTo>
                      <a:pt x="58806" y="0"/>
                    </a:moveTo>
                    <a:lnTo>
                      <a:pt x="692944" y="0"/>
                    </a:lnTo>
                    <a:lnTo>
                      <a:pt x="692944" y="102530"/>
                    </a:lnTo>
                    <a:lnTo>
                      <a:pt x="418176" y="135174"/>
                    </a:lnTo>
                    <a:cubicBezTo>
                      <a:pt x="407569" y="136435"/>
                      <a:pt x="398476" y="141875"/>
                      <a:pt x="392350" y="149653"/>
                    </a:cubicBezTo>
                    <a:lnTo>
                      <a:pt x="384326" y="178152"/>
                    </a:lnTo>
                    <a:lnTo>
                      <a:pt x="398804" y="203977"/>
                    </a:lnTo>
                    <a:cubicBezTo>
                      <a:pt x="406582" y="210103"/>
                      <a:pt x="416696" y="213262"/>
                      <a:pt x="427304" y="212001"/>
                    </a:cubicBezTo>
                    <a:lnTo>
                      <a:pt x="1104900" y="131498"/>
                    </a:lnTo>
                    <a:lnTo>
                      <a:pt x="1104900" y="134851"/>
                    </a:lnTo>
                    <a:lnTo>
                      <a:pt x="1157493" y="128603"/>
                    </a:lnTo>
                    <a:cubicBezTo>
                      <a:pt x="1178709" y="126082"/>
                      <a:pt x="1197951" y="141237"/>
                      <a:pt x="1200471" y="162453"/>
                    </a:cubicBezTo>
                    <a:lnTo>
                      <a:pt x="1200470" y="162453"/>
                    </a:lnTo>
                    <a:cubicBezTo>
                      <a:pt x="1202991" y="183669"/>
                      <a:pt x="1187836" y="202910"/>
                      <a:pt x="1166620" y="205431"/>
                    </a:cubicBezTo>
                    <a:lnTo>
                      <a:pt x="878682" y="240221"/>
                    </a:lnTo>
                    <a:lnTo>
                      <a:pt x="883444" y="298972"/>
                    </a:lnTo>
                    <a:lnTo>
                      <a:pt x="792956" y="309723"/>
                    </a:lnTo>
                    <a:lnTo>
                      <a:pt x="792956" y="265459"/>
                    </a:lnTo>
                    <a:lnTo>
                      <a:pt x="688181" y="265459"/>
                    </a:lnTo>
                    <a:lnTo>
                      <a:pt x="688181" y="322171"/>
                    </a:lnTo>
                    <a:lnTo>
                      <a:pt x="418176" y="354249"/>
                    </a:lnTo>
                    <a:cubicBezTo>
                      <a:pt x="407569" y="355510"/>
                      <a:pt x="398476" y="360950"/>
                      <a:pt x="392350" y="368728"/>
                    </a:cubicBezTo>
                    <a:lnTo>
                      <a:pt x="384326" y="397227"/>
                    </a:lnTo>
                    <a:lnTo>
                      <a:pt x="398804" y="423052"/>
                    </a:lnTo>
                    <a:cubicBezTo>
                      <a:pt x="406582" y="429178"/>
                      <a:pt x="416696" y="432337"/>
                      <a:pt x="427304" y="431076"/>
                    </a:cubicBezTo>
                    <a:lnTo>
                      <a:pt x="1157493" y="347675"/>
                    </a:lnTo>
                    <a:cubicBezTo>
                      <a:pt x="1178709" y="345155"/>
                      <a:pt x="1197950" y="360310"/>
                      <a:pt x="1200471" y="381525"/>
                    </a:cubicBezTo>
                    <a:lnTo>
                      <a:pt x="1200470" y="381526"/>
                    </a:lnTo>
                    <a:cubicBezTo>
                      <a:pt x="1202991" y="402741"/>
                      <a:pt x="1187836" y="421983"/>
                      <a:pt x="1166620" y="424503"/>
                    </a:cubicBezTo>
                    <a:lnTo>
                      <a:pt x="883444" y="458146"/>
                    </a:lnTo>
                    <a:lnTo>
                      <a:pt x="883444" y="506141"/>
                    </a:lnTo>
                    <a:lnTo>
                      <a:pt x="792956" y="516892"/>
                    </a:lnTo>
                    <a:lnTo>
                      <a:pt x="792956" y="468897"/>
                    </a:lnTo>
                    <a:lnTo>
                      <a:pt x="688181" y="481345"/>
                    </a:lnTo>
                    <a:lnTo>
                      <a:pt x="688181" y="529340"/>
                    </a:lnTo>
                    <a:lnTo>
                      <a:pt x="418176" y="561418"/>
                    </a:lnTo>
                    <a:cubicBezTo>
                      <a:pt x="407569" y="562679"/>
                      <a:pt x="398476" y="568119"/>
                      <a:pt x="392350" y="575897"/>
                    </a:cubicBezTo>
                    <a:lnTo>
                      <a:pt x="384326" y="604396"/>
                    </a:lnTo>
                    <a:lnTo>
                      <a:pt x="398804" y="630221"/>
                    </a:lnTo>
                    <a:cubicBezTo>
                      <a:pt x="406582" y="636347"/>
                      <a:pt x="416696" y="639506"/>
                      <a:pt x="427304" y="638245"/>
                    </a:cubicBezTo>
                    <a:lnTo>
                      <a:pt x="1104900" y="557742"/>
                    </a:lnTo>
                    <a:lnTo>
                      <a:pt x="1104900" y="558713"/>
                    </a:lnTo>
                    <a:lnTo>
                      <a:pt x="1157491" y="552464"/>
                    </a:lnTo>
                    <a:cubicBezTo>
                      <a:pt x="1178707" y="549944"/>
                      <a:pt x="1197948" y="565099"/>
                      <a:pt x="1200469" y="586314"/>
                    </a:cubicBezTo>
                    <a:lnTo>
                      <a:pt x="1200468" y="586314"/>
                    </a:lnTo>
                    <a:cubicBezTo>
                      <a:pt x="1202989" y="607530"/>
                      <a:pt x="1187834" y="626772"/>
                      <a:pt x="1166618" y="629292"/>
                    </a:cubicBezTo>
                    <a:lnTo>
                      <a:pt x="1104900" y="636624"/>
                    </a:lnTo>
                    <a:lnTo>
                      <a:pt x="1104900" y="817908"/>
                    </a:lnTo>
                    <a:lnTo>
                      <a:pt x="971550" y="946496"/>
                    </a:lnTo>
                    <a:lnTo>
                      <a:pt x="752889" y="946496"/>
                    </a:lnTo>
                    <a:lnTo>
                      <a:pt x="749140" y="965065"/>
                    </a:lnTo>
                    <a:cubicBezTo>
                      <a:pt x="728897" y="1012926"/>
                      <a:pt x="681506" y="1046508"/>
                      <a:pt x="626271" y="1046508"/>
                    </a:cubicBezTo>
                    <a:lnTo>
                      <a:pt x="533770" y="1046508"/>
                    </a:lnTo>
                    <a:cubicBezTo>
                      <a:pt x="478536" y="1046508"/>
                      <a:pt x="431145" y="1012926"/>
                      <a:pt x="410901" y="965065"/>
                    </a:cubicBezTo>
                    <a:lnTo>
                      <a:pt x="407153" y="946496"/>
                    </a:lnTo>
                    <a:lnTo>
                      <a:pt x="190500" y="946496"/>
                    </a:lnTo>
                    <a:lnTo>
                      <a:pt x="59532" y="825052"/>
                    </a:lnTo>
                    <a:cubicBezTo>
                      <a:pt x="59499" y="786916"/>
                      <a:pt x="59465" y="748779"/>
                      <a:pt x="59432" y="710643"/>
                    </a:cubicBezTo>
                    <a:lnTo>
                      <a:pt x="48816" y="710643"/>
                    </a:lnTo>
                    <a:cubicBezTo>
                      <a:pt x="35336" y="710643"/>
                      <a:pt x="23132" y="705179"/>
                      <a:pt x="14298" y="696345"/>
                    </a:cubicBezTo>
                    <a:lnTo>
                      <a:pt x="0" y="661828"/>
                    </a:lnTo>
                    <a:lnTo>
                      <a:pt x="14298" y="627310"/>
                    </a:lnTo>
                    <a:cubicBezTo>
                      <a:pt x="23132" y="618476"/>
                      <a:pt x="35336" y="613012"/>
                      <a:pt x="48816" y="613012"/>
                    </a:cubicBezTo>
                    <a:lnTo>
                      <a:pt x="59346" y="613012"/>
                    </a:lnTo>
                    <a:cubicBezTo>
                      <a:pt x="59313" y="575724"/>
                      <a:pt x="59280" y="538435"/>
                      <a:pt x="59247" y="501147"/>
                    </a:cubicBezTo>
                    <a:lnTo>
                      <a:pt x="48816" y="501147"/>
                    </a:lnTo>
                    <a:cubicBezTo>
                      <a:pt x="35336" y="501147"/>
                      <a:pt x="23132" y="495683"/>
                      <a:pt x="14298" y="486849"/>
                    </a:cubicBezTo>
                    <a:lnTo>
                      <a:pt x="0" y="452332"/>
                    </a:lnTo>
                    <a:lnTo>
                      <a:pt x="14298" y="417814"/>
                    </a:lnTo>
                    <a:cubicBezTo>
                      <a:pt x="23132" y="408980"/>
                      <a:pt x="35336" y="403516"/>
                      <a:pt x="48816" y="403516"/>
                    </a:cubicBezTo>
                    <a:lnTo>
                      <a:pt x="59161" y="403516"/>
                    </a:lnTo>
                    <a:cubicBezTo>
                      <a:pt x="59128" y="366228"/>
                      <a:pt x="59096" y="328939"/>
                      <a:pt x="59063" y="291651"/>
                    </a:cubicBezTo>
                    <a:lnTo>
                      <a:pt x="48816" y="291651"/>
                    </a:lnTo>
                    <a:cubicBezTo>
                      <a:pt x="35336" y="291651"/>
                      <a:pt x="23132" y="286187"/>
                      <a:pt x="14298" y="277353"/>
                    </a:cubicBezTo>
                    <a:lnTo>
                      <a:pt x="0" y="242836"/>
                    </a:lnTo>
                    <a:lnTo>
                      <a:pt x="14298" y="208318"/>
                    </a:lnTo>
                    <a:cubicBezTo>
                      <a:pt x="23132" y="199484"/>
                      <a:pt x="35336" y="194020"/>
                      <a:pt x="48816" y="194020"/>
                    </a:cubicBezTo>
                    <a:lnTo>
                      <a:pt x="58977" y="194020"/>
                    </a:lnTo>
                    <a:lnTo>
                      <a:pt x="58806"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00" name="Freeform 88">
                <a:extLst>
                  <a:ext uri="{FF2B5EF4-FFF2-40B4-BE49-F238E27FC236}">
                    <a16:creationId xmlns:a16="http://schemas.microsoft.com/office/drawing/2014/main" id="{5E2BEC2E-8C7C-4E42-8D74-77AC0C682563}"/>
                  </a:ext>
                </a:extLst>
              </p:cNvPr>
              <p:cNvSpPr/>
              <p:nvPr/>
            </p:nvSpPr>
            <p:spPr>
              <a:xfrm>
                <a:off x="4242295" y="1685754"/>
                <a:ext cx="3701002" cy="3743106"/>
              </a:xfrm>
              <a:custGeom>
                <a:avLst/>
                <a:gdLst>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0346 w 3701002"/>
                  <a:gd name="connsiteY11" fmla="*/ 3114359 h 3743106"/>
                  <a:gd name="connsiteX12" fmla="*/ 2659635 w 3701002"/>
                  <a:gd name="connsiteY12" fmla="*/ 3107286 h 3743106"/>
                  <a:gd name="connsiteX13" fmla="*/ 3122601 w 3701002"/>
                  <a:gd name="connsiteY13" fmla="*/ 2107732 h 3743106"/>
                  <a:gd name="connsiteX14" fmla="*/ 1850392 w 3701002"/>
                  <a:gd name="connsiteY14" fmla="*/ 812383 h 3743106"/>
                  <a:gd name="connsiteX15" fmla="*/ 578183 w 3701002"/>
                  <a:gd name="connsiteY15" fmla="*/ 2107732 h 3743106"/>
                  <a:gd name="connsiteX16" fmla="*/ 950805 w 3701002"/>
                  <a:gd name="connsiteY16" fmla="*/ 3023682 h 3743106"/>
                  <a:gd name="connsiteX17" fmla="*/ 1028685 w 3701002"/>
                  <a:gd name="connsiteY17" fmla="*/ 3095752 h 3743106"/>
                  <a:gd name="connsiteX18" fmla="*/ 1145044 w 3701002"/>
                  <a:gd name="connsiteY18" fmla="*/ 3252006 h 3743106"/>
                  <a:gd name="connsiteX19" fmla="*/ 1289824 w 3701002"/>
                  <a:gd name="connsiteY19" fmla="*/ 3549186 h 3743106"/>
                  <a:gd name="connsiteX20" fmla="*/ 1131709 w 3701002"/>
                  <a:gd name="connsiteY20" fmla="*/ 3739686 h 3743106"/>
                  <a:gd name="connsiteX21" fmla="*/ 881519 w 3701002"/>
                  <a:gd name="connsiteY21" fmla="*/ 3637451 h 3743106"/>
                  <a:gd name="connsiteX22" fmla="*/ 771664 w 3701002"/>
                  <a:gd name="connsiteY22" fmla="*/ 3290106 h 3743106"/>
                  <a:gd name="connsiteX23" fmla="*/ 377329 w 3701002"/>
                  <a:gd name="connsiteY23" fmla="*/ 3103416 h 3743106"/>
                  <a:gd name="connsiteX24" fmla="*/ 344944 w 3701002"/>
                  <a:gd name="connsiteY24" fmla="*/ 2482386 h 3743106"/>
                  <a:gd name="connsiteX25" fmla="*/ 139 w 3701002"/>
                  <a:gd name="connsiteY25" fmla="*/ 1970576 h 3743106"/>
                  <a:gd name="connsiteX26" fmla="*/ 451624 w 3701002"/>
                  <a:gd name="connsiteY26" fmla="*/ 1403521 h 3743106"/>
                  <a:gd name="connsiteX27" fmla="*/ 496709 w 3701002"/>
                  <a:gd name="connsiteY27" fmla="*/ 659301 h 3743106"/>
                  <a:gd name="connsiteX28" fmla="*/ 1199019 w 3701002"/>
                  <a:gd name="connsiteY28" fmla="*/ 517061 h 3743106"/>
                  <a:gd name="connsiteX29" fmla="*/ 1831479 w 3701002"/>
                  <a:gd name="connsiteY29"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028685 w 3701002"/>
                  <a:gd name="connsiteY16" fmla="*/ 3095752 h 3743106"/>
                  <a:gd name="connsiteX17" fmla="*/ 1145044 w 3701002"/>
                  <a:gd name="connsiteY17" fmla="*/ 3252006 h 3743106"/>
                  <a:gd name="connsiteX18" fmla="*/ 1289824 w 3701002"/>
                  <a:gd name="connsiteY18" fmla="*/ 3549186 h 3743106"/>
                  <a:gd name="connsiteX19" fmla="*/ 1131709 w 3701002"/>
                  <a:gd name="connsiteY19" fmla="*/ 3739686 h 3743106"/>
                  <a:gd name="connsiteX20" fmla="*/ 881519 w 3701002"/>
                  <a:gd name="connsiteY20" fmla="*/ 3637451 h 3743106"/>
                  <a:gd name="connsiteX21" fmla="*/ 771664 w 3701002"/>
                  <a:gd name="connsiteY21" fmla="*/ 3290106 h 3743106"/>
                  <a:gd name="connsiteX22" fmla="*/ 377329 w 3701002"/>
                  <a:gd name="connsiteY22" fmla="*/ 3103416 h 3743106"/>
                  <a:gd name="connsiteX23" fmla="*/ 344944 w 3701002"/>
                  <a:gd name="connsiteY23" fmla="*/ 2482386 h 3743106"/>
                  <a:gd name="connsiteX24" fmla="*/ 139 w 3701002"/>
                  <a:gd name="connsiteY24" fmla="*/ 1970576 h 3743106"/>
                  <a:gd name="connsiteX25" fmla="*/ 451624 w 3701002"/>
                  <a:gd name="connsiteY25" fmla="*/ 1403521 h 3743106"/>
                  <a:gd name="connsiteX26" fmla="*/ 496709 w 3701002"/>
                  <a:gd name="connsiteY26" fmla="*/ 659301 h 3743106"/>
                  <a:gd name="connsiteX27" fmla="*/ 1199019 w 3701002"/>
                  <a:gd name="connsiteY27" fmla="*/ 517061 h 3743106"/>
                  <a:gd name="connsiteX28" fmla="*/ 1831479 w 3701002"/>
                  <a:gd name="connsiteY28"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145044 w 3701002"/>
                  <a:gd name="connsiteY16" fmla="*/ 3252006 h 3743106"/>
                  <a:gd name="connsiteX17" fmla="*/ 1289824 w 3701002"/>
                  <a:gd name="connsiteY17" fmla="*/ 3549186 h 3743106"/>
                  <a:gd name="connsiteX18" fmla="*/ 1131709 w 3701002"/>
                  <a:gd name="connsiteY18" fmla="*/ 3739686 h 3743106"/>
                  <a:gd name="connsiteX19" fmla="*/ 881519 w 3701002"/>
                  <a:gd name="connsiteY19" fmla="*/ 3637451 h 3743106"/>
                  <a:gd name="connsiteX20" fmla="*/ 771664 w 3701002"/>
                  <a:gd name="connsiteY20" fmla="*/ 3290106 h 3743106"/>
                  <a:gd name="connsiteX21" fmla="*/ 377329 w 3701002"/>
                  <a:gd name="connsiteY21" fmla="*/ 3103416 h 3743106"/>
                  <a:gd name="connsiteX22" fmla="*/ 344944 w 3701002"/>
                  <a:gd name="connsiteY22" fmla="*/ 2482386 h 3743106"/>
                  <a:gd name="connsiteX23" fmla="*/ 139 w 3701002"/>
                  <a:gd name="connsiteY23" fmla="*/ 1970576 h 3743106"/>
                  <a:gd name="connsiteX24" fmla="*/ 451624 w 3701002"/>
                  <a:gd name="connsiteY24" fmla="*/ 1403521 h 3743106"/>
                  <a:gd name="connsiteX25" fmla="*/ 496709 w 3701002"/>
                  <a:gd name="connsiteY25" fmla="*/ 659301 h 3743106"/>
                  <a:gd name="connsiteX26" fmla="*/ 1199019 w 3701002"/>
                  <a:gd name="connsiteY26" fmla="*/ 517061 h 3743106"/>
                  <a:gd name="connsiteX27" fmla="*/ 1831479 w 3701002"/>
                  <a:gd name="connsiteY27"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145044 w 3701002"/>
                  <a:gd name="connsiteY16" fmla="*/ 3252006 h 3743106"/>
                  <a:gd name="connsiteX17" fmla="*/ 1289824 w 3701002"/>
                  <a:gd name="connsiteY17" fmla="*/ 3549186 h 3743106"/>
                  <a:gd name="connsiteX18" fmla="*/ 1131709 w 3701002"/>
                  <a:gd name="connsiteY18" fmla="*/ 3739686 h 3743106"/>
                  <a:gd name="connsiteX19" fmla="*/ 881519 w 3701002"/>
                  <a:gd name="connsiteY19" fmla="*/ 3637451 h 3743106"/>
                  <a:gd name="connsiteX20" fmla="*/ 771664 w 3701002"/>
                  <a:gd name="connsiteY20" fmla="*/ 3290106 h 3743106"/>
                  <a:gd name="connsiteX21" fmla="*/ 377329 w 3701002"/>
                  <a:gd name="connsiteY21" fmla="*/ 3103416 h 3743106"/>
                  <a:gd name="connsiteX22" fmla="*/ 344944 w 3701002"/>
                  <a:gd name="connsiteY22" fmla="*/ 2482386 h 3743106"/>
                  <a:gd name="connsiteX23" fmla="*/ 139 w 3701002"/>
                  <a:gd name="connsiteY23" fmla="*/ 1970576 h 3743106"/>
                  <a:gd name="connsiteX24" fmla="*/ 451624 w 3701002"/>
                  <a:gd name="connsiteY24" fmla="*/ 1403521 h 3743106"/>
                  <a:gd name="connsiteX25" fmla="*/ 496709 w 3701002"/>
                  <a:gd name="connsiteY25" fmla="*/ 659301 h 3743106"/>
                  <a:gd name="connsiteX26" fmla="*/ 1199019 w 3701002"/>
                  <a:gd name="connsiteY26" fmla="*/ 517061 h 3743106"/>
                  <a:gd name="connsiteX27" fmla="*/ 1831479 w 3701002"/>
                  <a:gd name="connsiteY27" fmla="*/ 171 h 3743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701002" h="3743106">
                    <a:moveTo>
                      <a:pt x="1831479" y="171"/>
                    </a:moveTo>
                    <a:cubicBezTo>
                      <a:pt x="2193958" y="-9460"/>
                      <a:pt x="2228989" y="388262"/>
                      <a:pt x="2478544" y="516426"/>
                    </a:cubicBezTo>
                    <a:cubicBezTo>
                      <a:pt x="2724924" y="638240"/>
                      <a:pt x="3031735" y="420753"/>
                      <a:pt x="3214509" y="673906"/>
                    </a:cubicBezTo>
                    <a:cubicBezTo>
                      <a:pt x="3397283" y="927059"/>
                      <a:pt x="3125874" y="1106394"/>
                      <a:pt x="3270389" y="1425746"/>
                    </a:cubicBezTo>
                    <a:cubicBezTo>
                      <a:pt x="3414904" y="1745098"/>
                      <a:pt x="3685678" y="1679112"/>
                      <a:pt x="3700601" y="1942319"/>
                    </a:cubicBezTo>
                    <a:cubicBezTo>
                      <a:pt x="3712349" y="2221401"/>
                      <a:pt x="3463112" y="2181714"/>
                      <a:pt x="3354844" y="2512866"/>
                    </a:cubicBezTo>
                    <a:cubicBezTo>
                      <a:pt x="3238639" y="2836081"/>
                      <a:pt x="3476765" y="2888309"/>
                      <a:pt x="3320872" y="3113258"/>
                    </a:cubicBezTo>
                    <a:cubicBezTo>
                      <a:pt x="3231655" y="3262007"/>
                      <a:pt x="3076132" y="3153476"/>
                      <a:pt x="2933839" y="3291059"/>
                    </a:cubicBezTo>
                    <a:cubicBezTo>
                      <a:pt x="2791546" y="3428642"/>
                      <a:pt x="2888756" y="3603161"/>
                      <a:pt x="2771914" y="3691109"/>
                    </a:cubicBezTo>
                    <a:cubicBezTo>
                      <a:pt x="2688410" y="3783819"/>
                      <a:pt x="2499817" y="3735717"/>
                      <a:pt x="2440444" y="3640626"/>
                    </a:cubicBezTo>
                    <a:cubicBezTo>
                      <a:pt x="2381071" y="3545535"/>
                      <a:pt x="2441714" y="3442506"/>
                      <a:pt x="2501404" y="3320586"/>
                    </a:cubicBezTo>
                    <a:lnTo>
                      <a:pt x="2659635" y="3107286"/>
                    </a:lnTo>
                    <a:cubicBezTo>
                      <a:pt x="2942380" y="2869700"/>
                      <a:pt x="3122601" y="2510145"/>
                      <a:pt x="3122601" y="2107732"/>
                    </a:cubicBezTo>
                    <a:cubicBezTo>
                      <a:pt x="3122601" y="1392331"/>
                      <a:pt x="2553014" y="812383"/>
                      <a:pt x="1850392" y="812383"/>
                    </a:cubicBezTo>
                    <a:cubicBezTo>
                      <a:pt x="1147770" y="812383"/>
                      <a:pt x="578183" y="1392331"/>
                      <a:pt x="578183" y="2107732"/>
                    </a:cubicBezTo>
                    <a:cubicBezTo>
                      <a:pt x="578183" y="2465433"/>
                      <a:pt x="720580" y="2789270"/>
                      <a:pt x="950805" y="3023682"/>
                    </a:cubicBezTo>
                    <a:cubicBezTo>
                      <a:pt x="1039364" y="3104553"/>
                      <a:pt x="1080298" y="3175898"/>
                      <a:pt x="1145044" y="3252006"/>
                    </a:cubicBezTo>
                    <a:cubicBezTo>
                      <a:pt x="1213624" y="3361226"/>
                      <a:pt x="1292047" y="3467906"/>
                      <a:pt x="1289824" y="3549186"/>
                    </a:cubicBezTo>
                    <a:cubicBezTo>
                      <a:pt x="1287602" y="3630466"/>
                      <a:pt x="1199760" y="3724975"/>
                      <a:pt x="1131709" y="3739686"/>
                    </a:cubicBezTo>
                    <a:cubicBezTo>
                      <a:pt x="1063658" y="3754397"/>
                      <a:pt x="935176" y="3721906"/>
                      <a:pt x="881519" y="3637451"/>
                    </a:cubicBezTo>
                    <a:cubicBezTo>
                      <a:pt x="827862" y="3552996"/>
                      <a:pt x="922371" y="3429912"/>
                      <a:pt x="771664" y="3290106"/>
                    </a:cubicBezTo>
                    <a:cubicBezTo>
                      <a:pt x="620957" y="3150300"/>
                      <a:pt x="489724" y="3259626"/>
                      <a:pt x="377329" y="3103416"/>
                    </a:cubicBezTo>
                    <a:cubicBezTo>
                      <a:pt x="245884" y="2847193"/>
                      <a:pt x="472103" y="2764062"/>
                      <a:pt x="344944" y="2482386"/>
                    </a:cubicBezTo>
                    <a:cubicBezTo>
                      <a:pt x="189211" y="2141178"/>
                      <a:pt x="8552" y="2246432"/>
                      <a:pt x="139" y="1970576"/>
                    </a:cubicBezTo>
                    <a:cubicBezTo>
                      <a:pt x="-7481" y="1701865"/>
                      <a:pt x="299012" y="1730017"/>
                      <a:pt x="451624" y="1403521"/>
                    </a:cubicBezTo>
                    <a:cubicBezTo>
                      <a:pt x="528036" y="943675"/>
                      <a:pt x="318168" y="908644"/>
                      <a:pt x="496709" y="659301"/>
                    </a:cubicBezTo>
                    <a:cubicBezTo>
                      <a:pt x="675250" y="409958"/>
                      <a:pt x="956978" y="650728"/>
                      <a:pt x="1199019" y="517061"/>
                    </a:cubicBezTo>
                    <a:cubicBezTo>
                      <a:pt x="1485510" y="418319"/>
                      <a:pt x="1469000" y="9802"/>
                      <a:pt x="1831479" y="171"/>
                    </a:cubicBez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grpSp>
      </p:grpSp>
      <p:grpSp>
        <p:nvGrpSpPr>
          <p:cNvPr id="101" name="Group 100">
            <a:extLst>
              <a:ext uri="{FF2B5EF4-FFF2-40B4-BE49-F238E27FC236}">
                <a16:creationId xmlns:a16="http://schemas.microsoft.com/office/drawing/2014/main" id="{22306F7A-0821-4982-BAB9-4629074F642F}"/>
              </a:ext>
            </a:extLst>
          </p:cNvPr>
          <p:cNvGrpSpPr/>
          <p:nvPr/>
        </p:nvGrpSpPr>
        <p:grpSpPr>
          <a:xfrm>
            <a:off x="6577038" y="4832618"/>
            <a:ext cx="474070" cy="474070"/>
            <a:chOff x="6447430" y="2675492"/>
            <a:chExt cx="474070" cy="474070"/>
          </a:xfrm>
        </p:grpSpPr>
        <p:sp>
          <p:nvSpPr>
            <p:cNvPr id="102" name="Oval 101">
              <a:extLst>
                <a:ext uri="{FF2B5EF4-FFF2-40B4-BE49-F238E27FC236}">
                  <a16:creationId xmlns:a16="http://schemas.microsoft.com/office/drawing/2014/main" id="{297CA457-45E3-43B9-B5ED-858E01065450}"/>
                </a:ext>
              </a:extLst>
            </p:cNvPr>
            <p:cNvSpPr/>
            <p:nvPr/>
          </p:nvSpPr>
          <p:spPr>
            <a:xfrm>
              <a:off x="6447430" y="2675492"/>
              <a:ext cx="474070" cy="474070"/>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white"/>
                </a:solidFill>
                <a:effectLst/>
                <a:uLnTx/>
                <a:uFillTx/>
                <a:latin typeface="+mj-lt"/>
                <a:ea typeface="+mn-ea"/>
                <a:cs typeface="+mn-cs"/>
              </a:endParaRPr>
            </a:p>
          </p:txBody>
        </p:sp>
        <p:grpSp>
          <p:nvGrpSpPr>
            <p:cNvPr id="103" name="Group 102">
              <a:extLst>
                <a:ext uri="{FF2B5EF4-FFF2-40B4-BE49-F238E27FC236}">
                  <a16:creationId xmlns:a16="http://schemas.microsoft.com/office/drawing/2014/main" id="{DF6FE80E-0A46-4D50-A213-B9DEA448BFBB}"/>
                </a:ext>
              </a:extLst>
            </p:cNvPr>
            <p:cNvGrpSpPr/>
            <p:nvPr/>
          </p:nvGrpSpPr>
          <p:grpSpPr>
            <a:xfrm>
              <a:off x="6518177" y="2715380"/>
              <a:ext cx="333474" cy="369626"/>
              <a:chOff x="3114466" y="105602"/>
              <a:chExt cx="5971657" cy="6619048"/>
            </a:xfrm>
            <a:solidFill>
              <a:schemeClr val="accent5"/>
            </a:solidFill>
          </p:grpSpPr>
          <p:sp>
            <p:nvSpPr>
              <p:cNvPr id="104" name="Oval 103">
                <a:extLst>
                  <a:ext uri="{FF2B5EF4-FFF2-40B4-BE49-F238E27FC236}">
                    <a16:creationId xmlns:a16="http://schemas.microsoft.com/office/drawing/2014/main" id="{6BC1A541-FFA1-4508-8FDE-08407D22C1E6}"/>
                  </a:ext>
                </a:extLst>
              </p:cNvPr>
              <p:cNvSpPr/>
              <p:nvPr/>
            </p:nvSpPr>
            <p:spPr>
              <a:xfrm>
                <a:off x="5744819" y="745435"/>
                <a:ext cx="695738" cy="695738"/>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05" name="Oval 104">
                <a:extLst>
                  <a:ext uri="{FF2B5EF4-FFF2-40B4-BE49-F238E27FC236}">
                    <a16:creationId xmlns:a16="http://schemas.microsoft.com/office/drawing/2014/main" id="{CD9C4F32-A263-4334-A6FC-0581BCBE7DAC}"/>
                  </a:ext>
                </a:extLst>
              </p:cNvPr>
              <p:cNvSpPr/>
              <p:nvPr/>
            </p:nvSpPr>
            <p:spPr>
              <a:xfrm>
                <a:off x="6626711" y="1319213"/>
                <a:ext cx="628234" cy="62823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06" name="Oval 105">
                <a:extLst>
                  <a:ext uri="{FF2B5EF4-FFF2-40B4-BE49-F238E27FC236}">
                    <a16:creationId xmlns:a16="http://schemas.microsoft.com/office/drawing/2014/main" id="{15A48AF2-FF7D-4652-AAF0-1C16124097D9}"/>
                  </a:ext>
                </a:extLst>
              </p:cNvPr>
              <p:cNvSpPr/>
              <p:nvPr/>
            </p:nvSpPr>
            <p:spPr>
              <a:xfrm>
                <a:off x="4921736" y="1319213"/>
                <a:ext cx="628234" cy="62823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07" name="Oval 106">
                <a:extLst>
                  <a:ext uri="{FF2B5EF4-FFF2-40B4-BE49-F238E27FC236}">
                    <a16:creationId xmlns:a16="http://schemas.microsoft.com/office/drawing/2014/main" id="{99914C31-FF2F-4D30-91F2-46B8D4B5B16E}"/>
                  </a:ext>
                </a:extLst>
              </p:cNvPr>
              <p:cNvSpPr/>
              <p:nvPr/>
            </p:nvSpPr>
            <p:spPr>
              <a:xfrm>
                <a:off x="4140684" y="1766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08" name="Oval 107">
                <a:extLst>
                  <a:ext uri="{FF2B5EF4-FFF2-40B4-BE49-F238E27FC236}">
                    <a16:creationId xmlns:a16="http://schemas.microsoft.com/office/drawing/2014/main" id="{0DB18FB6-7DDE-470F-9062-706897705C13}"/>
                  </a:ext>
                </a:extLst>
              </p:cNvPr>
              <p:cNvSpPr/>
              <p:nvPr/>
            </p:nvSpPr>
            <p:spPr>
              <a:xfrm>
                <a:off x="7510049" y="1766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09" name="Oval 108">
                <a:extLst>
                  <a:ext uri="{FF2B5EF4-FFF2-40B4-BE49-F238E27FC236}">
                    <a16:creationId xmlns:a16="http://schemas.microsoft.com/office/drawing/2014/main" id="{86BEB39C-BD6D-405B-B637-47B68015D2E2}"/>
                  </a:ext>
                </a:extLst>
              </p:cNvPr>
              <p:cNvSpPr/>
              <p:nvPr/>
            </p:nvSpPr>
            <p:spPr>
              <a:xfrm>
                <a:off x="7716285" y="2579410"/>
                <a:ext cx="612706" cy="61270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10" name="Oval 109">
                <a:extLst>
                  <a:ext uri="{FF2B5EF4-FFF2-40B4-BE49-F238E27FC236}">
                    <a16:creationId xmlns:a16="http://schemas.microsoft.com/office/drawing/2014/main" id="{2856D0BA-1F2A-4168-ADFF-3BD4D1F5B728}"/>
                  </a:ext>
                </a:extLst>
              </p:cNvPr>
              <p:cNvSpPr/>
              <p:nvPr/>
            </p:nvSpPr>
            <p:spPr>
              <a:xfrm>
                <a:off x="3849963" y="2569471"/>
                <a:ext cx="612706" cy="61270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11" name="Oval 110">
                <a:extLst>
                  <a:ext uri="{FF2B5EF4-FFF2-40B4-BE49-F238E27FC236}">
                    <a16:creationId xmlns:a16="http://schemas.microsoft.com/office/drawing/2014/main" id="{BEAC1D73-B227-48B8-8F8F-12DF0CE15AB1}"/>
                  </a:ext>
                </a:extLst>
              </p:cNvPr>
              <p:cNvSpPr/>
              <p:nvPr/>
            </p:nvSpPr>
            <p:spPr>
              <a:xfrm>
                <a:off x="3740632" y="1416532"/>
                <a:ext cx="394046" cy="39404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12" name="Oval 111">
                <a:extLst>
                  <a:ext uri="{FF2B5EF4-FFF2-40B4-BE49-F238E27FC236}">
                    <a16:creationId xmlns:a16="http://schemas.microsoft.com/office/drawing/2014/main" id="{5B88A6D4-5F0D-4834-BE2B-6AE861523967}"/>
                  </a:ext>
                </a:extLst>
              </p:cNvPr>
              <p:cNvSpPr/>
              <p:nvPr/>
            </p:nvSpPr>
            <p:spPr>
              <a:xfrm>
                <a:off x="8054215" y="1416532"/>
                <a:ext cx="394046" cy="39404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13" name="Oval 112">
                <a:extLst>
                  <a:ext uri="{FF2B5EF4-FFF2-40B4-BE49-F238E27FC236}">
                    <a16:creationId xmlns:a16="http://schemas.microsoft.com/office/drawing/2014/main" id="{8520A26F-A9E1-4D3F-9E9E-B5584CCC5078}"/>
                  </a:ext>
                </a:extLst>
              </p:cNvPr>
              <p:cNvSpPr/>
              <p:nvPr/>
            </p:nvSpPr>
            <p:spPr>
              <a:xfrm>
                <a:off x="5878581" y="105602"/>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14" name="Oval 113">
                <a:extLst>
                  <a:ext uri="{FF2B5EF4-FFF2-40B4-BE49-F238E27FC236}">
                    <a16:creationId xmlns:a16="http://schemas.microsoft.com/office/drawing/2014/main" id="{C2265BA3-0D38-48F3-A0C8-9E31BEB30A98}"/>
                  </a:ext>
                </a:extLst>
              </p:cNvPr>
              <p:cNvSpPr/>
              <p:nvPr/>
            </p:nvSpPr>
            <p:spPr>
              <a:xfrm>
                <a:off x="3114466" y="3419473"/>
                <a:ext cx="319296" cy="31929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15" name="Oval 114">
                <a:extLst>
                  <a:ext uri="{FF2B5EF4-FFF2-40B4-BE49-F238E27FC236}">
                    <a16:creationId xmlns:a16="http://schemas.microsoft.com/office/drawing/2014/main" id="{63CE961B-28BA-4F54-AFEA-1C8CF2E47C26}"/>
                  </a:ext>
                </a:extLst>
              </p:cNvPr>
              <p:cNvSpPr/>
              <p:nvPr/>
            </p:nvSpPr>
            <p:spPr>
              <a:xfrm>
                <a:off x="3794675" y="5116270"/>
                <a:ext cx="282026" cy="28202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16" name="Oval 115">
                <a:extLst>
                  <a:ext uri="{FF2B5EF4-FFF2-40B4-BE49-F238E27FC236}">
                    <a16:creationId xmlns:a16="http://schemas.microsoft.com/office/drawing/2014/main" id="{F2B515CB-9724-463C-A2AE-FE0C6A32C732}"/>
                  </a:ext>
                </a:extLst>
              </p:cNvPr>
              <p:cNvSpPr/>
              <p:nvPr/>
            </p:nvSpPr>
            <p:spPr>
              <a:xfrm>
                <a:off x="4640020" y="5060156"/>
                <a:ext cx="342902" cy="3429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17" name="Oval 116">
                <a:extLst>
                  <a:ext uri="{FF2B5EF4-FFF2-40B4-BE49-F238E27FC236}">
                    <a16:creationId xmlns:a16="http://schemas.microsoft.com/office/drawing/2014/main" id="{91E3AF61-0E47-463C-BBFE-95A460448996}"/>
                  </a:ext>
                </a:extLst>
              </p:cNvPr>
              <p:cNvSpPr/>
              <p:nvPr/>
            </p:nvSpPr>
            <p:spPr>
              <a:xfrm>
                <a:off x="4155592" y="4790040"/>
                <a:ext cx="373546" cy="37354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18" name="Oval 117">
                <a:extLst>
                  <a:ext uri="{FF2B5EF4-FFF2-40B4-BE49-F238E27FC236}">
                    <a16:creationId xmlns:a16="http://schemas.microsoft.com/office/drawing/2014/main" id="{9BF079E0-FED0-4982-B45B-147AF57F6E4D}"/>
                  </a:ext>
                </a:extLst>
              </p:cNvPr>
              <p:cNvSpPr/>
              <p:nvPr/>
            </p:nvSpPr>
            <p:spPr>
              <a:xfrm>
                <a:off x="3892206" y="4042948"/>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19" name="Oval 118">
                <a:extLst>
                  <a:ext uri="{FF2B5EF4-FFF2-40B4-BE49-F238E27FC236}">
                    <a16:creationId xmlns:a16="http://schemas.microsoft.com/office/drawing/2014/main" id="{0367C1E1-1147-4542-AA1C-203E7C189890}"/>
                  </a:ext>
                </a:extLst>
              </p:cNvPr>
              <p:cNvSpPr/>
              <p:nvPr/>
            </p:nvSpPr>
            <p:spPr>
              <a:xfrm>
                <a:off x="7758528" y="4052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20" name="Oval 119">
                <a:extLst>
                  <a:ext uri="{FF2B5EF4-FFF2-40B4-BE49-F238E27FC236}">
                    <a16:creationId xmlns:a16="http://schemas.microsoft.com/office/drawing/2014/main" id="{3A9BEA4D-BEB0-452C-B93F-ACCAA64F0CF3}"/>
                  </a:ext>
                </a:extLst>
              </p:cNvPr>
              <p:cNvSpPr/>
              <p:nvPr/>
            </p:nvSpPr>
            <p:spPr>
              <a:xfrm>
                <a:off x="3632338" y="3395454"/>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21" name="Oval 120">
                <a:extLst>
                  <a:ext uri="{FF2B5EF4-FFF2-40B4-BE49-F238E27FC236}">
                    <a16:creationId xmlns:a16="http://schemas.microsoft.com/office/drawing/2014/main" id="{D5C41587-CC8E-4E85-BC03-C295C4772B3B}"/>
                  </a:ext>
                </a:extLst>
              </p:cNvPr>
              <p:cNvSpPr/>
              <p:nvPr/>
            </p:nvSpPr>
            <p:spPr>
              <a:xfrm>
                <a:off x="8122650" y="3395454"/>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22" name="Oval 121">
                <a:extLst>
                  <a:ext uri="{FF2B5EF4-FFF2-40B4-BE49-F238E27FC236}">
                    <a16:creationId xmlns:a16="http://schemas.microsoft.com/office/drawing/2014/main" id="{C1D5029D-78CA-4B62-ABA4-B2EAF3BDD5F5}"/>
                  </a:ext>
                </a:extLst>
              </p:cNvPr>
              <p:cNvSpPr/>
              <p:nvPr/>
            </p:nvSpPr>
            <p:spPr>
              <a:xfrm>
                <a:off x="8747366" y="3412330"/>
                <a:ext cx="338757" cy="338757"/>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23" name="Oval 122">
                <a:extLst>
                  <a:ext uri="{FF2B5EF4-FFF2-40B4-BE49-F238E27FC236}">
                    <a16:creationId xmlns:a16="http://schemas.microsoft.com/office/drawing/2014/main" id="{7504A030-464C-469A-B992-1D562457CF37}"/>
                  </a:ext>
                </a:extLst>
              </p:cNvPr>
              <p:cNvSpPr/>
              <p:nvPr/>
            </p:nvSpPr>
            <p:spPr>
              <a:xfrm>
                <a:off x="7659444" y="4792108"/>
                <a:ext cx="372514" cy="37251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24" name="Oval 123">
                <a:extLst>
                  <a:ext uri="{FF2B5EF4-FFF2-40B4-BE49-F238E27FC236}">
                    <a16:creationId xmlns:a16="http://schemas.microsoft.com/office/drawing/2014/main" id="{07917F73-AEDF-48D2-9717-2EB17B43FD2B}"/>
                  </a:ext>
                </a:extLst>
              </p:cNvPr>
              <p:cNvSpPr/>
              <p:nvPr/>
            </p:nvSpPr>
            <p:spPr>
              <a:xfrm>
                <a:off x="7208355" y="5062538"/>
                <a:ext cx="341242" cy="34124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25" name="Oval 124">
                <a:extLst>
                  <a:ext uri="{FF2B5EF4-FFF2-40B4-BE49-F238E27FC236}">
                    <a16:creationId xmlns:a16="http://schemas.microsoft.com/office/drawing/2014/main" id="{3E544D8D-20E3-49D6-92F6-DB1626014054}"/>
                  </a:ext>
                </a:extLst>
              </p:cNvPr>
              <p:cNvSpPr/>
              <p:nvPr/>
            </p:nvSpPr>
            <p:spPr>
              <a:xfrm>
                <a:off x="8113230" y="5122069"/>
                <a:ext cx="274566" cy="27456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26" name="Freeform 114">
                <a:extLst>
                  <a:ext uri="{FF2B5EF4-FFF2-40B4-BE49-F238E27FC236}">
                    <a16:creationId xmlns:a16="http://schemas.microsoft.com/office/drawing/2014/main" id="{87FB3B5D-BD66-4871-BABC-239D865B649B}"/>
                  </a:ext>
                </a:extLst>
              </p:cNvPr>
              <p:cNvSpPr/>
              <p:nvPr/>
            </p:nvSpPr>
            <p:spPr>
              <a:xfrm>
                <a:off x="5507831" y="5678142"/>
                <a:ext cx="1200744" cy="1046508"/>
              </a:xfrm>
              <a:custGeom>
                <a:avLst/>
                <a:gdLst>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58806 w 1200744"/>
                  <a:gd name="connsiteY19" fmla="*/ 0 h 1046508"/>
                  <a:gd name="connsiteX20" fmla="*/ 692944 w 1200744"/>
                  <a:gd name="connsiteY20" fmla="*/ 0 h 1046508"/>
                  <a:gd name="connsiteX21" fmla="*/ 692944 w 1200744"/>
                  <a:gd name="connsiteY21" fmla="*/ 102530 h 1046508"/>
                  <a:gd name="connsiteX22" fmla="*/ 418176 w 1200744"/>
                  <a:gd name="connsiteY22" fmla="*/ 135174 h 1046508"/>
                  <a:gd name="connsiteX23" fmla="*/ 392350 w 1200744"/>
                  <a:gd name="connsiteY23" fmla="*/ 149653 h 1046508"/>
                  <a:gd name="connsiteX24" fmla="*/ 384326 w 1200744"/>
                  <a:gd name="connsiteY24" fmla="*/ 178152 h 1046508"/>
                  <a:gd name="connsiteX25" fmla="*/ 398804 w 1200744"/>
                  <a:gd name="connsiteY25" fmla="*/ 203977 h 1046508"/>
                  <a:gd name="connsiteX26" fmla="*/ 427304 w 1200744"/>
                  <a:gd name="connsiteY26" fmla="*/ 212001 h 1046508"/>
                  <a:gd name="connsiteX27" fmla="*/ 1104900 w 1200744"/>
                  <a:gd name="connsiteY27" fmla="*/ 131498 h 1046508"/>
                  <a:gd name="connsiteX28" fmla="*/ 1104900 w 1200744"/>
                  <a:gd name="connsiteY28" fmla="*/ 134851 h 1046508"/>
                  <a:gd name="connsiteX29" fmla="*/ 1157493 w 1200744"/>
                  <a:gd name="connsiteY29" fmla="*/ 128603 h 1046508"/>
                  <a:gd name="connsiteX30" fmla="*/ 1200471 w 1200744"/>
                  <a:gd name="connsiteY30" fmla="*/ 162453 h 1046508"/>
                  <a:gd name="connsiteX31" fmla="*/ 1200470 w 1200744"/>
                  <a:gd name="connsiteY31" fmla="*/ 162453 h 1046508"/>
                  <a:gd name="connsiteX32" fmla="*/ 1166620 w 1200744"/>
                  <a:gd name="connsiteY32" fmla="*/ 205431 h 1046508"/>
                  <a:gd name="connsiteX33" fmla="*/ 892471 w 1200744"/>
                  <a:gd name="connsiteY33" fmla="*/ 238001 h 1046508"/>
                  <a:gd name="connsiteX34" fmla="*/ 883444 w 1200744"/>
                  <a:gd name="connsiteY34" fmla="*/ 235459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688181 w 1200744"/>
                  <a:gd name="connsiteY45" fmla="*/ 400083 h 1046508"/>
                  <a:gd name="connsiteX46" fmla="*/ 688181 w 1200744"/>
                  <a:gd name="connsiteY46" fmla="*/ 403433 h 1046508"/>
                  <a:gd name="connsiteX47" fmla="*/ 792956 w 1200744"/>
                  <a:gd name="connsiteY47" fmla="*/ 390985 h 1046508"/>
                  <a:gd name="connsiteX48" fmla="*/ 792956 w 1200744"/>
                  <a:gd name="connsiteY48" fmla="*/ 387635 h 1046508"/>
                  <a:gd name="connsiteX49" fmla="*/ 883444 w 1200744"/>
                  <a:gd name="connsiteY49" fmla="*/ 376884 h 1046508"/>
                  <a:gd name="connsiteX50" fmla="*/ 883444 w 1200744"/>
                  <a:gd name="connsiteY50" fmla="*/ 380235 h 1046508"/>
                  <a:gd name="connsiteX51" fmla="*/ 1157493 w 1200744"/>
                  <a:gd name="connsiteY51" fmla="*/ 347675 h 1046508"/>
                  <a:gd name="connsiteX52" fmla="*/ 1200471 w 1200744"/>
                  <a:gd name="connsiteY52" fmla="*/ 381525 h 1046508"/>
                  <a:gd name="connsiteX53" fmla="*/ 1200470 w 1200744"/>
                  <a:gd name="connsiteY53" fmla="*/ 381526 h 1046508"/>
                  <a:gd name="connsiteX54" fmla="*/ 1166620 w 1200744"/>
                  <a:gd name="connsiteY54" fmla="*/ 424503 h 1046508"/>
                  <a:gd name="connsiteX55" fmla="*/ 883444 w 1200744"/>
                  <a:gd name="connsiteY55" fmla="*/ 458146 h 1046508"/>
                  <a:gd name="connsiteX56" fmla="*/ 883444 w 1200744"/>
                  <a:gd name="connsiteY56" fmla="*/ 506141 h 1046508"/>
                  <a:gd name="connsiteX57" fmla="*/ 792956 w 1200744"/>
                  <a:gd name="connsiteY57" fmla="*/ 516892 h 1046508"/>
                  <a:gd name="connsiteX58" fmla="*/ 792956 w 1200744"/>
                  <a:gd name="connsiteY58" fmla="*/ 468897 h 1046508"/>
                  <a:gd name="connsiteX59" fmla="*/ 688181 w 1200744"/>
                  <a:gd name="connsiteY59" fmla="*/ 481345 h 1046508"/>
                  <a:gd name="connsiteX60" fmla="*/ 688181 w 1200744"/>
                  <a:gd name="connsiteY60" fmla="*/ 529340 h 1046508"/>
                  <a:gd name="connsiteX61" fmla="*/ 418176 w 1200744"/>
                  <a:gd name="connsiteY61" fmla="*/ 561418 h 1046508"/>
                  <a:gd name="connsiteX62" fmla="*/ 392350 w 1200744"/>
                  <a:gd name="connsiteY62" fmla="*/ 575897 h 1046508"/>
                  <a:gd name="connsiteX63" fmla="*/ 384326 w 1200744"/>
                  <a:gd name="connsiteY63" fmla="*/ 604396 h 1046508"/>
                  <a:gd name="connsiteX64" fmla="*/ 398804 w 1200744"/>
                  <a:gd name="connsiteY64" fmla="*/ 630221 h 1046508"/>
                  <a:gd name="connsiteX65" fmla="*/ 427304 w 1200744"/>
                  <a:gd name="connsiteY65" fmla="*/ 638245 h 1046508"/>
                  <a:gd name="connsiteX66" fmla="*/ 1104900 w 1200744"/>
                  <a:gd name="connsiteY66" fmla="*/ 557742 h 1046508"/>
                  <a:gd name="connsiteX67" fmla="*/ 1104900 w 1200744"/>
                  <a:gd name="connsiteY67" fmla="*/ 558713 h 1046508"/>
                  <a:gd name="connsiteX68" fmla="*/ 1157491 w 1200744"/>
                  <a:gd name="connsiteY68" fmla="*/ 552464 h 1046508"/>
                  <a:gd name="connsiteX69" fmla="*/ 1200469 w 1200744"/>
                  <a:gd name="connsiteY69" fmla="*/ 586314 h 1046508"/>
                  <a:gd name="connsiteX70" fmla="*/ 1200468 w 1200744"/>
                  <a:gd name="connsiteY70" fmla="*/ 586314 h 1046508"/>
                  <a:gd name="connsiteX71" fmla="*/ 1166618 w 1200744"/>
                  <a:gd name="connsiteY71" fmla="*/ 629292 h 1046508"/>
                  <a:gd name="connsiteX72" fmla="*/ 1104900 w 1200744"/>
                  <a:gd name="connsiteY72" fmla="*/ 636624 h 1046508"/>
                  <a:gd name="connsiteX73" fmla="*/ 1104900 w 1200744"/>
                  <a:gd name="connsiteY73" fmla="*/ 817908 h 1046508"/>
                  <a:gd name="connsiteX74" fmla="*/ 971550 w 1200744"/>
                  <a:gd name="connsiteY74" fmla="*/ 946496 h 1046508"/>
                  <a:gd name="connsiteX75" fmla="*/ 752889 w 1200744"/>
                  <a:gd name="connsiteY75" fmla="*/ 946496 h 1046508"/>
                  <a:gd name="connsiteX76" fmla="*/ 749140 w 1200744"/>
                  <a:gd name="connsiteY76" fmla="*/ 965065 h 1046508"/>
                  <a:gd name="connsiteX77" fmla="*/ 626271 w 1200744"/>
                  <a:gd name="connsiteY77" fmla="*/ 1046508 h 1046508"/>
                  <a:gd name="connsiteX78" fmla="*/ 533770 w 1200744"/>
                  <a:gd name="connsiteY78" fmla="*/ 1046508 h 1046508"/>
                  <a:gd name="connsiteX79" fmla="*/ 410901 w 1200744"/>
                  <a:gd name="connsiteY79" fmla="*/ 965065 h 1046508"/>
                  <a:gd name="connsiteX80" fmla="*/ 407153 w 1200744"/>
                  <a:gd name="connsiteY80" fmla="*/ 946496 h 1046508"/>
                  <a:gd name="connsiteX81" fmla="*/ 190500 w 1200744"/>
                  <a:gd name="connsiteY81" fmla="*/ 946496 h 1046508"/>
                  <a:gd name="connsiteX82" fmla="*/ 59532 w 1200744"/>
                  <a:gd name="connsiteY82" fmla="*/ 825052 h 1046508"/>
                  <a:gd name="connsiteX83" fmla="*/ 59432 w 1200744"/>
                  <a:gd name="connsiteY83" fmla="*/ 710643 h 1046508"/>
                  <a:gd name="connsiteX84" fmla="*/ 48816 w 1200744"/>
                  <a:gd name="connsiteY84" fmla="*/ 710643 h 1046508"/>
                  <a:gd name="connsiteX85" fmla="*/ 14298 w 1200744"/>
                  <a:gd name="connsiteY85" fmla="*/ 696345 h 1046508"/>
                  <a:gd name="connsiteX86" fmla="*/ 0 w 1200744"/>
                  <a:gd name="connsiteY86" fmla="*/ 661828 h 1046508"/>
                  <a:gd name="connsiteX87" fmla="*/ 14298 w 1200744"/>
                  <a:gd name="connsiteY87" fmla="*/ 627310 h 1046508"/>
                  <a:gd name="connsiteX88" fmla="*/ 48816 w 1200744"/>
                  <a:gd name="connsiteY88" fmla="*/ 613012 h 1046508"/>
                  <a:gd name="connsiteX89" fmla="*/ 59346 w 1200744"/>
                  <a:gd name="connsiteY89" fmla="*/ 613012 h 1046508"/>
                  <a:gd name="connsiteX90" fmla="*/ 59247 w 1200744"/>
                  <a:gd name="connsiteY90" fmla="*/ 501147 h 1046508"/>
                  <a:gd name="connsiteX91" fmla="*/ 48816 w 1200744"/>
                  <a:gd name="connsiteY91" fmla="*/ 501147 h 1046508"/>
                  <a:gd name="connsiteX92" fmla="*/ 14298 w 1200744"/>
                  <a:gd name="connsiteY92" fmla="*/ 486849 h 1046508"/>
                  <a:gd name="connsiteX93" fmla="*/ 0 w 1200744"/>
                  <a:gd name="connsiteY93" fmla="*/ 452332 h 1046508"/>
                  <a:gd name="connsiteX94" fmla="*/ 14298 w 1200744"/>
                  <a:gd name="connsiteY94" fmla="*/ 417814 h 1046508"/>
                  <a:gd name="connsiteX95" fmla="*/ 48816 w 1200744"/>
                  <a:gd name="connsiteY95" fmla="*/ 403516 h 1046508"/>
                  <a:gd name="connsiteX96" fmla="*/ 59161 w 1200744"/>
                  <a:gd name="connsiteY96" fmla="*/ 403516 h 1046508"/>
                  <a:gd name="connsiteX97" fmla="*/ 59063 w 1200744"/>
                  <a:gd name="connsiteY97" fmla="*/ 291651 h 1046508"/>
                  <a:gd name="connsiteX98" fmla="*/ 48816 w 1200744"/>
                  <a:gd name="connsiteY98" fmla="*/ 291651 h 1046508"/>
                  <a:gd name="connsiteX99" fmla="*/ 14298 w 1200744"/>
                  <a:gd name="connsiteY99" fmla="*/ 277353 h 1046508"/>
                  <a:gd name="connsiteX100" fmla="*/ 0 w 1200744"/>
                  <a:gd name="connsiteY100" fmla="*/ 242836 h 1046508"/>
                  <a:gd name="connsiteX101" fmla="*/ 14298 w 1200744"/>
                  <a:gd name="connsiteY101" fmla="*/ 208318 h 1046508"/>
                  <a:gd name="connsiteX102" fmla="*/ 48816 w 1200744"/>
                  <a:gd name="connsiteY102" fmla="*/ 194020 h 1046508"/>
                  <a:gd name="connsiteX103" fmla="*/ 58977 w 1200744"/>
                  <a:gd name="connsiteY103" fmla="*/ 19402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792956 w 1200744"/>
                  <a:gd name="connsiteY49" fmla="*/ 387635 h 1046508"/>
                  <a:gd name="connsiteX50" fmla="*/ 883444 w 1200744"/>
                  <a:gd name="connsiteY50" fmla="*/ 376884 h 1046508"/>
                  <a:gd name="connsiteX51" fmla="*/ 1157493 w 1200744"/>
                  <a:gd name="connsiteY51" fmla="*/ 347675 h 1046508"/>
                  <a:gd name="connsiteX52" fmla="*/ 1200471 w 1200744"/>
                  <a:gd name="connsiteY52" fmla="*/ 381525 h 1046508"/>
                  <a:gd name="connsiteX53" fmla="*/ 1200470 w 1200744"/>
                  <a:gd name="connsiteY53" fmla="*/ 381526 h 1046508"/>
                  <a:gd name="connsiteX54" fmla="*/ 1166620 w 1200744"/>
                  <a:gd name="connsiteY54" fmla="*/ 424503 h 1046508"/>
                  <a:gd name="connsiteX55" fmla="*/ 883444 w 1200744"/>
                  <a:gd name="connsiteY55" fmla="*/ 458146 h 1046508"/>
                  <a:gd name="connsiteX56" fmla="*/ 883444 w 1200744"/>
                  <a:gd name="connsiteY56" fmla="*/ 506141 h 1046508"/>
                  <a:gd name="connsiteX57" fmla="*/ 792956 w 1200744"/>
                  <a:gd name="connsiteY57" fmla="*/ 516892 h 1046508"/>
                  <a:gd name="connsiteX58" fmla="*/ 792956 w 1200744"/>
                  <a:gd name="connsiteY58" fmla="*/ 468897 h 1046508"/>
                  <a:gd name="connsiteX59" fmla="*/ 688181 w 1200744"/>
                  <a:gd name="connsiteY59" fmla="*/ 481345 h 1046508"/>
                  <a:gd name="connsiteX60" fmla="*/ 688181 w 1200744"/>
                  <a:gd name="connsiteY60" fmla="*/ 529340 h 1046508"/>
                  <a:gd name="connsiteX61" fmla="*/ 418176 w 1200744"/>
                  <a:gd name="connsiteY61" fmla="*/ 561418 h 1046508"/>
                  <a:gd name="connsiteX62" fmla="*/ 392350 w 1200744"/>
                  <a:gd name="connsiteY62" fmla="*/ 575897 h 1046508"/>
                  <a:gd name="connsiteX63" fmla="*/ 384326 w 1200744"/>
                  <a:gd name="connsiteY63" fmla="*/ 604396 h 1046508"/>
                  <a:gd name="connsiteX64" fmla="*/ 398804 w 1200744"/>
                  <a:gd name="connsiteY64" fmla="*/ 630221 h 1046508"/>
                  <a:gd name="connsiteX65" fmla="*/ 427304 w 1200744"/>
                  <a:gd name="connsiteY65" fmla="*/ 638245 h 1046508"/>
                  <a:gd name="connsiteX66" fmla="*/ 1104900 w 1200744"/>
                  <a:gd name="connsiteY66" fmla="*/ 557742 h 1046508"/>
                  <a:gd name="connsiteX67" fmla="*/ 1104900 w 1200744"/>
                  <a:gd name="connsiteY67" fmla="*/ 558713 h 1046508"/>
                  <a:gd name="connsiteX68" fmla="*/ 1157491 w 1200744"/>
                  <a:gd name="connsiteY68" fmla="*/ 552464 h 1046508"/>
                  <a:gd name="connsiteX69" fmla="*/ 1200469 w 1200744"/>
                  <a:gd name="connsiteY69" fmla="*/ 586314 h 1046508"/>
                  <a:gd name="connsiteX70" fmla="*/ 1200468 w 1200744"/>
                  <a:gd name="connsiteY70" fmla="*/ 586314 h 1046508"/>
                  <a:gd name="connsiteX71" fmla="*/ 1166618 w 1200744"/>
                  <a:gd name="connsiteY71" fmla="*/ 629292 h 1046508"/>
                  <a:gd name="connsiteX72" fmla="*/ 1104900 w 1200744"/>
                  <a:gd name="connsiteY72" fmla="*/ 636624 h 1046508"/>
                  <a:gd name="connsiteX73" fmla="*/ 1104900 w 1200744"/>
                  <a:gd name="connsiteY73" fmla="*/ 817908 h 1046508"/>
                  <a:gd name="connsiteX74" fmla="*/ 971550 w 1200744"/>
                  <a:gd name="connsiteY74" fmla="*/ 946496 h 1046508"/>
                  <a:gd name="connsiteX75" fmla="*/ 752889 w 1200744"/>
                  <a:gd name="connsiteY75" fmla="*/ 946496 h 1046508"/>
                  <a:gd name="connsiteX76" fmla="*/ 749140 w 1200744"/>
                  <a:gd name="connsiteY76" fmla="*/ 965065 h 1046508"/>
                  <a:gd name="connsiteX77" fmla="*/ 626271 w 1200744"/>
                  <a:gd name="connsiteY77" fmla="*/ 1046508 h 1046508"/>
                  <a:gd name="connsiteX78" fmla="*/ 533770 w 1200744"/>
                  <a:gd name="connsiteY78" fmla="*/ 1046508 h 1046508"/>
                  <a:gd name="connsiteX79" fmla="*/ 410901 w 1200744"/>
                  <a:gd name="connsiteY79" fmla="*/ 965065 h 1046508"/>
                  <a:gd name="connsiteX80" fmla="*/ 407153 w 1200744"/>
                  <a:gd name="connsiteY80" fmla="*/ 946496 h 1046508"/>
                  <a:gd name="connsiteX81" fmla="*/ 190500 w 1200744"/>
                  <a:gd name="connsiteY81" fmla="*/ 946496 h 1046508"/>
                  <a:gd name="connsiteX82" fmla="*/ 59532 w 1200744"/>
                  <a:gd name="connsiteY82" fmla="*/ 825052 h 1046508"/>
                  <a:gd name="connsiteX83" fmla="*/ 59432 w 1200744"/>
                  <a:gd name="connsiteY83" fmla="*/ 710643 h 1046508"/>
                  <a:gd name="connsiteX84" fmla="*/ 48816 w 1200744"/>
                  <a:gd name="connsiteY84" fmla="*/ 710643 h 1046508"/>
                  <a:gd name="connsiteX85" fmla="*/ 14298 w 1200744"/>
                  <a:gd name="connsiteY85" fmla="*/ 696345 h 1046508"/>
                  <a:gd name="connsiteX86" fmla="*/ 0 w 1200744"/>
                  <a:gd name="connsiteY86" fmla="*/ 661828 h 1046508"/>
                  <a:gd name="connsiteX87" fmla="*/ 14298 w 1200744"/>
                  <a:gd name="connsiteY87" fmla="*/ 627310 h 1046508"/>
                  <a:gd name="connsiteX88" fmla="*/ 48816 w 1200744"/>
                  <a:gd name="connsiteY88" fmla="*/ 613012 h 1046508"/>
                  <a:gd name="connsiteX89" fmla="*/ 59346 w 1200744"/>
                  <a:gd name="connsiteY89" fmla="*/ 613012 h 1046508"/>
                  <a:gd name="connsiteX90" fmla="*/ 59247 w 1200744"/>
                  <a:gd name="connsiteY90" fmla="*/ 501147 h 1046508"/>
                  <a:gd name="connsiteX91" fmla="*/ 48816 w 1200744"/>
                  <a:gd name="connsiteY91" fmla="*/ 501147 h 1046508"/>
                  <a:gd name="connsiteX92" fmla="*/ 14298 w 1200744"/>
                  <a:gd name="connsiteY92" fmla="*/ 486849 h 1046508"/>
                  <a:gd name="connsiteX93" fmla="*/ 0 w 1200744"/>
                  <a:gd name="connsiteY93" fmla="*/ 452332 h 1046508"/>
                  <a:gd name="connsiteX94" fmla="*/ 14298 w 1200744"/>
                  <a:gd name="connsiteY94" fmla="*/ 417814 h 1046508"/>
                  <a:gd name="connsiteX95" fmla="*/ 48816 w 1200744"/>
                  <a:gd name="connsiteY95" fmla="*/ 403516 h 1046508"/>
                  <a:gd name="connsiteX96" fmla="*/ 59161 w 1200744"/>
                  <a:gd name="connsiteY96" fmla="*/ 403516 h 1046508"/>
                  <a:gd name="connsiteX97" fmla="*/ 59063 w 1200744"/>
                  <a:gd name="connsiteY97" fmla="*/ 291651 h 1046508"/>
                  <a:gd name="connsiteX98" fmla="*/ 48816 w 1200744"/>
                  <a:gd name="connsiteY98" fmla="*/ 291651 h 1046508"/>
                  <a:gd name="connsiteX99" fmla="*/ 14298 w 1200744"/>
                  <a:gd name="connsiteY99" fmla="*/ 277353 h 1046508"/>
                  <a:gd name="connsiteX100" fmla="*/ 0 w 1200744"/>
                  <a:gd name="connsiteY100" fmla="*/ 242836 h 1046508"/>
                  <a:gd name="connsiteX101" fmla="*/ 14298 w 1200744"/>
                  <a:gd name="connsiteY101" fmla="*/ 208318 h 1046508"/>
                  <a:gd name="connsiteX102" fmla="*/ 48816 w 1200744"/>
                  <a:gd name="connsiteY102" fmla="*/ 194020 h 1046508"/>
                  <a:gd name="connsiteX103" fmla="*/ 58977 w 1200744"/>
                  <a:gd name="connsiteY103" fmla="*/ 194020 h 1046508"/>
                  <a:gd name="connsiteX104" fmla="*/ 58806 w 1200744"/>
                  <a:gd name="connsiteY104"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792956 w 1200744"/>
                  <a:gd name="connsiteY49" fmla="*/ 387635 h 1046508"/>
                  <a:gd name="connsiteX50" fmla="*/ 1157493 w 1200744"/>
                  <a:gd name="connsiteY50" fmla="*/ 347675 h 1046508"/>
                  <a:gd name="connsiteX51" fmla="*/ 1200471 w 1200744"/>
                  <a:gd name="connsiteY51" fmla="*/ 381525 h 1046508"/>
                  <a:gd name="connsiteX52" fmla="*/ 1200470 w 1200744"/>
                  <a:gd name="connsiteY52" fmla="*/ 381526 h 1046508"/>
                  <a:gd name="connsiteX53" fmla="*/ 1166620 w 1200744"/>
                  <a:gd name="connsiteY53" fmla="*/ 424503 h 1046508"/>
                  <a:gd name="connsiteX54" fmla="*/ 883444 w 1200744"/>
                  <a:gd name="connsiteY54" fmla="*/ 458146 h 1046508"/>
                  <a:gd name="connsiteX55" fmla="*/ 883444 w 1200744"/>
                  <a:gd name="connsiteY55" fmla="*/ 506141 h 1046508"/>
                  <a:gd name="connsiteX56" fmla="*/ 792956 w 1200744"/>
                  <a:gd name="connsiteY56" fmla="*/ 516892 h 1046508"/>
                  <a:gd name="connsiteX57" fmla="*/ 792956 w 1200744"/>
                  <a:gd name="connsiteY57" fmla="*/ 468897 h 1046508"/>
                  <a:gd name="connsiteX58" fmla="*/ 688181 w 1200744"/>
                  <a:gd name="connsiteY58" fmla="*/ 481345 h 1046508"/>
                  <a:gd name="connsiteX59" fmla="*/ 688181 w 1200744"/>
                  <a:gd name="connsiteY59" fmla="*/ 529340 h 1046508"/>
                  <a:gd name="connsiteX60" fmla="*/ 418176 w 1200744"/>
                  <a:gd name="connsiteY60" fmla="*/ 561418 h 1046508"/>
                  <a:gd name="connsiteX61" fmla="*/ 392350 w 1200744"/>
                  <a:gd name="connsiteY61" fmla="*/ 575897 h 1046508"/>
                  <a:gd name="connsiteX62" fmla="*/ 384326 w 1200744"/>
                  <a:gd name="connsiteY62" fmla="*/ 604396 h 1046508"/>
                  <a:gd name="connsiteX63" fmla="*/ 398804 w 1200744"/>
                  <a:gd name="connsiteY63" fmla="*/ 630221 h 1046508"/>
                  <a:gd name="connsiteX64" fmla="*/ 427304 w 1200744"/>
                  <a:gd name="connsiteY64" fmla="*/ 638245 h 1046508"/>
                  <a:gd name="connsiteX65" fmla="*/ 1104900 w 1200744"/>
                  <a:gd name="connsiteY65" fmla="*/ 557742 h 1046508"/>
                  <a:gd name="connsiteX66" fmla="*/ 1104900 w 1200744"/>
                  <a:gd name="connsiteY66" fmla="*/ 558713 h 1046508"/>
                  <a:gd name="connsiteX67" fmla="*/ 1157491 w 1200744"/>
                  <a:gd name="connsiteY67" fmla="*/ 552464 h 1046508"/>
                  <a:gd name="connsiteX68" fmla="*/ 1200469 w 1200744"/>
                  <a:gd name="connsiteY68" fmla="*/ 586314 h 1046508"/>
                  <a:gd name="connsiteX69" fmla="*/ 1200468 w 1200744"/>
                  <a:gd name="connsiteY69" fmla="*/ 586314 h 1046508"/>
                  <a:gd name="connsiteX70" fmla="*/ 1166618 w 1200744"/>
                  <a:gd name="connsiteY70" fmla="*/ 629292 h 1046508"/>
                  <a:gd name="connsiteX71" fmla="*/ 1104900 w 1200744"/>
                  <a:gd name="connsiteY71" fmla="*/ 636624 h 1046508"/>
                  <a:gd name="connsiteX72" fmla="*/ 1104900 w 1200744"/>
                  <a:gd name="connsiteY72" fmla="*/ 817908 h 1046508"/>
                  <a:gd name="connsiteX73" fmla="*/ 971550 w 1200744"/>
                  <a:gd name="connsiteY73" fmla="*/ 946496 h 1046508"/>
                  <a:gd name="connsiteX74" fmla="*/ 752889 w 1200744"/>
                  <a:gd name="connsiteY74" fmla="*/ 946496 h 1046508"/>
                  <a:gd name="connsiteX75" fmla="*/ 749140 w 1200744"/>
                  <a:gd name="connsiteY75" fmla="*/ 965065 h 1046508"/>
                  <a:gd name="connsiteX76" fmla="*/ 626271 w 1200744"/>
                  <a:gd name="connsiteY76" fmla="*/ 1046508 h 1046508"/>
                  <a:gd name="connsiteX77" fmla="*/ 533770 w 1200744"/>
                  <a:gd name="connsiteY77" fmla="*/ 1046508 h 1046508"/>
                  <a:gd name="connsiteX78" fmla="*/ 410901 w 1200744"/>
                  <a:gd name="connsiteY78" fmla="*/ 965065 h 1046508"/>
                  <a:gd name="connsiteX79" fmla="*/ 407153 w 1200744"/>
                  <a:gd name="connsiteY79" fmla="*/ 946496 h 1046508"/>
                  <a:gd name="connsiteX80" fmla="*/ 190500 w 1200744"/>
                  <a:gd name="connsiteY80" fmla="*/ 946496 h 1046508"/>
                  <a:gd name="connsiteX81" fmla="*/ 59532 w 1200744"/>
                  <a:gd name="connsiteY81" fmla="*/ 825052 h 1046508"/>
                  <a:gd name="connsiteX82" fmla="*/ 59432 w 1200744"/>
                  <a:gd name="connsiteY82" fmla="*/ 710643 h 1046508"/>
                  <a:gd name="connsiteX83" fmla="*/ 48816 w 1200744"/>
                  <a:gd name="connsiteY83" fmla="*/ 710643 h 1046508"/>
                  <a:gd name="connsiteX84" fmla="*/ 14298 w 1200744"/>
                  <a:gd name="connsiteY84" fmla="*/ 696345 h 1046508"/>
                  <a:gd name="connsiteX85" fmla="*/ 0 w 1200744"/>
                  <a:gd name="connsiteY85" fmla="*/ 661828 h 1046508"/>
                  <a:gd name="connsiteX86" fmla="*/ 14298 w 1200744"/>
                  <a:gd name="connsiteY86" fmla="*/ 627310 h 1046508"/>
                  <a:gd name="connsiteX87" fmla="*/ 48816 w 1200744"/>
                  <a:gd name="connsiteY87" fmla="*/ 613012 h 1046508"/>
                  <a:gd name="connsiteX88" fmla="*/ 59346 w 1200744"/>
                  <a:gd name="connsiteY88" fmla="*/ 613012 h 1046508"/>
                  <a:gd name="connsiteX89" fmla="*/ 59247 w 1200744"/>
                  <a:gd name="connsiteY89" fmla="*/ 501147 h 1046508"/>
                  <a:gd name="connsiteX90" fmla="*/ 48816 w 1200744"/>
                  <a:gd name="connsiteY90" fmla="*/ 501147 h 1046508"/>
                  <a:gd name="connsiteX91" fmla="*/ 14298 w 1200744"/>
                  <a:gd name="connsiteY91" fmla="*/ 486849 h 1046508"/>
                  <a:gd name="connsiteX92" fmla="*/ 0 w 1200744"/>
                  <a:gd name="connsiteY92" fmla="*/ 452332 h 1046508"/>
                  <a:gd name="connsiteX93" fmla="*/ 14298 w 1200744"/>
                  <a:gd name="connsiteY93" fmla="*/ 417814 h 1046508"/>
                  <a:gd name="connsiteX94" fmla="*/ 48816 w 1200744"/>
                  <a:gd name="connsiteY94" fmla="*/ 403516 h 1046508"/>
                  <a:gd name="connsiteX95" fmla="*/ 59161 w 1200744"/>
                  <a:gd name="connsiteY95" fmla="*/ 403516 h 1046508"/>
                  <a:gd name="connsiteX96" fmla="*/ 59063 w 1200744"/>
                  <a:gd name="connsiteY96" fmla="*/ 291651 h 1046508"/>
                  <a:gd name="connsiteX97" fmla="*/ 48816 w 1200744"/>
                  <a:gd name="connsiteY97" fmla="*/ 291651 h 1046508"/>
                  <a:gd name="connsiteX98" fmla="*/ 14298 w 1200744"/>
                  <a:gd name="connsiteY98" fmla="*/ 277353 h 1046508"/>
                  <a:gd name="connsiteX99" fmla="*/ 0 w 1200744"/>
                  <a:gd name="connsiteY99" fmla="*/ 242836 h 1046508"/>
                  <a:gd name="connsiteX100" fmla="*/ 14298 w 1200744"/>
                  <a:gd name="connsiteY100" fmla="*/ 208318 h 1046508"/>
                  <a:gd name="connsiteX101" fmla="*/ 48816 w 1200744"/>
                  <a:gd name="connsiteY101" fmla="*/ 194020 h 1046508"/>
                  <a:gd name="connsiteX102" fmla="*/ 58977 w 1200744"/>
                  <a:gd name="connsiteY102" fmla="*/ 194020 h 1046508"/>
                  <a:gd name="connsiteX103" fmla="*/ 58806 w 1200744"/>
                  <a:gd name="connsiteY103"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1157493 w 1200744"/>
                  <a:gd name="connsiteY49" fmla="*/ 347675 h 1046508"/>
                  <a:gd name="connsiteX50" fmla="*/ 1200471 w 1200744"/>
                  <a:gd name="connsiteY50" fmla="*/ 381525 h 1046508"/>
                  <a:gd name="connsiteX51" fmla="*/ 1200470 w 1200744"/>
                  <a:gd name="connsiteY51" fmla="*/ 381526 h 1046508"/>
                  <a:gd name="connsiteX52" fmla="*/ 1166620 w 1200744"/>
                  <a:gd name="connsiteY52" fmla="*/ 424503 h 1046508"/>
                  <a:gd name="connsiteX53" fmla="*/ 883444 w 1200744"/>
                  <a:gd name="connsiteY53" fmla="*/ 458146 h 1046508"/>
                  <a:gd name="connsiteX54" fmla="*/ 883444 w 1200744"/>
                  <a:gd name="connsiteY54" fmla="*/ 506141 h 1046508"/>
                  <a:gd name="connsiteX55" fmla="*/ 792956 w 1200744"/>
                  <a:gd name="connsiteY55" fmla="*/ 516892 h 1046508"/>
                  <a:gd name="connsiteX56" fmla="*/ 792956 w 1200744"/>
                  <a:gd name="connsiteY56" fmla="*/ 468897 h 1046508"/>
                  <a:gd name="connsiteX57" fmla="*/ 688181 w 1200744"/>
                  <a:gd name="connsiteY57" fmla="*/ 481345 h 1046508"/>
                  <a:gd name="connsiteX58" fmla="*/ 688181 w 1200744"/>
                  <a:gd name="connsiteY58" fmla="*/ 529340 h 1046508"/>
                  <a:gd name="connsiteX59" fmla="*/ 418176 w 1200744"/>
                  <a:gd name="connsiteY59" fmla="*/ 561418 h 1046508"/>
                  <a:gd name="connsiteX60" fmla="*/ 392350 w 1200744"/>
                  <a:gd name="connsiteY60" fmla="*/ 575897 h 1046508"/>
                  <a:gd name="connsiteX61" fmla="*/ 384326 w 1200744"/>
                  <a:gd name="connsiteY61" fmla="*/ 604396 h 1046508"/>
                  <a:gd name="connsiteX62" fmla="*/ 398804 w 1200744"/>
                  <a:gd name="connsiteY62" fmla="*/ 630221 h 1046508"/>
                  <a:gd name="connsiteX63" fmla="*/ 427304 w 1200744"/>
                  <a:gd name="connsiteY63" fmla="*/ 638245 h 1046508"/>
                  <a:gd name="connsiteX64" fmla="*/ 1104900 w 1200744"/>
                  <a:gd name="connsiteY64" fmla="*/ 557742 h 1046508"/>
                  <a:gd name="connsiteX65" fmla="*/ 1104900 w 1200744"/>
                  <a:gd name="connsiteY65" fmla="*/ 558713 h 1046508"/>
                  <a:gd name="connsiteX66" fmla="*/ 1157491 w 1200744"/>
                  <a:gd name="connsiteY66" fmla="*/ 552464 h 1046508"/>
                  <a:gd name="connsiteX67" fmla="*/ 1200469 w 1200744"/>
                  <a:gd name="connsiteY67" fmla="*/ 586314 h 1046508"/>
                  <a:gd name="connsiteX68" fmla="*/ 1200468 w 1200744"/>
                  <a:gd name="connsiteY68" fmla="*/ 586314 h 1046508"/>
                  <a:gd name="connsiteX69" fmla="*/ 1166618 w 1200744"/>
                  <a:gd name="connsiteY69" fmla="*/ 629292 h 1046508"/>
                  <a:gd name="connsiteX70" fmla="*/ 1104900 w 1200744"/>
                  <a:gd name="connsiteY70" fmla="*/ 636624 h 1046508"/>
                  <a:gd name="connsiteX71" fmla="*/ 1104900 w 1200744"/>
                  <a:gd name="connsiteY71" fmla="*/ 817908 h 1046508"/>
                  <a:gd name="connsiteX72" fmla="*/ 971550 w 1200744"/>
                  <a:gd name="connsiteY72" fmla="*/ 946496 h 1046508"/>
                  <a:gd name="connsiteX73" fmla="*/ 752889 w 1200744"/>
                  <a:gd name="connsiteY73" fmla="*/ 946496 h 1046508"/>
                  <a:gd name="connsiteX74" fmla="*/ 749140 w 1200744"/>
                  <a:gd name="connsiteY74" fmla="*/ 965065 h 1046508"/>
                  <a:gd name="connsiteX75" fmla="*/ 626271 w 1200744"/>
                  <a:gd name="connsiteY75" fmla="*/ 1046508 h 1046508"/>
                  <a:gd name="connsiteX76" fmla="*/ 533770 w 1200744"/>
                  <a:gd name="connsiteY76" fmla="*/ 1046508 h 1046508"/>
                  <a:gd name="connsiteX77" fmla="*/ 410901 w 1200744"/>
                  <a:gd name="connsiteY77" fmla="*/ 965065 h 1046508"/>
                  <a:gd name="connsiteX78" fmla="*/ 407153 w 1200744"/>
                  <a:gd name="connsiteY78" fmla="*/ 946496 h 1046508"/>
                  <a:gd name="connsiteX79" fmla="*/ 190500 w 1200744"/>
                  <a:gd name="connsiteY79" fmla="*/ 946496 h 1046508"/>
                  <a:gd name="connsiteX80" fmla="*/ 59532 w 1200744"/>
                  <a:gd name="connsiteY80" fmla="*/ 825052 h 1046508"/>
                  <a:gd name="connsiteX81" fmla="*/ 59432 w 1200744"/>
                  <a:gd name="connsiteY81" fmla="*/ 710643 h 1046508"/>
                  <a:gd name="connsiteX82" fmla="*/ 48816 w 1200744"/>
                  <a:gd name="connsiteY82" fmla="*/ 710643 h 1046508"/>
                  <a:gd name="connsiteX83" fmla="*/ 14298 w 1200744"/>
                  <a:gd name="connsiteY83" fmla="*/ 696345 h 1046508"/>
                  <a:gd name="connsiteX84" fmla="*/ 0 w 1200744"/>
                  <a:gd name="connsiteY84" fmla="*/ 661828 h 1046508"/>
                  <a:gd name="connsiteX85" fmla="*/ 14298 w 1200744"/>
                  <a:gd name="connsiteY85" fmla="*/ 627310 h 1046508"/>
                  <a:gd name="connsiteX86" fmla="*/ 48816 w 1200744"/>
                  <a:gd name="connsiteY86" fmla="*/ 613012 h 1046508"/>
                  <a:gd name="connsiteX87" fmla="*/ 59346 w 1200744"/>
                  <a:gd name="connsiteY87" fmla="*/ 613012 h 1046508"/>
                  <a:gd name="connsiteX88" fmla="*/ 59247 w 1200744"/>
                  <a:gd name="connsiteY88" fmla="*/ 501147 h 1046508"/>
                  <a:gd name="connsiteX89" fmla="*/ 48816 w 1200744"/>
                  <a:gd name="connsiteY89" fmla="*/ 501147 h 1046508"/>
                  <a:gd name="connsiteX90" fmla="*/ 14298 w 1200744"/>
                  <a:gd name="connsiteY90" fmla="*/ 486849 h 1046508"/>
                  <a:gd name="connsiteX91" fmla="*/ 0 w 1200744"/>
                  <a:gd name="connsiteY91" fmla="*/ 452332 h 1046508"/>
                  <a:gd name="connsiteX92" fmla="*/ 14298 w 1200744"/>
                  <a:gd name="connsiteY92" fmla="*/ 417814 h 1046508"/>
                  <a:gd name="connsiteX93" fmla="*/ 48816 w 1200744"/>
                  <a:gd name="connsiteY93" fmla="*/ 403516 h 1046508"/>
                  <a:gd name="connsiteX94" fmla="*/ 59161 w 1200744"/>
                  <a:gd name="connsiteY94" fmla="*/ 403516 h 1046508"/>
                  <a:gd name="connsiteX95" fmla="*/ 59063 w 1200744"/>
                  <a:gd name="connsiteY95" fmla="*/ 291651 h 1046508"/>
                  <a:gd name="connsiteX96" fmla="*/ 48816 w 1200744"/>
                  <a:gd name="connsiteY96" fmla="*/ 291651 h 1046508"/>
                  <a:gd name="connsiteX97" fmla="*/ 14298 w 1200744"/>
                  <a:gd name="connsiteY97" fmla="*/ 277353 h 1046508"/>
                  <a:gd name="connsiteX98" fmla="*/ 0 w 1200744"/>
                  <a:gd name="connsiteY98" fmla="*/ 242836 h 1046508"/>
                  <a:gd name="connsiteX99" fmla="*/ 14298 w 1200744"/>
                  <a:gd name="connsiteY99" fmla="*/ 208318 h 1046508"/>
                  <a:gd name="connsiteX100" fmla="*/ 48816 w 1200744"/>
                  <a:gd name="connsiteY100" fmla="*/ 194020 h 1046508"/>
                  <a:gd name="connsiteX101" fmla="*/ 58977 w 1200744"/>
                  <a:gd name="connsiteY101" fmla="*/ 194020 h 1046508"/>
                  <a:gd name="connsiteX102" fmla="*/ 58806 w 1200744"/>
                  <a:gd name="connsiteY102"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1157493 w 1200744"/>
                  <a:gd name="connsiteY48" fmla="*/ 347675 h 1046508"/>
                  <a:gd name="connsiteX49" fmla="*/ 1200471 w 1200744"/>
                  <a:gd name="connsiteY49" fmla="*/ 381525 h 1046508"/>
                  <a:gd name="connsiteX50" fmla="*/ 1200470 w 1200744"/>
                  <a:gd name="connsiteY50" fmla="*/ 381526 h 1046508"/>
                  <a:gd name="connsiteX51" fmla="*/ 1166620 w 1200744"/>
                  <a:gd name="connsiteY51" fmla="*/ 424503 h 1046508"/>
                  <a:gd name="connsiteX52" fmla="*/ 883444 w 1200744"/>
                  <a:gd name="connsiteY52" fmla="*/ 458146 h 1046508"/>
                  <a:gd name="connsiteX53" fmla="*/ 883444 w 1200744"/>
                  <a:gd name="connsiteY53" fmla="*/ 506141 h 1046508"/>
                  <a:gd name="connsiteX54" fmla="*/ 792956 w 1200744"/>
                  <a:gd name="connsiteY54" fmla="*/ 516892 h 1046508"/>
                  <a:gd name="connsiteX55" fmla="*/ 792956 w 1200744"/>
                  <a:gd name="connsiteY55" fmla="*/ 468897 h 1046508"/>
                  <a:gd name="connsiteX56" fmla="*/ 688181 w 1200744"/>
                  <a:gd name="connsiteY56" fmla="*/ 481345 h 1046508"/>
                  <a:gd name="connsiteX57" fmla="*/ 688181 w 1200744"/>
                  <a:gd name="connsiteY57" fmla="*/ 529340 h 1046508"/>
                  <a:gd name="connsiteX58" fmla="*/ 418176 w 1200744"/>
                  <a:gd name="connsiteY58" fmla="*/ 561418 h 1046508"/>
                  <a:gd name="connsiteX59" fmla="*/ 392350 w 1200744"/>
                  <a:gd name="connsiteY59" fmla="*/ 575897 h 1046508"/>
                  <a:gd name="connsiteX60" fmla="*/ 384326 w 1200744"/>
                  <a:gd name="connsiteY60" fmla="*/ 604396 h 1046508"/>
                  <a:gd name="connsiteX61" fmla="*/ 398804 w 1200744"/>
                  <a:gd name="connsiteY61" fmla="*/ 630221 h 1046508"/>
                  <a:gd name="connsiteX62" fmla="*/ 427304 w 1200744"/>
                  <a:gd name="connsiteY62" fmla="*/ 638245 h 1046508"/>
                  <a:gd name="connsiteX63" fmla="*/ 1104900 w 1200744"/>
                  <a:gd name="connsiteY63" fmla="*/ 557742 h 1046508"/>
                  <a:gd name="connsiteX64" fmla="*/ 1104900 w 1200744"/>
                  <a:gd name="connsiteY64" fmla="*/ 558713 h 1046508"/>
                  <a:gd name="connsiteX65" fmla="*/ 1157491 w 1200744"/>
                  <a:gd name="connsiteY65" fmla="*/ 552464 h 1046508"/>
                  <a:gd name="connsiteX66" fmla="*/ 1200469 w 1200744"/>
                  <a:gd name="connsiteY66" fmla="*/ 586314 h 1046508"/>
                  <a:gd name="connsiteX67" fmla="*/ 1200468 w 1200744"/>
                  <a:gd name="connsiteY67" fmla="*/ 586314 h 1046508"/>
                  <a:gd name="connsiteX68" fmla="*/ 1166618 w 1200744"/>
                  <a:gd name="connsiteY68" fmla="*/ 629292 h 1046508"/>
                  <a:gd name="connsiteX69" fmla="*/ 1104900 w 1200744"/>
                  <a:gd name="connsiteY69" fmla="*/ 636624 h 1046508"/>
                  <a:gd name="connsiteX70" fmla="*/ 1104900 w 1200744"/>
                  <a:gd name="connsiteY70" fmla="*/ 817908 h 1046508"/>
                  <a:gd name="connsiteX71" fmla="*/ 971550 w 1200744"/>
                  <a:gd name="connsiteY71" fmla="*/ 946496 h 1046508"/>
                  <a:gd name="connsiteX72" fmla="*/ 752889 w 1200744"/>
                  <a:gd name="connsiteY72" fmla="*/ 946496 h 1046508"/>
                  <a:gd name="connsiteX73" fmla="*/ 749140 w 1200744"/>
                  <a:gd name="connsiteY73" fmla="*/ 965065 h 1046508"/>
                  <a:gd name="connsiteX74" fmla="*/ 626271 w 1200744"/>
                  <a:gd name="connsiteY74" fmla="*/ 1046508 h 1046508"/>
                  <a:gd name="connsiteX75" fmla="*/ 533770 w 1200744"/>
                  <a:gd name="connsiteY75" fmla="*/ 1046508 h 1046508"/>
                  <a:gd name="connsiteX76" fmla="*/ 410901 w 1200744"/>
                  <a:gd name="connsiteY76" fmla="*/ 965065 h 1046508"/>
                  <a:gd name="connsiteX77" fmla="*/ 407153 w 1200744"/>
                  <a:gd name="connsiteY77" fmla="*/ 946496 h 1046508"/>
                  <a:gd name="connsiteX78" fmla="*/ 190500 w 1200744"/>
                  <a:gd name="connsiteY78" fmla="*/ 946496 h 1046508"/>
                  <a:gd name="connsiteX79" fmla="*/ 59532 w 1200744"/>
                  <a:gd name="connsiteY79" fmla="*/ 825052 h 1046508"/>
                  <a:gd name="connsiteX80" fmla="*/ 59432 w 1200744"/>
                  <a:gd name="connsiteY80" fmla="*/ 710643 h 1046508"/>
                  <a:gd name="connsiteX81" fmla="*/ 48816 w 1200744"/>
                  <a:gd name="connsiteY81" fmla="*/ 710643 h 1046508"/>
                  <a:gd name="connsiteX82" fmla="*/ 14298 w 1200744"/>
                  <a:gd name="connsiteY82" fmla="*/ 696345 h 1046508"/>
                  <a:gd name="connsiteX83" fmla="*/ 0 w 1200744"/>
                  <a:gd name="connsiteY83" fmla="*/ 661828 h 1046508"/>
                  <a:gd name="connsiteX84" fmla="*/ 14298 w 1200744"/>
                  <a:gd name="connsiteY84" fmla="*/ 627310 h 1046508"/>
                  <a:gd name="connsiteX85" fmla="*/ 48816 w 1200744"/>
                  <a:gd name="connsiteY85" fmla="*/ 613012 h 1046508"/>
                  <a:gd name="connsiteX86" fmla="*/ 59346 w 1200744"/>
                  <a:gd name="connsiteY86" fmla="*/ 613012 h 1046508"/>
                  <a:gd name="connsiteX87" fmla="*/ 59247 w 1200744"/>
                  <a:gd name="connsiteY87" fmla="*/ 501147 h 1046508"/>
                  <a:gd name="connsiteX88" fmla="*/ 48816 w 1200744"/>
                  <a:gd name="connsiteY88" fmla="*/ 501147 h 1046508"/>
                  <a:gd name="connsiteX89" fmla="*/ 14298 w 1200744"/>
                  <a:gd name="connsiteY89" fmla="*/ 486849 h 1046508"/>
                  <a:gd name="connsiteX90" fmla="*/ 0 w 1200744"/>
                  <a:gd name="connsiteY90" fmla="*/ 452332 h 1046508"/>
                  <a:gd name="connsiteX91" fmla="*/ 14298 w 1200744"/>
                  <a:gd name="connsiteY91" fmla="*/ 417814 h 1046508"/>
                  <a:gd name="connsiteX92" fmla="*/ 48816 w 1200744"/>
                  <a:gd name="connsiteY92" fmla="*/ 403516 h 1046508"/>
                  <a:gd name="connsiteX93" fmla="*/ 59161 w 1200744"/>
                  <a:gd name="connsiteY93" fmla="*/ 403516 h 1046508"/>
                  <a:gd name="connsiteX94" fmla="*/ 59063 w 1200744"/>
                  <a:gd name="connsiteY94" fmla="*/ 291651 h 1046508"/>
                  <a:gd name="connsiteX95" fmla="*/ 48816 w 1200744"/>
                  <a:gd name="connsiteY95" fmla="*/ 291651 h 1046508"/>
                  <a:gd name="connsiteX96" fmla="*/ 14298 w 1200744"/>
                  <a:gd name="connsiteY96" fmla="*/ 277353 h 1046508"/>
                  <a:gd name="connsiteX97" fmla="*/ 0 w 1200744"/>
                  <a:gd name="connsiteY97" fmla="*/ 242836 h 1046508"/>
                  <a:gd name="connsiteX98" fmla="*/ 14298 w 1200744"/>
                  <a:gd name="connsiteY98" fmla="*/ 208318 h 1046508"/>
                  <a:gd name="connsiteX99" fmla="*/ 48816 w 1200744"/>
                  <a:gd name="connsiteY99" fmla="*/ 194020 h 1046508"/>
                  <a:gd name="connsiteX100" fmla="*/ 58977 w 1200744"/>
                  <a:gd name="connsiteY100" fmla="*/ 194020 h 1046508"/>
                  <a:gd name="connsiteX101" fmla="*/ 58806 w 1200744"/>
                  <a:gd name="connsiteY101"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1157493 w 1200744"/>
                  <a:gd name="connsiteY47" fmla="*/ 347675 h 1046508"/>
                  <a:gd name="connsiteX48" fmla="*/ 1200471 w 1200744"/>
                  <a:gd name="connsiteY48" fmla="*/ 381525 h 1046508"/>
                  <a:gd name="connsiteX49" fmla="*/ 1200470 w 1200744"/>
                  <a:gd name="connsiteY49" fmla="*/ 381526 h 1046508"/>
                  <a:gd name="connsiteX50" fmla="*/ 1166620 w 1200744"/>
                  <a:gd name="connsiteY50" fmla="*/ 424503 h 1046508"/>
                  <a:gd name="connsiteX51" fmla="*/ 883444 w 1200744"/>
                  <a:gd name="connsiteY51" fmla="*/ 458146 h 1046508"/>
                  <a:gd name="connsiteX52" fmla="*/ 883444 w 1200744"/>
                  <a:gd name="connsiteY52" fmla="*/ 506141 h 1046508"/>
                  <a:gd name="connsiteX53" fmla="*/ 792956 w 1200744"/>
                  <a:gd name="connsiteY53" fmla="*/ 516892 h 1046508"/>
                  <a:gd name="connsiteX54" fmla="*/ 792956 w 1200744"/>
                  <a:gd name="connsiteY54" fmla="*/ 468897 h 1046508"/>
                  <a:gd name="connsiteX55" fmla="*/ 688181 w 1200744"/>
                  <a:gd name="connsiteY55" fmla="*/ 481345 h 1046508"/>
                  <a:gd name="connsiteX56" fmla="*/ 688181 w 1200744"/>
                  <a:gd name="connsiteY56" fmla="*/ 529340 h 1046508"/>
                  <a:gd name="connsiteX57" fmla="*/ 418176 w 1200744"/>
                  <a:gd name="connsiteY57" fmla="*/ 561418 h 1046508"/>
                  <a:gd name="connsiteX58" fmla="*/ 392350 w 1200744"/>
                  <a:gd name="connsiteY58" fmla="*/ 575897 h 1046508"/>
                  <a:gd name="connsiteX59" fmla="*/ 384326 w 1200744"/>
                  <a:gd name="connsiteY59" fmla="*/ 604396 h 1046508"/>
                  <a:gd name="connsiteX60" fmla="*/ 398804 w 1200744"/>
                  <a:gd name="connsiteY60" fmla="*/ 630221 h 1046508"/>
                  <a:gd name="connsiteX61" fmla="*/ 427304 w 1200744"/>
                  <a:gd name="connsiteY61" fmla="*/ 638245 h 1046508"/>
                  <a:gd name="connsiteX62" fmla="*/ 1104900 w 1200744"/>
                  <a:gd name="connsiteY62" fmla="*/ 557742 h 1046508"/>
                  <a:gd name="connsiteX63" fmla="*/ 1104900 w 1200744"/>
                  <a:gd name="connsiteY63" fmla="*/ 558713 h 1046508"/>
                  <a:gd name="connsiteX64" fmla="*/ 1157491 w 1200744"/>
                  <a:gd name="connsiteY64" fmla="*/ 552464 h 1046508"/>
                  <a:gd name="connsiteX65" fmla="*/ 1200469 w 1200744"/>
                  <a:gd name="connsiteY65" fmla="*/ 586314 h 1046508"/>
                  <a:gd name="connsiteX66" fmla="*/ 1200468 w 1200744"/>
                  <a:gd name="connsiteY66" fmla="*/ 586314 h 1046508"/>
                  <a:gd name="connsiteX67" fmla="*/ 1166618 w 1200744"/>
                  <a:gd name="connsiteY67" fmla="*/ 629292 h 1046508"/>
                  <a:gd name="connsiteX68" fmla="*/ 1104900 w 1200744"/>
                  <a:gd name="connsiteY68" fmla="*/ 636624 h 1046508"/>
                  <a:gd name="connsiteX69" fmla="*/ 1104900 w 1200744"/>
                  <a:gd name="connsiteY69" fmla="*/ 817908 h 1046508"/>
                  <a:gd name="connsiteX70" fmla="*/ 971550 w 1200744"/>
                  <a:gd name="connsiteY70" fmla="*/ 946496 h 1046508"/>
                  <a:gd name="connsiteX71" fmla="*/ 752889 w 1200744"/>
                  <a:gd name="connsiteY71" fmla="*/ 946496 h 1046508"/>
                  <a:gd name="connsiteX72" fmla="*/ 749140 w 1200744"/>
                  <a:gd name="connsiteY72" fmla="*/ 965065 h 1046508"/>
                  <a:gd name="connsiteX73" fmla="*/ 626271 w 1200744"/>
                  <a:gd name="connsiteY73" fmla="*/ 1046508 h 1046508"/>
                  <a:gd name="connsiteX74" fmla="*/ 533770 w 1200744"/>
                  <a:gd name="connsiteY74" fmla="*/ 1046508 h 1046508"/>
                  <a:gd name="connsiteX75" fmla="*/ 410901 w 1200744"/>
                  <a:gd name="connsiteY75" fmla="*/ 965065 h 1046508"/>
                  <a:gd name="connsiteX76" fmla="*/ 407153 w 1200744"/>
                  <a:gd name="connsiteY76" fmla="*/ 946496 h 1046508"/>
                  <a:gd name="connsiteX77" fmla="*/ 190500 w 1200744"/>
                  <a:gd name="connsiteY77" fmla="*/ 946496 h 1046508"/>
                  <a:gd name="connsiteX78" fmla="*/ 59532 w 1200744"/>
                  <a:gd name="connsiteY78" fmla="*/ 825052 h 1046508"/>
                  <a:gd name="connsiteX79" fmla="*/ 59432 w 1200744"/>
                  <a:gd name="connsiteY79" fmla="*/ 710643 h 1046508"/>
                  <a:gd name="connsiteX80" fmla="*/ 48816 w 1200744"/>
                  <a:gd name="connsiteY80" fmla="*/ 710643 h 1046508"/>
                  <a:gd name="connsiteX81" fmla="*/ 14298 w 1200744"/>
                  <a:gd name="connsiteY81" fmla="*/ 696345 h 1046508"/>
                  <a:gd name="connsiteX82" fmla="*/ 0 w 1200744"/>
                  <a:gd name="connsiteY82" fmla="*/ 661828 h 1046508"/>
                  <a:gd name="connsiteX83" fmla="*/ 14298 w 1200744"/>
                  <a:gd name="connsiteY83" fmla="*/ 627310 h 1046508"/>
                  <a:gd name="connsiteX84" fmla="*/ 48816 w 1200744"/>
                  <a:gd name="connsiteY84" fmla="*/ 613012 h 1046508"/>
                  <a:gd name="connsiteX85" fmla="*/ 59346 w 1200744"/>
                  <a:gd name="connsiteY85" fmla="*/ 613012 h 1046508"/>
                  <a:gd name="connsiteX86" fmla="*/ 59247 w 1200744"/>
                  <a:gd name="connsiteY86" fmla="*/ 501147 h 1046508"/>
                  <a:gd name="connsiteX87" fmla="*/ 48816 w 1200744"/>
                  <a:gd name="connsiteY87" fmla="*/ 501147 h 1046508"/>
                  <a:gd name="connsiteX88" fmla="*/ 14298 w 1200744"/>
                  <a:gd name="connsiteY88" fmla="*/ 486849 h 1046508"/>
                  <a:gd name="connsiteX89" fmla="*/ 0 w 1200744"/>
                  <a:gd name="connsiteY89" fmla="*/ 452332 h 1046508"/>
                  <a:gd name="connsiteX90" fmla="*/ 14298 w 1200744"/>
                  <a:gd name="connsiteY90" fmla="*/ 417814 h 1046508"/>
                  <a:gd name="connsiteX91" fmla="*/ 48816 w 1200744"/>
                  <a:gd name="connsiteY91" fmla="*/ 403516 h 1046508"/>
                  <a:gd name="connsiteX92" fmla="*/ 59161 w 1200744"/>
                  <a:gd name="connsiteY92" fmla="*/ 403516 h 1046508"/>
                  <a:gd name="connsiteX93" fmla="*/ 59063 w 1200744"/>
                  <a:gd name="connsiteY93" fmla="*/ 291651 h 1046508"/>
                  <a:gd name="connsiteX94" fmla="*/ 48816 w 1200744"/>
                  <a:gd name="connsiteY94" fmla="*/ 291651 h 1046508"/>
                  <a:gd name="connsiteX95" fmla="*/ 14298 w 1200744"/>
                  <a:gd name="connsiteY95" fmla="*/ 277353 h 1046508"/>
                  <a:gd name="connsiteX96" fmla="*/ 0 w 1200744"/>
                  <a:gd name="connsiteY96" fmla="*/ 242836 h 1046508"/>
                  <a:gd name="connsiteX97" fmla="*/ 14298 w 1200744"/>
                  <a:gd name="connsiteY97" fmla="*/ 208318 h 1046508"/>
                  <a:gd name="connsiteX98" fmla="*/ 48816 w 1200744"/>
                  <a:gd name="connsiteY98" fmla="*/ 194020 h 1046508"/>
                  <a:gd name="connsiteX99" fmla="*/ 58977 w 1200744"/>
                  <a:gd name="connsiteY99" fmla="*/ 194020 h 1046508"/>
                  <a:gd name="connsiteX100" fmla="*/ 58806 w 1200744"/>
                  <a:gd name="connsiteY100"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1157493 w 1200744"/>
                  <a:gd name="connsiteY46" fmla="*/ 347675 h 1046508"/>
                  <a:gd name="connsiteX47" fmla="*/ 1200471 w 1200744"/>
                  <a:gd name="connsiteY47" fmla="*/ 381525 h 1046508"/>
                  <a:gd name="connsiteX48" fmla="*/ 1200470 w 1200744"/>
                  <a:gd name="connsiteY48" fmla="*/ 381526 h 1046508"/>
                  <a:gd name="connsiteX49" fmla="*/ 1166620 w 1200744"/>
                  <a:gd name="connsiteY49" fmla="*/ 424503 h 1046508"/>
                  <a:gd name="connsiteX50" fmla="*/ 883444 w 1200744"/>
                  <a:gd name="connsiteY50" fmla="*/ 458146 h 1046508"/>
                  <a:gd name="connsiteX51" fmla="*/ 883444 w 1200744"/>
                  <a:gd name="connsiteY51" fmla="*/ 506141 h 1046508"/>
                  <a:gd name="connsiteX52" fmla="*/ 792956 w 1200744"/>
                  <a:gd name="connsiteY52" fmla="*/ 516892 h 1046508"/>
                  <a:gd name="connsiteX53" fmla="*/ 792956 w 1200744"/>
                  <a:gd name="connsiteY53" fmla="*/ 468897 h 1046508"/>
                  <a:gd name="connsiteX54" fmla="*/ 688181 w 1200744"/>
                  <a:gd name="connsiteY54" fmla="*/ 481345 h 1046508"/>
                  <a:gd name="connsiteX55" fmla="*/ 688181 w 1200744"/>
                  <a:gd name="connsiteY55" fmla="*/ 529340 h 1046508"/>
                  <a:gd name="connsiteX56" fmla="*/ 418176 w 1200744"/>
                  <a:gd name="connsiteY56" fmla="*/ 561418 h 1046508"/>
                  <a:gd name="connsiteX57" fmla="*/ 392350 w 1200744"/>
                  <a:gd name="connsiteY57" fmla="*/ 575897 h 1046508"/>
                  <a:gd name="connsiteX58" fmla="*/ 384326 w 1200744"/>
                  <a:gd name="connsiteY58" fmla="*/ 604396 h 1046508"/>
                  <a:gd name="connsiteX59" fmla="*/ 398804 w 1200744"/>
                  <a:gd name="connsiteY59" fmla="*/ 630221 h 1046508"/>
                  <a:gd name="connsiteX60" fmla="*/ 427304 w 1200744"/>
                  <a:gd name="connsiteY60" fmla="*/ 638245 h 1046508"/>
                  <a:gd name="connsiteX61" fmla="*/ 1104900 w 1200744"/>
                  <a:gd name="connsiteY61" fmla="*/ 557742 h 1046508"/>
                  <a:gd name="connsiteX62" fmla="*/ 1104900 w 1200744"/>
                  <a:gd name="connsiteY62" fmla="*/ 558713 h 1046508"/>
                  <a:gd name="connsiteX63" fmla="*/ 1157491 w 1200744"/>
                  <a:gd name="connsiteY63" fmla="*/ 552464 h 1046508"/>
                  <a:gd name="connsiteX64" fmla="*/ 1200469 w 1200744"/>
                  <a:gd name="connsiteY64" fmla="*/ 586314 h 1046508"/>
                  <a:gd name="connsiteX65" fmla="*/ 1200468 w 1200744"/>
                  <a:gd name="connsiteY65" fmla="*/ 586314 h 1046508"/>
                  <a:gd name="connsiteX66" fmla="*/ 1166618 w 1200744"/>
                  <a:gd name="connsiteY66" fmla="*/ 629292 h 1046508"/>
                  <a:gd name="connsiteX67" fmla="*/ 1104900 w 1200744"/>
                  <a:gd name="connsiteY67" fmla="*/ 636624 h 1046508"/>
                  <a:gd name="connsiteX68" fmla="*/ 1104900 w 1200744"/>
                  <a:gd name="connsiteY68" fmla="*/ 817908 h 1046508"/>
                  <a:gd name="connsiteX69" fmla="*/ 971550 w 1200744"/>
                  <a:gd name="connsiteY69" fmla="*/ 946496 h 1046508"/>
                  <a:gd name="connsiteX70" fmla="*/ 752889 w 1200744"/>
                  <a:gd name="connsiteY70" fmla="*/ 946496 h 1046508"/>
                  <a:gd name="connsiteX71" fmla="*/ 749140 w 1200744"/>
                  <a:gd name="connsiteY71" fmla="*/ 965065 h 1046508"/>
                  <a:gd name="connsiteX72" fmla="*/ 626271 w 1200744"/>
                  <a:gd name="connsiteY72" fmla="*/ 1046508 h 1046508"/>
                  <a:gd name="connsiteX73" fmla="*/ 533770 w 1200744"/>
                  <a:gd name="connsiteY73" fmla="*/ 1046508 h 1046508"/>
                  <a:gd name="connsiteX74" fmla="*/ 410901 w 1200744"/>
                  <a:gd name="connsiteY74" fmla="*/ 965065 h 1046508"/>
                  <a:gd name="connsiteX75" fmla="*/ 407153 w 1200744"/>
                  <a:gd name="connsiteY75" fmla="*/ 946496 h 1046508"/>
                  <a:gd name="connsiteX76" fmla="*/ 190500 w 1200744"/>
                  <a:gd name="connsiteY76" fmla="*/ 946496 h 1046508"/>
                  <a:gd name="connsiteX77" fmla="*/ 59532 w 1200744"/>
                  <a:gd name="connsiteY77" fmla="*/ 825052 h 1046508"/>
                  <a:gd name="connsiteX78" fmla="*/ 59432 w 1200744"/>
                  <a:gd name="connsiteY78" fmla="*/ 710643 h 1046508"/>
                  <a:gd name="connsiteX79" fmla="*/ 48816 w 1200744"/>
                  <a:gd name="connsiteY79" fmla="*/ 710643 h 1046508"/>
                  <a:gd name="connsiteX80" fmla="*/ 14298 w 1200744"/>
                  <a:gd name="connsiteY80" fmla="*/ 696345 h 1046508"/>
                  <a:gd name="connsiteX81" fmla="*/ 0 w 1200744"/>
                  <a:gd name="connsiteY81" fmla="*/ 661828 h 1046508"/>
                  <a:gd name="connsiteX82" fmla="*/ 14298 w 1200744"/>
                  <a:gd name="connsiteY82" fmla="*/ 627310 h 1046508"/>
                  <a:gd name="connsiteX83" fmla="*/ 48816 w 1200744"/>
                  <a:gd name="connsiteY83" fmla="*/ 613012 h 1046508"/>
                  <a:gd name="connsiteX84" fmla="*/ 59346 w 1200744"/>
                  <a:gd name="connsiteY84" fmla="*/ 613012 h 1046508"/>
                  <a:gd name="connsiteX85" fmla="*/ 59247 w 1200744"/>
                  <a:gd name="connsiteY85" fmla="*/ 501147 h 1046508"/>
                  <a:gd name="connsiteX86" fmla="*/ 48816 w 1200744"/>
                  <a:gd name="connsiteY86" fmla="*/ 501147 h 1046508"/>
                  <a:gd name="connsiteX87" fmla="*/ 14298 w 1200744"/>
                  <a:gd name="connsiteY87" fmla="*/ 486849 h 1046508"/>
                  <a:gd name="connsiteX88" fmla="*/ 0 w 1200744"/>
                  <a:gd name="connsiteY88" fmla="*/ 452332 h 1046508"/>
                  <a:gd name="connsiteX89" fmla="*/ 14298 w 1200744"/>
                  <a:gd name="connsiteY89" fmla="*/ 417814 h 1046508"/>
                  <a:gd name="connsiteX90" fmla="*/ 48816 w 1200744"/>
                  <a:gd name="connsiteY90" fmla="*/ 403516 h 1046508"/>
                  <a:gd name="connsiteX91" fmla="*/ 59161 w 1200744"/>
                  <a:gd name="connsiteY91" fmla="*/ 403516 h 1046508"/>
                  <a:gd name="connsiteX92" fmla="*/ 59063 w 1200744"/>
                  <a:gd name="connsiteY92" fmla="*/ 291651 h 1046508"/>
                  <a:gd name="connsiteX93" fmla="*/ 48816 w 1200744"/>
                  <a:gd name="connsiteY93" fmla="*/ 291651 h 1046508"/>
                  <a:gd name="connsiteX94" fmla="*/ 14298 w 1200744"/>
                  <a:gd name="connsiteY94" fmla="*/ 277353 h 1046508"/>
                  <a:gd name="connsiteX95" fmla="*/ 0 w 1200744"/>
                  <a:gd name="connsiteY95" fmla="*/ 242836 h 1046508"/>
                  <a:gd name="connsiteX96" fmla="*/ 14298 w 1200744"/>
                  <a:gd name="connsiteY96" fmla="*/ 208318 h 1046508"/>
                  <a:gd name="connsiteX97" fmla="*/ 48816 w 1200744"/>
                  <a:gd name="connsiteY97" fmla="*/ 194020 h 1046508"/>
                  <a:gd name="connsiteX98" fmla="*/ 58977 w 1200744"/>
                  <a:gd name="connsiteY98" fmla="*/ 194020 h 1046508"/>
                  <a:gd name="connsiteX99" fmla="*/ 58806 w 1200744"/>
                  <a:gd name="connsiteY99"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83444 w 1200744"/>
                  <a:gd name="connsiteY34" fmla="*/ 235459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1157493 w 1200744"/>
                  <a:gd name="connsiteY45" fmla="*/ 347675 h 1046508"/>
                  <a:gd name="connsiteX46" fmla="*/ 1200471 w 1200744"/>
                  <a:gd name="connsiteY46" fmla="*/ 381525 h 1046508"/>
                  <a:gd name="connsiteX47" fmla="*/ 1200470 w 1200744"/>
                  <a:gd name="connsiteY47" fmla="*/ 381526 h 1046508"/>
                  <a:gd name="connsiteX48" fmla="*/ 1166620 w 1200744"/>
                  <a:gd name="connsiteY48" fmla="*/ 424503 h 1046508"/>
                  <a:gd name="connsiteX49" fmla="*/ 883444 w 1200744"/>
                  <a:gd name="connsiteY49" fmla="*/ 458146 h 1046508"/>
                  <a:gd name="connsiteX50" fmla="*/ 883444 w 1200744"/>
                  <a:gd name="connsiteY50" fmla="*/ 506141 h 1046508"/>
                  <a:gd name="connsiteX51" fmla="*/ 792956 w 1200744"/>
                  <a:gd name="connsiteY51" fmla="*/ 516892 h 1046508"/>
                  <a:gd name="connsiteX52" fmla="*/ 792956 w 1200744"/>
                  <a:gd name="connsiteY52" fmla="*/ 468897 h 1046508"/>
                  <a:gd name="connsiteX53" fmla="*/ 688181 w 1200744"/>
                  <a:gd name="connsiteY53" fmla="*/ 481345 h 1046508"/>
                  <a:gd name="connsiteX54" fmla="*/ 688181 w 1200744"/>
                  <a:gd name="connsiteY54" fmla="*/ 529340 h 1046508"/>
                  <a:gd name="connsiteX55" fmla="*/ 418176 w 1200744"/>
                  <a:gd name="connsiteY55" fmla="*/ 561418 h 1046508"/>
                  <a:gd name="connsiteX56" fmla="*/ 392350 w 1200744"/>
                  <a:gd name="connsiteY56" fmla="*/ 575897 h 1046508"/>
                  <a:gd name="connsiteX57" fmla="*/ 384326 w 1200744"/>
                  <a:gd name="connsiteY57" fmla="*/ 604396 h 1046508"/>
                  <a:gd name="connsiteX58" fmla="*/ 398804 w 1200744"/>
                  <a:gd name="connsiteY58" fmla="*/ 630221 h 1046508"/>
                  <a:gd name="connsiteX59" fmla="*/ 427304 w 1200744"/>
                  <a:gd name="connsiteY59" fmla="*/ 638245 h 1046508"/>
                  <a:gd name="connsiteX60" fmla="*/ 1104900 w 1200744"/>
                  <a:gd name="connsiteY60" fmla="*/ 557742 h 1046508"/>
                  <a:gd name="connsiteX61" fmla="*/ 1104900 w 1200744"/>
                  <a:gd name="connsiteY61" fmla="*/ 558713 h 1046508"/>
                  <a:gd name="connsiteX62" fmla="*/ 1157491 w 1200744"/>
                  <a:gd name="connsiteY62" fmla="*/ 552464 h 1046508"/>
                  <a:gd name="connsiteX63" fmla="*/ 1200469 w 1200744"/>
                  <a:gd name="connsiteY63" fmla="*/ 586314 h 1046508"/>
                  <a:gd name="connsiteX64" fmla="*/ 1200468 w 1200744"/>
                  <a:gd name="connsiteY64" fmla="*/ 586314 h 1046508"/>
                  <a:gd name="connsiteX65" fmla="*/ 1166618 w 1200744"/>
                  <a:gd name="connsiteY65" fmla="*/ 629292 h 1046508"/>
                  <a:gd name="connsiteX66" fmla="*/ 1104900 w 1200744"/>
                  <a:gd name="connsiteY66" fmla="*/ 636624 h 1046508"/>
                  <a:gd name="connsiteX67" fmla="*/ 1104900 w 1200744"/>
                  <a:gd name="connsiteY67" fmla="*/ 817908 h 1046508"/>
                  <a:gd name="connsiteX68" fmla="*/ 971550 w 1200744"/>
                  <a:gd name="connsiteY68" fmla="*/ 946496 h 1046508"/>
                  <a:gd name="connsiteX69" fmla="*/ 752889 w 1200744"/>
                  <a:gd name="connsiteY69" fmla="*/ 946496 h 1046508"/>
                  <a:gd name="connsiteX70" fmla="*/ 749140 w 1200744"/>
                  <a:gd name="connsiteY70" fmla="*/ 965065 h 1046508"/>
                  <a:gd name="connsiteX71" fmla="*/ 626271 w 1200744"/>
                  <a:gd name="connsiteY71" fmla="*/ 1046508 h 1046508"/>
                  <a:gd name="connsiteX72" fmla="*/ 533770 w 1200744"/>
                  <a:gd name="connsiteY72" fmla="*/ 1046508 h 1046508"/>
                  <a:gd name="connsiteX73" fmla="*/ 410901 w 1200744"/>
                  <a:gd name="connsiteY73" fmla="*/ 965065 h 1046508"/>
                  <a:gd name="connsiteX74" fmla="*/ 407153 w 1200744"/>
                  <a:gd name="connsiteY74" fmla="*/ 946496 h 1046508"/>
                  <a:gd name="connsiteX75" fmla="*/ 190500 w 1200744"/>
                  <a:gd name="connsiteY75" fmla="*/ 946496 h 1046508"/>
                  <a:gd name="connsiteX76" fmla="*/ 59532 w 1200744"/>
                  <a:gd name="connsiteY76" fmla="*/ 825052 h 1046508"/>
                  <a:gd name="connsiteX77" fmla="*/ 59432 w 1200744"/>
                  <a:gd name="connsiteY77" fmla="*/ 710643 h 1046508"/>
                  <a:gd name="connsiteX78" fmla="*/ 48816 w 1200744"/>
                  <a:gd name="connsiteY78" fmla="*/ 710643 h 1046508"/>
                  <a:gd name="connsiteX79" fmla="*/ 14298 w 1200744"/>
                  <a:gd name="connsiteY79" fmla="*/ 696345 h 1046508"/>
                  <a:gd name="connsiteX80" fmla="*/ 0 w 1200744"/>
                  <a:gd name="connsiteY80" fmla="*/ 661828 h 1046508"/>
                  <a:gd name="connsiteX81" fmla="*/ 14298 w 1200744"/>
                  <a:gd name="connsiteY81" fmla="*/ 627310 h 1046508"/>
                  <a:gd name="connsiteX82" fmla="*/ 48816 w 1200744"/>
                  <a:gd name="connsiteY82" fmla="*/ 613012 h 1046508"/>
                  <a:gd name="connsiteX83" fmla="*/ 59346 w 1200744"/>
                  <a:gd name="connsiteY83" fmla="*/ 613012 h 1046508"/>
                  <a:gd name="connsiteX84" fmla="*/ 59247 w 1200744"/>
                  <a:gd name="connsiteY84" fmla="*/ 501147 h 1046508"/>
                  <a:gd name="connsiteX85" fmla="*/ 48816 w 1200744"/>
                  <a:gd name="connsiteY85" fmla="*/ 501147 h 1046508"/>
                  <a:gd name="connsiteX86" fmla="*/ 14298 w 1200744"/>
                  <a:gd name="connsiteY86" fmla="*/ 486849 h 1046508"/>
                  <a:gd name="connsiteX87" fmla="*/ 0 w 1200744"/>
                  <a:gd name="connsiteY87" fmla="*/ 452332 h 1046508"/>
                  <a:gd name="connsiteX88" fmla="*/ 14298 w 1200744"/>
                  <a:gd name="connsiteY88" fmla="*/ 417814 h 1046508"/>
                  <a:gd name="connsiteX89" fmla="*/ 48816 w 1200744"/>
                  <a:gd name="connsiteY89" fmla="*/ 403516 h 1046508"/>
                  <a:gd name="connsiteX90" fmla="*/ 59161 w 1200744"/>
                  <a:gd name="connsiteY90" fmla="*/ 403516 h 1046508"/>
                  <a:gd name="connsiteX91" fmla="*/ 59063 w 1200744"/>
                  <a:gd name="connsiteY91" fmla="*/ 291651 h 1046508"/>
                  <a:gd name="connsiteX92" fmla="*/ 48816 w 1200744"/>
                  <a:gd name="connsiteY92" fmla="*/ 291651 h 1046508"/>
                  <a:gd name="connsiteX93" fmla="*/ 14298 w 1200744"/>
                  <a:gd name="connsiteY93" fmla="*/ 277353 h 1046508"/>
                  <a:gd name="connsiteX94" fmla="*/ 0 w 1200744"/>
                  <a:gd name="connsiteY94" fmla="*/ 242836 h 1046508"/>
                  <a:gd name="connsiteX95" fmla="*/ 14298 w 1200744"/>
                  <a:gd name="connsiteY95" fmla="*/ 208318 h 1046508"/>
                  <a:gd name="connsiteX96" fmla="*/ 48816 w 1200744"/>
                  <a:gd name="connsiteY96" fmla="*/ 194020 h 1046508"/>
                  <a:gd name="connsiteX97" fmla="*/ 58977 w 1200744"/>
                  <a:gd name="connsiteY97" fmla="*/ 194020 h 1046508"/>
                  <a:gd name="connsiteX98" fmla="*/ 58806 w 1200744"/>
                  <a:gd name="connsiteY98"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78682 w 1200744"/>
                  <a:gd name="connsiteY34" fmla="*/ 240221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1157493 w 1200744"/>
                  <a:gd name="connsiteY45" fmla="*/ 347675 h 1046508"/>
                  <a:gd name="connsiteX46" fmla="*/ 1200471 w 1200744"/>
                  <a:gd name="connsiteY46" fmla="*/ 381525 h 1046508"/>
                  <a:gd name="connsiteX47" fmla="*/ 1200470 w 1200744"/>
                  <a:gd name="connsiteY47" fmla="*/ 381526 h 1046508"/>
                  <a:gd name="connsiteX48" fmla="*/ 1166620 w 1200744"/>
                  <a:gd name="connsiteY48" fmla="*/ 424503 h 1046508"/>
                  <a:gd name="connsiteX49" fmla="*/ 883444 w 1200744"/>
                  <a:gd name="connsiteY49" fmla="*/ 458146 h 1046508"/>
                  <a:gd name="connsiteX50" fmla="*/ 883444 w 1200744"/>
                  <a:gd name="connsiteY50" fmla="*/ 506141 h 1046508"/>
                  <a:gd name="connsiteX51" fmla="*/ 792956 w 1200744"/>
                  <a:gd name="connsiteY51" fmla="*/ 516892 h 1046508"/>
                  <a:gd name="connsiteX52" fmla="*/ 792956 w 1200744"/>
                  <a:gd name="connsiteY52" fmla="*/ 468897 h 1046508"/>
                  <a:gd name="connsiteX53" fmla="*/ 688181 w 1200744"/>
                  <a:gd name="connsiteY53" fmla="*/ 481345 h 1046508"/>
                  <a:gd name="connsiteX54" fmla="*/ 688181 w 1200744"/>
                  <a:gd name="connsiteY54" fmla="*/ 529340 h 1046508"/>
                  <a:gd name="connsiteX55" fmla="*/ 418176 w 1200744"/>
                  <a:gd name="connsiteY55" fmla="*/ 561418 h 1046508"/>
                  <a:gd name="connsiteX56" fmla="*/ 392350 w 1200744"/>
                  <a:gd name="connsiteY56" fmla="*/ 575897 h 1046508"/>
                  <a:gd name="connsiteX57" fmla="*/ 384326 w 1200744"/>
                  <a:gd name="connsiteY57" fmla="*/ 604396 h 1046508"/>
                  <a:gd name="connsiteX58" fmla="*/ 398804 w 1200744"/>
                  <a:gd name="connsiteY58" fmla="*/ 630221 h 1046508"/>
                  <a:gd name="connsiteX59" fmla="*/ 427304 w 1200744"/>
                  <a:gd name="connsiteY59" fmla="*/ 638245 h 1046508"/>
                  <a:gd name="connsiteX60" fmla="*/ 1104900 w 1200744"/>
                  <a:gd name="connsiteY60" fmla="*/ 557742 h 1046508"/>
                  <a:gd name="connsiteX61" fmla="*/ 1104900 w 1200744"/>
                  <a:gd name="connsiteY61" fmla="*/ 558713 h 1046508"/>
                  <a:gd name="connsiteX62" fmla="*/ 1157491 w 1200744"/>
                  <a:gd name="connsiteY62" fmla="*/ 552464 h 1046508"/>
                  <a:gd name="connsiteX63" fmla="*/ 1200469 w 1200744"/>
                  <a:gd name="connsiteY63" fmla="*/ 586314 h 1046508"/>
                  <a:gd name="connsiteX64" fmla="*/ 1200468 w 1200744"/>
                  <a:gd name="connsiteY64" fmla="*/ 586314 h 1046508"/>
                  <a:gd name="connsiteX65" fmla="*/ 1166618 w 1200744"/>
                  <a:gd name="connsiteY65" fmla="*/ 629292 h 1046508"/>
                  <a:gd name="connsiteX66" fmla="*/ 1104900 w 1200744"/>
                  <a:gd name="connsiteY66" fmla="*/ 636624 h 1046508"/>
                  <a:gd name="connsiteX67" fmla="*/ 1104900 w 1200744"/>
                  <a:gd name="connsiteY67" fmla="*/ 817908 h 1046508"/>
                  <a:gd name="connsiteX68" fmla="*/ 971550 w 1200744"/>
                  <a:gd name="connsiteY68" fmla="*/ 946496 h 1046508"/>
                  <a:gd name="connsiteX69" fmla="*/ 752889 w 1200744"/>
                  <a:gd name="connsiteY69" fmla="*/ 946496 h 1046508"/>
                  <a:gd name="connsiteX70" fmla="*/ 749140 w 1200744"/>
                  <a:gd name="connsiteY70" fmla="*/ 965065 h 1046508"/>
                  <a:gd name="connsiteX71" fmla="*/ 626271 w 1200744"/>
                  <a:gd name="connsiteY71" fmla="*/ 1046508 h 1046508"/>
                  <a:gd name="connsiteX72" fmla="*/ 533770 w 1200744"/>
                  <a:gd name="connsiteY72" fmla="*/ 1046508 h 1046508"/>
                  <a:gd name="connsiteX73" fmla="*/ 410901 w 1200744"/>
                  <a:gd name="connsiteY73" fmla="*/ 965065 h 1046508"/>
                  <a:gd name="connsiteX74" fmla="*/ 407153 w 1200744"/>
                  <a:gd name="connsiteY74" fmla="*/ 946496 h 1046508"/>
                  <a:gd name="connsiteX75" fmla="*/ 190500 w 1200744"/>
                  <a:gd name="connsiteY75" fmla="*/ 946496 h 1046508"/>
                  <a:gd name="connsiteX76" fmla="*/ 59532 w 1200744"/>
                  <a:gd name="connsiteY76" fmla="*/ 825052 h 1046508"/>
                  <a:gd name="connsiteX77" fmla="*/ 59432 w 1200744"/>
                  <a:gd name="connsiteY77" fmla="*/ 710643 h 1046508"/>
                  <a:gd name="connsiteX78" fmla="*/ 48816 w 1200744"/>
                  <a:gd name="connsiteY78" fmla="*/ 710643 h 1046508"/>
                  <a:gd name="connsiteX79" fmla="*/ 14298 w 1200744"/>
                  <a:gd name="connsiteY79" fmla="*/ 696345 h 1046508"/>
                  <a:gd name="connsiteX80" fmla="*/ 0 w 1200744"/>
                  <a:gd name="connsiteY80" fmla="*/ 661828 h 1046508"/>
                  <a:gd name="connsiteX81" fmla="*/ 14298 w 1200744"/>
                  <a:gd name="connsiteY81" fmla="*/ 627310 h 1046508"/>
                  <a:gd name="connsiteX82" fmla="*/ 48816 w 1200744"/>
                  <a:gd name="connsiteY82" fmla="*/ 613012 h 1046508"/>
                  <a:gd name="connsiteX83" fmla="*/ 59346 w 1200744"/>
                  <a:gd name="connsiteY83" fmla="*/ 613012 h 1046508"/>
                  <a:gd name="connsiteX84" fmla="*/ 59247 w 1200744"/>
                  <a:gd name="connsiteY84" fmla="*/ 501147 h 1046508"/>
                  <a:gd name="connsiteX85" fmla="*/ 48816 w 1200744"/>
                  <a:gd name="connsiteY85" fmla="*/ 501147 h 1046508"/>
                  <a:gd name="connsiteX86" fmla="*/ 14298 w 1200744"/>
                  <a:gd name="connsiteY86" fmla="*/ 486849 h 1046508"/>
                  <a:gd name="connsiteX87" fmla="*/ 0 w 1200744"/>
                  <a:gd name="connsiteY87" fmla="*/ 452332 h 1046508"/>
                  <a:gd name="connsiteX88" fmla="*/ 14298 w 1200744"/>
                  <a:gd name="connsiteY88" fmla="*/ 417814 h 1046508"/>
                  <a:gd name="connsiteX89" fmla="*/ 48816 w 1200744"/>
                  <a:gd name="connsiteY89" fmla="*/ 403516 h 1046508"/>
                  <a:gd name="connsiteX90" fmla="*/ 59161 w 1200744"/>
                  <a:gd name="connsiteY90" fmla="*/ 403516 h 1046508"/>
                  <a:gd name="connsiteX91" fmla="*/ 59063 w 1200744"/>
                  <a:gd name="connsiteY91" fmla="*/ 291651 h 1046508"/>
                  <a:gd name="connsiteX92" fmla="*/ 48816 w 1200744"/>
                  <a:gd name="connsiteY92" fmla="*/ 291651 h 1046508"/>
                  <a:gd name="connsiteX93" fmla="*/ 14298 w 1200744"/>
                  <a:gd name="connsiteY93" fmla="*/ 277353 h 1046508"/>
                  <a:gd name="connsiteX94" fmla="*/ 0 w 1200744"/>
                  <a:gd name="connsiteY94" fmla="*/ 242836 h 1046508"/>
                  <a:gd name="connsiteX95" fmla="*/ 14298 w 1200744"/>
                  <a:gd name="connsiteY95" fmla="*/ 208318 h 1046508"/>
                  <a:gd name="connsiteX96" fmla="*/ 48816 w 1200744"/>
                  <a:gd name="connsiteY96" fmla="*/ 194020 h 1046508"/>
                  <a:gd name="connsiteX97" fmla="*/ 58977 w 1200744"/>
                  <a:gd name="connsiteY97" fmla="*/ 194020 h 1046508"/>
                  <a:gd name="connsiteX98" fmla="*/ 58806 w 1200744"/>
                  <a:gd name="connsiteY98" fmla="*/ 0 h 1046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200744" h="1046508">
                    <a:moveTo>
                      <a:pt x="269392" y="583922"/>
                    </a:moveTo>
                    <a:cubicBezTo>
                      <a:pt x="247034" y="583922"/>
                      <a:pt x="228910" y="602046"/>
                      <a:pt x="228910" y="624404"/>
                    </a:cubicBezTo>
                    <a:cubicBezTo>
                      <a:pt x="228910" y="646762"/>
                      <a:pt x="247034" y="664886"/>
                      <a:pt x="269392" y="664886"/>
                    </a:cubicBezTo>
                    <a:cubicBezTo>
                      <a:pt x="291750" y="664886"/>
                      <a:pt x="309874" y="646762"/>
                      <a:pt x="309874" y="624404"/>
                    </a:cubicBezTo>
                    <a:cubicBezTo>
                      <a:pt x="309874" y="602046"/>
                      <a:pt x="291750" y="583922"/>
                      <a:pt x="269392" y="583922"/>
                    </a:cubicBezTo>
                    <a:close/>
                    <a:moveTo>
                      <a:pt x="269392" y="373750"/>
                    </a:moveTo>
                    <a:cubicBezTo>
                      <a:pt x="247034" y="373750"/>
                      <a:pt x="228910" y="391874"/>
                      <a:pt x="228910" y="414232"/>
                    </a:cubicBezTo>
                    <a:cubicBezTo>
                      <a:pt x="228910" y="436590"/>
                      <a:pt x="247034" y="454714"/>
                      <a:pt x="269392" y="454714"/>
                    </a:cubicBezTo>
                    <a:cubicBezTo>
                      <a:pt x="291750" y="454714"/>
                      <a:pt x="309874" y="436590"/>
                      <a:pt x="309874" y="414232"/>
                    </a:cubicBezTo>
                    <a:cubicBezTo>
                      <a:pt x="309874" y="391874"/>
                      <a:pt x="291750" y="373750"/>
                      <a:pt x="269392" y="373750"/>
                    </a:cubicBezTo>
                    <a:close/>
                    <a:moveTo>
                      <a:pt x="269392" y="163063"/>
                    </a:moveTo>
                    <a:cubicBezTo>
                      <a:pt x="247034" y="163063"/>
                      <a:pt x="228910" y="181187"/>
                      <a:pt x="228910" y="203545"/>
                    </a:cubicBezTo>
                    <a:cubicBezTo>
                      <a:pt x="228910" y="225903"/>
                      <a:pt x="247034" y="244027"/>
                      <a:pt x="269392" y="244027"/>
                    </a:cubicBezTo>
                    <a:cubicBezTo>
                      <a:pt x="291750" y="244027"/>
                      <a:pt x="309874" y="225903"/>
                      <a:pt x="309874" y="203545"/>
                    </a:cubicBezTo>
                    <a:cubicBezTo>
                      <a:pt x="309874" y="181187"/>
                      <a:pt x="291750" y="163063"/>
                      <a:pt x="269392" y="163063"/>
                    </a:cubicBezTo>
                    <a:close/>
                    <a:moveTo>
                      <a:pt x="797719" y="0"/>
                    </a:moveTo>
                    <a:lnTo>
                      <a:pt x="883444" y="0"/>
                    </a:lnTo>
                    <a:lnTo>
                      <a:pt x="883444" y="79897"/>
                    </a:lnTo>
                    <a:lnTo>
                      <a:pt x="797719" y="90082"/>
                    </a:lnTo>
                    <a:lnTo>
                      <a:pt x="797719" y="0"/>
                    </a:lnTo>
                    <a:close/>
                    <a:moveTo>
                      <a:pt x="58806" y="0"/>
                    </a:moveTo>
                    <a:lnTo>
                      <a:pt x="692944" y="0"/>
                    </a:lnTo>
                    <a:lnTo>
                      <a:pt x="692944" y="102530"/>
                    </a:lnTo>
                    <a:lnTo>
                      <a:pt x="418176" y="135174"/>
                    </a:lnTo>
                    <a:cubicBezTo>
                      <a:pt x="407569" y="136435"/>
                      <a:pt x="398476" y="141875"/>
                      <a:pt x="392350" y="149653"/>
                    </a:cubicBezTo>
                    <a:lnTo>
                      <a:pt x="384326" y="178152"/>
                    </a:lnTo>
                    <a:lnTo>
                      <a:pt x="398804" y="203977"/>
                    </a:lnTo>
                    <a:cubicBezTo>
                      <a:pt x="406582" y="210103"/>
                      <a:pt x="416696" y="213262"/>
                      <a:pt x="427304" y="212001"/>
                    </a:cubicBezTo>
                    <a:lnTo>
                      <a:pt x="1104900" y="131498"/>
                    </a:lnTo>
                    <a:lnTo>
                      <a:pt x="1104900" y="134851"/>
                    </a:lnTo>
                    <a:lnTo>
                      <a:pt x="1157493" y="128603"/>
                    </a:lnTo>
                    <a:cubicBezTo>
                      <a:pt x="1178709" y="126082"/>
                      <a:pt x="1197951" y="141237"/>
                      <a:pt x="1200471" y="162453"/>
                    </a:cubicBezTo>
                    <a:lnTo>
                      <a:pt x="1200470" y="162453"/>
                    </a:lnTo>
                    <a:cubicBezTo>
                      <a:pt x="1202991" y="183669"/>
                      <a:pt x="1187836" y="202910"/>
                      <a:pt x="1166620" y="205431"/>
                    </a:cubicBezTo>
                    <a:lnTo>
                      <a:pt x="878682" y="240221"/>
                    </a:lnTo>
                    <a:lnTo>
                      <a:pt x="883444" y="298972"/>
                    </a:lnTo>
                    <a:lnTo>
                      <a:pt x="792956" y="309723"/>
                    </a:lnTo>
                    <a:lnTo>
                      <a:pt x="792956" y="265459"/>
                    </a:lnTo>
                    <a:lnTo>
                      <a:pt x="688181" y="265459"/>
                    </a:lnTo>
                    <a:lnTo>
                      <a:pt x="688181" y="322171"/>
                    </a:lnTo>
                    <a:lnTo>
                      <a:pt x="418176" y="354249"/>
                    </a:lnTo>
                    <a:cubicBezTo>
                      <a:pt x="407569" y="355510"/>
                      <a:pt x="398476" y="360950"/>
                      <a:pt x="392350" y="368728"/>
                    </a:cubicBezTo>
                    <a:lnTo>
                      <a:pt x="384326" y="397227"/>
                    </a:lnTo>
                    <a:lnTo>
                      <a:pt x="398804" y="423052"/>
                    </a:lnTo>
                    <a:cubicBezTo>
                      <a:pt x="406582" y="429178"/>
                      <a:pt x="416696" y="432337"/>
                      <a:pt x="427304" y="431076"/>
                    </a:cubicBezTo>
                    <a:lnTo>
                      <a:pt x="1157493" y="347675"/>
                    </a:lnTo>
                    <a:cubicBezTo>
                      <a:pt x="1178709" y="345155"/>
                      <a:pt x="1197950" y="360310"/>
                      <a:pt x="1200471" y="381525"/>
                    </a:cubicBezTo>
                    <a:lnTo>
                      <a:pt x="1200470" y="381526"/>
                    </a:lnTo>
                    <a:cubicBezTo>
                      <a:pt x="1202991" y="402741"/>
                      <a:pt x="1187836" y="421983"/>
                      <a:pt x="1166620" y="424503"/>
                    </a:cubicBezTo>
                    <a:lnTo>
                      <a:pt x="883444" y="458146"/>
                    </a:lnTo>
                    <a:lnTo>
                      <a:pt x="883444" y="506141"/>
                    </a:lnTo>
                    <a:lnTo>
                      <a:pt x="792956" y="516892"/>
                    </a:lnTo>
                    <a:lnTo>
                      <a:pt x="792956" y="468897"/>
                    </a:lnTo>
                    <a:lnTo>
                      <a:pt x="688181" y="481345"/>
                    </a:lnTo>
                    <a:lnTo>
                      <a:pt x="688181" y="529340"/>
                    </a:lnTo>
                    <a:lnTo>
                      <a:pt x="418176" y="561418"/>
                    </a:lnTo>
                    <a:cubicBezTo>
                      <a:pt x="407569" y="562679"/>
                      <a:pt x="398476" y="568119"/>
                      <a:pt x="392350" y="575897"/>
                    </a:cubicBezTo>
                    <a:lnTo>
                      <a:pt x="384326" y="604396"/>
                    </a:lnTo>
                    <a:lnTo>
                      <a:pt x="398804" y="630221"/>
                    </a:lnTo>
                    <a:cubicBezTo>
                      <a:pt x="406582" y="636347"/>
                      <a:pt x="416696" y="639506"/>
                      <a:pt x="427304" y="638245"/>
                    </a:cubicBezTo>
                    <a:lnTo>
                      <a:pt x="1104900" y="557742"/>
                    </a:lnTo>
                    <a:lnTo>
                      <a:pt x="1104900" y="558713"/>
                    </a:lnTo>
                    <a:lnTo>
                      <a:pt x="1157491" y="552464"/>
                    </a:lnTo>
                    <a:cubicBezTo>
                      <a:pt x="1178707" y="549944"/>
                      <a:pt x="1197948" y="565099"/>
                      <a:pt x="1200469" y="586314"/>
                    </a:cubicBezTo>
                    <a:lnTo>
                      <a:pt x="1200468" y="586314"/>
                    </a:lnTo>
                    <a:cubicBezTo>
                      <a:pt x="1202989" y="607530"/>
                      <a:pt x="1187834" y="626772"/>
                      <a:pt x="1166618" y="629292"/>
                    </a:cubicBezTo>
                    <a:lnTo>
                      <a:pt x="1104900" y="636624"/>
                    </a:lnTo>
                    <a:lnTo>
                      <a:pt x="1104900" y="817908"/>
                    </a:lnTo>
                    <a:lnTo>
                      <a:pt x="971550" y="946496"/>
                    </a:lnTo>
                    <a:lnTo>
                      <a:pt x="752889" y="946496"/>
                    </a:lnTo>
                    <a:lnTo>
                      <a:pt x="749140" y="965065"/>
                    </a:lnTo>
                    <a:cubicBezTo>
                      <a:pt x="728897" y="1012926"/>
                      <a:pt x="681506" y="1046508"/>
                      <a:pt x="626271" y="1046508"/>
                    </a:cubicBezTo>
                    <a:lnTo>
                      <a:pt x="533770" y="1046508"/>
                    </a:lnTo>
                    <a:cubicBezTo>
                      <a:pt x="478536" y="1046508"/>
                      <a:pt x="431145" y="1012926"/>
                      <a:pt x="410901" y="965065"/>
                    </a:cubicBezTo>
                    <a:lnTo>
                      <a:pt x="407153" y="946496"/>
                    </a:lnTo>
                    <a:lnTo>
                      <a:pt x="190500" y="946496"/>
                    </a:lnTo>
                    <a:lnTo>
                      <a:pt x="59532" y="825052"/>
                    </a:lnTo>
                    <a:cubicBezTo>
                      <a:pt x="59499" y="786916"/>
                      <a:pt x="59465" y="748779"/>
                      <a:pt x="59432" y="710643"/>
                    </a:cubicBezTo>
                    <a:lnTo>
                      <a:pt x="48816" y="710643"/>
                    </a:lnTo>
                    <a:cubicBezTo>
                      <a:pt x="35336" y="710643"/>
                      <a:pt x="23132" y="705179"/>
                      <a:pt x="14298" y="696345"/>
                    </a:cubicBezTo>
                    <a:lnTo>
                      <a:pt x="0" y="661828"/>
                    </a:lnTo>
                    <a:lnTo>
                      <a:pt x="14298" y="627310"/>
                    </a:lnTo>
                    <a:cubicBezTo>
                      <a:pt x="23132" y="618476"/>
                      <a:pt x="35336" y="613012"/>
                      <a:pt x="48816" y="613012"/>
                    </a:cubicBezTo>
                    <a:lnTo>
                      <a:pt x="59346" y="613012"/>
                    </a:lnTo>
                    <a:cubicBezTo>
                      <a:pt x="59313" y="575724"/>
                      <a:pt x="59280" y="538435"/>
                      <a:pt x="59247" y="501147"/>
                    </a:cubicBezTo>
                    <a:lnTo>
                      <a:pt x="48816" y="501147"/>
                    </a:lnTo>
                    <a:cubicBezTo>
                      <a:pt x="35336" y="501147"/>
                      <a:pt x="23132" y="495683"/>
                      <a:pt x="14298" y="486849"/>
                    </a:cubicBezTo>
                    <a:lnTo>
                      <a:pt x="0" y="452332"/>
                    </a:lnTo>
                    <a:lnTo>
                      <a:pt x="14298" y="417814"/>
                    </a:lnTo>
                    <a:cubicBezTo>
                      <a:pt x="23132" y="408980"/>
                      <a:pt x="35336" y="403516"/>
                      <a:pt x="48816" y="403516"/>
                    </a:cubicBezTo>
                    <a:lnTo>
                      <a:pt x="59161" y="403516"/>
                    </a:lnTo>
                    <a:cubicBezTo>
                      <a:pt x="59128" y="366228"/>
                      <a:pt x="59096" y="328939"/>
                      <a:pt x="59063" y="291651"/>
                    </a:cubicBezTo>
                    <a:lnTo>
                      <a:pt x="48816" y="291651"/>
                    </a:lnTo>
                    <a:cubicBezTo>
                      <a:pt x="35336" y="291651"/>
                      <a:pt x="23132" y="286187"/>
                      <a:pt x="14298" y="277353"/>
                    </a:cubicBezTo>
                    <a:lnTo>
                      <a:pt x="0" y="242836"/>
                    </a:lnTo>
                    <a:lnTo>
                      <a:pt x="14298" y="208318"/>
                    </a:lnTo>
                    <a:cubicBezTo>
                      <a:pt x="23132" y="199484"/>
                      <a:pt x="35336" y="194020"/>
                      <a:pt x="48816" y="194020"/>
                    </a:cubicBezTo>
                    <a:lnTo>
                      <a:pt x="58977" y="194020"/>
                    </a:lnTo>
                    <a:lnTo>
                      <a:pt x="58806"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27" name="Freeform 115">
                <a:extLst>
                  <a:ext uri="{FF2B5EF4-FFF2-40B4-BE49-F238E27FC236}">
                    <a16:creationId xmlns:a16="http://schemas.microsoft.com/office/drawing/2014/main" id="{6D6C7E51-2472-4727-BC54-0931880B8855}"/>
                  </a:ext>
                </a:extLst>
              </p:cNvPr>
              <p:cNvSpPr/>
              <p:nvPr/>
            </p:nvSpPr>
            <p:spPr>
              <a:xfrm>
                <a:off x="4242295" y="1685754"/>
                <a:ext cx="3701002" cy="3743106"/>
              </a:xfrm>
              <a:custGeom>
                <a:avLst/>
                <a:gdLst>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0346 w 3701002"/>
                  <a:gd name="connsiteY11" fmla="*/ 3114359 h 3743106"/>
                  <a:gd name="connsiteX12" fmla="*/ 2659635 w 3701002"/>
                  <a:gd name="connsiteY12" fmla="*/ 3107286 h 3743106"/>
                  <a:gd name="connsiteX13" fmla="*/ 3122601 w 3701002"/>
                  <a:gd name="connsiteY13" fmla="*/ 2107732 h 3743106"/>
                  <a:gd name="connsiteX14" fmla="*/ 1850392 w 3701002"/>
                  <a:gd name="connsiteY14" fmla="*/ 812383 h 3743106"/>
                  <a:gd name="connsiteX15" fmla="*/ 578183 w 3701002"/>
                  <a:gd name="connsiteY15" fmla="*/ 2107732 h 3743106"/>
                  <a:gd name="connsiteX16" fmla="*/ 950805 w 3701002"/>
                  <a:gd name="connsiteY16" fmla="*/ 3023682 h 3743106"/>
                  <a:gd name="connsiteX17" fmla="*/ 1028685 w 3701002"/>
                  <a:gd name="connsiteY17" fmla="*/ 3095752 h 3743106"/>
                  <a:gd name="connsiteX18" fmla="*/ 1145044 w 3701002"/>
                  <a:gd name="connsiteY18" fmla="*/ 3252006 h 3743106"/>
                  <a:gd name="connsiteX19" fmla="*/ 1289824 w 3701002"/>
                  <a:gd name="connsiteY19" fmla="*/ 3549186 h 3743106"/>
                  <a:gd name="connsiteX20" fmla="*/ 1131709 w 3701002"/>
                  <a:gd name="connsiteY20" fmla="*/ 3739686 h 3743106"/>
                  <a:gd name="connsiteX21" fmla="*/ 881519 w 3701002"/>
                  <a:gd name="connsiteY21" fmla="*/ 3637451 h 3743106"/>
                  <a:gd name="connsiteX22" fmla="*/ 771664 w 3701002"/>
                  <a:gd name="connsiteY22" fmla="*/ 3290106 h 3743106"/>
                  <a:gd name="connsiteX23" fmla="*/ 377329 w 3701002"/>
                  <a:gd name="connsiteY23" fmla="*/ 3103416 h 3743106"/>
                  <a:gd name="connsiteX24" fmla="*/ 344944 w 3701002"/>
                  <a:gd name="connsiteY24" fmla="*/ 2482386 h 3743106"/>
                  <a:gd name="connsiteX25" fmla="*/ 139 w 3701002"/>
                  <a:gd name="connsiteY25" fmla="*/ 1970576 h 3743106"/>
                  <a:gd name="connsiteX26" fmla="*/ 451624 w 3701002"/>
                  <a:gd name="connsiteY26" fmla="*/ 1403521 h 3743106"/>
                  <a:gd name="connsiteX27" fmla="*/ 496709 w 3701002"/>
                  <a:gd name="connsiteY27" fmla="*/ 659301 h 3743106"/>
                  <a:gd name="connsiteX28" fmla="*/ 1199019 w 3701002"/>
                  <a:gd name="connsiteY28" fmla="*/ 517061 h 3743106"/>
                  <a:gd name="connsiteX29" fmla="*/ 1831479 w 3701002"/>
                  <a:gd name="connsiteY29"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028685 w 3701002"/>
                  <a:gd name="connsiteY16" fmla="*/ 3095752 h 3743106"/>
                  <a:gd name="connsiteX17" fmla="*/ 1145044 w 3701002"/>
                  <a:gd name="connsiteY17" fmla="*/ 3252006 h 3743106"/>
                  <a:gd name="connsiteX18" fmla="*/ 1289824 w 3701002"/>
                  <a:gd name="connsiteY18" fmla="*/ 3549186 h 3743106"/>
                  <a:gd name="connsiteX19" fmla="*/ 1131709 w 3701002"/>
                  <a:gd name="connsiteY19" fmla="*/ 3739686 h 3743106"/>
                  <a:gd name="connsiteX20" fmla="*/ 881519 w 3701002"/>
                  <a:gd name="connsiteY20" fmla="*/ 3637451 h 3743106"/>
                  <a:gd name="connsiteX21" fmla="*/ 771664 w 3701002"/>
                  <a:gd name="connsiteY21" fmla="*/ 3290106 h 3743106"/>
                  <a:gd name="connsiteX22" fmla="*/ 377329 w 3701002"/>
                  <a:gd name="connsiteY22" fmla="*/ 3103416 h 3743106"/>
                  <a:gd name="connsiteX23" fmla="*/ 344944 w 3701002"/>
                  <a:gd name="connsiteY23" fmla="*/ 2482386 h 3743106"/>
                  <a:gd name="connsiteX24" fmla="*/ 139 w 3701002"/>
                  <a:gd name="connsiteY24" fmla="*/ 1970576 h 3743106"/>
                  <a:gd name="connsiteX25" fmla="*/ 451624 w 3701002"/>
                  <a:gd name="connsiteY25" fmla="*/ 1403521 h 3743106"/>
                  <a:gd name="connsiteX26" fmla="*/ 496709 w 3701002"/>
                  <a:gd name="connsiteY26" fmla="*/ 659301 h 3743106"/>
                  <a:gd name="connsiteX27" fmla="*/ 1199019 w 3701002"/>
                  <a:gd name="connsiteY27" fmla="*/ 517061 h 3743106"/>
                  <a:gd name="connsiteX28" fmla="*/ 1831479 w 3701002"/>
                  <a:gd name="connsiteY28"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145044 w 3701002"/>
                  <a:gd name="connsiteY16" fmla="*/ 3252006 h 3743106"/>
                  <a:gd name="connsiteX17" fmla="*/ 1289824 w 3701002"/>
                  <a:gd name="connsiteY17" fmla="*/ 3549186 h 3743106"/>
                  <a:gd name="connsiteX18" fmla="*/ 1131709 w 3701002"/>
                  <a:gd name="connsiteY18" fmla="*/ 3739686 h 3743106"/>
                  <a:gd name="connsiteX19" fmla="*/ 881519 w 3701002"/>
                  <a:gd name="connsiteY19" fmla="*/ 3637451 h 3743106"/>
                  <a:gd name="connsiteX20" fmla="*/ 771664 w 3701002"/>
                  <a:gd name="connsiteY20" fmla="*/ 3290106 h 3743106"/>
                  <a:gd name="connsiteX21" fmla="*/ 377329 w 3701002"/>
                  <a:gd name="connsiteY21" fmla="*/ 3103416 h 3743106"/>
                  <a:gd name="connsiteX22" fmla="*/ 344944 w 3701002"/>
                  <a:gd name="connsiteY22" fmla="*/ 2482386 h 3743106"/>
                  <a:gd name="connsiteX23" fmla="*/ 139 w 3701002"/>
                  <a:gd name="connsiteY23" fmla="*/ 1970576 h 3743106"/>
                  <a:gd name="connsiteX24" fmla="*/ 451624 w 3701002"/>
                  <a:gd name="connsiteY24" fmla="*/ 1403521 h 3743106"/>
                  <a:gd name="connsiteX25" fmla="*/ 496709 w 3701002"/>
                  <a:gd name="connsiteY25" fmla="*/ 659301 h 3743106"/>
                  <a:gd name="connsiteX26" fmla="*/ 1199019 w 3701002"/>
                  <a:gd name="connsiteY26" fmla="*/ 517061 h 3743106"/>
                  <a:gd name="connsiteX27" fmla="*/ 1831479 w 3701002"/>
                  <a:gd name="connsiteY27"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145044 w 3701002"/>
                  <a:gd name="connsiteY16" fmla="*/ 3252006 h 3743106"/>
                  <a:gd name="connsiteX17" fmla="*/ 1289824 w 3701002"/>
                  <a:gd name="connsiteY17" fmla="*/ 3549186 h 3743106"/>
                  <a:gd name="connsiteX18" fmla="*/ 1131709 w 3701002"/>
                  <a:gd name="connsiteY18" fmla="*/ 3739686 h 3743106"/>
                  <a:gd name="connsiteX19" fmla="*/ 881519 w 3701002"/>
                  <a:gd name="connsiteY19" fmla="*/ 3637451 h 3743106"/>
                  <a:gd name="connsiteX20" fmla="*/ 771664 w 3701002"/>
                  <a:gd name="connsiteY20" fmla="*/ 3290106 h 3743106"/>
                  <a:gd name="connsiteX21" fmla="*/ 377329 w 3701002"/>
                  <a:gd name="connsiteY21" fmla="*/ 3103416 h 3743106"/>
                  <a:gd name="connsiteX22" fmla="*/ 344944 w 3701002"/>
                  <a:gd name="connsiteY22" fmla="*/ 2482386 h 3743106"/>
                  <a:gd name="connsiteX23" fmla="*/ 139 w 3701002"/>
                  <a:gd name="connsiteY23" fmla="*/ 1970576 h 3743106"/>
                  <a:gd name="connsiteX24" fmla="*/ 451624 w 3701002"/>
                  <a:gd name="connsiteY24" fmla="*/ 1403521 h 3743106"/>
                  <a:gd name="connsiteX25" fmla="*/ 496709 w 3701002"/>
                  <a:gd name="connsiteY25" fmla="*/ 659301 h 3743106"/>
                  <a:gd name="connsiteX26" fmla="*/ 1199019 w 3701002"/>
                  <a:gd name="connsiteY26" fmla="*/ 517061 h 3743106"/>
                  <a:gd name="connsiteX27" fmla="*/ 1831479 w 3701002"/>
                  <a:gd name="connsiteY27" fmla="*/ 171 h 3743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701002" h="3743106">
                    <a:moveTo>
                      <a:pt x="1831479" y="171"/>
                    </a:moveTo>
                    <a:cubicBezTo>
                      <a:pt x="2193958" y="-9460"/>
                      <a:pt x="2228989" y="388262"/>
                      <a:pt x="2478544" y="516426"/>
                    </a:cubicBezTo>
                    <a:cubicBezTo>
                      <a:pt x="2724924" y="638240"/>
                      <a:pt x="3031735" y="420753"/>
                      <a:pt x="3214509" y="673906"/>
                    </a:cubicBezTo>
                    <a:cubicBezTo>
                      <a:pt x="3397283" y="927059"/>
                      <a:pt x="3125874" y="1106394"/>
                      <a:pt x="3270389" y="1425746"/>
                    </a:cubicBezTo>
                    <a:cubicBezTo>
                      <a:pt x="3414904" y="1745098"/>
                      <a:pt x="3685678" y="1679112"/>
                      <a:pt x="3700601" y="1942319"/>
                    </a:cubicBezTo>
                    <a:cubicBezTo>
                      <a:pt x="3712349" y="2221401"/>
                      <a:pt x="3463112" y="2181714"/>
                      <a:pt x="3354844" y="2512866"/>
                    </a:cubicBezTo>
                    <a:cubicBezTo>
                      <a:pt x="3238639" y="2836081"/>
                      <a:pt x="3476765" y="2888309"/>
                      <a:pt x="3320872" y="3113258"/>
                    </a:cubicBezTo>
                    <a:cubicBezTo>
                      <a:pt x="3231655" y="3262007"/>
                      <a:pt x="3076132" y="3153476"/>
                      <a:pt x="2933839" y="3291059"/>
                    </a:cubicBezTo>
                    <a:cubicBezTo>
                      <a:pt x="2791546" y="3428642"/>
                      <a:pt x="2888756" y="3603161"/>
                      <a:pt x="2771914" y="3691109"/>
                    </a:cubicBezTo>
                    <a:cubicBezTo>
                      <a:pt x="2688410" y="3783819"/>
                      <a:pt x="2499817" y="3735717"/>
                      <a:pt x="2440444" y="3640626"/>
                    </a:cubicBezTo>
                    <a:cubicBezTo>
                      <a:pt x="2381071" y="3545535"/>
                      <a:pt x="2441714" y="3442506"/>
                      <a:pt x="2501404" y="3320586"/>
                    </a:cubicBezTo>
                    <a:lnTo>
                      <a:pt x="2659635" y="3107286"/>
                    </a:lnTo>
                    <a:cubicBezTo>
                      <a:pt x="2942380" y="2869700"/>
                      <a:pt x="3122601" y="2510145"/>
                      <a:pt x="3122601" y="2107732"/>
                    </a:cubicBezTo>
                    <a:cubicBezTo>
                      <a:pt x="3122601" y="1392331"/>
                      <a:pt x="2553014" y="812383"/>
                      <a:pt x="1850392" y="812383"/>
                    </a:cubicBezTo>
                    <a:cubicBezTo>
                      <a:pt x="1147770" y="812383"/>
                      <a:pt x="578183" y="1392331"/>
                      <a:pt x="578183" y="2107732"/>
                    </a:cubicBezTo>
                    <a:cubicBezTo>
                      <a:pt x="578183" y="2465433"/>
                      <a:pt x="720580" y="2789270"/>
                      <a:pt x="950805" y="3023682"/>
                    </a:cubicBezTo>
                    <a:cubicBezTo>
                      <a:pt x="1039364" y="3104553"/>
                      <a:pt x="1080298" y="3175898"/>
                      <a:pt x="1145044" y="3252006"/>
                    </a:cubicBezTo>
                    <a:cubicBezTo>
                      <a:pt x="1213624" y="3361226"/>
                      <a:pt x="1292047" y="3467906"/>
                      <a:pt x="1289824" y="3549186"/>
                    </a:cubicBezTo>
                    <a:cubicBezTo>
                      <a:pt x="1287602" y="3630466"/>
                      <a:pt x="1199760" y="3724975"/>
                      <a:pt x="1131709" y="3739686"/>
                    </a:cubicBezTo>
                    <a:cubicBezTo>
                      <a:pt x="1063658" y="3754397"/>
                      <a:pt x="935176" y="3721906"/>
                      <a:pt x="881519" y="3637451"/>
                    </a:cubicBezTo>
                    <a:cubicBezTo>
                      <a:pt x="827862" y="3552996"/>
                      <a:pt x="922371" y="3429912"/>
                      <a:pt x="771664" y="3290106"/>
                    </a:cubicBezTo>
                    <a:cubicBezTo>
                      <a:pt x="620957" y="3150300"/>
                      <a:pt x="489724" y="3259626"/>
                      <a:pt x="377329" y="3103416"/>
                    </a:cubicBezTo>
                    <a:cubicBezTo>
                      <a:pt x="245884" y="2847193"/>
                      <a:pt x="472103" y="2764062"/>
                      <a:pt x="344944" y="2482386"/>
                    </a:cubicBezTo>
                    <a:cubicBezTo>
                      <a:pt x="189211" y="2141178"/>
                      <a:pt x="8552" y="2246432"/>
                      <a:pt x="139" y="1970576"/>
                    </a:cubicBezTo>
                    <a:cubicBezTo>
                      <a:pt x="-7481" y="1701865"/>
                      <a:pt x="299012" y="1730017"/>
                      <a:pt x="451624" y="1403521"/>
                    </a:cubicBezTo>
                    <a:cubicBezTo>
                      <a:pt x="528036" y="943675"/>
                      <a:pt x="318168" y="908644"/>
                      <a:pt x="496709" y="659301"/>
                    </a:cubicBezTo>
                    <a:cubicBezTo>
                      <a:pt x="675250" y="409958"/>
                      <a:pt x="956978" y="650728"/>
                      <a:pt x="1199019" y="517061"/>
                    </a:cubicBezTo>
                    <a:cubicBezTo>
                      <a:pt x="1485510" y="418319"/>
                      <a:pt x="1469000" y="9802"/>
                      <a:pt x="1831479" y="171"/>
                    </a:cubicBez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grpSp>
      </p:grpSp>
      <p:grpSp>
        <p:nvGrpSpPr>
          <p:cNvPr id="128" name="Group 127">
            <a:extLst>
              <a:ext uri="{FF2B5EF4-FFF2-40B4-BE49-F238E27FC236}">
                <a16:creationId xmlns:a16="http://schemas.microsoft.com/office/drawing/2014/main" id="{30371D49-C8A6-4D97-B6D8-B2F52D30EB68}"/>
              </a:ext>
            </a:extLst>
          </p:cNvPr>
          <p:cNvGrpSpPr/>
          <p:nvPr/>
        </p:nvGrpSpPr>
        <p:grpSpPr>
          <a:xfrm>
            <a:off x="6577038" y="5472083"/>
            <a:ext cx="474070" cy="474070"/>
            <a:chOff x="6447430" y="2675492"/>
            <a:chExt cx="474070" cy="474070"/>
          </a:xfrm>
        </p:grpSpPr>
        <p:sp>
          <p:nvSpPr>
            <p:cNvPr id="129" name="Oval 128">
              <a:extLst>
                <a:ext uri="{FF2B5EF4-FFF2-40B4-BE49-F238E27FC236}">
                  <a16:creationId xmlns:a16="http://schemas.microsoft.com/office/drawing/2014/main" id="{32DCD3DB-B838-4F2E-BC90-370A29A0A197}"/>
                </a:ext>
              </a:extLst>
            </p:cNvPr>
            <p:cNvSpPr/>
            <p:nvPr/>
          </p:nvSpPr>
          <p:spPr>
            <a:xfrm>
              <a:off x="6447430" y="2675492"/>
              <a:ext cx="474070" cy="474070"/>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white"/>
                </a:solidFill>
                <a:effectLst/>
                <a:uLnTx/>
                <a:uFillTx/>
                <a:latin typeface="+mj-lt"/>
                <a:ea typeface="+mn-ea"/>
                <a:cs typeface="+mn-cs"/>
              </a:endParaRPr>
            </a:p>
          </p:txBody>
        </p:sp>
        <p:grpSp>
          <p:nvGrpSpPr>
            <p:cNvPr id="130" name="Group 129">
              <a:extLst>
                <a:ext uri="{FF2B5EF4-FFF2-40B4-BE49-F238E27FC236}">
                  <a16:creationId xmlns:a16="http://schemas.microsoft.com/office/drawing/2014/main" id="{E69E152D-E9C0-4F03-9FF5-EBCA73BCF199}"/>
                </a:ext>
              </a:extLst>
            </p:cNvPr>
            <p:cNvGrpSpPr/>
            <p:nvPr/>
          </p:nvGrpSpPr>
          <p:grpSpPr>
            <a:xfrm>
              <a:off x="6518177" y="2715380"/>
              <a:ext cx="333474" cy="369626"/>
              <a:chOff x="3114466" y="105602"/>
              <a:chExt cx="5971657" cy="6619048"/>
            </a:xfrm>
            <a:solidFill>
              <a:schemeClr val="accent5"/>
            </a:solidFill>
          </p:grpSpPr>
          <p:sp>
            <p:nvSpPr>
              <p:cNvPr id="131" name="Oval 130">
                <a:extLst>
                  <a:ext uri="{FF2B5EF4-FFF2-40B4-BE49-F238E27FC236}">
                    <a16:creationId xmlns:a16="http://schemas.microsoft.com/office/drawing/2014/main" id="{C620C75F-48A4-4940-829E-A6B50174B130}"/>
                  </a:ext>
                </a:extLst>
              </p:cNvPr>
              <p:cNvSpPr/>
              <p:nvPr/>
            </p:nvSpPr>
            <p:spPr>
              <a:xfrm>
                <a:off x="5744819" y="745435"/>
                <a:ext cx="695738" cy="695738"/>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32" name="Oval 131">
                <a:extLst>
                  <a:ext uri="{FF2B5EF4-FFF2-40B4-BE49-F238E27FC236}">
                    <a16:creationId xmlns:a16="http://schemas.microsoft.com/office/drawing/2014/main" id="{80127F13-00B8-4DF1-A8DE-853B26D2081D}"/>
                  </a:ext>
                </a:extLst>
              </p:cNvPr>
              <p:cNvSpPr/>
              <p:nvPr/>
            </p:nvSpPr>
            <p:spPr>
              <a:xfrm>
                <a:off x="6626711" y="1319213"/>
                <a:ext cx="628234" cy="62823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33" name="Oval 132">
                <a:extLst>
                  <a:ext uri="{FF2B5EF4-FFF2-40B4-BE49-F238E27FC236}">
                    <a16:creationId xmlns:a16="http://schemas.microsoft.com/office/drawing/2014/main" id="{5EB1EB7B-8840-4AEE-9268-615BE209DB57}"/>
                  </a:ext>
                </a:extLst>
              </p:cNvPr>
              <p:cNvSpPr/>
              <p:nvPr/>
            </p:nvSpPr>
            <p:spPr>
              <a:xfrm>
                <a:off x="4921736" y="1319213"/>
                <a:ext cx="628234" cy="62823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34" name="Oval 133">
                <a:extLst>
                  <a:ext uri="{FF2B5EF4-FFF2-40B4-BE49-F238E27FC236}">
                    <a16:creationId xmlns:a16="http://schemas.microsoft.com/office/drawing/2014/main" id="{F2386B57-6FA2-4893-9853-247C2AA6442D}"/>
                  </a:ext>
                </a:extLst>
              </p:cNvPr>
              <p:cNvSpPr/>
              <p:nvPr/>
            </p:nvSpPr>
            <p:spPr>
              <a:xfrm>
                <a:off x="4140684" y="1766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35" name="Oval 134">
                <a:extLst>
                  <a:ext uri="{FF2B5EF4-FFF2-40B4-BE49-F238E27FC236}">
                    <a16:creationId xmlns:a16="http://schemas.microsoft.com/office/drawing/2014/main" id="{7359E8FF-AEA5-4FBC-B195-F92539799BAF}"/>
                  </a:ext>
                </a:extLst>
              </p:cNvPr>
              <p:cNvSpPr/>
              <p:nvPr/>
            </p:nvSpPr>
            <p:spPr>
              <a:xfrm>
                <a:off x="7510049" y="1766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36" name="Oval 135">
                <a:extLst>
                  <a:ext uri="{FF2B5EF4-FFF2-40B4-BE49-F238E27FC236}">
                    <a16:creationId xmlns:a16="http://schemas.microsoft.com/office/drawing/2014/main" id="{4241F5F2-8F8D-4863-AEC8-A0C7D3D0BE46}"/>
                  </a:ext>
                </a:extLst>
              </p:cNvPr>
              <p:cNvSpPr/>
              <p:nvPr/>
            </p:nvSpPr>
            <p:spPr>
              <a:xfrm>
                <a:off x="7716285" y="2579410"/>
                <a:ext cx="612706" cy="61270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37" name="Oval 136">
                <a:extLst>
                  <a:ext uri="{FF2B5EF4-FFF2-40B4-BE49-F238E27FC236}">
                    <a16:creationId xmlns:a16="http://schemas.microsoft.com/office/drawing/2014/main" id="{15E61BD2-2205-4D80-9EA4-5DB7888E812A}"/>
                  </a:ext>
                </a:extLst>
              </p:cNvPr>
              <p:cNvSpPr/>
              <p:nvPr/>
            </p:nvSpPr>
            <p:spPr>
              <a:xfrm>
                <a:off x="3849963" y="2569471"/>
                <a:ext cx="612706" cy="61270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38" name="Oval 137">
                <a:extLst>
                  <a:ext uri="{FF2B5EF4-FFF2-40B4-BE49-F238E27FC236}">
                    <a16:creationId xmlns:a16="http://schemas.microsoft.com/office/drawing/2014/main" id="{2F38329F-22C5-4C3D-8BF0-455F4683CBE4}"/>
                  </a:ext>
                </a:extLst>
              </p:cNvPr>
              <p:cNvSpPr/>
              <p:nvPr/>
            </p:nvSpPr>
            <p:spPr>
              <a:xfrm>
                <a:off x="3740632" y="1416532"/>
                <a:ext cx="394046" cy="39404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39" name="Oval 138">
                <a:extLst>
                  <a:ext uri="{FF2B5EF4-FFF2-40B4-BE49-F238E27FC236}">
                    <a16:creationId xmlns:a16="http://schemas.microsoft.com/office/drawing/2014/main" id="{A11C9596-3CFD-4C9F-A3F9-06EAC802F664}"/>
                  </a:ext>
                </a:extLst>
              </p:cNvPr>
              <p:cNvSpPr/>
              <p:nvPr/>
            </p:nvSpPr>
            <p:spPr>
              <a:xfrm>
                <a:off x="8054215" y="1416532"/>
                <a:ext cx="394046" cy="39404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40" name="Oval 139">
                <a:extLst>
                  <a:ext uri="{FF2B5EF4-FFF2-40B4-BE49-F238E27FC236}">
                    <a16:creationId xmlns:a16="http://schemas.microsoft.com/office/drawing/2014/main" id="{A21F5D4D-DB41-4A2A-904D-92C1E3599B8F}"/>
                  </a:ext>
                </a:extLst>
              </p:cNvPr>
              <p:cNvSpPr/>
              <p:nvPr/>
            </p:nvSpPr>
            <p:spPr>
              <a:xfrm>
                <a:off x="5878581" y="105602"/>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41" name="Oval 140">
                <a:extLst>
                  <a:ext uri="{FF2B5EF4-FFF2-40B4-BE49-F238E27FC236}">
                    <a16:creationId xmlns:a16="http://schemas.microsoft.com/office/drawing/2014/main" id="{E3BF5D39-5F3B-45CA-BE04-00750FE9D190}"/>
                  </a:ext>
                </a:extLst>
              </p:cNvPr>
              <p:cNvSpPr/>
              <p:nvPr/>
            </p:nvSpPr>
            <p:spPr>
              <a:xfrm>
                <a:off x="3114466" y="3419473"/>
                <a:ext cx="319296" cy="31929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42" name="Oval 141">
                <a:extLst>
                  <a:ext uri="{FF2B5EF4-FFF2-40B4-BE49-F238E27FC236}">
                    <a16:creationId xmlns:a16="http://schemas.microsoft.com/office/drawing/2014/main" id="{83EF5C5A-B466-4DC6-8177-E8355D9055AF}"/>
                  </a:ext>
                </a:extLst>
              </p:cNvPr>
              <p:cNvSpPr/>
              <p:nvPr/>
            </p:nvSpPr>
            <p:spPr>
              <a:xfrm>
                <a:off x="3794675" y="5116270"/>
                <a:ext cx="282026" cy="28202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43" name="Oval 142">
                <a:extLst>
                  <a:ext uri="{FF2B5EF4-FFF2-40B4-BE49-F238E27FC236}">
                    <a16:creationId xmlns:a16="http://schemas.microsoft.com/office/drawing/2014/main" id="{826CFE7B-C3D5-4D7C-8423-D2DE41506843}"/>
                  </a:ext>
                </a:extLst>
              </p:cNvPr>
              <p:cNvSpPr/>
              <p:nvPr/>
            </p:nvSpPr>
            <p:spPr>
              <a:xfrm>
                <a:off x="4640020" y="5060156"/>
                <a:ext cx="342902" cy="3429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44" name="Oval 143">
                <a:extLst>
                  <a:ext uri="{FF2B5EF4-FFF2-40B4-BE49-F238E27FC236}">
                    <a16:creationId xmlns:a16="http://schemas.microsoft.com/office/drawing/2014/main" id="{F0A4E78C-E7FF-46E1-BA04-00B1B1F04102}"/>
                  </a:ext>
                </a:extLst>
              </p:cNvPr>
              <p:cNvSpPr/>
              <p:nvPr/>
            </p:nvSpPr>
            <p:spPr>
              <a:xfrm>
                <a:off x="4155592" y="4790040"/>
                <a:ext cx="373546" cy="37354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45" name="Oval 144">
                <a:extLst>
                  <a:ext uri="{FF2B5EF4-FFF2-40B4-BE49-F238E27FC236}">
                    <a16:creationId xmlns:a16="http://schemas.microsoft.com/office/drawing/2014/main" id="{168762E8-C9EF-4D00-995B-F25F68404E42}"/>
                  </a:ext>
                </a:extLst>
              </p:cNvPr>
              <p:cNvSpPr/>
              <p:nvPr/>
            </p:nvSpPr>
            <p:spPr>
              <a:xfrm>
                <a:off x="3892206" y="4042948"/>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46" name="Oval 145">
                <a:extLst>
                  <a:ext uri="{FF2B5EF4-FFF2-40B4-BE49-F238E27FC236}">
                    <a16:creationId xmlns:a16="http://schemas.microsoft.com/office/drawing/2014/main" id="{B4BEA6E6-7161-4DBE-97D1-F21499D6AD8E}"/>
                  </a:ext>
                </a:extLst>
              </p:cNvPr>
              <p:cNvSpPr/>
              <p:nvPr/>
            </p:nvSpPr>
            <p:spPr>
              <a:xfrm>
                <a:off x="7758528" y="4052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47" name="Oval 146">
                <a:extLst>
                  <a:ext uri="{FF2B5EF4-FFF2-40B4-BE49-F238E27FC236}">
                    <a16:creationId xmlns:a16="http://schemas.microsoft.com/office/drawing/2014/main" id="{254983DD-05F4-4321-BAFA-11900946402D}"/>
                  </a:ext>
                </a:extLst>
              </p:cNvPr>
              <p:cNvSpPr/>
              <p:nvPr/>
            </p:nvSpPr>
            <p:spPr>
              <a:xfrm>
                <a:off x="3632338" y="3395454"/>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48" name="Oval 147">
                <a:extLst>
                  <a:ext uri="{FF2B5EF4-FFF2-40B4-BE49-F238E27FC236}">
                    <a16:creationId xmlns:a16="http://schemas.microsoft.com/office/drawing/2014/main" id="{774A8D90-C5CB-465D-8F88-A46F6F9CCCA1}"/>
                  </a:ext>
                </a:extLst>
              </p:cNvPr>
              <p:cNvSpPr/>
              <p:nvPr/>
            </p:nvSpPr>
            <p:spPr>
              <a:xfrm>
                <a:off x="8122650" y="3395454"/>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49" name="Oval 148">
                <a:extLst>
                  <a:ext uri="{FF2B5EF4-FFF2-40B4-BE49-F238E27FC236}">
                    <a16:creationId xmlns:a16="http://schemas.microsoft.com/office/drawing/2014/main" id="{32281D66-31C5-4DC4-A723-C68693A948C2}"/>
                  </a:ext>
                </a:extLst>
              </p:cNvPr>
              <p:cNvSpPr/>
              <p:nvPr/>
            </p:nvSpPr>
            <p:spPr>
              <a:xfrm>
                <a:off x="8747366" y="3412330"/>
                <a:ext cx="338757" cy="338757"/>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50" name="Oval 149">
                <a:extLst>
                  <a:ext uri="{FF2B5EF4-FFF2-40B4-BE49-F238E27FC236}">
                    <a16:creationId xmlns:a16="http://schemas.microsoft.com/office/drawing/2014/main" id="{7549380E-2D3F-4111-B8A3-509F47CB793C}"/>
                  </a:ext>
                </a:extLst>
              </p:cNvPr>
              <p:cNvSpPr/>
              <p:nvPr/>
            </p:nvSpPr>
            <p:spPr>
              <a:xfrm>
                <a:off x="7659444" y="4792108"/>
                <a:ext cx="372514" cy="37251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51" name="Oval 150">
                <a:extLst>
                  <a:ext uri="{FF2B5EF4-FFF2-40B4-BE49-F238E27FC236}">
                    <a16:creationId xmlns:a16="http://schemas.microsoft.com/office/drawing/2014/main" id="{D0BA2C34-7C9E-4542-A7BA-6F303C798296}"/>
                  </a:ext>
                </a:extLst>
              </p:cNvPr>
              <p:cNvSpPr/>
              <p:nvPr/>
            </p:nvSpPr>
            <p:spPr>
              <a:xfrm>
                <a:off x="7208355" y="5062538"/>
                <a:ext cx="341242" cy="34124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52" name="Oval 151">
                <a:extLst>
                  <a:ext uri="{FF2B5EF4-FFF2-40B4-BE49-F238E27FC236}">
                    <a16:creationId xmlns:a16="http://schemas.microsoft.com/office/drawing/2014/main" id="{910570A8-56B7-4CD7-9CD0-68996EECE336}"/>
                  </a:ext>
                </a:extLst>
              </p:cNvPr>
              <p:cNvSpPr/>
              <p:nvPr/>
            </p:nvSpPr>
            <p:spPr>
              <a:xfrm>
                <a:off x="8113230" y="5122069"/>
                <a:ext cx="274566" cy="27456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53" name="Freeform 141">
                <a:extLst>
                  <a:ext uri="{FF2B5EF4-FFF2-40B4-BE49-F238E27FC236}">
                    <a16:creationId xmlns:a16="http://schemas.microsoft.com/office/drawing/2014/main" id="{0D2A3761-56EE-4905-9F3F-E3F59DE31D1A}"/>
                  </a:ext>
                </a:extLst>
              </p:cNvPr>
              <p:cNvSpPr/>
              <p:nvPr/>
            </p:nvSpPr>
            <p:spPr>
              <a:xfrm>
                <a:off x="5507831" y="5678142"/>
                <a:ext cx="1200744" cy="1046508"/>
              </a:xfrm>
              <a:custGeom>
                <a:avLst/>
                <a:gdLst>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58806 w 1200744"/>
                  <a:gd name="connsiteY19" fmla="*/ 0 h 1046508"/>
                  <a:gd name="connsiteX20" fmla="*/ 692944 w 1200744"/>
                  <a:gd name="connsiteY20" fmla="*/ 0 h 1046508"/>
                  <a:gd name="connsiteX21" fmla="*/ 692944 w 1200744"/>
                  <a:gd name="connsiteY21" fmla="*/ 102530 h 1046508"/>
                  <a:gd name="connsiteX22" fmla="*/ 418176 w 1200744"/>
                  <a:gd name="connsiteY22" fmla="*/ 135174 h 1046508"/>
                  <a:gd name="connsiteX23" fmla="*/ 392350 w 1200744"/>
                  <a:gd name="connsiteY23" fmla="*/ 149653 h 1046508"/>
                  <a:gd name="connsiteX24" fmla="*/ 384326 w 1200744"/>
                  <a:gd name="connsiteY24" fmla="*/ 178152 h 1046508"/>
                  <a:gd name="connsiteX25" fmla="*/ 398804 w 1200744"/>
                  <a:gd name="connsiteY25" fmla="*/ 203977 h 1046508"/>
                  <a:gd name="connsiteX26" fmla="*/ 427304 w 1200744"/>
                  <a:gd name="connsiteY26" fmla="*/ 212001 h 1046508"/>
                  <a:gd name="connsiteX27" fmla="*/ 1104900 w 1200744"/>
                  <a:gd name="connsiteY27" fmla="*/ 131498 h 1046508"/>
                  <a:gd name="connsiteX28" fmla="*/ 1104900 w 1200744"/>
                  <a:gd name="connsiteY28" fmla="*/ 134851 h 1046508"/>
                  <a:gd name="connsiteX29" fmla="*/ 1157493 w 1200744"/>
                  <a:gd name="connsiteY29" fmla="*/ 128603 h 1046508"/>
                  <a:gd name="connsiteX30" fmla="*/ 1200471 w 1200744"/>
                  <a:gd name="connsiteY30" fmla="*/ 162453 h 1046508"/>
                  <a:gd name="connsiteX31" fmla="*/ 1200470 w 1200744"/>
                  <a:gd name="connsiteY31" fmla="*/ 162453 h 1046508"/>
                  <a:gd name="connsiteX32" fmla="*/ 1166620 w 1200744"/>
                  <a:gd name="connsiteY32" fmla="*/ 205431 h 1046508"/>
                  <a:gd name="connsiteX33" fmla="*/ 892471 w 1200744"/>
                  <a:gd name="connsiteY33" fmla="*/ 238001 h 1046508"/>
                  <a:gd name="connsiteX34" fmla="*/ 883444 w 1200744"/>
                  <a:gd name="connsiteY34" fmla="*/ 235459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688181 w 1200744"/>
                  <a:gd name="connsiteY45" fmla="*/ 400083 h 1046508"/>
                  <a:gd name="connsiteX46" fmla="*/ 688181 w 1200744"/>
                  <a:gd name="connsiteY46" fmla="*/ 403433 h 1046508"/>
                  <a:gd name="connsiteX47" fmla="*/ 792956 w 1200744"/>
                  <a:gd name="connsiteY47" fmla="*/ 390985 h 1046508"/>
                  <a:gd name="connsiteX48" fmla="*/ 792956 w 1200744"/>
                  <a:gd name="connsiteY48" fmla="*/ 387635 h 1046508"/>
                  <a:gd name="connsiteX49" fmla="*/ 883444 w 1200744"/>
                  <a:gd name="connsiteY49" fmla="*/ 376884 h 1046508"/>
                  <a:gd name="connsiteX50" fmla="*/ 883444 w 1200744"/>
                  <a:gd name="connsiteY50" fmla="*/ 380235 h 1046508"/>
                  <a:gd name="connsiteX51" fmla="*/ 1157493 w 1200744"/>
                  <a:gd name="connsiteY51" fmla="*/ 347675 h 1046508"/>
                  <a:gd name="connsiteX52" fmla="*/ 1200471 w 1200744"/>
                  <a:gd name="connsiteY52" fmla="*/ 381525 h 1046508"/>
                  <a:gd name="connsiteX53" fmla="*/ 1200470 w 1200744"/>
                  <a:gd name="connsiteY53" fmla="*/ 381526 h 1046508"/>
                  <a:gd name="connsiteX54" fmla="*/ 1166620 w 1200744"/>
                  <a:gd name="connsiteY54" fmla="*/ 424503 h 1046508"/>
                  <a:gd name="connsiteX55" fmla="*/ 883444 w 1200744"/>
                  <a:gd name="connsiteY55" fmla="*/ 458146 h 1046508"/>
                  <a:gd name="connsiteX56" fmla="*/ 883444 w 1200744"/>
                  <a:gd name="connsiteY56" fmla="*/ 506141 h 1046508"/>
                  <a:gd name="connsiteX57" fmla="*/ 792956 w 1200744"/>
                  <a:gd name="connsiteY57" fmla="*/ 516892 h 1046508"/>
                  <a:gd name="connsiteX58" fmla="*/ 792956 w 1200744"/>
                  <a:gd name="connsiteY58" fmla="*/ 468897 h 1046508"/>
                  <a:gd name="connsiteX59" fmla="*/ 688181 w 1200744"/>
                  <a:gd name="connsiteY59" fmla="*/ 481345 h 1046508"/>
                  <a:gd name="connsiteX60" fmla="*/ 688181 w 1200744"/>
                  <a:gd name="connsiteY60" fmla="*/ 529340 h 1046508"/>
                  <a:gd name="connsiteX61" fmla="*/ 418176 w 1200744"/>
                  <a:gd name="connsiteY61" fmla="*/ 561418 h 1046508"/>
                  <a:gd name="connsiteX62" fmla="*/ 392350 w 1200744"/>
                  <a:gd name="connsiteY62" fmla="*/ 575897 h 1046508"/>
                  <a:gd name="connsiteX63" fmla="*/ 384326 w 1200744"/>
                  <a:gd name="connsiteY63" fmla="*/ 604396 h 1046508"/>
                  <a:gd name="connsiteX64" fmla="*/ 398804 w 1200744"/>
                  <a:gd name="connsiteY64" fmla="*/ 630221 h 1046508"/>
                  <a:gd name="connsiteX65" fmla="*/ 427304 w 1200744"/>
                  <a:gd name="connsiteY65" fmla="*/ 638245 h 1046508"/>
                  <a:gd name="connsiteX66" fmla="*/ 1104900 w 1200744"/>
                  <a:gd name="connsiteY66" fmla="*/ 557742 h 1046508"/>
                  <a:gd name="connsiteX67" fmla="*/ 1104900 w 1200744"/>
                  <a:gd name="connsiteY67" fmla="*/ 558713 h 1046508"/>
                  <a:gd name="connsiteX68" fmla="*/ 1157491 w 1200744"/>
                  <a:gd name="connsiteY68" fmla="*/ 552464 h 1046508"/>
                  <a:gd name="connsiteX69" fmla="*/ 1200469 w 1200744"/>
                  <a:gd name="connsiteY69" fmla="*/ 586314 h 1046508"/>
                  <a:gd name="connsiteX70" fmla="*/ 1200468 w 1200744"/>
                  <a:gd name="connsiteY70" fmla="*/ 586314 h 1046508"/>
                  <a:gd name="connsiteX71" fmla="*/ 1166618 w 1200744"/>
                  <a:gd name="connsiteY71" fmla="*/ 629292 h 1046508"/>
                  <a:gd name="connsiteX72" fmla="*/ 1104900 w 1200744"/>
                  <a:gd name="connsiteY72" fmla="*/ 636624 h 1046508"/>
                  <a:gd name="connsiteX73" fmla="*/ 1104900 w 1200744"/>
                  <a:gd name="connsiteY73" fmla="*/ 817908 h 1046508"/>
                  <a:gd name="connsiteX74" fmla="*/ 971550 w 1200744"/>
                  <a:gd name="connsiteY74" fmla="*/ 946496 h 1046508"/>
                  <a:gd name="connsiteX75" fmla="*/ 752889 w 1200744"/>
                  <a:gd name="connsiteY75" fmla="*/ 946496 h 1046508"/>
                  <a:gd name="connsiteX76" fmla="*/ 749140 w 1200744"/>
                  <a:gd name="connsiteY76" fmla="*/ 965065 h 1046508"/>
                  <a:gd name="connsiteX77" fmla="*/ 626271 w 1200744"/>
                  <a:gd name="connsiteY77" fmla="*/ 1046508 h 1046508"/>
                  <a:gd name="connsiteX78" fmla="*/ 533770 w 1200744"/>
                  <a:gd name="connsiteY78" fmla="*/ 1046508 h 1046508"/>
                  <a:gd name="connsiteX79" fmla="*/ 410901 w 1200744"/>
                  <a:gd name="connsiteY79" fmla="*/ 965065 h 1046508"/>
                  <a:gd name="connsiteX80" fmla="*/ 407153 w 1200744"/>
                  <a:gd name="connsiteY80" fmla="*/ 946496 h 1046508"/>
                  <a:gd name="connsiteX81" fmla="*/ 190500 w 1200744"/>
                  <a:gd name="connsiteY81" fmla="*/ 946496 h 1046508"/>
                  <a:gd name="connsiteX82" fmla="*/ 59532 w 1200744"/>
                  <a:gd name="connsiteY82" fmla="*/ 825052 h 1046508"/>
                  <a:gd name="connsiteX83" fmla="*/ 59432 w 1200744"/>
                  <a:gd name="connsiteY83" fmla="*/ 710643 h 1046508"/>
                  <a:gd name="connsiteX84" fmla="*/ 48816 w 1200744"/>
                  <a:gd name="connsiteY84" fmla="*/ 710643 h 1046508"/>
                  <a:gd name="connsiteX85" fmla="*/ 14298 w 1200744"/>
                  <a:gd name="connsiteY85" fmla="*/ 696345 h 1046508"/>
                  <a:gd name="connsiteX86" fmla="*/ 0 w 1200744"/>
                  <a:gd name="connsiteY86" fmla="*/ 661828 h 1046508"/>
                  <a:gd name="connsiteX87" fmla="*/ 14298 w 1200744"/>
                  <a:gd name="connsiteY87" fmla="*/ 627310 h 1046508"/>
                  <a:gd name="connsiteX88" fmla="*/ 48816 w 1200744"/>
                  <a:gd name="connsiteY88" fmla="*/ 613012 h 1046508"/>
                  <a:gd name="connsiteX89" fmla="*/ 59346 w 1200744"/>
                  <a:gd name="connsiteY89" fmla="*/ 613012 h 1046508"/>
                  <a:gd name="connsiteX90" fmla="*/ 59247 w 1200744"/>
                  <a:gd name="connsiteY90" fmla="*/ 501147 h 1046508"/>
                  <a:gd name="connsiteX91" fmla="*/ 48816 w 1200744"/>
                  <a:gd name="connsiteY91" fmla="*/ 501147 h 1046508"/>
                  <a:gd name="connsiteX92" fmla="*/ 14298 w 1200744"/>
                  <a:gd name="connsiteY92" fmla="*/ 486849 h 1046508"/>
                  <a:gd name="connsiteX93" fmla="*/ 0 w 1200744"/>
                  <a:gd name="connsiteY93" fmla="*/ 452332 h 1046508"/>
                  <a:gd name="connsiteX94" fmla="*/ 14298 w 1200744"/>
                  <a:gd name="connsiteY94" fmla="*/ 417814 h 1046508"/>
                  <a:gd name="connsiteX95" fmla="*/ 48816 w 1200744"/>
                  <a:gd name="connsiteY95" fmla="*/ 403516 h 1046508"/>
                  <a:gd name="connsiteX96" fmla="*/ 59161 w 1200744"/>
                  <a:gd name="connsiteY96" fmla="*/ 403516 h 1046508"/>
                  <a:gd name="connsiteX97" fmla="*/ 59063 w 1200744"/>
                  <a:gd name="connsiteY97" fmla="*/ 291651 h 1046508"/>
                  <a:gd name="connsiteX98" fmla="*/ 48816 w 1200744"/>
                  <a:gd name="connsiteY98" fmla="*/ 291651 h 1046508"/>
                  <a:gd name="connsiteX99" fmla="*/ 14298 w 1200744"/>
                  <a:gd name="connsiteY99" fmla="*/ 277353 h 1046508"/>
                  <a:gd name="connsiteX100" fmla="*/ 0 w 1200744"/>
                  <a:gd name="connsiteY100" fmla="*/ 242836 h 1046508"/>
                  <a:gd name="connsiteX101" fmla="*/ 14298 w 1200744"/>
                  <a:gd name="connsiteY101" fmla="*/ 208318 h 1046508"/>
                  <a:gd name="connsiteX102" fmla="*/ 48816 w 1200744"/>
                  <a:gd name="connsiteY102" fmla="*/ 194020 h 1046508"/>
                  <a:gd name="connsiteX103" fmla="*/ 58977 w 1200744"/>
                  <a:gd name="connsiteY103" fmla="*/ 19402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792956 w 1200744"/>
                  <a:gd name="connsiteY49" fmla="*/ 387635 h 1046508"/>
                  <a:gd name="connsiteX50" fmla="*/ 883444 w 1200744"/>
                  <a:gd name="connsiteY50" fmla="*/ 376884 h 1046508"/>
                  <a:gd name="connsiteX51" fmla="*/ 1157493 w 1200744"/>
                  <a:gd name="connsiteY51" fmla="*/ 347675 h 1046508"/>
                  <a:gd name="connsiteX52" fmla="*/ 1200471 w 1200744"/>
                  <a:gd name="connsiteY52" fmla="*/ 381525 h 1046508"/>
                  <a:gd name="connsiteX53" fmla="*/ 1200470 w 1200744"/>
                  <a:gd name="connsiteY53" fmla="*/ 381526 h 1046508"/>
                  <a:gd name="connsiteX54" fmla="*/ 1166620 w 1200744"/>
                  <a:gd name="connsiteY54" fmla="*/ 424503 h 1046508"/>
                  <a:gd name="connsiteX55" fmla="*/ 883444 w 1200744"/>
                  <a:gd name="connsiteY55" fmla="*/ 458146 h 1046508"/>
                  <a:gd name="connsiteX56" fmla="*/ 883444 w 1200744"/>
                  <a:gd name="connsiteY56" fmla="*/ 506141 h 1046508"/>
                  <a:gd name="connsiteX57" fmla="*/ 792956 w 1200744"/>
                  <a:gd name="connsiteY57" fmla="*/ 516892 h 1046508"/>
                  <a:gd name="connsiteX58" fmla="*/ 792956 w 1200744"/>
                  <a:gd name="connsiteY58" fmla="*/ 468897 h 1046508"/>
                  <a:gd name="connsiteX59" fmla="*/ 688181 w 1200744"/>
                  <a:gd name="connsiteY59" fmla="*/ 481345 h 1046508"/>
                  <a:gd name="connsiteX60" fmla="*/ 688181 w 1200744"/>
                  <a:gd name="connsiteY60" fmla="*/ 529340 h 1046508"/>
                  <a:gd name="connsiteX61" fmla="*/ 418176 w 1200744"/>
                  <a:gd name="connsiteY61" fmla="*/ 561418 h 1046508"/>
                  <a:gd name="connsiteX62" fmla="*/ 392350 w 1200744"/>
                  <a:gd name="connsiteY62" fmla="*/ 575897 h 1046508"/>
                  <a:gd name="connsiteX63" fmla="*/ 384326 w 1200744"/>
                  <a:gd name="connsiteY63" fmla="*/ 604396 h 1046508"/>
                  <a:gd name="connsiteX64" fmla="*/ 398804 w 1200744"/>
                  <a:gd name="connsiteY64" fmla="*/ 630221 h 1046508"/>
                  <a:gd name="connsiteX65" fmla="*/ 427304 w 1200744"/>
                  <a:gd name="connsiteY65" fmla="*/ 638245 h 1046508"/>
                  <a:gd name="connsiteX66" fmla="*/ 1104900 w 1200744"/>
                  <a:gd name="connsiteY66" fmla="*/ 557742 h 1046508"/>
                  <a:gd name="connsiteX67" fmla="*/ 1104900 w 1200744"/>
                  <a:gd name="connsiteY67" fmla="*/ 558713 h 1046508"/>
                  <a:gd name="connsiteX68" fmla="*/ 1157491 w 1200744"/>
                  <a:gd name="connsiteY68" fmla="*/ 552464 h 1046508"/>
                  <a:gd name="connsiteX69" fmla="*/ 1200469 w 1200744"/>
                  <a:gd name="connsiteY69" fmla="*/ 586314 h 1046508"/>
                  <a:gd name="connsiteX70" fmla="*/ 1200468 w 1200744"/>
                  <a:gd name="connsiteY70" fmla="*/ 586314 h 1046508"/>
                  <a:gd name="connsiteX71" fmla="*/ 1166618 w 1200744"/>
                  <a:gd name="connsiteY71" fmla="*/ 629292 h 1046508"/>
                  <a:gd name="connsiteX72" fmla="*/ 1104900 w 1200744"/>
                  <a:gd name="connsiteY72" fmla="*/ 636624 h 1046508"/>
                  <a:gd name="connsiteX73" fmla="*/ 1104900 w 1200744"/>
                  <a:gd name="connsiteY73" fmla="*/ 817908 h 1046508"/>
                  <a:gd name="connsiteX74" fmla="*/ 971550 w 1200744"/>
                  <a:gd name="connsiteY74" fmla="*/ 946496 h 1046508"/>
                  <a:gd name="connsiteX75" fmla="*/ 752889 w 1200744"/>
                  <a:gd name="connsiteY75" fmla="*/ 946496 h 1046508"/>
                  <a:gd name="connsiteX76" fmla="*/ 749140 w 1200744"/>
                  <a:gd name="connsiteY76" fmla="*/ 965065 h 1046508"/>
                  <a:gd name="connsiteX77" fmla="*/ 626271 w 1200744"/>
                  <a:gd name="connsiteY77" fmla="*/ 1046508 h 1046508"/>
                  <a:gd name="connsiteX78" fmla="*/ 533770 w 1200744"/>
                  <a:gd name="connsiteY78" fmla="*/ 1046508 h 1046508"/>
                  <a:gd name="connsiteX79" fmla="*/ 410901 w 1200744"/>
                  <a:gd name="connsiteY79" fmla="*/ 965065 h 1046508"/>
                  <a:gd name="connsiteX80" fmla="*/ 407153 w 1200744"/>
                  <a:gd name="connsiteY80" fmla="*/ 946496 h 1046508"/>
                  <a:gd name="connsiteX81" fmla="*/ 190500 w 1200744"/>
                  <a:gd name="connsiteY81" fmla="*/ 946496 h 1046508"/>
                  <a:gd name="connsiteX82" fmla="*/ 59532 w 1200744"/>
                  <a:gd name="connsiteY82" fmla="*/ 825052 h 1046508"/>
                  <a:gd name="connsiteX83" fmla="*/ 59432 w 1200744"/>
                  <a:gd name="connsiteY83" fmla="*/ 710643 h 1046508"/>
                  <a:gd name="connsiteX84" fmla="*/ 48816 w 1200744"/>
                  <a:gd name="connsiteY84" fmla="*/ 710643 h 1046508"/>
                  <a:gd name="connsiteX85" fmla="*/ 14298 w 1200744"/>
                  <a:gd name="connsiteY85" fmla="*/ 696345 h 1046508"/>
                  <a:gd name="connsiteX86" fmla="*/ 0 w 1200744"/>
                  <a:gd name="connsiteY86" fmla="*/ 661828 h 1046508"/>
                  <a:gd name="connsiteX87" fmla="*/ 14298 w 1200744"/>
                  <a:gd name="connsiteY87" fmla="*/ 627310 h 1046508"/>
                  <a:gd name="connsiteX88" fmla="*/ 48816 w 1200744"/>
                  <a:gd name="connsiteY88" fmla="*/ 613012 h 1046508"/>
                  <a:gd name="connsiteX89" fmla="*/ 59346 w 1200744"/>
                  <a:gd name="connsiteY89" fmla="*/ 613012 h 1046508"/>
                  <a:gd name="connsiteX90" fmla="*/ 59247 w 1200744"/>
                  <a:gd name="connsiteY90" fmla="*/ 501147 h 1046508"/>
                  <a:gd name="connsiteX91" fmla="*/ 48816 w 1200744"/>
                  <a:gd name="connsiteY91" fmla="*/ 501147 h 1046508"/>
                  <a:gd name="connsiteX92" fmla="*/ 14298 w 1200744"/>
                  <a:gd name="connsiteY92" fmla="*/ 486849 h 1046508"/>
                  <a:gd name="connsiteX93" fmla="*/ 0 w 1200744"/>
                  <a:gd name="connsiteY93" fmla="*/ 452332 h 1046508"/>
                  <a:gd name="connsiteX94" fmla="*/ 14298 w 1200744"/>
                  <a:gd name="connsiteY94" fmla="*/ 417814 h 1046508"/>
                  <a:gd name="connsiteX95" fmla="*/ 48816 w 1200744"/>
                  <a:gd name="connsiteY95" fmla="*/ 403516 h 1046508"/>
                  <a:gd name="connsiteX96" fmla="*/ 59161 w 1200744"/>
                  <a:gd name="connsiteY96" fmla="*/ 403516 h 1046508"/>
                  <a:gd name="connsiteX97" fmla="*/ 59063 w 1200744"/>
                  <a:gd name="connsiteY97" fmla="*/ 291651 h 1046508"/>
                  <a:gd name="connsiteX98" fmla="*/ 48816 w 1200744"/>
                  <a:gd name="connsiteY98" fmla="*/ 291651 h 1046508"/>
                  <a:gd name="connsiteX99" fmla="*/ 14298 w 1200744"/>
                  <a:gd name="connsiteY99" fmla="*/ 277353 h 1046508"/>
                  <a:gd name="connsiteX100" fmla="*/ 0 w 1200744"/>
                  <a:gd name="connsiteY100" fmla="*/ 242836 h 1046508"/>
                  <a:gd name="connsiteX101" fmla="*/ 14298 w 1200744"/>
                  <a:gd name="connsiteY101" fmla="*/ 208318 h 1046508"/>
                  <a:gd name="connsiteX102" fmla="*/ 48816 w 1200744"/>
                  <a:gd name="connsiteY102" fmla="*/ 194020 h 1046508"/>
                  <a:gd name="connsiteX103" fmla="*/ 58977 w 1200744"/>
                  <a:gd name="connsiteY103" fmla="*/ 194020 h 1046508"/>
                  <a:gd name="connsiteX104" fmla="*/ 58806 w 1200744"/>
                  <a:gd name="connsiteY104"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792956 w 1200744"/>
                  <a:gd name="connsiteY49" fmla="*/ 387635 h 1046508"/>
                  <a:gd name="connsiteX50" fmla="*/ 1157493 w 1200744"/>
                  <a:gd name="connsiteY50" fmla="*/ 347675 h 1046508"/>
                  <a:gd name="connsiteX51" fmla="*/ 1200471 w 1200744"/>
                  <a:gd name="connsiteY51" fmla="*/ 381525 h 1046508"/>
                  <a:gd name="connsiteX52" fmla="*/ 1200470 w 1200744"/>
                  <a:gd name="connsiteY52" fmla="*/ 381526 h 1046508"/>
                  <a:gd name="connsiteX53" fmla="*/ 1166620 w 1200744"/>
                  <a:gd name="connsiteY53" fmla="*/ 424503 h 1046508"/>
                  <a:gd name="connsiteX54" fmla="*/ 883444 w 1200744"/>
                  <a:gd name="connsiteY54" fmla="*/ 458146 h 1046508"/>
                  <a:gd name="connsiteX55" fmla="*/ 883444 w 1200744"/>
                  <a:gd name="connsiteY55" fmla="*/ 506141 h 1046508"/>
                  <a:gd name="connsiteX56" fmla="*/ 792956 w 1200744"/>
                  <a:gd name="connsiteY56" fmla="*/ 516892 h 1046508"/>
                  <a:gd name="connsiteX57" fmla="*/ 792956 w 1200744"/>
                  <a:gd name="connsiteY57" fmla="*/ 468897 h 1046508"/>
                  <a:gd name="connsiteX58" fmla="*/ 688181 w 1200744"/>
                  <a:gd name="connsiteY58" fmla="*/ 481345 h 1046508"/>
                  <a:gd name="connsiteX59" fmla="*/ 688181 w 1200744"/>
                  <a:gd name="connsiteY59" fmla="*/ 529340 h 1046508"/>
                  <a:gd name="connsiteX60" fmla="*/ 418176 w 1200744"/>
                  <a:gd name="connsiteY60" fmla="*/ 561418 h 1046508"/>
                  <a:gd name="connsiteX61" fmla="*/ 392350 w 1200744"/>
                  <a:gd name="connsiteY61" fmla="*/ 575897 h 1046508"/>
                  <a:gd name="connsiteX62" fmla="*/ 384326 w 1200744"/>
                  <a:gd name="connsiteY62" fmla="*/ 604396 h 1046508"/>
                  <a:gd name="connsiteX63" fmla="*/ 398804 w 1200744"/>
                  <a:gd name="connsiteY63" fmla="*/ 630221 h 1046508"/>
                  <a:gd name="connsiteX64" fmla="*/ 427304 w 1200744"/>
                  <a:gd name="connsiteY64" fmla="*/ 638245 h 1046508"/>
                  <a:gd name="connsiteX65" fmla="*/ 1104900 w 1200744"/>
                  <a:gd name="connsiteY65" fmla="*/ 557742 h 1046508"/>
                  <a:gd name="connsiteX66" fmla="*/ 1104900 w 1200744"/>
                  <a:gd name="connsiteY66" fmla="*/ 558713 h 1046508"/>
                  <a:gd name="connsiteX67" fmla="*/ 1157491 w 1200744"/>
                  <a:gd name="connsiteY67" fmla="*/ 552464 h 1046508"/>
                  <a:gd name="connsiteX68" fmla="*/ 1200469 w 1200744"/>
                  <a:gd name="connsiteY68" fmla="*/ 586314 h 1046508"/>
                  <a:gd name="connsiteX69" fmla="*/ 1200468 w 1200744"/>
                  <a:gd name="connsiteY69" fmla="*/ 586314 h 1046508"/>
                  <a:gd name="connsiteX70" fmla="*/ 1166618 w 1200744"/>
                  <a:gd name="connsiteY70" fmla="*/ 629292 h 1046508"/>
                  <a:gd name="connsiteX71" fmla="*/ 1104900 w 1200744"/>
                  <a:gd name="connsiteY71" fmla="*/ 636624 h 1046508"/>
                  <a:gd name="connsiteX72" fmla="*/ 1104900 w 1200744"/>
                  <a:gd name="connsiteY72" fmla="*/ 817908 h 1046508"/>
                  <a:gd name="connsiteX73" fmla="*/ 971550 w 1200744"/>
                  <a:gd name="connsiteY73" fmla="*/ 946496 h 1046508"/>
                  <a:gd name="connsiteX74" fmla="*/ 752889 w 1200744"/>
                  <a:gd name="connsiteY74" fmla="*/ 946496 h 1046508"/>
                  <a:gd name="connsiteX75" fmla="*/ 749140 w 1200744"/>
                  <a:gd name="connsiteY75" fmla="*/ 965065 h 1046508"/>
                  <a:gd name="connsiteX76" fmla="*/ 626271 w 1200744"/>
                  <a:gd name="connsiteY76" fmla="*/ 1046508 h 1046508"/>
                  <a:gd name="connsiteX77" fmla="*/ 533770 w 1200744"/>
                  <a:gd name="connsiteY77" fmla="*/ 1046508 h 1046508"/>
                  <a:gd name="connsiteX78" fmla="*/ 410901 w 1200744"/>
                  <a:gd name="connsiteY78" fmla="*/ 965065 h 1046508"/>
                  <a:gd name="connsiteX79" fmla="*/ 407153 w 1200744"/>
                  <a:gd name="connsiteY79" fmla="*/ 946496 h 1046508"/>
                  <a:gd name="connsiteX80" fmla="*/ 190500 w 1200744"/>
                  <a:gd name="connsiteY80" fmla="*/ 946496 h 1046508"/>
                  <a:gd name="connsiteX81" fmla="*/ 59532 w 1200744"/>
                  <a:gd name="connsiteY81" fmla="*/ 825052 h 1046508"/>
                  <a:gd name="connsiteX82" fmla="*/ 59432 w 1200744"/>
                  <a:gd name="connsiteY82" fmla="*/ 710643 h 1046508"/>
                  <a:gd name="connsiteX83" fmla="*/ 48816 w 1200744"/>
                  <a:gd name="connsiteY83" fmla="*/ 710643 h 1046508"/>
                  <a:gd name="connsiteX84" fmla="*/ 14298 w 1200744"/>
                  <a:gd name="connsiteY84" fmla="*/ 696345 h 1046508"/>
                  <a:gd name="connsiteX85" fmla="*/ 0 w 1200744"/>
                  <a:gd name="connsiteY85" fmla="*/ 661828 h 1046508"/>
                  <a:gd name="connsiteX86" fmla="*/ 14298 w 1200744"/>
                  <a:gd name="connsiteY86" fmla="*/ 627310 h 1046508"/>
                  <a:gd name="connsiteX87" fmla="*/ 48816 w 1200744"/>
                  <a:gd name="connsiteY87" fmla="*/ 613012 h 1046508"/>
                  <a:gd name="connsiteX88" fmla="*/ 59346 w 1200744"/>
                  <a:gd name="connsiteY88" fmla="*/ 613012 h 1046508"/>
                  <a:gd name="connsiteX89" fmla="*/ 59247 w 1200744"/>
                  <a:gd name="connsiteY89" fmla="*/ 501147 h 1046508"/>
                  <a:gd name="connsiteX90" fmla="*/ 48816 w 1200744"/>
                  <a:gd name="connsiteY90" fmla="*/ 501147 h 1046508"/>
                  <a:gd name="connsiteX91" fmla="*/ 14298 w 1200744"/>
                  <a:gd name="connsiteY91" fmla="*/ 486849 h 1046508"/>
                  <a:gd name="connsiteX92" fmla="*/ 0 w 1200744"/>
                  <a:gd name="connsiteY92" fmla="*/ 452332 h 1046508"/>
                  <a:gd name="connsiteX93" fmla="*/ 14298 w 1200744"/>
                  <a:gd name="connsiteY93" fmla="*/ 417814 h 1046508"/>
                  <a:gd name="connsiteX94" fmla="*/ 48816 w 1200744"/>
                  <a:gd name="connsiteY94" fmla="*/ 403516 h 1046508"/>
                  <a:gd name="connsiteX95" fmla="*/ 59161 w 1200744"/>
                  <a:gd name="connsiteY95" fmla="*/ 403516 h 1046508"/>
                  <a:gd name="connsiteX96" fmla="*/ 59063 w 1200744"/>
                  <a:gd name="connsiteY96" fmla="*/ 291651 h 1046508"/>
                  <a:gd name="connsiteX97" fmla="*/ 48816 w 1200744"/>
                  <a:gd name="connsiteY97" fmla="*/ 291651 h 1046508"/>
                  <a:gd name="connsiteX98" fmla="*/ 14298 w 1200744"/>
                  <a:gd name="connsiteY98" fmla="*/ 277353 h 1046508"/>
                  <a:gd name="connsiteX99" fmla="*/ 0 w 1200744"/>
                  <a:gd name="connsiteY99" fmla="*/ 242836 h 1046508"/>
                  <a:gd name="connsiteX100" fmla="*/ 14298 w 1200744"/>
                  <a:gd name="connsiteY100" fmla="*/ 208318 h 1046508"/>
                  <a:gd name="connsiteX101" fmla="*/ 48816 w 1200744"/>
                  <a:gd name="connsiteY101" fmla="*/ 194020 h 1046508"/>
                  <a:gd name="connsiteX102" fmla="*/ 58977 w 1200744"/>
                  <a:gd name="connsiteY102" fmla="*/ 194020 h 1046508"/>
                  <a:gd name="connsiteX103" fmla="*/ 58806 w 1200744"/>
                  <a:gd name="connsiteY103"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1157493 w 1200744"/>
                  <a:gd name="connsiteY49" fmla="*/ 347675 h 1046508"/>
                  <a:gd name="connsiteX50" fmla="*/ 1200471 w 1200744"/>
                  <a:gd name="connsiteY50" fmla="*/ 381525 h 1046508"/>
                  <a:gd name="connsiteX51" fmla="*/ 1200470 w 1200744"/>
                  <a:gd name="connsiteY51" fmla="*/ 381526 h 1046508"/>
                  <a:gd name="connsiteX52" fmla="*/ 1166620 w 1200744"/>
                  <a:gd name="connsiteY52" fmla="*/ 424503 h 1046508"/>
                  <a:gd name="connsiteX53" fmla="*/ 883444 w 1200744"/>
                  <a:gd name="connsiteY53" fmla="*/ 458146 h 1046508"/>
                  <a:gd name="connsiteX54" fmla="*/ 883444 w 1200744"/>
                  <a:gd name="connsiteY54" fmla="*/ 506141 h 1046508"/>
                  <a:gd name="connsiteX55" fmla="*/ 792956 w 1200744"/>
                  <a:gd name="connsiteY55" fmla="*/ 516892 h 1046508"/>
                  <a:gd name="connsiteX56" fmla="*/ 792956 w 1200744"/>
                  <a:gd name="connsiteY56" fmla="*/ 468897 h 1046508"/>
                  <a:gd name="connsiteX57" fmla="*/ 688181 w 1200744"/>
                  <a:gd name="connsiteY57" fmla="*/ 481345 h 1046508"/>
                  <a:gd name="connsiteX58" fmla="*/ 688181 w 1200744"/>
                  <a:gd name="connsiteY58" fmla="*/ 529340 h 1046508"/>
                  <a:gd name="connsiteX59" fmla="*/ 418176 w 1200744"/>
                  <a:gd name="connsiteY59" fmla="*/ 561418 h 1046508"/>
                  <a:gd name="connsiteX60" fmla="*/ 392350 w 1200744"/>
                  <a:gd name="connsiteY60" fmla="*/ 575897 h 1046508"/>
                  <a:gd name="connsiteX61" fmla="*/ 384326 w 1200744"/>
                  <a:gd name="connsiteY61" fmla="*/ 604396 h 1046508"/>
                  <a:gd name="connsiteX62" fmla="*/ 398804 w 1200744"/>
                  <a:gd name="connsiteY62" fmla="*/ 630221 h 1046508"/>
                  <a:gd name="connsiteX63" fmla="*/ 427304 w 1200744"/>
                  <a:gd name="connsiteY63" fmla="*/ 638245 h 1046508"/>
                  <a:gd name="connsiteX64" fmla="*/ 1104900 w 1200744"/>
                  <a:gd name="connsiteY64" fmla="*/ 557742 h 1046508"/>
                  <a:gd name="connsiteX65" fmla="*/ 1104900 w 1200744"/>
                  <a:gd name="connsiteY65" fmla="*/ 558713 h 1046508"/>
                  <a:gd name="connsiteX66" fmla="*/ 1157491 w 1200744"/>
                  <a:gd name="connsiteY66" fmla="*/ 552464 h 1046508"/>
                  <a:gd name="connsiteX67" fmla="*/ 1200469 w 1200744"/>
                  <a:gd name="connsiteY67" fmla="*/ 586314 h 1046508"/>
                  <a:gd name="connsiteX68" fmla="*/ 1200468 w 1200744"/>
                  <a:gd name="connsiteY68" fmla="*/ 586314 h 1046508"/>
                  <a:gd name="connsiteX69" fmla="*/ 1166618 w 1200744"/>
                  <a:gd name="connsiteY69" fmla="*/ 629292 h 1046508"/>
                  <a:gd name="connsiteX70" fmla="*/ 1104900 w 1200744"/>
                  <a:gd name="connsiteY70" fmla="*/ 636624 h 1046508"/>
                  <a:gd name="connsiteX71" fmla="*/ 1104900 w 1200744"/>
                  <a:gd name="connsiteY71" fmla="*/ 817908 h 1046508"/>
                  <a:gd name="connsiteX72" fmla="*/ 971550 w 1200744"/>
                  <a:gd name="connsiteY72" fmla="*/ 946496 h 1046508"/>
                  <a:gd name="connsiteX73" fmla="*/ 752889 w 1200744"/>
                  <a:gd name="connsiteY73" fmla="*/ 946496 h 1046508"/>
                  <a:gd name="connsiteX74" fmla="*/ 749140 w 1200744"/>
                  <a:gd name="connsiteY74" fmla="*/ 965065 h 1046508"/>
                  <a:gd name="connsiteX75" fmla="*/ 626271 w 1200744"/>
                  <a:gd name="connsiteY75" fmla="*/ 1046508 h 1046508"/>
                  <a:gd name="connsiteX76" fmla="*/ 533770 w 1200744"/>
                  <a:gd name="connsiteY76" fmla="*/ 1046508 h 1046508"/>
                  <a:gd name="connsiteX77" fmla="*/ 410901 w 1200744"/>
                  <a:gd name="connsiteY77" fmla="*/ 965065 h 1046508"/>
                  <a:gd name="connsiteX78" fmla="*/ 407153 w 1200744"/>
                  <a:gd name="connsiteY78" fmla="*/ 946496 h 1046508"/>
                  <a:gd name="connsiteX79" fmla="*/ 190500 w 1200744"/>
                  <a:gd name="connsiteY79" fmla="*/ 946496 h 1046508"/>
                  <a:gd name="connsiteX80" fmla="*/ 59532 w 1200744"/>
                  <a:gd name="connsiteY80" fmla="*/ 825052 h 1046508"/>
                  <a:gd name="connsiteX81" fmla="*/ 59432 w 1200744"/>
                  <a:gd name="connsiteY81" fmla="*/ 710643 h 1046508"/>
                  <a:gd name="connsiteX82" fmla="*/ 48816 w 1200744"/>
                  <a:gd name="connsiteY82" fmla="*/ 710643 h 1046508"/>
                  <a:gd name="connsiteX83" fmla="*/ 14298 w 1200744"/>
                  <a:gd name="connsiteY83" fmla="*/ 696345 h 1046508"/>
                  <a:gd name="connsiteX84" fmla="*/ 0 w 1200744"/>
                  <a:gd name="connsiteY84" fmla="*/ 661828 h 1046508"/>
                  <a:gd name="connsiteX85" fmla="*/ 14298 w 1200744"/>
                  <a:gd name="connsiteY85" fmla="*/ 627310 h 1046508"/>
                  <a:gd name="connsiteX86" fmla="*/ 48816 w 1200744"/>
                  <a:gd name="connsiteY86" fmla="*/ 613012 h 1046508"/>
                  <a:gd name="connsiteX87" fmla="*/ 59346 w 1200744"/>
                  <a:gd name="connsiteY87" fmla="*/ 613012 h 1046508"/>
                  <a:gd name="connsiteX88" fmla="*/ 59247 w 1200744"/>
                  <a:gd name="connsiteY88" fmla="*/ 501147 h 1046508"/>
                  <a:gd name="connsiteX89" fmla="*/ 48816 w 1200744"/>
                  <a:gd name="connsiteY89" fmla="*/ 501147 h 1046508"/>
                  <a:gd name="connsiteX90" fmla="*/ 14298 w 1200744"/>
                  <a:gd name="connsiteY90" fmla="*/ 486849 h 1046508"/>
                  <a:gd name="connsiteX91" fmla="*/ 0 w 1200744"/>
                  <a:gd name="connsiteY91" fmla="*/ 452332 h 1046508"/>
                  <a:gd name="connsiteX92" fmla="*/ 14298 w 1200744"/>
                  <a:gd name="connsiteY92" fmla="*/ 417814 h 1046508"/>
                  <a:gd name="connsiteX93" fmla="*/ 48816 w 1200744"/>
                  <a:gd name="connsiteY93" fmla="*/ 403516 h 1046508"/>
                  <a:gd name="connsiteX94" fmla="*/ 59161 w 1200744"/>
                  <a:gd name="connsiteY94" fmla="*/ 403516 h 1046508"/>
                  <a:gd name="connsiteX95" fmla="*/ 59063 w 1200744"/>
                  <a:gd name="connsiteY95" fmla="*/ 291651 h 1046508"/>
                  <a:gd name="connsiteX96" fmla="*/ 48816 w 1200744"/>
                  <a:gd name="connsiteY96" fmla="*/ 291651 h 1046508"/>
                  <a:gd name="connsiteX97" fmla="*/ 14298 w 1200744"/>
                  <a:gd name="connsiteY97" fmla="*/ 277353 h 1046508"/>
                  <a:gd name="connsiteX98" fmla="*/ 0 w 1200744"/>
                  <a:gd name="connsiteY98" fmla="*/ 242836 h 1046508"/>
                  <a:gd name="connsiteX99" fmla="*/ 14298 w 1200744"/>
                  <a:gd name="connsiteY99" fmla="*/ 208318 h 1046508"/>
                  <a:gd name="connsiteX100" fmla="*/ 48816 w 1200744"/>
                  <a:gd name="connsiteY100" fmla="*/ 194020 h 1046508"/>
                  <a:gd name="connsiteX101" fmla="*/ 58977 w 1200744"/>
                  <a:gd name="connsiteY101" fmla="*/ 194020 h 1046508"/>
                  <a:gd name="connsiteX102" fmla="*/ 58806 w 1200744"/>
                  <a:gd name="connsiteY102"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1157493 w 1200744"/>
                  <a:gd name="connsiteY48" fmla="*/ 347675 h 1046508"/>
                  <a:gd name="connsiteX49" fmla="*/ 1200471 w 1200744"/>
                  <a:gd name="connsiteY49" fmla="*/ 381525 h 1046508"/>
                  <a:gd name="connsiteX50" fmla="*/ 1200470 w 1200744"/>
                  <a:gd name="connsiteY50" fmla="*/ 381526 h 1046508"/>
                  <a:gd name="connsiteX51" fmla="*/ 1166620 w 1200744"/>
                  <a:gd name="connsiteY51" fmla="*/ 424503 h 1046508"/>
                  <a:gd name="connsiteX52" fmla="*/ 883444 w 1200744"/>
                  <a:gd name="connsiteY52" fmla="*/ 458146 h 1046508"/>
                  <a:gd name="connsiteX53" fmla="*/ 883444 w 1200744"/>
                  <a:gd name="connsiteY53" fmla="*/ 506141 h 1046508"/>
                  <a:gd name="connsiteX54" fmla="*/ 792956 w 1200744"/>
                  <a:gd name="connsiteY54" fmla="*/ 516892 h 1046508"/>
                  <a:gd name="connsiteX55" fmla="*/ 792956 w 1200744"/>
                  <a:gd name="connsiteY55" fmla="*/ 468897 h 1046508"/>
                  <a:gd name="connsiteX56" fmla="*/ 688181 w 1200744"/>
                  <a:gd name="connsiteY56" fmla="*/ 481345 h 1046508"/>
                  <a:gd name="connsiteX57" fmla="*/ 688181 w 1200744"/>
                  <a:gd name="connsiteY57" fmla="*/ 529340 h 1046508"/>
                  <a:gd name="connsiteX58" fmla="*/ 418176 w 1200744"/>
                  <a:gd name="connsiteY58" fmla="*/ 561418 h 1046508"/>
                  <a:gd name="connsiteX59" fmla="*/ 392350 w 1200744"/>
                  <a:gd name="connsiteY59" fmla="*/ 575897 h 1046508"/>
                  <a:gd name="connsiteX60" fmla="*/ 384326 w 1200744"/>
                  <a:gd name="connsiteY60" fmla="*/ 604396 h 1046508"/>
                  <a:gd name="connsiteX61" fmla="*/ 398804 w 1200744"/>
                  <a:gd name="connsiteY61" fmla="*/ 630221 h 1046508"/>
                  <a:gd name="connsiteX62" fmla="*/ 427304 w 1200744"/>
                  <a:gd name="connsiteY62" fmla="*/ 638245 h 1046508"/>
                  <a:gd name="connsiteX63" fmla="*/ 1104900 w 1200744"/>
                  <a:gd name="connsiteY63" fmla="*/ 557742 h 1046508"/>
                  <a:gd name="connsiteX64" fmla="*/ 1104900 w 1200744"/>
                  <a:gd name="connsiteY64" fmla="*/ 558713 h 1046508"/>
                  <a:gd name="connsiteX65" fmla="*/ 1157491 w 1200744"/>
                  <a:gd name="connsiteY65" fmla="*/ 552464 h 1046508"/>
                  <a:gd name="connsiteX66" fmla="*/ 1200469 w 1200744"/>
                  <a:gd name="connsiteY66" fmla="*/ 586314 h 1046508"/>
                  <a:gd name="connsiteX67" fmla="*/ 1200468 w 1200744"/>
                  <a:gd name="connsiteY67" fmla="*/ 586314 h 1046508"/>
                  <a:gd name="connsiteX68" fmla="*/ 1166618 w 1200744"/>
                  <a:gd name="connsiteY68" fmla="*/ 629292 h 1046508"/>
                  <a:gd name="connsiteX69" fmla="*/ 1104900 w 1200744"/>
                  <a:gd name="connsiteY69" fmla="*/ 636624 h 1046508"/>
                  <a:gd name="connsiteX70" fmla="*/ 1104900 w 1200744"/>
                  <a:gd name="connsiteY70" fmla="*/ 817908 h 1046508"/>
                  <a:gd name="connsiteX71" fmla="*/ 971550 w 1200744"/>
                  <a:gd name="connsiteY71" fmla="*/ 946496 h 1046508"/>
                  <a:gd name="connsiteX72" fmla="*/ 752889 w 1200744"/>
                  <a:gd name="connsiteY72" fmla="*/ 946496 h 1046508"/>
                  <a:gd name="connsiteX73" fmla="*/ 749140 w 1200744"/>
                  <a:gd name="connsiteY73" fmla="*/ 965065 h 1046508"/>
                  <a:gd name="connsiteX74" fmla="*/ 626271 w 1200744"/>
                  <a:gd name="connsiteY74" fmla="*/ 1046508 h 1046508"/>
                  <a:gd name="connsiteX75" fmla="*/ 533770 w 1200744"/>
                  <a:gd name="connsiteY75" fmla="*/ 1046508 h 1046508"/>
                  <a:gd name="connsiteX76" fmla="*/ 410901 w 1200744"/>
                  <a:gd name="connsiteY76" fmla="*/ 965065 h 1046508"/>
                  <a:gd name="connsiteX77" fmla="*/ 407153 w 1200744"/>
                  <a:gd name="connsiteY77" fmla="*/ 946496 h 1046508"/>
                  <a:gd name="connsiteX78" fmla="*/ 190500 w 1200744"/>
                  <a:gd name="connsiteY78" fmla="*/ 946496 h 1046508"/>
                  <a:gd name="connsiteX79" fmla="*/ 59532 w 1200744"/>
                  <a:gd name="connsiteY79" fmla="*/ 825052 h 1046508"/>
                  <a:gd name="connsiteX80" fmla="*/ 59432 w 1200744"/>
                  <a:gd name="connsiteY80" fmla="*/ 710643 h 1046508"/>
                  <a:gd name="connsiteX81" fmla="*/ 48816 w 1200744"/>
                  <a:gd name="connsiteY81" fmla="*/ 710643 h 1046508"/>
                  <a:gd name="connsiteX82" fmla="*/ 14298 w 1200744"/>
                  <a:gd name="connsiteY82" fmla="*/ 696345 h 1046508"/>
                  <a:gd name="connsiteX83" fmla="*/ 0 w 1200744"/>
                  <a:gd name="connsiteY83" fmla="*/ 661828 h 1046508"/>
                  <a:gd name="connsiteX84" fmla="*/ 14298 w 1200744"/>
                  <a:gd name="connsiteY84" fmla="*/ 627310 h 1046508"/>
                  <a:gd name="connsiteX85" fmla="*/ 48816 w 1200744"/>
                  <a:gd name="connsiteY85" fmla="*/ 613012 h 1046508"/>
                  <a:gd name="connsiteX86" fmla="*/ 59346 w 1200744"/>
                  <a:gd name="connsiteY86" fmla="*/ 613012 h 1046508"/>
                  <a:gd name="connsiteX87" fmla="*/ 59247 w 1200744"/>
                  <a:gd name="connsiteY87" fmla="*/ 501147 h 1046508"/>
                  <a:gd name="connsiteX88" fmla="*/ 48816 w 1200744"/>
                  <a:gd name="connsiteY88" fmla="*/ 501147 h 1046508"/>
                  <a:gd name="connsiteX89" fmla="*/ 14298 w 1200744"/>
                  <a:gd name="connsiteY89" fmla="*/ 486849 h 1046508"/>
                  <a:gd name="connsiteX90" fmla="*/ 0 w 1200744"/>
                  <a:gd name="connsiteY90" fmla="*/ 452332 h 1046508"/>
                  <a:gd name="connsiteX91" fmla="*/ 14298 w 1200744"/>
                  <a:gd name="connsiteY91" fmla="*/ 417814 h 1046508"/>
                  <a:gd name="connsiteX92" fmla="*/ 48816 w 1200744"/>
                  <a:gd name="connsiteY92" fmla="*/ 403516 h 1046508"/>
                  <a:gd name="connsiteX93" fmla="*/ 59161 w 1200744"/>
                  <a:gd name="connsiteY93" fmla="*/ 403516 h 1046508"/>
                  <a:gd name="connsiteX94" fmla="*/ 59063 w 1200744"/>
                  <a:gd name="connsiteY94" fmla="*/ 291651 h 1046508"/>
                  <a:gd name="connsiteX95" fmla="*/ 48816 w 1200744"/>
                  <a:gd name="connsiteY95" fmla="*/ 291651 h 1046508"/>
                  <a:gd name="connsiteX96" fmla="*/ 14298 w 1200744"/>
                  <a:gd name="connsiteY96" fmla="*/ 277353 h 1046508"/>
                  <a:gd name="connsiteX97" fmla="*/ 0 w 1200744"/>
                  <a:gd name="connsiteY97" fmla="*/ 242836 h 1046508"/>
                  <a:gd name="connsiteX98" fmla="*/ 14298 w 1200744"/>
                  <a:gd name="connsiteY98" fmla="*/ 208318 h 1046508"/>
                  <a:gd name="connsiteX99" fmla="*/ 48816 w 1200744"/>
                  <a:gd name="connsiteY99" fmla="*/ 194020 h 1046508"/>
                  <a:gd name="connsiteX100" fmla="*/ 58977 w 1200744"/>
                  <a:gd name="connsiteY100" fmla="*/ 194020 h 1046508"/>
                  <a:gd name="connsiteX101" fmla="*/ 58806 w 1200744"/>
                  <a:gd name="connsiteY101"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1157493 w 1200744"/>
                  <a:gd name="connsiteY47" fmla="*/ 347675 h 1046508"/>
                  <a:gd name="connsiteX48" fmla="*/ 1200471 w 1200744"/>
                  <a:gd name="connsiteY48" fmla="*/ 381525 h 1046508"/>
                  <a:gd name="connsiteX49" fmla="*/ 1200470 w 1200744"/>
                  <a:gd name="connsiteY49" fmla="*/ 381526 h 1046508"/>
                  <a:gd name="connsiteX50" fmla="*/ 1166620 w 1200744"/>
                  <a:gd name="connsiteY50" fmla="*/ 424503 h 1046508"/>
                  <a:gd name="connsiteX51" fmla="*/ 883444 w 1200744"/>
                  <a:gd name="connsiteY51" fmla="*/ 458146 h 1046508"/>
                  <a:gd name="connsiteX52" fmla="*/ 883444 w 1200744"/>
                  <a:gd name="connsiteY52" fmla="*/ 506141 h 1046508"/>
                  <a:gd name="connsiteX53" fmla="*/ 792956 w 1200744"/>
                  <a:gd name="connsiteY53" fmla="*/ 516892 h 1046508"/>
                  <a:gd name="connsiteX54" fmla="*/ 792956 w 1200744"/>
                  <a:gd name="connsiteY54" fmla="*/ 468897 h 1046508"/>
                  <a:gd name="connsiteX55" fmla="*/ 688181 w 1200744"/>
                  <a:gd name="connsiteY55" fmla="*/ 481345 h 1046508"/>
                  <a:gd name="connsiteX56" fmla="*/ 688181 w 1200744"/>
                  <a:gd name="connsiteY56" fmla="*/ 529340 h 1046508"/>
                  <a:gd name="connsiteX57" fmla="*/ 418176 w 1200744"/>
                  <a:gd name="connsiteY57" fmla="*/ 561418 h 1046508"/>
                  <a:gd name="connsiteX58" fmla="*/ 392350 w 1200744"/>
                  <a:gd name="connsiteY58" fmla="*/ 575897 h 1046508"/>
                  <a:gd name="connsiteX59" fmla="*/ 384326 w 1200744"/>
                  <a:gd name="connsiteY59" fmla="*/ 604396 h 1046508"/>
                  <a:gd name="connsiteX60" fmla="*/ 398804 w 1200744"/>
                  <a:gd name="connsiteY60" fmla="*/ 630221 h 1046508"/>
                  <a:gd name="connsiteX61" fmla="*/ 427304 w 1200744"/>
                  <a:gd name="connsiteY61" fmla="*/ 638245 h 1046508"/>
                  <a:gd name="connsiteX62" fmla="*/ 1104900 w 1200744"/>
                  <a:gd name="connsiteY62" fmla="*/ 557742 h 1046508"/>
                  <a:gd name="connsiteX63" fmla="*/ 1104900 w 1200744"/>
                  <a:gd name="connsiteY63" fmla="*/ 558713 h 1046508"/>
                  <a:gd name="connsiteX64" fmla="*/ 1157491 w 1200744"/>
                  <a:gd name="connsiteY64" fmla="*/ 552464 h 1046508"/>
                  <a:gd name="connsiteX65" fmla="*/ 1200469 w 1200744"/>
                  <a:gd name="connsiteY65" fmla="*/ 586314 h 1046508"/>
                  <a:gd name="connsiteX66" fmla="*/ 1200468 w 1200744"/>
                  <a:gd name="connsiteY66" fmla="*/ 586314 h 1046508"/>
                  <a:gd name="connsiteX67" fmla="*/ 1166618 w 1200744"/>
                  <a:gd name="connsiteY67" fmla="*/ 629292 h 1046508"/>
                  <a:gd name="connsiteX68" fmla="*/ 1104900 w 1200744"/>
                  <a:gd name="connsiteY68" fmla="*/ 636624 h 1046508"/>
                  <a:gd name="connsiteX69" fmla="*/ 1104900 w 1200744"/>
                  <a:gd name="connsiteY69" fmla="*/ 817908 h 1046508"/>
                  <a:gd name="connsiteX70" fmla="*/ 971550 w 1200744"/>
                  <a:gd name="connsiteY70" fmla="*/ 946496 h 1046508"/>
                  <a:gd name="connsiteX71" fmla="*/ 752889 w 1200744"/>
                  <a:gd name="connsiteY71" fmla="*/ 946496 h 1046508"/>
                  <a:gd name="connsiteX72" fmla="*/ 749140 w 1200744"/>
                  <a:gd name="connsiteY72" fmla="*/ 965065 h 1046508"/>
                  <a:gd name="connsiteX73" fmla="*/ 626271 w 1200744"/>
                  <a:gd name="connsiteY73" fmla="*/ 1046508 h 1046508"/>
                  <a:gd name="connsiteX74" fmla="*/ 533770 w 1200744"/>
                  <a:gd name="connsiteY74" fmla="*/ 1046508 h 1046508"/>
                  <a:gd name="connsiteX75" fmla="*/ 410901 w 1200744"/>
                  <a:gd name="connsiteY75" fmla="*/ 965065 h 1046508"/>
                  <a:gd name="connsiteX76" fmla="*/ 407153 w 1200744"/>
                  <a:gd name="connsiteY76" fmla="*/ 946496 h 1046508"/>
                  <a:gd name="connsiteX77" fmla="*/ 190500 w 1200744"/>
                  <a:gd name="connsiteY77" fmla="*/ 946496 h 1046508"/>
                  <a:gd name="connsiteX78" fmla="*/ 59532 w 1200744"/>
                  <a:gd name="connsiteY78" fmla="*/ 825052 h 1046508"/>
                  <a:gd name="connsiteX79" fmla="*/ 59432 w 1200744"/>
                  <a:gd name="connsiteY79" fmla="*/ 710643 h 1046508"/>
                  <a:gd name="connsiteX80" fmla="*/ 48816 w 1200744"/>
                  <a:gd name="connsiteY80" fmla="*/ 710643 h 1046508"/>
                  <a:gd name="connsiteX81" fmla="*/ 14298 w 1200744"/>
                  <a:gd name="connsiteY81" fmla="*/ 696345 h 1046508"/>
                  <a:gd name="connsiteX82" fmla="*/ 0 w 1200744"/>
                  <a:gd name="connsiteY82" fmla="*/ 661828 h 1046508"/>
                  <a:gd name="connsiteX83" fmla="*/ 14298 w 1200744"/>
                  <a:gd name="connsiteY83" fmla="*/ 627310 h 1046508"/>
                  <a:gd name="connsiteX84" fmla="*/ 48816 w 1200744"/>
                  <a:gd name="connsiteY84" fmla="*/ 613012 h 1046508"/>
                  <a:gd name="connsiteX85" fmla="*/ 59346 w 1200744"/>
                  <a:gd name="connsiteY85" fmla="*/ 613012 h 1046508"/>
                  <a:gd name="connsiteX86" fmla="*/ 59247 w 1200744"/>
                  <a:gd name="connsiteY86" fmla="*/ 501147 h 1046508"/>
                  <a:gd name="connsiteX87" fmla="*/ 48816 w 1200744"/>
                  <a:gd name="connsiteY87" fmla="*/ 501147 h 1046508"/>
                  <a:gd name="connsiteX88" fmla="*/ 14298 w 1200744"/>
                  <a:gd name="connsiteY88" fmla="*/ 486849 h 1046508"/>
                  <a:gd name="connsiteX89" fmla="*/ 0 w 1200744"/>
                  <a:gd name="connsiteY89" fmla="*/ 452332 h 1046508"/>
                  <a:gd name="connsiteX90" fmla="*/ 14298 w 1200744"/>
                  <a:gd name="connsiteY90" fmla="*/ 417814 h 1046508"/>
                  <a:gd name="connsiteX91" fmla="*/ 48816 w 1200744"/>
                  <a:gd name="connsiteY91" fmla="*/ 403516 h 1046508"/>
                  <a:gd name="connsiteX92" fmla="*/ 59161 w 1200744"/>
                  <a:gd name="connsiteY92" fmla="*/ 403516 h 1046508"/>
                  <a:gd name="connsiteX93" fmla="*/ 59063 w 1200744"/>
                  <a:gd name="connsiteY93" fmla="*/ 291651 h 1046508"/>
                  <a:gd name="connsiteX94" fmla="*/ 48816 w 1200744"/>
                  <a:gd name="connsiteY94" fmla="*/ 291651 h 1046508"/>
                  <a:gd name="connsiteX95" fmla="*/ 14298 w 1200744"/>
                  <a:gd name="connsiteY95" fmla="*/ 277353 h 1046508"/>
                  <a:gd name="connsiteX96" fmla="*/ 0 w 1200744"/>
                  <a:gd name="connsiteY96" fmla="*/ 242836 h 1046508"/>
                  <a:gd name="connsiteX97" fmla="*/ 14298 w 1200744"/>
                  <a:gd name="connsiteY97" fmla="*/ 208318 h 1046508"/>
                  <a:gd name="connsiteX98" fmla="*/ 48816 w 1200744"/>
                  <a:gd name="connsiteY98" fmla="*/ 194020 h 1046508"/>
                  <a:gd name="connsiteX99" fmla="*/ 58977 w 1200744"/>
                  <a:gd name="connsiteY99" fmla="*/ 194020 h 1046508"/>
                  <a:gd name="connsiteX100" fmla="*/ 58806 w 1200744"/>
                  <a:gd name="connsiteY100"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1157493 w 1200744"/>
                  <a:gd name="connsiteY46" fmla="*/ 347675 h 1046508"/>
                  <a:gd name="connsiteX47" fmla="*/ 1200471 w 1200744"/>
                  <a:gd name="connsiteY47" fmla="*/ 381525 h 1046508"/>
                  <a:gd name="connsiteX48" fmla="*/ 1200470 w 1200744"/>
                  <a:gd name="connsiteY48" fmla="*/ 381526 h 1046508"/>
                  <a:gd name="connsiteX49" fmla="*/ 1166620 w 1200744"/>
                  <a:gd name="connsiteY49" fmla="*/ 424503 h 1046508"/>
                  <a:gd name="connsiteX50" fmla="*/ 883444 w 1200744"/>
                  <a:gd name="connsiteY50" fmla="*/ 458146 h 1046508"/>
                  <a:gd name="connsiteX51" fmla="*/ 883444 w 1200744"/>
                  <a:gd name="connsiteY51" fmla="*/ 506141 h 1046508"/>
                  <a:gd name="connsiteX52" fmla="*/ 792956 w 1200744"/>
                  <a:gd name="connsiteY52" fmla="*/ 516892 h 1046508"/>
                  <a:gd name="connsiteX53" fmla="*/ 792956 w 1200744"/>
                  <a:gd name="connsiteY53" fmla="*/ 468897 h 1046508"/>
                  <a:gd name="connsiteX54" fmla="*/ 688181 w 1200744"/>
                  <a:gd name="connsiteY54" fmla="*/ 481345 h 1046508"/>
                  <a:gd name="connsiteX55" fmla="*/ 688181 w 1200744"/>
                  <a:gd name="connsiteY55" fmla="*/ 529340 h 1046508"/>
                  <a:gd name="connsiteX56" fmla="*/ 418176 w 1200744"/>
                  <a:gd name="connsiteY56" fmla="*/ 561418 h 1046508"/>
                  <a:gd name="connsiteX57" fmla="*/ 392350 w 1200744"/>
                  <a:gd name="connsiteY57" fmla="*/ 575897 h 1046508"/>
                  <a:gd name="connsiteX58" fmla="*/ 384326 w 1200744"/>
                  <a:gd name="connsiteY58" fmla="*/ 604396 h 1046508"/>
                  <a:gd name="connsiteX59" fmla="*/ 398804 w 1200744"/>
                  <a:gd name="connsiteY59" fmla="*/ 630221 h 1046508"/>
                  <a:gd name="connsiteX60" fmla="*/ 427304 w 1200744"/>
                  <a:gd name="connsiteY60" fmla="*/ 638245 h 1046508"/>
                  <a:gd name="connsiteX61" fmla="*/ 1104900 w 1200744"/>
                  <a:gd name="connsiteY61" fmla="*/ 557742 h 1046508"/>
                  <a:gd name="connsiteX62" fmla="*/ 1104900 w 1200744"/>
                  <a:gd name="connsiteY62" fmla="*/ 558713 h 1046508"/>
                  <a:gd name="connsiteX63" fmla="*/ 1157491 w 1200744"/>
                  <a:gd name="connsiteY63" fmla="*/ 552464 h 1046508"/>
                  <a:gd name="connsiteX64" fmla="*/ 1200469 w 1200744"/>
                  <a:gd name="connsiteY64" fmla="*/ 586314 h 1046508"/>
                  <a:gd name="connsiteX65" fmla="*/ 1200468 w 1200744"/>
                  <a:gd name="connsiteY65" fmla="*/ 586314 h 1046508"/>
                  <a:gd name="connsiteX66" fmla="*/ 1166618 w 1200744"/>
                  <a:gd name="connsiteY66" fmla="*/ 629292 h 1046508"/>
                  <a:gd name="connsiteX67" fmla="*/ 1104900 w 1200744"/>
                  <a:gd name="connsiteY67" fmla="*/ 636624 h 1046508"/>
                  <a:gd name="connsiteX68" fmla="*/ 1104900 w 1200744"/>
                  <a:gd name="connsiteY68" fmla="*/ 817908 h 1046508"/>
                  <a:gd name="connsiteX69" fmla="*/ 971550 w 1200744"/>
                  <a:gd name="connsiteY69" fmla="*/ 946496 h 1046508"/>
                  <a:gd name="connsiteX70" fmla="*/ 752889 w 1200744"/>
                  <a:gd name="connsiteY70" fmla="*/ 946496 h 1046508"/>
                  <a:gd name="connsiteX71" fmla="*/ 749140 w 1200744"/>
                  <a:gd name="connsiteY71" fmla="*/ 965065 h 1046508"/>
                  <a:gd name="connsiteX72" fmla="*/ 626271 w 1200744"/>
                  <a:gd name="connsiteY72" fmla="*/ 1046508 h 1046508"/>
                  <a:gd name="connsiteX73" fmla="*/ 533770 w 1200744"/>
                  <a:gd name="connsiteY73" fmla="*/ 1046508 h 1046508"/>
                  <a:gd name="connsiteX74" fmla="*/ 410901 w 1200744"/>
                  <a:gd name="connsiteY74" fmla="*/ 965065 h 1046508"/>
                  <a:gd name="connsiteX75" fmla="*/ 407153 w 1200744"/>
                  <a:gd name="connsiteY75" fmla="*/ 946496 h 1046508"/>
                  <a:gd name="connsiteX76" fmla="*/ 190500 w 1200744"/>
                  <a:gd name="connsiteY76" fmla="*/ 946496 h 1046508"/>
                  <a:gd name="connsiteX77" fmla="*/ 59532 w 1200744"/>
                  <a:gd name="connsiteY77" fmla="*/ 825052 h 1046508"/>
                  <a:gd name="connsiteX78" fmla="*/ 59432 w 1200744"/>
                  <a:gd name="connsiteY78" fmla="*/ 710643 h 1046508"/>
                  <a:gd name="connsiteX79" fmla="*/ 48816 w 1200744"/>
                  <a:gd name="connsiteY79" fmla="*/ 710643 h 1046508"/>
                  <a:gd name="connsiteX80" fmla="*/ 14298 w 1200744"/>
                  <a:gd name="connsiteY80" fmla="*/ 696345 h 1046508"/>
                  <a:gd name="connsiteX81" fmla="*/ 0 w 1200744"/>
                  <a:gd name="connsiteY81" fmla="*/ 661828 h 1046508"/>
                  <a:gd name="connsiteX82" fmla="*/ 14298 w 1200744"/>
                  <a:gd name="connsiteY82" fmla="*/ 627310 h 1046508"/>
                  <a:gd name="connsiteX83" fmla="*/ 48816 w 1200744"/>
                  <a:gd name="connsiteY83" fmla="*/ 613012 h 1046508"/>
                  <a:gd name="connsiteX84" fmla="*/ 59346 w 1200744"/>
                  <a:gd name="connsiteY84" fmla="*/ 613012 h 1046508"/>
                  <a:gd name="connsiteX85" fmla="*/ 59247 w 1200744"/>
                  <a:gd name="connsiteY85" fmla="*/ 501147 h 1046508"/>
                  <a:gd name="connsiteX86" fmla="*/ 48816 w 1200744"/>
                  <a:gd name="connsiteY86" fmla="*/ 501147 h 1046508"/>
                  <a:gd name="connsiteX87" fmla="*/ 14298 w 1200744"/>
                  <a:gd name="connsiteY87" fmla="*/ 486849 h 1046508"/>
                  <a:gd name="connsiteX88" fmla="*/ 0 w 1200744"/>
                  <a:gd name="connsiteY88" fmla="*/ 452332 h 1046508"/>
                  <a:gd name="connsiteX89" fmla="*/ 14298 w 1200744"/>
                  <a:gd name="connsiteY89" fmla="*/ 417814 h 1046508"/>
                  <a:gd name="connsiteX90" fmla="*/ 48816 w 1200744"/>
                  <a:gd name="connsiteY90" fmla="*/ 403516 h 1046508"/>
                  <a:gd name="connsiteX91" fmla="*/ 59161 w 1200744"/>
                  <a:gd name="connsiteY91" fmla="*/ 403516 h 1046508"/>
                  <a:gd name="connsiteX92" fmla="*/ 59063 w 1200744"/>
                  <a:gd name="connsiteY92" fmla="*/ 291651 h 1046508"/>
                  <a:gd name="connsiteX93" fmla="*/ 48816 w 1200744"/>
                  <a:gd name="connsiteY93" fmla="*/ 291651 h 1046508"/>
                  <a:gd name="connsiteX94" fmla="*/ 14298 w 1200744"/>
                  <a:gd name="connsiteY94" fmla="*/ 277353 h 1046508"/>
                  <a:gd name="connsiteX95" fmla="*/ 0 w 1200744"/>
                  <a:gd name="connsiteY95" fmla="*/ 242836 h 1046508"/>
                  <a:gd name="connsiteX96" fmla="*/ 14298 w 1200744"/>
                  <a:gd name="connsiteY96" fmla="*/ 208318 h 1046508"/>
                  <a:gd name="connsiteX97" fmla="*/ 48816 w 1200744"/>
                  <a:gd name="connsiteY97" fmla="*/ 194020 h 1046508"/>
                  <a:gd name="connsiteX98" fmla="*/ 58977 w 1200744"/>
                  <a:gd name="connsiteY98" fmla="*/ 194020 h 1046508"/>
                  <a:gd name="connsiteX99" fmla="*/ 58806 w 1200744"/>
                  <a:gd name="connsiteY99"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83444 w 1200744"/>
                  <a:gd name="connsiteY34" fmla="*/ 235459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1157493 w 1200744"/>
                  <a:gd name="connsiteY45" fmla="*/ 347675 h 1046508"/>
                  <a:gd name="connsiteX46" fmla="*/ 1200471 w 1200744"/>
                  <a:gd name="connsiteY46" fmla="*/ 381525 h 1046508"/>
                  <a:gd name="connsiteX47" fmla="*/ 1200470 w 1200744"/>
                  <a:gd name="connsiteY47" fmla="*/ 381526 h 1046508"/>
                  <a:gd name="connsiteX48" fmla="*/ 1166620 w 1200744"/>
                  <a:gd name="connsiteY48" fmla="*/ 424503 h 1046508"/>
                  <a:gd name="connsiteX49" fmla="*/ 883444 w 1200744"/>
                  <a:gd name="connsiteY49" fmla="*/ 458146 h 1046508"/>
                  <a:gd name="connsiteX50" fmla="*/ 883444 w 1200744"/>
                  <a:gd name="connsiteY50" fmla="*/ 506141 h 1046508"/>
                  <a:gd name="connsiteX51" fmla="*/ 792956 w 1200744"/>
                  <a:gd name="connsiteY51" fmla="*/ 516892 h 1046508"/>
                  <a:gd name="connsiteX52" fmla="*/ 792956 w 1200744"/>
                  <a:gd name="connsiteY52" fmla="*/ 468897 h 1046508"/>
                  <a:gd name="connsiteX53" fmla="*/ 688181 w 1200744"/>
                  <a:gd name="connsiteY53" fmla="*/ 481345 h 1046508"/>
                  <a:gd name="connsiteX54" fmla="*/ 688181 w 1200744"/>
                  <a:gd name="connsiteY54" fmla="*/ 529340 h 1046508"/>
                  <a:gd name="connsiteX55" fmla="*/ 418176 w 1200744"/>
                  <a:gd name="connsiteY55" fmla="*/ 561418 h 1046508"/>
                  <a:gd name="connsiteX56" fmla="*/ 392350 w 1200744"/>
                  <a:gd name="connsiteY56" fmla="*/ 575897 h 1046508"/>
                  <a:gd name="connsiteX57" fmla="*/ 384326 w 1200744"/>
                  <a:gd name="connsiteY57" fmla="*/ 604396 h 1046508"/>
                  <a:gd name="connsiteX58" fmla="*/ 398804 w 1200744"/>
                  <a:gd name="connsiteY58" fmla="*/ 630221 h 1046508"/>
                  <a:gd name="connsiteX59" fmla="*/ 427304 w 1200744"/>
                  <a:gd name="connsiteY59" fmla="*/ 638245 h 1046508"/>
                  <a:gd name="connsiteX60" fmla="*/ 1104900 w 1200744"/>
                  <a:gd name="connsiteY60" fmla="*/ 557742 h 1046508"/>
                  <a:gd name="connsiteX61" fmla="*/ 1104900 w 1200744"/>
                  <a:gd name="connsiteY61" fmla="*/ 558713 h 1046508"/>
                  <a:gd name="connsiteX62" fmla="*/ 1157491 w 1200744"/>
                  <a:gd name="connsiteY62" fmla="*/ 552464 h 1046508"/>
                  <a:gd name="connsiteX63" fmla="*/ 1200469 w 1200744"/>
                  <a:gd name="connsiteY63" fmla="*/ 586314 h 1046508"/>
                  <a:gd name="connsiteX64" fmla="*/ 1200468 w 1200744"/>
                  <a:gd name="connsiteY64" fmla="*/ 586314 h 1046508"/>
                  <a:gd name="connsiteX65" fmla="*/ 1166618 w 1200744"/>
                  <a:gd name="connsiteY65" fmla="*/ 629292 h 1046508"/>
                  <a:gd name="connsiteX66" fmla="*/ 1104900 w 1200744"/>
                  <a:gd name="connsiteY66" fmla="*/ 636624 h 1046508"/>
                  <a:gd name="connsiteX67" fmla="*/ 1104900 w 1200744"/>
                  <a:gd name="connsiteY67" fmla="*/ 817908 h 1046508"/>
                  <a:gd name="connsiteX68" fmla="*/ 971550 w 1200744"/>
                  <a:gd name="connsiteY68" fmla="*/ 946496 h 1046508"/>
                  <a:gd name="connsiteX69" fmla="*/ 752889 w 1200744"/>
                  <a:gd name="connsiteY69" fmla="*/ 946496 h 1046508"/>
                  <a:gd name="connsiteX70" fmla="*/ 749140 w 1200744"/>
                  <a:gd name="connsiteY70" fmla="*/ 965065 h 1046508"/>
                  <a:gd name="connsiteX71" fmla="*/ 626271 w 1200744"/>
                  <a:gd name="connsiteY71" fmla="*/ 1046508 h 1046508"/>
                  <a:gd name="connsiteX72" fmla="*/ 533770 w 1200744"/>
                  <a:gd name="connsiteY72" fmla="*/ 1046508 h 1046508"/>
                  <a:gd name="connsiteX73" fmla="*/ 410901 w 1200744"/>
                  <a:gd name="connsiteY73" fmla="*/ 965065 h 1046508"/>
                  <a:gd name="connsiteX74" fmla="*/ 407153 w 1200744"/>
                  <a:gd name="connsiteY74" fmla="*/ 946496 h 1046508"/>
                  <a:gd name="connsiteX75" fmla="*/ 190500 w 1200744"/>
                  <a:gd name="connsiteY75" fmla="*/ 946496 h 1046508"/>
                  <a:gd name="connsiteX76" fmla="*/ 59532 w 1200744"/>
                  <a:gd name="connsiteY76" fmla="*/ 825052 h 1046508"/>
                  <a:gd name="connsiteX77" fmla="*/ 59432 w 1200744"/>
                  <a:gd name="connsiteY77" fmla="*/ 710643 h 1046508"/>
                  <a:gd name="connsiteX78" fmla="*/ 48816 w 1200744"/>
                  <a:gd name="connsiteY78" fmla="*/ 710643 h 1046508"/>
                  <a:gd name="connsiteX79" fmla="*/ 14298 w 1200744"/>
                  <a:gd name="connsiteY79" fmla="*/ 696345 h 1046508"/>
                  <a:gd name="connsiteX80" fmla="*/ 0 w 1200744"/>
                  <a:gd name="connsiteY80" fmla="*/ 661828 h 1046508"/>
                  <a:gd name="connsiteX81" fmla="*/ 14298 w 1200744"/>
                  <a:gd name="connsiteY81" fmla="*/ 627310 h 1046508"/>
                  <a:gd name="connsiteX82" fmla="*/ 48816 w 1200744"/>
                  <a:gd name="connsiteY82" fmla="*/ 613012 h 1046508"/>
                  <a:gd name="connsiteX83" fmla="*/ 59346 w 1200744"/>
                  <a:gd name="connsiteY83" fmla="*/ 613012 h 1046508"/>
                  <a:gd name="connsiteX84" fmla="*/ 59247 w 1200744"/>
                  <a:gd name="connsiteY84" fmla="*/ 501147 h 1046508"/>
                  <a:gd name="connsiteX85" fmla="*/ 48816 w 1200744"/>
                  <a:gd name="connsiteY85" fmla="*/ 501147 h 1046508"/>
                  <a:gd name="connsiteX86" fmla="*/ 14298 w 1200744"/>
                  <a:gd name="connsiteY86" fmla="*/ 486849 h 1046508"/>
                  <a:gd name="connsiteX87" fmla="*/ 0 w 1200744"/>
                  <a:gd name="connsiteY87" fmla="*/ 452332 h 1046508"/>
                  <a:gd name="connsiteX88" fmla="*/ 14298 w 1200744"/>
                  <a:gd name="connsiteY88" fmla="*/ 417814 h 1046508"/>
                  <a:gd name="connsiteX89" fmla="*/ 48816 w 1200744"/>
                  <a:gd name="connsiteY89" fmla="*/ 403516 h 1046508"/>
                  <a:gd name="connsiteX90" fmla="*/ 59161 w 1200744"/>
                  <a:gd name="connsiteY90" fmla="*/ 403516 h 1046508"/>
                  <a:gd name="connsiteX91" fmla="*/ 59063 w 1200744"/>
                  <a:gd name="connsiteY91" fmla="*/ 291651 h 1046508"/>
                  <a:gd name="connsiteX92" fmla="*/ 48816 w 1200744"/>
                  <a:gd name="connsiteY92" fmla="*/ 291651 h 1046508"/>
                  <a:gd name="connsiteX93" fmla="*/ 14298 w 1200744"/>
                  <a:gd name="connsiteY93" fmla="*/ 277353 h 1046508"/>
                  <a:gd name="connsiteX94" fmla="*/ 0 w 1200744"/>
                  <a:gd name="connsiteY94" fmla="*/ 242836 h 1046508"/>
                  <a:gd name="connsiteX95" fmla="*/ 14298 w 1200744"/>
                  <a:gd name="connsiteY95" fmla="*/ 208318 h 1046508"/>
                  <a:gd name="connsiteX96" fmla="*/ 48816 w 1200744"/>
                  <a:gd name="connsiteY96" fmla="*/ 194020 h 1046508"/>
                  <a:gd name="connsiteX97" fmla="*/ 58977 w 1200744"/>
                  <a:gd name="connsiteY97" fmla="*/ 194020 h 1046508"/>
                  <a:gd name="connsiteX98" fmla="*/ 58806 w 1200744"/>
                  <a:gd name="connsiteY98"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78682 w 1200744"/>
                  <a:gd name="connsiteY34" fmla="*/ 240221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1157493 w 1200744"/>
                  <a:gd name="connsiteY45" fmla="*/ 347675 h 1046508"/>
                  <a:gd name="connsiteX46" fmla="*/ 1200471 w 1200744"/>
                  <a:gd name="connsiteY46" fmla="*/ 381525 h 1046508"/>
                  <a:gd name="connsiteX47" fmla="*/ 1200470 w 1200744"/>
                  <a:gd name="connsiteY47" fmla="*/ 381526 h 1046508"/>
                  <a:gd name="connsiteX48" fmla="*/ 1166620 w 1200744"/>
                  <a:gd name="connsiteY48" fmla="*/ 424503 h 1046508"/>
                  <a:gd name="connsiteX49" fmla="*/ 883444 w 1200744"/>
                  <a:gd name="connsiteY49" fmla="*/ 458146 h 1046508"/>
                  <a:gd name="connsiteX50" fmla="*/ 883444 w 1200744"/>
                  <a:gd name="connsiteY50" fmla="*/ 506141 h 1046508"/>
                  <a:gd name="connsiteX51" fmla="*/ 792956 w 1200744"/>
                  <a:gd name="connsiteY51" fmla="*/ 516892 h 1046508"/>
                  <a:gd name="connsiteX52" fmla="*/ 792956 w 1200744"/>
                  <a:gd name="connsiteY52" fmla="*/ 468897 h 1046508"/>
                  <a:gd name="connsiteX53" fmla="*/ 688181 w 1200744"/>
                  <a:gd name="connsiteY53" fmla="*/ 481345 h 1046508"/>
                  <a:gd name="connsiteX54" fmla="*/ 688181 w 1200744"/>
                  <a:gd name="connsiteY54" fmla="*/ 529340 h 1046508"/>
                  <a:gd name="connsiteX55" fmla="*/ 418176 w 1200744"/>
                  <a:gd name="connsiteY55" fmla="*/ 561418 h 1046508"/>
                  <a:gd name="connsiteX56" fmla="*/ 392350 w 1200744"/>
                  <a:gd name="connsiteY56" fmla="*/ 575897 h 1046508"/>
                  <a:gd name="connsiteX57" fmla="*/ 384326 w 1200744"/>
                  <a:gd name="connsiteY57" fmla="*/ 604396 h 1046508"/>
                  <a:gd name="connsiteX58" fmla="*/ 398804 w 1200744"/>
                  <a:gd name="connsiteY58" fmla="*/ 630221 h 1046508"/>
                  <a:gd name="connsiteX59" fmla="*/ 427304 w 1200744"/>
                  <a:gd name="connsiteY59" fmla="*/ 638245 h 1046508"/>
                  <a:gd name="connsiteX60" fmla="*/ 1104900 w 1200744"/>
                  <a:gd name="connsiteY60" fmla="*/ 557742 h 1046508"/>
                  <a:gd name="connsiteX61" fmla="*/ 1104900 w 1200744"/>
                  <a:gd name="connsiteY61" fmla="*/ 558713 h 1046508"/>
                  <a:gd name="connsiteX62" fmla="*/ 1157491 w 1200744"/>
                  <a:gd name="connsiteY62" fmla="*/ 552464 h 1046508"/>
                  <a:gd name="connsiteX63" fmla="*/ 1200469 w 1200744"/>
                  <a:gd name="connsiteY63" fmla="*/ 586314 h 1046508"/>
                  <a:gd name="connsiteX64" fmla="*/ 1200468 w 1200744"/>
                  <a:gd name="connsiteY64" fmla="*/ 586314 h 1046508"/>
                  <a:gd name="connsiteX65" fmla="*/ 1166618 w 1200744"/>
                  <a:gd name="connsiteY65" fmla="*/ 629292 h 1046508"/>
                  <a:gd name="connsiteX66" fmla="*/ 1104900 w 1200744"/>
                  <a:gd name="connsiteY66" fmla="*/ 636624 h 1046508"/>
                  <a:gd name="connsiteX67" fmla="*/ 1104900 w 1200744"/>
                  <a:gd name="connsiteY67" fmla="*/ 817908 h 1046508"/>
                  <a:gd name="connsiteX68" fmla="*/ 971550 w 1200744"/>
                  <a:gd name="connsiteY68" fmla="*/ 946496 h 1046508"/>
                  <a:gd name="connsiteX69" fmla="*/ 752889 w 1200744"/>
                  <a:gd name="connsiteY69" fmla="*/ 946496 h 1046508"/>
                  <a:gd name="connsiteX70" fmla="*/ 749140 w 1200744"/>
                  <a:gd name="connsiteY70" fmla="*/ 965065 h 1046508"/>
                  <a:gd name="connsiteX71" fmla="*/ 626271 w 1200744"/>
                  <a:gd name="connsiteY71" fmla="*/ 1046508 h 1046508"/>
                  <a:gd name="connsiteX72" fmla="*/ 533770 w 1200744"/>
                  <a:gd name="connsiteY72" fmla="*/ 1046508 h 1046508"/>
                  <a:gd name="connsiteX73" fmla="*/ 410901 w 1200744"/>
                  <a:gd name="connsiteY73" fmla="*/ 965065 h 1046508"/>
                  <a:gd name="connsiteX74" fmla="*/ 407153 w 1200744"/>
                  <a:gd name="connsiteY74" fmla="*/ 946496 h 1046508"/>
                  <a:gd name="connsiteX75" fmla="*/ 190500 w 1200744"/>
                  <a:gd name="connsiteY75" fmla="*/ 946496 h 1046508"/>
                  <a:gd name="connsiteX76" fmla="*/ 59532 w 1200744"/>
                  <a:gd name="connsiteY76" fmla="*/ 825052 h 1046508"/>
                  <a:gd name="connsiteX77" fmla="*/ 59432 w 1200744"/>
                  <a:gd name="connsiteY77" fmla="*/ 710643 h 1046508"/>
                  <a:gd name="connsiteX78" fmla="*/ 48816 w 1200744"/>
                  <a:gd name="connsiteY78" fmla="*/ 710643 h 1046508"/>
                  <a:gd name="connsiteX79" fmla="*/ 14298 w 1200744"/>
                  <a:gd name="connsiteY79" fmla="*/ 696345 h 1046508"/>
                  <a:gd name="connsiteX80" fmla="*/ 0 w 1200744"/>
                  <a:gd name="connsiteY80" fmla="*/ 661828 h 1046508"/>
                  <a:gd name="connsiteX81" fmla="*/ 14298 w 1200744"/>
                  <a:gd name="connsiteY81" fmla="*/ 627310 h 1046508"/>
                  <a:gd name="connsiteX82" fmla="*/ 48816 w 1200744"/>
                  <a:gd name="connsiteY82" fmla="*/ 613012 h 1046508"/>
                  <a:gd name="connsiteX83" fmla="*/ 59346 w 1200744"/>
                  <a:gd name="connsiteY83" fmla="*/ 613012 h 1046508"/>
                  <a:gd name="connsiteX84" fmla="*/ 59247 w 1200744"/>
                  <a:gd name="connsiteY84" fmla="*/ 501147 h 1046508"/>
                  <a:gd name="connsiteX85" fmla="*/ 48816 w 1200744"/>
                  <a:gd name="connsiteY85" fmla="*/ 501147 h 1046508"/>
                  <a:gd name="connsiteX86" fmla="*/ 14298 w 1200744"/>
                  <a:gd name="connsiteY86" fmla="*/ 486849 h 1046508"/>
                  <a:gd name="connsiteX87" fmla="*/ 0 w 1200744"/>
                  <a:gd name="connsiteY87" fmla="*/ 452332 h 1046508"/>
                  <a:gd name="connsiteX88" fmla="*/ 14298 w 1200744"/>
                  <a:gd name="connsiteY88" fmla="*/ 417814 h 1046508"/>
                  <a:gd name="connsiteX89" fmla="*/ 48816 w 1200744"/>
                  <a:gd name="connsiteY89" fmla="*/ 403516 h 1046508"/>
                  <a:gd name="connsiteX90" fmla="*/ 59161 w 1200744"/>
                  <a:gd name="connsiteY90" fmla="*/ 403516 h 1046508"/>
                  <a:gd name="connsiteX91" fmla="*/ 59063 w 1200744"/>
                  <a:gd name="connsiteY91" fmla="*/ 291651 h 1046508"/>
                  <a:gd name="connsiteX92" fmla="*/ 48816 w 1200744"/>
                  <a:gd name="connsiteY92" fmla="*/ 291651 h 1046508"/>
                  <a:gd name="connsiteX93" fmla="*/ 14298 w 1200744"/>
                  <a:gd name="connsiteY93" fmla="*/ 277353 h 1046508"/>
                  <a:gd name="connsiteX94" fmla="*/ 0 w 1200744"/>
                  <a:gd name="connsiteY94" fmla="*/ 242836 h 1046508"/>
                  <a:gd name="connsiteX95" fmla="*/ 14298 w 1200744"/>
                  <a:gd name="connsiteY95" fmla="*/ 208318 h 1046508"/>
                  <a:gd name="connsiteX96" fmla="*/ 48816 w 1200744"/>
                  <a:gd name="connsiteY96" fmla="*/ 194020 h 1046508"/>
                  <a:gd name="connsiteX97" fmla="*/ 58977 w 1200744"/>
                  <a:gd name="connsiteY97" fmla="*/ 194020 h 1046508"/>
                  <a:gd name="connsiteX98" fmla="*/ 58806 w 1200744"/>
                  <a:gd name="connsiteY98" fmla="*/ 0 h 1046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200744" h="1046508">
                    <a:moveTo>
                      <a:pt x="269392" y="583922"/>
                    </a:moveTo>
                    <a:cubicBezTo>
                      <a:pt x="247034" y="583922"/>
                      <a:pt x="228910" y="602046"/>
                      <a:pt x="228910" y="624404"/>
                    </a:cubicBezTo>
                    <a:cubicBezTo>
                      <a:pt x="228910" y="646762"/>
                      <a:pt x="247034" y="664886"/>
                      <a:pt x="269392" y="664886"/>
                    </a:cubicBezTo>
                    <a:cubicBezTo>
                      <a:pt x="291750" y="664886"/>
                      <a:pt x="309874" y="646762"/>
                      <a:pt x="309874" y="624404"/>
                    </a:cubicBezTo>
                    <a:cubicBezTo>
                      <a:pt x="309874" y="602046"/>
                      <a:pt x="291750" y="583922"/>
                      <a:pt x="269392" y="583922"/>
                    </a:cubicBezTo>
                    <a:close/>
                    <a:moveTo>
                      <a:pt x="269392" y="373750"/>
                    </a:moveTo>
                    <a:cubicBezTo>
                      <a:pt x="247034" y="373750"/>
                      <a:pt x="228910" y="391874"/>
                      <a:pt x="228910" y="414232"/>
                    </a:cubicBezTo>
                    <a:cubicBezTo>
                      <a:pt x="228910" y="436590"/>
                      <a:pt x="247034" y="454714"/>
                      <a:pt x="269392" y="454714"/>
                    </a:cubicBezTo>
                    <a:cubicBezTo>
                      <a:pt x="291750" y="454714"/>
                      <a:pt x="309874" y="436590"/>
                      <a:pt x="309874" y="414232"/>
                    </a:cubicBezTo>
                    <a:cubicBezTo>
                      <a:pt x="309874" y="391874"/>
                      <a:pt x="291750" y="373750"/>
                      <a:pt x="269392" y="373750"/>
                    </a:cubicBezTo>
                    <a:close/>
                    <a:moveTo>
                      <a:pt x="269392" y="163063"/>
                    </a:moveTo>
                    <a:cubicBezTo>
                      <a:pt x="247034" y="163063"/>
                      <a:pt x="228910" y="181187"/>
                      <a:pt x="228910" y="203545"/>
                    </a:cubicBezTo>
                    <a:cubicBezTo>
                      <a:pt x="228910" y="225903"/>
                      <a:pt x="247034" y="244027"/>
                      <a:pt x="269392" y="244027"/>
                    </a:cubicBezTo>
                    <a:cubicBezTo>
                      <a:pt x="291750" y="244027"/>
                      <a:pt x="309874" y="225903"/>
                      <a:pt x="309874" y="203545"/>
                    </a:cubicBezTo>
                    <a:cubicBezTo>
                      <a:pt x="309874" y="181187"/>
                      <a:pt x="291750" y="163063"/>
                      <a:pt x="269392" y="163063"/>
                    </a:cubicBezTo>
                    <a:close/>
                    <a:moveTo>
                      <a:pt x="797719" y="0"/>
                    </a:moveTo>
                    <a:lnTo>
                      <a:pt x="883444" y="0"/>
                    </a:lnTo>
                    <a:lnTo>
                      <a:pt x="883444" y="79897"/>
                    </a:lnTo>
                    <a:lnTo>
                      <a:pt x="797719" y="90082"/>
                    </a:lnTo>
                    <a:lnTo>
                      <a:pt x="797719" y="0"/>
                    </a:lnTo>
                    <a:close/>
                    <a:moveTo>
                      <a:pt x="58806" y="0"/>
                    </a:moveTo>
                    <a:lnTo>
                      <a:pt x="692944" y="0"/>
                    </a:lnTo>
                    <a:lnTo>
                      <a:pt x="692944" y="102530"/>
                    </a:lnTo>
                    <a:lnTo>
                      <a:pt x="418176" y="135174"/>
                    </a:lnTo>
                    <a:cubicBezTo>
                      <a:pt x="407569" y="136435"/>
                      <a:pt x="398476" y="141875"/>
                      <a:pt x="392350" y="149653"/>
                    </a:cubicBezTo>
                    <a:lnTo>
                      <a:pt x="384326" y="178152"/>
                    </a:lnTo>
                    <a:lnTo>
                      <a:pt x="398804" y="203977"/>
                    </a:lnTo>
                    <a:cubicBezTo>
                      <a:pt x="406582" y="210103"/>
                      <a:pt x="416696" y="213262"/>
                      <a:pt x="427304" y="212001"/>
                    </a:cubicBezTo>
                    <a:lnTo>
                      <a:pt x="1104900" y="131498"/>
                    </a:lnTo>
                    <a:lnTo>
                      <a:pt x="1104900" y="134851"/>
                    </a:lnTo>
                    <a:lnTo>
                      <a:pt x="1157493" y="128603"/>
                    </a:lnTo>
                    <a:cubicBezTo>
                      <a:pt x="1178709" y="126082"/>
                      <a:pt x="1197951" y="141237"/>
                      <a:pt x="1200471" y="162453"/>
                    </a:cubicBezTo>
                    <a:lnTo>
                      <a:pt x="1200470" y="162453"/>
                    </a:lnTo>
                    <a:cubicBezTo>
                      <a:pt x="1202991" y="183669"/>
                      <a:pt x="1187836" y="202910"/>
                      <a:pt x="1166620" y="205431"/>
                    </a:cubicBezTo>
                    <a:lnTo>
                      <a:pt x="878682" y="240221"/>
                    </a:lnTo>
                    <a:lnTo>
                      <a:pt x="883444" y="298972"/>
                    </a:lnTo>
                    <a:lnTo>
                      <a:pt x="792956" y="309723"/>
                    </a:lnTo>
                    <a:lnTo>
                      <a:pt x="792956" y="265459"/>
                    </a:lnTo>
                    <a:lnTo>
                      <a:pt x="688181" y="265459"/>
                    </a:lnTo>
                    <a:lnTo>
                      <a:pt x="688181" y="322171"/>
                    </a:lnTo>
                    <a:lnTo>
                      <a:pt x="418176" y="354249"/>
                    </a:lnTo>
                    <a:cubicBezTo>
                      <a:pt x="407569" y="355510"/>
                      <a:pt x="398476" y="360950"/>
                      <a:pt x="392350" y="368728"/>
                    </a:cubicBezTo>
                    <a:lnTo>
                      <a:pt x="384326" y="397227"/>
                    </a:lnTo>
                    <a:lnTo>
                      <a:pt x="398804" y="423052"/>
                    </a:lnTo>
                    <a:cubicBezTo>
                      <a:pt x="406582" y="429178"/>
                      <a:pt x="416696" y="432337"/>
                      <a:pt x="427304" y="431076"/>
                    </a:cubicBezTo>
                    <a:lnTo>
                      <a:pt x="1157493" y="347675"/>
                    </a:lnTo>
                    <a:cubicBezTo>
                      <a:pt x="1178709" y="345155"/>
                      <a:pt x="1197950" y="360310"/>
                      <a:pt x="1200471" y="381525"/>
                    </a:cubicBezTo>
                    <a:lnTo>
                      <a:pt x="1200470" y="381526"/>
                    </a:lnTo>
                    <a:cubicBezTo>
                      <a:pt x="1202991" y="402741"/>
                      <a:pt x="1187836" y="421983"/>
                      <a:pt x="1166620" y="424503"/>
                    </a:cubicBezTo>
                    <a:lnTo>
                      <a:pt x="883444" y="458146"/>
                    </a:lnTo>
                    <a:lnTo>
                      <a:pt x="883444" y="506141"/>
                    </a:lnTo>
                    <a:lnTo>
                      <a:pt x="792956" y="516892"/>
                    </a:lnTo>
                    <a:lnTo>
                      <a:pt x="792956" y="468897"/>
                    </a:lnTo>
                    <a:lnTo>
                      <a:pt x="688181" y="481345"/>
                    </a:lnTo>
                    <a:lnTo>
                      <a:pt x="688181" y="529340"/>
                    </a:lnTo>
                    <a:lnTo>
                      <a:pt x="418176" y="561418"/>
                    </a:lnTo>
                    <a:cubicBezTo>
                      <a:pt x="407569" y="562679"/>
                      <a:pt x="398476" y="568119"/>
                      <a:pt x="392350" y="575897"/>
                    </a:cubicBezTo>
                    <a:lnTo>
                      <a:pt x="384326" y="604396"/>
                    </a:lnTo>
                    <a:lnTo>
                      <a:pt x="398804" y="630221"/>
                    </a:lnTo>
                    <a:cubicBezTo>
                      <a:pt x="406582" y="636347"/>
                      <a:pt x="416696" y="639506"/>
                      <a:pt x="427304" y="638245"/>
                    </a:cubicBezTo>
                    <a:lnTo>
                      <a:pt x="1104900" y="557742"/>
                    </a:lnTo>
                    <a:lnTo>
                      <a:pt x="1104900" y="558713"/>
                    </a:lnTo>
                    <a:lnTo>
                      <a:pt x="1157491" y="552464"/>
                    </a:lnTo>
                    <a:cubicBezTo>
                      <a:pt x="1178707" y="549944"/>
                      <a:pt x="1197948" y="565099"/>
                      <a:pt x="1200469" y="586314"/>
                    </a:cubicBezTo>
                    <a:lnTo>
                      <a:pt x="1200468" y="586314"/>
                    </a:lnTo>
                    <a:cubicBezTo>
                      <a:pt x="1202989" y="607530"/>
                      <a:pt x="1187834" y="626772"/>
                      <a:pt x="1166618" y="629292"/>
                    </a:cubicBezTo>
                    <a:lnTo>
                      <a:pt x="1104900" y="636624"/>
                    </a:lnTo>
                    <a:lnTo>
                      <a:pt x="1104900" y="817908"/>
                    </a:lnTo>
                    <a:lnTo>
                      <a:pt x="971550" y="946496"/>
                    </a:lnTo>
                    <a:lnTo>
                      <a:pt x="752889" y="946496"/>
                    </a:lnTo>
                    <a:lnTo>
                      <a:pt x="749140" y="965065"/>
                    </a:lnTo>
                    <a:cubicBezTo>
                      <a:pt x="728897" y="1012926"/>
                      <a:pt x="681506" y="1046508"/>
                      <a:pt x="626271" y="1046508"/>
                    </a:cubicBezTo>
                    <a:lnTo>
                      <a:pt x="533770" y="1046508"/>
                    </a:lnTo>
                    <a:cubicBezTo>
                      <a:pt x="478536" y="1046508"/>
                      <a:pt x="431145" y="1012926"/>
                      <a:pt x="410901" y="965065"/>
                    </a:cubicBezTo>
                    <a:lnTo>
                      <a:pt x="407153" y="946496"/>
                    </a:lnTo>
                    <a:lnTo>
                      <a:pt x="190500" y="946496"/>
                    </a:lnTo>
                    <a:lnTo>
                      <a:pt x="59532" y="825052"/>
                    </a:lnTo>
                    <a:cubicBezTo>
                      <a:pt x="59499" y="786916"/>
                      <a:pt x="59465" y="748779"/>
                      <a:pt x="59432" y="710643"/>
                    </a:cubicBezTo>
                    <a:lnTo>
                      <a:pt x="48816" y="710643"/>
                    </a:lnTo>
                    <a:cubicBezTo>
                      <a:pt x="35336" y="710643"/>
                      <a:pt x="23132" y="705179"/>
                      <a:pt x="14298" y="696345"/>
                    </a:cubicBezTo>
                    <a:lnTo>
                      <a:pt x="0" y="661828"/>
                    </a:lnTo>
                    <a:lnTo>
                      <a:pt x="14298" y="627310"/>
                    </a:lnTo>
                    <a:cubicBezTo>
                      <a:pt x="23132" y="618476"/>
                      <a:pt x="35336" y="613012"/>
                      <a:pt x="48816" y="613012"/>
                    </a:cubicBezTo>
                    <a:lnTo>
                      <a:pt x="59346" y="613012"/>
                    </a:lnTo>
                    <a:cubicBezTo>
                      <a:pt x="59313" y="575724"/>
                      <a:pt x="59280" y="538435"/>
                      <a:pt x="59247" y="501147"/>
                    </a:cubicBezTo>
                    <a:lnTo>
                      <a:pt x="48816" y="501147"/>
                    </a:lnTo>
                    <a:cubicBezTo>
                      <a:pt x="35336" y="501147"/>
                      <a:pt x="23132" y="495683"/>
                      <a:pt x="14298" y="486849"/>
                    </a:cubicBezTo>
                    <a:lnTo>
                      <a:pt x="0" y="452332"/>
                    </a:lnTo>
                    <a:lnTo>
                      <a:pt x="14298" y="417814"/>
                    </a:lnTo>
                    <a:cubicBezTo>
                      <a:pt x="23132" y="408980"/>
                      <a:pt x="35336" y="403516"/>
                      <a:pt x="48816" y="403516"/>
                    </a:cubicBezTo>
                    <a:lnTo>
                      <a:pt x="59161" y="403516"/>
                    </a:lnTo>
                    <a:cubicBezTo>
                      <a:pt x="59128" y="366228"/>
                      <a:pt x="59096" y="328939"/>
                      <a:pt x="59063" y="291651"/>
                    </a:cubicBezTo>
                    <a:lnTo>
                      <a:pt x="48816" y="291651"/>
                    </a:lnTo>
                    <a:cubicBezTo>
                      <a:pt x="35336" y="291651"/>
                      <a:pt x="23132" y="286187"/>
                      <a:pt x="14298" y="277353"/>
                    </a:cubicBezTo>
                    <a:lnTo>
                      <a:pt x="0" y="242836"/>
                    </a:lnTo>
                    <a:lnTo>
                      <a:pt x="14298" y="208318"/>
                    </a:lnTo>
                    <a:cubicBezTo>
                      <a:pt x="23132" y="199484"/>
                      <a:pt x="35336" y="194020"/>
                      <a:pt x="48816" y="194020"/>
                    </a:cubicBezTo>
                    <a:lnTo>
                      <a:pt x="58977" y="194020"/>
                    </a:lnTo>
                    <a:lnTo>
                      <a:pt x="58806"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54" name="Freeform 142">
                <a:extLst>
                  <a:ext uri="{FF2B5EF4-FFF2-40B4-BE49-F238E27FC236}">
                    <a16:creationId xmlns:a16="http://schemas.microsoft.com/office/drawing/2014/main" id="{DB98BF60-8F4B-4A7E-B5F6-FFB43F34C2A0}"/>
                  </a:ext>
                </a:extLst>
              </p:cNvPr>
              <p:cNvSpPr/>
              <p:nvPr/>
            </p:nvSpPr>
            <p:spPr>
              <a:xfrm>
                <a:off x="4242295" y="1685754"/>
                <a:ext cx="3701002" cy="3743106"/>
              </a:xfrm>
              <a:custGeom>
                <a:avLst/>
                <a:gdLst>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0346 w 3701002"/>
                  <a:gd name="connsiteY11" fmla="*/ 3114359 h 3743106"/>
                  <a:gd name="connsiteX12" fmla="*/ 2659635 w 3701002"/>
                  <a:gd name="connsiteY12" fmla="*/ 3107286 h 3743106"/>
                  <a:gd name="connsiteX13" fmla="*/ 3122601 w 3701002"/>
                  <a:gd name="connsiteY13" fmla="*/ 2107732 h 3743106"/>
                  <a:gd name="connsiteX14" fmla="*/ 1850392 w 3701002"/>
                  <a:gd name="connsiteY14" fmla="*/ 812383 h 3743106"/>
                  <a:gd name="connsiteX15" fmla="*/ 578183 w 3701002"/>
                  <a:gd name="connsiteY15" fmla="*/ 2107732 h 3743106"/>
                  <a:gd name="connsiteX16" fmla="*/ 950805 w 3701002"/>
                  <a:gd name="connsiteY16" fmla="*/ 3023682 h 3743106"/>
                  <a:gd name="connsiteX17" fmla="*/ 1028685 w 3701002"/>
                  <a:gd name="connsiteY17" fmla="*/ 3095752 h 3743106"/>
                  <a:gd name="connsiteX18" fmla="*/ 1145044 w 3701002"/>
                  <a:gd name="connsiteY18" fmla="*/ 3252006 h 3743106"/>
                  <a:gd name="connsiteX19" fmla="*/ 1289824 w 3701002"/>
                  <a:gd name="connsiteY19" fmla="*/ 3549186 h 3743106"/>
                  <a:gd name="connsiteX20" fmla="*/ 1131709 w 3701002"/>
                  <a:gd name="connsiteY20" fmla="*/ 3739686 h 3743106"/>
                  <a:gd name="connsiteX21" fmla="*/ 881519 w 3701002"/>
                  <a:gd name="connsiteY21" fmla="*/ 3637451 h 3743106"/>
                  <a:gd name="connsiteX22" fmla="*/ 771664 w 3701002"/>
                  <a:gd name="connsiteY22" fmla="*/ 3290106 h 3743106"/>
                  <a:gd name="connsiteX23" fmla="*/ 377329 w 3701002"/>
                  <a:gd name="connsiteY23" fmla="*/ 3103416 h 3743106"/>
                  <a:gd name="connsiteX24" fmla="*/ 344944 w 3701002"/>
                  <a:gd name="connsiteY24" fmla="*/ 2482386 h 3743106"/>
                  <a:gd name="connsiteX25" fmla="*/ 139 w 3701002"/>
                  <a:gd name="connsiteY25" fmla="*/ 1970576 h 3743106"/>
                  <a:gd name="connsiteX26" fmla="*/ 451624 w 3701002"/>
                  <a:gd name="connsiteY26" fmla="*/ 1403521 h 3743106"/>
                  <a:gd name="connsiteX27" fmla="*/ 496709 w 3701002"/>
                  <a:gd name="connsiteY27" fmla="*/ 659301 h 3743106"/>
                  <a:gd name="connsiteX28" fmla="*/ 1199019 w 3701002"/>
                  <a:gd name="connsiteY28" fmla="*/ 517061 h 3743106"/>
                  <a:gd name="connsiteX29" fmla="*/ 1831479 w 3701002"/>
                  <a:gd name="connsiteY29"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028685 w 3701002"/>
                  <a:gd name="connsiteY16" fmla="*/ 3095752 h 3743106"/>
                  <a:gd name="connsiteX17" fmla="*/ 1145044 w 3701002"/>
                  <a:gd name="connsiteY17" fmla="*/ 3252006 h 3743106"/>
                  <a:gd name="connsiteX18" fmla="*/ 1289824 w 3701002"/>
                  <a:gd name="connsiteY18" fmla="*/ 3549186 h 3743106"/>
                  <a:gd name="connsiteX19" fmla="*/ 1131709 w 3701002"/>
                  <a:gd name="connsiteY19" fmla="*/ 3739686 h 3743106"/>
                  <a:gd name="connsiteX20" fmla="*/ 881519 w 3701002"/>
                  <a:gd name="connsiteY20" fmla="*/ 3637451 h 3743106"/>
                  <a:gd name="connsiteX21" fmla="*/ 771664 w 3701002"/>
                  <a:gd name="connsiteY21" fmla="*/ 3290106 h 3743106"/>
                  <a:gd name="connsiteX22" fmla="*/ 377329 w 3701002"/>
                  <a:gd name="connsiteY22" fmla="*/ 3103416 h 3743106"/>
                  <a:gd name="connsiteX23" fmla="*/ 344944 w 3701002"/>
                  <a:gd name="connsiteY23" fmla="*/ 2482386 h 3743106"/>
                  <a:gd name="connsiteX24" fmla="*/ 139 w 3701002"/>
                  <a:gd name="connsiteY24" fmla="*/ 1970576 h 3743106"/>
                  <a:gd name="connsiteX25" fmla="*/ 451624 w 3701002"/>
                  <a:gd name="connsiteY25" fmla="*/ 1403521 h 3743106"/>
                  <a:gd name="connsiteX26" fmla="*/ 496709 w 3701002"/>
                  <a:gd name="connsiteY26" fmla="*/ 659301 h 3743106"/>
                  <a:gd name="connsiteX27" fmla="*/ 1199019 w 3701002"/>
                  <a:gd name="connsiteY27" fmla="*/ 517061 h 3743106"/>
                  <a:gd name="connsiteX28" fmla="*/ 1831479 w 3701002"/>
                  <a:gd name="connsiteY28"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145044 w 3701002"/>
                  <a:gd name="connsiteY16" fmla="*/ 3252006 h 3743106"/>
                  <a:gd name="connsiteX17" fmla="*/ 1289824 w 3701002"/>
                  <a:gd name="connsiteY17" fmla="*/ 3549186 h 3743106"/>
                  <a:gd name="connsiteX18" fmla="*/ 1131709 w 3701002"/>
                  <a:gd name="connsiteY18" fmla="*/ 3739686 h 3743106"/>
                  <a:gd name="connsiteX19" fmla="*/ 881519 w 3701002"/>
                  <a:gd name="connsiteY19" fmla="*/ 3637451 h 3743106"/>
                  <a:gd name="connsiteX20" fmla="*/ 771664 w 3701002"/>
                  <a:gd name="connsiteY20" fmla="*/ 3290106 h 3743106"/>
                  <a:gd name="connsiteX21" fmla="*/ 377329 w 3701002"/>
                  <a:gd name="connsiteY21" fmla="*/ 3103416 h 3743106"/>
                  <a:gd name="connsiteX22" fmla="*/ 344944 w 3701002"/>
                  <a:gd name="connsiteY22" fmla="*/ 2482386 h 3743106"/>
                  <a:gd name="connsiteX23" fmla="*/ 139 w 3701002"/>
                  <a:gd name="connsiteY23" fmla="*/ 1970576 h 3743106"/>
                  <a:gd name="connsiteX24" fmla="*/ 451624 w 3701002"/>
                  <a:gd name="connsiteY24" fmla="*/ 1403521 h 3743106"/>
                  <a:gd name="connsiteX25" fmla="*/ 496709 w 3701002"/>
                  <a:gd name="connsiteY25" fmla="*/ 659301 h 3743106"/>
                  <a:gd name="connsiteX26" fmla="*/ 1199019 w 3701002"/>
                  <a:gd name="connsiteY26" fmla="*/ 517061 h 3743106"/>
                  <a:gd name="connsiteX27" fmla="*/ 1831479 w 3701002"/>
                  <a:gd name="connsiteY27"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145044 w 3701002"/>
                  <a:gd name="connsiteY16" fmla="*/ 3252006 h 3743106"/>
                  <a:gd name="connsiteX17" fmla="*/ 1289824 w 3701002"/>
                  <a:gd name="connsiteY17" fmla="*/ 3549186 h 3743106"/>
                  <a:gd name="connsiteX18" fmla="*/ 1131709 w 3701002"/>
                  <a:gd name="connsiteY18" fmla="*/ 3739686 h 3743106"/>
                  <a:gd name="connsiteX19" fmla="*/ 881519 w 3701002"/>
                  <a:gd name="connsiteY19" fmla="*/ 3637451 h 3743106"/>
                  <a:gd name="connsiteX20" fmla="*/ 771664 w 3701002"/>
                  <a:gd name="connsiteY20" fmla="*/ 3290106 h 3743106"/>
                  <a:gd name="connsiteX21" fmla="*/ 377329 w 3701002"/>
                  <a:gd name="connsiteY21" fmla="*/ 3103416 h 3743106"/>
                  <a:gd name="connsiteX22" fmla="*/ 344944 w 3701002"/>
                  <a:gd name="connsiteY22" fmla="*/ 2482386 h 3743106"/>
                  <a:gd name="connsiteX23" fmla="*/ 139 w 3701002"/>
                  <a:gd name="connsiteY23" fmla="*/ 1970576 h 3743106"/>
                  <a:gd name="connsiteX24" fmla="*/ 451624 w 3701002"/>
                  <a:gd name="connsiteY24" fmla="*/ 1403521 h 3743106"/>
                  <a:gd name="connsiteX25" fmla="*/ 496709 w 3701002"/>
                  <a:gd name="connsiteY25" fmla="*/ 659301 h 3743106"/>
                  <a:gd name="connsiteX26" fmla="*/ 1199019 w 3701002"/>
                  <a:gd name="connsiteY26" fmla="*/ 517061 h 3743106"/>
                  <a:gd name="connsiteX27" fmla="*/ 1831479 w 3701002"/>
                  <a:gd name="connsiteY27" fmla="*/ 171 h 3743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701002" h="3743106">
                    <a:moveTo>
                      <a:pt x="1831479" y="171"/>
                    </a:moveTo>
                    <a:cubicBezTo>
                      <a:pt x="2193958" y="-9460"/>
                      <a:pt x="2228989" y="388262"/>
                      <a:pt x="2478544" y="516426"/>
                    </a:cubicBezTo>
                    <a:cubicBezTo>
                      <a:pt x="2724924" y="638240"/>
                      <a:pt x="3031735" y="420753"/>
                      <a:pt x="3214509" y="673906"/>
                    </a:cubicBezTo>
                    <a:cubicBezTo>
                      <a:pt x="3397283" y="927059"/>
                      <a:pt x="3125874" y="1106394"/>
                      <a:pt x="3270389" y="1425746"/>
                    </a:cubicBezTo>
                    <a:cubicBezTo>
                      <a:pt x="3414904" y="1745098"/>
                      <a:pt x="3685678" y="1679112"/>
                      <a:pt x="3700601" y="1942319"/>
                    </a:cubicBezTo>
                    <a:cubicBezTo>
                      <a:pt x="3712349" y="2221401"/>
                      <a:pt x="3463112" y="2181714"/>
                      <a:pt x="3354844" y="2512866"/>
                    </a:cubicBezTo>
                    <a:cubicBezTo>
                      <a:pt x="3238639" y="2836081"/>
                      <a:pt x="3476765" y="2888309"/>
                      <a:pt x="3320872" y="3113258"/>
                    </a:cubicBezTo>
                    <a:cubicBezTo>
                      <a:pt x="3231655" y="3262007"/>
                      <a:pt x="3076132" y="3153476"/>
                      <a:pt x="2933839" y="3291059"/>
                    </a:cubicBezTo>
                    <a:cubicBezTo>
                      <a:pt x="2791546" y="3428642"/>
                      <a:pt x="2888756" y="3603161"/>
                      <a:pt x="2771914" y="3691109"/>
                    </a:cubicBezTo>
                    <a:cubicBezTo>
                      <a:pt x="2688410" y="3783819"/>
                      <a:pt x="2499817" y="3735717"/>
                      <a:pt x="2440444" y="3640626"/>
                    </a:cubicBezTo>
                    <a:cubicBezTo>
                      <a:pt x="2381071" y="3545535"/>
                      <a:pt x="2441714" y="3442506"/>
                      <a:pt x="2501404" y="3320586"/>
                    </a:cubicBezTo>
                    <a:lnTo>
                      <a:pt x="2659635" y="3107286"/>
                    </a:lnTo>
                    <a:cubicBezTo>
                      <a:pt x="2942380" y="2869700"/>
                      <a:pt x="3122601" y="2510145"/>
                      <a:pt x="3122601" y="2107732"/>
                    </a:cubicBezTo>
                    <a:cubicBezTo>
                      <a:pt x="3122601" y="1392331"/>
                      <a:pt x="2553014" y="812383"/>
                      <a:pt x="1850392" y="812383"/>
                    </a:cubicBezTo>
                    <a:cubicBezTo>
                      <a:pt x="1147770" y="812383"/>
                      <a:pt x="578183" y="1392331"/>
                      <a:pt x="578183" y="2107732"/>
                    </a:cubicBezTo>
                    <a:cubicBezTo>
                      <a:pt x="578183" y="2465433"/>
                      <a:pt x="720580" y="2789270"/>
                      <a:pt x="950805" y="3023682"/>
                    </a:cubicBezTo>
                    <a:cubicBezTo>
                      <a:pt x="1039364" y="3104553"/>
                      <a:pt x="1080298" y="3175898"/>
                      <a:pt x="1145044" y="3252006"/>
                    </a:cubicBezTo>
                    <a:cubicBezTo>
                      <a:pt x="1213624" y="3361226"/>
                      <a:pt x="1292047" y="3467906"/>
                      <a:pt x="1289824" y="3549186"/>
                    </a:cubicBezTo>
                    <a:cubicBezTo>
                      <a:pt x="1287602" y="3630466"/>
                      <a:pt x="1199760" y="3724975"/>
                      <a:pt x="1131709" y="3739686"/>
                    </a:cubicBezTo>
                    <a:cubicBezTo>
                      <a:pt x="1063658" y="3754397"/>
                      <a:pt x="935176" y="3721906"/>
                      <a:pt x="881519" y="3637451"/>
                    </a:cubicBezTo>
                    <a:cubicBezTo>
                      <a:pt x="827862" y="3552996"/>
                      <a:pt x="922371" y="3429912"/>
                      <a:pt x="771664" y="3290106"/>
                    </a:cubicBezTo>
                    <a:cubicBezTo>
                      <a:pt x="620957" y="3150300"/>
                      <a:pt x="489724" y="3259626"/>
                      <a:pt x="377329" y="3103416"/>
                    </a:cubicBezTo>
                    <a:cubicBezTo>
                      <a:pt x="245884" y="2847193"/>
                      <a:pt x="472103" y="2764062"/>
                      <a:pt x="344944" y="2482386"/>
                    </a:cubicBezTo>
                    <a:cubicBezTo>
                      <a:pt x="189211" y="2141178"/>
                      <a:pt x="8552" y="2246432"/>
                      <a:pt x="139" y="1970576"/>
                    </a:cubicBezTo>
                    <a:cubicBezTo>
                      <a:pt x="-7481" y="1701865"/>
                      <a:pt x="299012" y="1730017"/>
                      <a:pt x="451624" y="1403521"/>
                    </a:cubicBezTo>
                    <a:cubicBezTo>
                      <a:pt x="528036" y="943675"/>
                      <a:pt x="318168" y="908644"/>
                      <a:pt x="496709" y="659301"/>
                    </a:cubicBezTo>
                    <a:cubicBezTo>
                      <a:pt x="675250" y="409958"/>
                      <a:pt x="956978" y="650728"/>
                      <a:pt x="1199019" y="517061"/>
                    </a:cubicBezTo>
                    <a:cubicBezTo>
                      <a:pt x="1485510" y="418319"/>
                      <a:pt x="1469000" y="9802"/>
                      <a:pt x="1831479" y="171"/>
                    </a:cubicBez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grpSp>
      </p:grpSp>
      <p:grpSp>
        <p:nvGrpSpPr>
          <p:cNvPr id="155" name="Group 154">
            <a:extLst>
              <a:ext uri="{FF2B5EF4-FFF2-40B4-BE49-F238E27FC236}">
                <a16:creationId xmlns:a16="http://schemas.microsoft.com/office/drawing/2014/main" id="{98484F6C-5C1F-4995-BF2E-90A299BD95AD}"/>
              </a:ext>
            </a:extLst>
          </p:cNvPr>
          <p:cNvGrpSpPr/>
          <p:nvPr/>
        </p:nvGrpSpPr>
        <p:grpSpPr>
          <a:xfrm>
            <a:off x="6574690" y="3473520"/>
            <a:ext cx="474070" cy="474070"/>
            <a:chOff x="6447430" y="2675492"/>
            <a:chExt cx="474070" cy="474070"/>
          </a:xfrm>
        </p:grpSpPr>
        <p:sp>
          <p:nvSpPr>
            <p:cNvPr id="156" name="Oval 155">
              <a:extLst>
                <a:ext uri="{FF2B5EF4-FFF2-40B4-BE49-F238E27FC236}">
                  <a16:creationId xmlns:a16="http://schemas.microsoft.com/office/drawing/2014/main" id="{90FF59EA-C596-4A04-B7CB-A67FC008C513}"/>
                </a:ext>
              </a:extLst>
            </p:cNvPr>
            <p:cNvSpPr/>
            <p:nvPr/>
          </p:nvSpPr>
          <p:spPr>
            <a:xfrm>
              <a:off x="6447430" y="2675492"/>
              <a:ext cx="474070" cy="474070"/>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white"/>
                </a:solidFill>
                <a:effectLst/>
                <a:uLnTx/>
                <a:uFillTx/>
                <a:latin typeface="+mj-lt"/>
                <a:ea typeface="+mn-ea"/>
                <a:cs typeface="+mn-cs"/>
              </a:endParaRPr>
            </a:p>
          </p:txBody>
        </p:sp>
        <p:grpSp>
          <p:nvGrpSpPr>
            <p:cNvPr id="157" name="Group 156">
              <a:extLst>
                <a:ext uri="{FF2B5EF4-FFF2-40B4-BE49-F238E27FC236}">
                  <a16:creationId xmlns:a16="http://schemas.microsoft.com/office/drawing/2014/main" id="{8E8C8717-BE7F-4566-881C-410917D9B279}"/>
                </a:ext>
              </a:extLst>
            </p:cNvPr>
            <p:cNvGrpSpPr/>
            <p:nvPr/>
          </p:nvGrpSpPr>
          <p:grpSpPr>
            <a:xfrm>
              <a:off x="6518177" y="2715380"/>
              <a:ext cx="333474" cy="369626"/>
              <a:chOff x="3114466" y="105602"/>
              <a:chExt cx="5971657" cy="6619048"/>
            </a:xfrm>
            <a:solidFill>
              <a:schemeClr val="accent5"/>
            </a:solidFill>
          </p:grpSpPr>
          <p:sp>
            <p:nvSpPr>
              <p:cNvPr id="158" name="Oval 157">
                <a:extLst>
                  <a:ext uri="{FF2B5EF4-FFF2-40B4-BE49-F238E27FC236}">
                    <a16:creationId xmlns:a16="http://schemas.microsoft.com/office/drawing/2014/main" id="{BB34DD8B-1AF5-4EEF-9792-21F975AB9B87}"/>
                  </a:ext>
                </a:extLst>
              </p:cNvPr>
              <p:cNvSpPr/>
              <p:nvPr/>
            </p:nvSpPr>
            <p:spPr>
              <a:xfrm>
                <a:off x="5744819" y="745435"/>
                <a:ext cx="695738" cy="695738"/>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59" name="Oval 158">
                <a:extLst>
                  <a:ext uri="{FF2B5EF4-FFF2-40B4-BE49-F238E27FC236}">
                    <a16:creationId xmlns:a16="http://schemas.microsoft.com/office/drawing/2014/main" id="{F0753CF4-EA00-4BD6-A0B0-922937FB86EA}"/>
                  </a:ext>
                </a:extLst>
              </p:cNvPr>
              <p:cNvSpPr/>
              <p:nvPr/>
            </p:nvSpPr>
            <p:spPr>
              <a:xfrm>
                <a:off x="6626711" y="1319213"/>
                <a:ext cx="628234" cy="62823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60" name="Oval 159">
                <a:extLst>
                  <a:ext uri="{FF2B5EF4-FFF2-40B4-BE49-F238E27FC236}">
                    <a16:creationId xmlns:a16="http://schemas.microsoft.com/office/drawing/2014/main" id="{BF3B704B-C092-499C-A2D3-40AA56F73ED0}"/>
                  </a:ext>
                </a:extLst>
              </p:cNvPr>
              <p:cNvSpPr/>
              <p:nvPr/>
            </p:nvSpPr>
            <p:spPr>
              <a:xfrm>
                <a:off x="4921736" y="1319213"/>
                <a:ext cx="628234" cy="62823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61" name="Oval 160">
                <a:extLst>
                  <a:ext uri="{FF2B5EF4-FFF2-40B4-BE49-F238E27FC236}">
                    <a16:creationId xmlns:a16="http://schemas.microsoft.com/office/drawing/2014/main" id="{76288E86-C8E1-41C4-A5E0-B08BB12D260E}"/>
                  </a:ext>
                </a:extLst>
              </p:cNvPr>
              <p:cNvSpPr/>
              <p:nvPr/>
            </p:nvSpPr>
            <p:spPr>
              <a:xfrm>
                <a:off x="4140684" y="1766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62" name="Oval 161">
                <a:extLst>
                  <a:ext uri="{FF2B5EF4-FFF2-40B4-BE49-F238E27FC236}">
                    <a16:creationId xmlns:a16="http://schemas.microsoft.com/office/drawing/2014/main" id="{93A4495F-0EE1-4B3C-9680-5E04EF6638EE}"/>
                  </a:ext>
                </a:extLst>
              </p:cNvPr>
              <p:cNvSpPr/>
              <p:nvPr/>
            </p:nvSpPr>
            <p:spPr>
              <a:xfrm>
                <a:off x="7510049" y="1766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63" name="Oval 162">
                <a:extLst>
                  <a:ext uri="{FF2B5EF4-FFF2-40B4-BE49-F238E27FC236}">
                    <a16:creationId xmlns:a16="http://schemas.microsoft.com/office/drawing/2014/main" id="{E236F4BD-71B4-4C6A-99ED-046E7A07339A}"/>
                  </a:ext>
                </a:extLst>
              </p:cNvPr>
              <p:cNvSpPr/>
              <p:nvPr/>
            </p:nvSpPr>
            <p:spPr>
              <a:xfrm>
                <a:off x="7716285" y="2579410"/>
                <a:ext cx="612706" cy="61270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64" name="Oval 163">
                <a:extLst>
                  <a:ext uri="{FF2B5EF4-FFF2-40B4-BE49-F238E27FC236}">
                    <a16:creationId xmlns:a16="http://schemas.microsoft.com/office/drawing/2014/main" id="{47C92DD3-0E68-46F0-81B6-6B2F26C14A3B}"/>
                  </a:ext>
                </a:extLst>
              </p:cNvPr>
              <p:cNvSpPr/>
              <p:nvPr/>
            </p:nvSpPr>
            <p:spPr>
              <a:xfrm>
                <a:off x="3849963" y="2569471"/>
                <a:ext cx="612706" cy="61270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65" name="Oval 164">
                <a:extLst>
                  <a:ext uri="{FF2B5EF4-FFF2-40B4-BE49-F238E27FC236}">
                    <a16:creationId xmlns:a16="http://schemas.microsoft.com/office/drawing/2014/main" id="{30B5F169-5123-410F-B428-7FA36F89EDC1}"/>
                  </a:ext>
                </a:extLst>
              </p:cNvPr>
              <p:cNvSpPr/>
              <p:nvPr/>
            </p:nvSpPr>
            <p:spPr>
              <a:xfrm>
                <a:off x="3740632" y="1416532"/>
                <a:ext cx="394046" cy="39404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66" name="Oval 165">
                <a:extLst>
                  <a:ext uri="{FF2B5EF4-FFF2-40B4-BE49-F238E27FC236}">
                    <a16:creationId xmlns:a16="http://schemas.microsoft.com/office/drawing/2014/main" id="{B7CB312D-EA77-4693-8A4E-26ACD2B5633D}"/>
                  </a:ext>
                </a:extLst>
              </p:cNvPr>
              <p:cNvSpPr/>
              <p:nvPr/>
            </p:nvSpPr>
            <p:spPr>
              <a:xfrm>
                <a:off x="8054215" y="1416532"/>
                <a:ext cx="394046" cy="39404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67" name="Oval 166">
                <a:extLst>
                  <a:ext uri="{FF2B5EF4-FFF2-40B4-BE49-F238E27FC236}">
                    <a16:creationId xmlns:a16="http://schemas.microsoft.com/office/drawing/2014/main" id="{08DFFDEA-3765-4500-BF7B-163D13C87AAC}"/>
                  </a:ext>
                </a:extLst>
              </p:cNvPr>
              <p:cNvSpPr/>
              <p:nvPr/>
            </p:nvSpPr>
            <p:spPr>
              <a:xfrm>
                <a:off x="5878581" y="105602"/>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68" name="Oval 167">
                <a:extLst>
                  <a:ext uri="{FF2B5EF4-FFF2-40B4-BE49-F238E27FC236}">
                    <a16:creationId xmlns:a16="http://schemas.microsoft.com/office/drawing/2014/main" id="{7BC9F1A1-A663-454E-9B01-90E0F267A0F9}"/>
                  </a:ext>
                </a:extLst>
              </p:cNvPr>
              <p:cNvSpPr/>
              <p:nvPr/>
            </p:nvSpPr>
            <p:spPr>
              <a:xfrm>
                <a:off x="3114466" y="3419473"/>
                <a:ext cx="319296" cy="31929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69" name="Oval 168">
                <a:extLst>
                  <a:ext uri="{FF2B5EF4-FFF2-40B4-BE49-F238E27FC236}">
                    <a16:creationId xmlns:a16="http://schemas.microsoft.com/office/drawing/2014/main" id="{4209550B-0B19-4AC1-BE6C-AC41AABE5CDC}"/>
                  </a:ext>
                </a:extLst>
              </p:cNvPr>
              <p:cNvSpPr/>
              <p:nvPr/>
            </p:nvSpPr>
            <p:spPr>
              <a:xfrm>
                <a:off x="3794675" y="5116270"/>
                <a:ext cx="282026" cy="28202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70" name="Oval 169">
                <a:extLst>
                  <a:ext uri="{FF2B5EF4-FFF2-40B4-BE49-F238E27FC236}">
                    <a16:creationId xmlns:a16="http://schemas.microsoft.com/office/drawing/2014/main" id="{8C77767F-E297-4DF5-BC8B-227CC0F75AB5}"/>
                  </a:ext>
                </a:extLst>
              </p:cNvPr>
              <p:cNvSpPr/>
              <p:nvPr/>
            </p:nvSpPr>
            <p:spPr>
              <a:xfrm>
                <a:off x="4640020" y="5060156"/>
                <a:ext cx="342902" cy="3429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71" name="Oval 170">
                <a:extLst>
                  <a:ext uri="{FF2B5EF4-FFF2-40B4-BE49-F238E27FC236}">
                    <a16:creationId xmlns:a16="http://schemas.microsoft.com/office/drawing/2014/main" id="{328E0B5A-EE93-4D1F-8AC0-03963C70AD38}"/>
                  </a:ext>
                </a:extLst>
              </p:cNvPr>
              <p:cNvSpPr/>
              <p:nvPr/>
            </p:nvSpPr>
            <p:spPr>
              <a:xfrm>
                <a:off x="4155592" y="4790040"/>
                <a:ext cx="373546" cy="37354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72" name="Oval 171">
                <a:extLst>
                  <a:ext uri="{FF2B5EF4-FFF2-40B4-BE49-F238E27FC236}">
                    <a16:creationId xmlns:a16="http://schemas.microsoft.com/office/drawing/2014/main" id="{CD864B4B-9B88-4A15-8FA5-99E8A8A3CAE6}"/>
                  </a:ext>
                </a:extLst>
              </p:cNvPr>
              <p:cNvSpPr/>
              <p:nvPr/>
            </p:nvSpPr>
            <p:spPr>
              <a:xfrm>
                <a:off x="3892206" y="4042948"/>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73" name="Oval 172">
                <a:extLst>
                  <a:ext uri="{FF2B5EF4-FFF2-40B4-BE49-F238E27FC236}">
                    <a16:creationId xmlns:a16="http://schemas.microsoft.com/office/drawing/2014/main" id="{E7CC7DC8-C052-4B92-BBC4-A45F97EE0555}"/>
                  </a:ext>
                </a:extLst>
              </p:cNvPr>
              <p:cNvSpPr/>
              <p:nvPr/>
            </p:nvSpPr>
            <p:spPr>
              <a:xfrm>
                <a:off x="7758528" y="4052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74" name="Oval 173">
                <a:extLst>
                  <a:ext uri="{FF2B5EF4-FFF2-40B4-BE49-F238E27FC236}">
                    <a16:creationId xmlns:a16="http://schemas.microsoft.com/office/drawing/2014/main" id="{7C927D4D-BCD1-4B60-8B2A-64089B447E81}"/>
                  </a:ext>
                </a:extLst>
              </p:cNvPr>
              <p:cNvSpPr/>
              <p:nvPr/>
            </p:nvSpPr>
            <p:spPr>
              <a:xfrm>
                <a:off x="3632338" y="3395454"/>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75" name="Oval 174">
                <a:extLst>
                  <a:ext uri="{FF2B5EF4-FFF2-40B4-BE49-F238E27FC236}">
                    <a16:creationId xmlns:a16="http://schemas.microsoft.com/office/drawing/2014/main" id="{2B61D04A-A246-4F75-B23D-3266EAAC6E6F}"/>
                  </a:ext>
                </a:extLst>
              </p:cNvPr>
              <p:cNvSpPr/>
              <p:nvPr/>
            </p:nvSpPr>
            <p:spPr>
              <a:xfrm>
                <a:off x="8122650" y="3395454"/>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76" name="Oval 175">
                <a:extLst>
                  <a:ext uri="{FF2B5EF4-FFF2-40B4-BE49-F238E27FC236}">
                    <a16:creationId xmlns:a16="http://schemas.microsoft.com/office/drawing/2014/main" id="{ABAC07D2-381D-4BD1-BDE5-9314BC872D03}"/>
                  </a:ext>
                </a:extLst>
              </p:cNvPr>
              <p:cNvSpPr/>
              <p:nvPr/>
            </p:nvSpPr>
            <p:spPr>
              <a:xfrm>
                <a:off x="8747366" y="3412330"/>
                <a:ext cx="338757" cy="338757"/>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77" name="Oval 176">
                <a:extLst>
                  <a:ext uri="{FF2B5EF4-FFF2-40B4-BE49-F238E27FC236}">
                    <a16:creationId xmlns:a16="http://schemas.microsoft.com/office/drawing/2014/main" id="{D641C183-4FA4-4BE5-A549-A74934DA1731}"/>
                  </a:ext>
                </a:extLst>
              </p:cNvPr>
              <p:cNvSpPr/>
              <p:nvPr/>
            </p:nvSpPr>
            <p:spPr>
              <a:xfrm>
                <a:off x="7659444" y="4792108"/>
                <a:ext cx="372514" cy="37251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78" name="Oval 177">
                <a:extLst>
                  <a:ext uri="{FF2B5EF4-FFF2-40B4-BE49-F238E27FC236}">
                    <a16:creationId xmlns:a16="http://schemas.microsoft.com/office/drawing/2014/main" id="{F26D49F6-754E-4A4D-8296-5024368419E4}"/>
                  </a:ext>
                </a:extLst>
              </p:cNvPr>
              <p:cNvSpPr/>
              <p:nvPr/>
            </p:nvSpPr>
            <p:spPr>
              <a:xfrm>
                <a:off x="7208355" y="5062538"/>
                <a:ext cx="341242" cy="34124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79" name="Oval 178">
                <a:extLst>
                  <a:ext uri="{FF2B5EF4-FFF2-40B4-BE49-F238E27FC236}">
                    <a16:creationId xmlns:a16="http://schemas.microsoft.com/office/drawing/2014/main" id="{049C5397-02F9-4F4D-B744-55C4919CDAA0}"/>
                  </a:ext>
                </a:extLst>
              </p:cNvPr>
              <p:cNvSpPr/>
              <p:nvPr/>
            </p:nvSpPr>
            <p:spPr>
              <a:xfrm>
                <a:off x="8113230" y="5122069"/>
                <a:ext cx="274566" cy="27456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80" name="Freeform 87">
                <a:extLst>
                  <a:ext uri="{FF2B5EF4-FFF2-40B4-BE49-F238E27FC236}">
                    <a16:creationId xmlns:a16="http://schemas.microsoft.com/office/drawing/2014/main" id="{1E670C51-93F6-406F-945F-16E654B6E29C}"/>
                  </a:ext>
                </a:extLst>
              </p:cNvPr>
              <p:cNvSpPr/>
              <p:nvPr/>
            </p:nvSpPr>
            <p:spPr>
              <a:xfrm>
                <a:off x="5507831" y="5678142"/>
                <a:ext cx="1200744" cy="1046508"/>
              </a:xfrm>
              <a:custGeom>
                <a:avLst/>
                <a:gdLst>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58806 w 1200744"/>
                  <a:gd name="connsiteY19" fmla="*/ 0 h 1046508"/>
                  <a:gd name="connsiteX20" fmla="*/ 692944 w 1200744"/>
                  <a:gd name="connsiteY20" fmla="*/ 0 h 1046508"/>
                  <a:gd name="connsiteX21" fmla="*/ 692944 w 1200744"/>
                  <a:gd name="connsiteY21" fmla="*/ 102530 h 1046508"/>
                  <a:gd name="connsiteX22" fmla="*/ 418176 w 1200744"/>
                  <a:gd name="connsiteY22" fmla="*/ 135174 h 1046508"/>
                  <a:gd name="connsiteX23" fmla="*/ 392350 w 1200744"/>
                  <a:gd name="connsiteY23" fmla="*/ 149653 h 1046508"/>
                  <a:gd name="connsiteX24" fmla="*/ 384326 w 1200744"/>
                  <a:gd name="connsiteY24" fmla="*/ 178152 h 1046508"/>
                  <a:gd name="connsiteX25" fmla="*/ 398804 w 1200744"/>
                  <a:gd name="connsiteY25" fmla="*/ 203977 h 1046508"/>
                  <a:gd name="connsiteX26" fmla="*/ 427304 w 1200744"/>
                  <a:gd name="connsiteY26" fmla="*/ 212001 h 1046508"/>
                  <a:gd name="connsiteX27" fmla="*/ 1104900 w 1200744"/>
                  <a:gd name="connsiteY27" fmla="*/ 131498 h 1046508"/>
                  <a:gd name="connsiteX28" fmla="*/ 1104900 w 1200744"/>
                  <a:gd name="connsiteY28" fmla="*/ 134851 h 1046508"/>
                  <a:gd name="connsiteX29" fmla="*/ 1157493 w 1200744"/>
                  <a:gd name="connsiteY29" fmla="*/ 128603 h 1046508"/>
                  <a:gd name="connsiteX30" fmla="*/ 1200471 w 1200744"/>
                  <a:gd name="connsiteY30" fmla="*/ 162453 h 1046508"/>
                  <a:gd name="connsiteX31" fmla="*/ 1200470 w 1200744"/>
                  <a:gd name="connsiteY31" fmla="*/ 162453 h 1046508"/>
                  <a:gd name="connsiteX32" fmla="*/ 1166620 w 1200744"/>
                  <a:gd name="connsiteY32" fmla="*/ 205431 h 1046508"/>
                  <a:gd name="connsiteX33" fmla="*/ 892471 w 1200744"/>
                  <a:gd name="connsiteY33" fmla="*/ 238001 h 1046508"/>
                  <a:gd name="connsiteX34" fmla="*/ 883444 w 1200744"/>
                  <a:gd name="connsiteY34" fmla="*/ 235459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688181 w 1200744"/>
                  <a:gd name="connsiteY45" fmla="*/ 400083 h 1046508"/>
                  <a:gd name="connsiteX46" fmla="*/ 688181 w 1200744"/>
                  <a:gd name="connsiteY46" fmla="*/ 403433 h 1046508"/>
                  <a:gd name="connsiteX47" fmla="*/ 792956 w 1200744"/>
                  <a:gd name="connsiteY47" fmla="*/ 390985 h 1046508"/>
                  <a:gd name="connsiteX48" fmla="*/ 792956 w 1200744"/>
                  <a:gd name="connsiteY48" fmla="*/ 387635 h 1046508"/>
                  <a:gd name="connsiteX49" fmla="*/ 883444 w 1200744"/>
                  <a:gd name="connsiteY49" fmla="*/ 376884 h 1046508"/>
                  <a:gd name="connsiteX50" fmla="*/ 883444 w 1200744"/>
                  <a:gd name="connsiteY50" fmla="*/ 380235 h 1046508"/>
                  <a:gd name="connsiteX51" fmla="*/ 1157493 w 1200744"/>
                  <a:gd name="connsiteY51" fmla="*/ 347675 h 1046508"/>
                  <a:gd name="connsiteX52" fmla="*/ 1200471 w 1200744"/>
                  <a:gd name="connsiteY52" fmla="*/ 381525 h 1046508"/>
                  <a:gd name="connsiteX53" fmla="*/ 1200470 w 1200744"/>
                  <a:gd name="connsiteY53" fmla="*/ 381526 h 1046508"/>
                  <a:gd name="connsiteX54" fmla="*/ 1166620 w 1200744"/>
                  <a:gd name="connsiteY54" fmla="*/ 424503 h 1046508"/>
                  <a:gd name="connsiteX55" fmla="*/ 883444 w 1200744"/>
                  <a:gd name="connsiteY55" fmla="*/ 458146 h 1046508"/>
                  <a:gd name="connsiteX56" fmla="*/ 883444 w 1200744"/>
                  <a:gd name="connsiteY56" fmla="*/ 506141 h 1046508"/>
                  <a:gd name="connsiteX57" fmla="*/ 792956 w 1200744"/>
                  <a:gd name="connsiteY57" fmla="*/ 516892 h 1046508"/>
                  <a:gd name="connsiteX58" fmla="*/ 792956 w 1200744"/>
                  <a:gd name="connsiteY58" fmla="*/ 468897 h 1046508"/>
                  <a:gd name="connsiteX59" fmla="*/ 688181 w 1200744"/>
                  <a:gd name="connsiteY59" fmla="*/ 481345 h 1046508"/>
                  <a:gd name="connsiteX60" fmla="*/ 688181 w 1200744"/>
                  <a:gd name="connsiteY60" fmla="*/ 529340 h 1046508"/>
                  <a:gd name="connsiteX61" fmla="*/ 418176 w 1200744"/>
                  <a:gd name="connsiteY61" fmla="*/ 561418 h 1046508"/>
                  <a:gd name="connsiteX62" fmla="*/ 392350 w 1200744"/>
                  <a:gd name="connsiteY62" fmla="*/ 575897 h 1046508"/>
                  <a:gd name="connsiteX63" fmla="*/ 384326 w 1200744"/>
                  <a:gd name="connsiteY63" fmla="*/ 604396 h 1046508"/>
                  <a:gd name="connsiteX64" fmla="*/ 398804 w 1200744"/>
                  <a:gd name="connsiteY64" fmla="*/ 630221 h 1046508"/>
                  <a:gd name="connsiteX65" fmla="*/ 427304 w 1200744"/>
                  <a:gd name="connsiteY65" fmla="*/ 638245 h 1046508"/>
                  <a:gd name="connsiteX66" fmla="*/ 1104900 w 1200744"/>
                  <a:gd name="connsiteY66" fmla="*/ 557742 h 1046508"/>
                  <a:gd name="connsiteX67" fmla="*/ 1104900 w 1200744"/>
                  <a:gd name="connsiteY67" fmla="*/ 558713 h 1046508"/>
                  <a:gd name="connsiteX68" fmla="*/ 1157491 w 1200744"/>
                  <a:gd name="connsiteY68" fmla="*/ 552464 h 1046508"/>
                  <a:gd name="connsiteX69" fmla="*/ 1200469 w 1200744"/>
                  <a:gd name="connsiteY69" fmla="*/ 586314 h 1046508"/>
                  <a:gd name="connsiteX70" fmla="*/ 1200468 w 1200744"/>
                  <a:gd name="connsiteY70" fmla="*/ 586314 h 1046508"/>
                  <a:gd name="connsiteX71" fmla="*/ 1166618 w 1200744"/>
                  <a:gd name="connsiteY71" fmla="*/ 629292 h 1046508"/>
                  <a:gd name="connsiteX72" fmla="*/ 1104900 w 1200744"/>
                  <a:gd name="connsiteY72" fmla="*/ 636624 h 1046508"/>
                  <a:gd name="connsiteX73" fmla="*/ 1104900 w 1200744"/>
                  <a:gd name="connsiteY73" fmla="*/ 817908 h 1046508"/>
                  <a:gd name="connsiteX74" fmla="*/ 971550 w 1200744"/>
                  <a:gd name="connsiteY74" fmla="*/ 946496 h 1046508"/>
                  <a:gd name="connsiteX75" fmla="*/ 752889 w 1200744"/>
                  <a:gd name="connsiteY75" fmla="*/ 946496 h 1046508"/>
                  <a:gd name="connsiteX76" fmla="*/ 749140 w 1200744"/>
                  <a:gd name="connsiteY76" fmla="*/ 965065 h 1046508"/>
                  <a:gd name="connsiteX77" fmla="*/ 626271 w 1200744"/>
                  <a:gd name="connsiteY77" fmla="*/ 1046508 h 1046508"/>
                  <a:gd name="connsiteX78" fmla="*/ 533770 w 1200744"/>
                  <a:gd name="connsiteY78" fmla="*/ 1046508 h 1046508"/>
                  <a:gd name="connsiteX79" fmla="*/ 410901 w 1200744"/>
                  <a:gd name="connsiteY79" fmla="*/ 965065 h 1046508"/>
                  <a:gd name="connsiteX80" fmla="*/ 407153 w 1200744"/>
                  <a:gd name="connsiteY80" fmla="*/ 946496 h 1046508"/>
                  <a:gd name="connsiteX81" fmla="*/ 190500 w 1200744"/>
                  <a:gd name="connsiteY81" fmla="*/ 946496 h 1046508"/>
                  <a:gd name="connsiteX82" fmla="*/ 59532 w 1200744"/>
                  <a:gd name="connsiteY82" fmla="*/ 825052 h 1046508"/>
                  <a:gd name="connsiteX83" fmla="*/ 59432 w 1200744"/>
                  <a:gd name="connsiteY83" fmla="*/ 710643 h 1046508"/>
                  <a:gd name="connsiteX84" fmla="*/ 48816 w 1200744"/>
                  <a:gd name="connsiteY84" fmla="*/ 710643 h 1046508"/>
                  <a:gd name="connsiteX85" fmla="*/ 14298 w 1200744"/>
                  <a:gd name="connsiteY85" fmla="*/ 696345 h 1046508"/>
                  <a:gd name="connsiteX86" fmla="*/ 0 w 1200744"/>
                  <a:gd name="connsiteY86" fmla="*/ 661828 h 1046508"/>
                  <a:gd name="connsiteX87" fmla="*/ 14298 w 1200744"/>
                  <a:gd name="connsiteY87" fmla="*/ 627310 h 1046508"/>
                  <a:gd name="connsiteX88" fmla="*/ 48816 w 1200744"/>
                  <a:gd name="connsiteY88" fmla="*/ 613012 h 1046508"/>
                  <a:gd name="connsiteX89" fmla="*/ 59346 w 1200744"/>
                  <a:gd name="connsiteY89" fmla="*/ 613012 h 1046508"/>
                  <a:gd name="connsiteX90" fmla="*/ 59247 w 1200744"/>
                  <a:gd name="connsiteY90" fmla="*/ 501147 h 1046508"/>
                  <a:gd name="connsiteX91" fmla="*/ 48816 w 1200744"/>
                  <a:gd name="connsiteY91" fmla="*/ 501147 h 1046508"/>
                  <a:gd name="connsiteX92" fmla="*/ 14298 w 1200744"/>
                  <a:gd name="connsiteY92" fmla="*/ 486849 h 1046508"/>
                  <a:gd name="connsiteX93" fmla="*/ 0 w 1200744"/>
                  <a:gd name="connsiteY93" fmla="*/ 452332 h 1046508"/>
                  <a:gd name="connsiteX94" fmla="*/ 14298 w 1200744"/>
                  <a:gd name="connsiteY94" fmla="*/ 417814 h 1046508"/>
                  <a:gd name="connsiteX95" fmla="*/ 48816 w 1200744"/>
                  <a:gd name="connsiteY95" fmla="*/ 403516 h 1046508"/>
                  <a:gd name="connsiteX96" fmla="*/ 59161 w 1200744"/>
                  <a:gd name="connsiteY96" fmla="*/ 403516 h 1046508"/>
                  <a:gd name="connsiteX97" fmla="*/ 59063 w 1200744"/>
                  <a:gd name="connsiteY97" fmla="*/ 291651 h 1046508"/>
                  <a:gd name="connsiteX98" fmla="*/ 48816 w 1200744"/>
                  <a:gd name="connsiteY98" fmla="*/ 291651 h 1046508"/>
                  <a:gd name="connsiteX99" fmla="*/ 14298 w 1200744"/>
                  <a:gd name="connsiteY99" fmla="*/ 277353 h 1046508"/>
                  <a:gd name="connsiteX100" fmla="*/ 0 w 1200744"/>
                  <a:gd name="connsiteY100" fmla="*/ 242836 h 1046508"/>
                  <a:gd name="connsiteX101" fmla="*/ 14298 w 1200744"/>
                  <a:gd name="connsiteY101" fmla="*/ 208318 h 1046508"/>
                  <a:gd name="connsiteX102" fmla="*/ 48816 w 1200744"/>
                  <a:gd name="connsiteY102" fmla="*/ 194020 h 1046508"/>
                  <a:gd name="connsiteX103" fmla="*/ 58977 w 1200744"/>
                  <a:gd name="connsiteY103" fmla="*/ 19402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792956 w 1200744"/>
                  <a:gd name="connsiteY49" fmla="*/ 387635 h 1046508"/>
                  <a:gd name="connsiteX50" fmla="*/ 883444 w 1200744"/>
                  <a:gd name="connsiteY50" fmla="*/ 376884 h 1046508"/>
                  <a:gd name="connsiteX51" fmla="*/ 1157493 w 1200744"/>
                  <a:gd name="connsiteY51" fmla="*/ 347675 h 1046508"/>
                  <a:gd name="connsiteX52" fmla="*/ 1200471 w 1200744"/>
                  <a:gd name="connsiteY52" fmla="*/ 381525 h 1046508"/>
                  <a:gd name="connsiteX53" fmla="*/ 1200470 w 1200744"/>
                  <a:gd name="connsiteY53" fmla="*/ 381526 h 1046508"/>
                  <a:gd name="connsiteX54" fmla="*/ 1166620 w 1200744"/>
                  <a:gd name="connsiteY54" fmla="*/ 424503 h 1046508"/>
                  <a:gd name="connsiteX55" fmla="*/ 883444 w 1200744"/>
                  <a:gd name="connsiteY55" fmla="*/ 458146 h 1046508"/>
                  <a:gd name="connsiteX56" fmla="*/ 883444 w 1200744"/>
                  <a:gd name="connsiteY56" fmla="*/ 506141 h 1046508"/>
                  <a:gd name="connsiteX57" fmla="*/ 792956 w 1200744"/>
                  <a:gd name="connsiteY57" fmla="*/ 516892 h 1046508"/>
                  <a:gd name="connsiteX58" fmla="*/ 792956 w 1200744"/>
                  <a:gd name="connsiteY58" fmla="*/ 468897 h 1046508"/>
                  <a:gd name="connsiteX59" fmla="*/ 688181 w 1200744"/>
                  <a:gd name="connsiteY59" fmla="*/ 481345 h 1046508"/>
                  <a:gd name="connsiteX60" fmla="*/ 688181 w 1200744"/>
                  <a:gd name="connsiteY60" fmla="*/ 529340 h 1046508"/>
                  <a:gd name="connsiteX61" fmla="*/ 418176 w 1200744"/>
                  <a:gd name="connsiteY61" fmla="*/ 561418 h 1046508"/>
                  <a:gd name="connsiteX62" fmla="*/ 392350 w 1200744"/>
                  <a:gd name="connsiteY62" fmla="*/ 575897 h 1046508"/>
                  <a:gd name="connsiteX63" fmla="*/ 384326 w 1200744"/>
                  <a:gd name="connsiteY63" fmla="*/ 604396 h 1046508"/>
                  <a:gd name="connsiteX64" fmla="*/ 398804 w 1200744"/>
                  <a:gd name="connsiteY64" fmla="*/ 630221 h 1046508"/>
                  <a:gd name="connsiteX65" fmla="*/ 427304 w 1200744"/>
                  <a:gd name="connsiteY65" fmla="*/ 638245 h 1046508"/>
                  <a:gd name="connsiteX66" fmla="*/ 1104900 w 1200744"/>
                  <a:gd name="connsiteY66" fmla="*/ 557742 h 1046508"/>
                  <a:gd name="connsiteX67" fmla="*/ 1104900 w 1200744"/>
                  <a:gd name="connsiteY67" fmla="*/ 558713 h 1046508"/>
                  <a:gd name="connsiteX68" fmla="*/ 1157491 w 1200744"/>
                  <a:gd name="connsiteY68" fmla="*/ 552464 h 1046508"/>
                  <a:gd name="connsiteX69" fmla="*/ 1200469 w 1200744"/>
                  <a:gd name="connsiteY69" fmla="*/ 586314 h 1046508"/>
                  <a:gd name="connsiteX70" fmla="*/ 1200468 w 1200744"/>
                  <a:gd name="connsiteY70" fmla="*/ 586314 h 1046508"/>
                  <a:gd name="connsiteX71" fmla="*/ 1166618 w 1200744"/>
                  <a:gd name="connsiteY71" fmla="*/ 629292 h 1046508"/>
                  <a:gd name="connsiteX72" fmla="*/ 1104900 w 1200744"/>
                  <a:gd name="connsiteY72" fmla="*/ 636624 h 1046508"/>
                  <a:gd name="connsiteX73" fmla="*/ 1104900 w 1200744"/>
                  <a:gd name="connsiteY73" fmla="*/ 817908 h 1046508"/>
                  <a:gd name="connsiteX74" fmla="*/ 971550 w 1200744"/>
                  <a:gd name="connsiteY74" fmla="*/ 946496 h 1046508"/>
                  <a:gd name="connsiteX75" fmla="*/ 752889 w 1200744"/>
                  <a:gd name="connsiteY75" fmla="*/ 946496 h 1046508"/>
                  <a:gd name="connsiteX76" fmla="*/ 749140 w 1200744"/>
                  <a:gd name="connsiteY76" fmla="*/ 965065 h 1046508"/>
                  <a:gd name="connsiteX77" fmla="*/ 626271 w 1200744"/>
                  <a:gd name="connsiteY77" fmla="*/ 1046508 h 1046508"/>
                  <a:gd name="connsiteX78" fmla="*/ 533770 w 1200744"/>
                  <a:gd name="connsiteY78" fmla="*/ 1046508 h 1046508"/>
                  <a:gd name="connsiteX79" fmla="*/ 410901 w 1200744"/>
                  <a:gd name="connsiteY79" fmla="*/ 965065 h 1046508"/>
                  <a:gd name="connsiteX80" fmla="*/ 407153 w 1200744"/>
                  <a:gd name="connsiteY80" fmla="*/ 946496 h 1046508"/>
                  <a:gd name="connsiteX81" fmla="*/ 190500 w 1200744"/>
                  <a:gd name="connsiteY81" fmla="*/ 946496 h 1046508"/>
                  <a:gd name="connsiteX82" fmla="*/ 59532 w 1200744"/>
                  <a:gd name="connsiteY82" fmla="*/ 825052 h 1046508"/>
                  <a:gd name="connsiteX83" fmla="*/ 59432 w 1200744"/>
                  <a:gd name="connsiteY83" fmla="*/ 710643 h 1046508"/>
                  <a:gd name="connsiteX84" fmla="*/ 48816 w 1200744"/>
                  <a:gd name="connsiteY84" fmla="*/ 710643 h 1046508"/>
                  <a:gd name="connsiteX85" fmla="*/ 14298 w 1200744"/>
                  <a:gd name="connsiteY85" fmla="*/ 696345 h 1046508"/>
                  <a:gd name="connsiteX86" fmla="*/ 0 w 1200744"/>
                  <a:gd name="connsiteY86" fmla="*/ 661828 h 1046508"/>
                  <a:gd name="connsiteX87" fmla="*/ 14298 w 1200744"/>
                  <a:gd name="connsiteY87" fmla="*/ 627310 h 1046508"/>
                  <a:gd name="connsiteX88" fmla="*/ 48816 w 1200744"/>
                  <a:gd name="connsiteY88" fmla="*/ 613012 h 1046508"/>
                  <a:gd name="connsiteX89" fmla="*/ 59346 w 1200744"/>
                  <a:gd name="connsiteY89" fmla="*/ 613012 h 1046508"/>
                  <a:gd name="connsiteX90" fmla="*/ 59247 w 1200744"/>
                  <a:gd name="connsiteY90" fmla="*/ 501147 h 1046508"/>
                  <a:gd name="connsiteX91" fmla="*/ 48816 w 1200744"/>
                  <a:gd name="connsiteY91" fmla="*/ 501147 h 1046508"/>
                  <a:gd name="connsiteX92" fmla="*/ 14298 w 1200744"/>
                  <a:gd name="connsiteY92" fmla="*/ 486849 h 1046508"/>
                  <a:gd name="connsiteX93" fmla="*/ 0 w 1200744"/>
                  <a:gd name="connsiteY93" fmla="*/ 452332 h 1046508"/>
                  <a:gd name="connsiteX94" fmla="*/ 14298 w 1200744"/>
                  <a:gd name="connsiteY94" fmla="*/ 417814 h 1046508"/>
                  <a:gd name="connsiteX95" fmla="*/ 48816 w 1200744"/>
                  <a:gd name="connsiteY95" fmla="*/ 403516 h 1046508"/>
                  <a:gd name="connsiteX96" fmla="*/ 59161 w 1200744"/>
                  <a:gd name="connsiteY96" fmla="*/ 403516 h 1046508"/>
                  <a:gd name="connsiteX97" fmla="*/ 59063 w 1200744"/>
                  <a:gd name="connsiteY97" fmla="*/ 291651 h 1046508"/>
                  <a:gd name="connsiteX98" fmla="*/ 48816 w 1200744"/>
                  <a:gd name="connsiteY98" fmla="*/ 291651 h 1046508"/>
                  <a:gd name="connsiteX99" fmla="*/ 14298 w 1200744"/>
                  <a:gd name="connsiteY99" fmla="*/ 277353 h 1046508"/>
                  <a:gd name="connsiteX100" fmla="*/ 0 w 1200744"/>
                  <a:gd name="connsiteY100" fmla="*/ 242836 h 1046508"/>
                  <a:gd name="connsiteX101" fmla="*/ 14298 w 1200744"/>
                  <a:gd name="connsiteY101" fmla="*/ 208318 h 1046508"/>
                  <a:gd name="connsiteX102" fmla="*/ 48816 w 1200744"/>
                  <a:gd name="connsiteY102" fmla="*/ 194020 h 1046508"/>
                  <a:gd name="connsiteX103" fmla="*/ 58977 w 1200744"/>
                  <a:gd name="connsiteY103" fmla="*/ 194020 h 1046508"/>
                  <a:gd name="connsiteX104" fmla="*/ 58806 w 1200744"/>
                  <a:gd name="connsiteY104"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792956 w 1200744"/>
                  <a:gd name="connsiteY49" fmla="*/ 387635 h 1046508"/>
                  <a:gd name="connsiteX50" fmla="*/ 1157493 w 1200744"/>
                  <a:gd name="connsiteY50" fmla="*/ 347675 h 1046508"/>
                  <a:gd name="connsiteX51" fmla="*/ 1200471 w 1200744"/>
                  <a:gd name="connsiteY51" fmla="*/ 381525 h 1046508"/>
                  <a:gd name="connsiteX52" fmla="*/ 1200470 w 1200744"/>
                  <a:gd name="connsiteY52" fmla="*/ 381526 h 1046508"/>
                  <a:gd name="connsiteX53" fmla="*/ 1166620 w 1200744"/>
                  <a:gd name="connsiteY53" fmla="*/ 424503 h 1046508"/>
                  <a:gd name="connsiteX54" fmla="*/ 883444 w 1200744"/>
                  <a:gd name="connsiteY54" fmla="*/ 458146 h 1046508"/>
                  <a:gd name="connsiteX55" fmla="*/ 883444 w 1200744"/>
                  <a:gd name="connsiteY55" fmla="*/ 506141 h 1046508"/>
                  <a:gd name="connsiteX56" fmla="*/ 792956 w 1200744"/>
                  <a:gd name="connsiteY56" fmla="*/ 516892 h 1046508"/>
                  <a:gd name="connsiteX57" fmla="*/ 792956 w 1200744"/>
                  <a:gd name="connsiteY57" fmla="*/ 468897 h 1046508"/>
                  <a:gd name="connsiteX58" fmla="*/ 688181 w 1200744"/>
                  <a:gd name="connsiteY58" fmla="*/ 481345 h 1046508"/>
                  <a:gd name="connsiteX59" fmla="*/ 688181 w 1200744"/>
                  <a:gd name="connsiteY59" fmla="*/ 529340 h 1046508"/>
                  <a:gd name="connsiteX60" fmla="*/ 418176 w 1200744"/>
                  <a:gd name="connsiteY60" fmla="*/ 561418 h 1046508"/>
                  <a:gd name="connsiteX61" fmla="*/ 392350 w 1200744"/>
                  <a:gd name="connsiteY61" fmla="*/ 575897 h 1046508"/>
                  <a:gd name="connsiteX62" fmla="*/ 384326 w 1200744"/>
                  <a:gd name="connsiteY62" fmla="*/ 604396 h 1046508"/>
                  <a:gd name="connsiteX63" fmla="*/ 398804 w 1200744"/>
                  <a:gd name="connsiteY63" fmla="*/ 630221 h 1046508"/>
                  <a:gd name="connsiteX64" fmla="*/ 427304 w 1200744"/>
                  <a:gd name="connsiteY64" fmla="*/ 638245 h 1046508"/>
                  <a:gd name="connsiteX65" fmla="*/ 1104900 w 1200744"/>
                  <a:gd name="connsiteY65" fmla="*/ 557742 h 1046508"/>
                  <a:gd name="connsiteX66" fmla="*/ 1104900 w 1200744"/>
                  <a:gd name="connsiteY66" fmla="*/ 558713 h 1046508"/>
                  <a:gd name="connsiteX67" fmla="*/ 1157491 w 1200744"/>
                  <a:gd name="connsiteY67" fmla="*/ 552464 h 1046508"/>
                  <a:gd name="connsiteX68" fmla="*/ 1200469 w 1200744"/>
                  <a:gd name="connsiteY68" fmla="*/ 586314 h 1046508"/>
                  <a:gd name="connsiteX69" fmla="*/ 1200468 w 1200744"/>
                  <a:gd name="connsiteY69" fmla="*/ 586314 h 1046508"/>
                  <a:gd name="connsiteX70" fmla="*/ 1166618 w 1200744"/>
                  <a:gd name="connsiteY70" fmla="*/ 629292 h 1046508"/>
                  <a:gd name="connsiteX71" fmla="*/ 1104900 w 1200744"/>
                  <a:gd name="connsiteY71" fmla="*/ 636624 h 1046508"/>
                  <a:gd name="connsiteX72" fmla="*/ 1104900 w 1200744"/>
                  <a:gd name="connsiteY72" fmla="*/ 817908 h 1046508"/>
                  <a:gd name="connsiteX73" fmla="*/ 971550 w 1200744"/>
                  <a:gd name="connsiteY73" fmla="*/ 946496 h 1046508"/>
                  <a:gd name="connsiteX74" fmla="*/ 752889 w 1200744"/>
                  <a:gd name="connsiteY74" fmla="*/ 946496 h 1046508"/>
                  <a:gd name="connsiteX75" fmla="*/ 749140 w 1200744"/>
                  <a:gd name="connsiteY75" fmla="*/ 965065 h 1046508"/>
                  <a:gd name="connsiteX76" fmla="*/ 626271 w 1200744"/>
                  <a:gd name="connsiteY76" fmla="*/ 1046508 h 1046508"/>
                  <a:gd name="connsiteX77" fmla="*/ 533770 w 1200744"/>
                  <a:gd name="connsiteY77" fmla="*/ 1046508 h 1046508"/>
                  <a:gd name="connsiteX78" fmla="*/ 410901 w 1200744"/>
                  <a:gd name="connsiteY78" fmla="*/ 965065 h 1046508"/>
                  <a:gd name="connsiteX79" fmla="*/ 407153 w 1200744"/>
                  <a:gd name="connsiteY79" fmla="*/ 946496 h 1046508"/>
                  <a:gd name="connsiteX80" fmla="*/ 190500 w 1200744"/>
                  <a:gd name="connsiteY80" fmla="*/ 946496 h 1046508"/>
                  <a:gd name="connsiteX81" fmla="*/ 59532 w 1200744"/>
                  <a:gd name="connsiteY81" fmla="*/ 825052 h 1046508"/>
                  <a:gd name="connsiteX82" fmla="*/ 59432 w 1200744"/>
                  <a:gd name="connsiteY82" fmla="*/ 710643 h 1046508"/>
                  <a:gd name="connsiteX83" fmla="*/ 48816 w 1200744"/>
                  <a:gd name="connsiteY83" fmla="*/ 710643 h 1046508"/>
                  <a:gd name="connsiteX84" fmla="*/ 14298 w 1200744"/>
                  <a:gd name="connsiteY84" fmla="*/ 696345 h 1046508"/>
                  <a:gd name="connsiteX85" fmla="*/ 0 w 1200744"/>
                  <a:gd name="connsiteY85" fmla="*/ 661828 h 1046508"/>
                  <a:gd name="connsiteX86" fmla="*/ 14298 w 1200744"/>
                  <a:gd name="connsiteY86" fmla="*/ 627310 h 1046508"/>
                  <a:gd name="connsiteX87" fmla="*/ 48816 w 1200744"/>
                  <a:gd name="connsiteY87" fmla="*/ 613012 h 1046508"/>
                  <a:gd name="connsiteX88" fmla="*/ 59346 w 1200744"/>
                  <a:gd name="connsiteY88" fmla="*/ 613012 h 1046508"/>
                  <a:gd name="connsiteX89" fmla="*/ 59247 w 1200744"/>
                  <a:gd name="connsiteY89" fmla="*/ 501147 h 1046508"/>
                  <a:gd name="connsiteX90" fmla="*/ 48816 w 1200744"/>
                  <a:gd name="connsiteY90" fmla="*/ 501147 h 1046508"/>
                  <a:gd name="connsiteX91" fmla="*/ 14298 w 1200744"/>
                  <a:gd name="connsiteY91" fmla="*/ 486849 h 1046508"/>
                  <a:gd name="connsiteX92" fmla="*/ 0 w 1200744"/>
                  <a:gd name="connsiteY92" fmla="*/ 452332 h 1046508"/>
                  <a:gd name="connsiteX93" fmla="*/ 14298 w 1200744"/>
                  <a:gd name="connsiteY93" fmla="*/ 417814 h 1046508"/>
                  <a:gd name="connsiteX94" fmla="*/ 48816 w 1200744"/>
                  <a:gd name="connsiteY94" fmla="*/ 403516 h 1046508"/>
                  <a:gd name="connsiteX95" fmla="*/ 59161 w 1200744"/>
                  <a:gd name="connsiteY95" fmla="*/ 403516 h 1046508"/>
                  <a:gd name="connsiteX96" fmla="*/ 59063 w 1200744"/>
                  <a:gd name="connsiteY96" fmla="*/ 291651 h 1046508"/>
                  <a:gd name="connsiteX97" fmla="*/ 48816 w 1200744"/>
                  <a:gd name="connsiteY97" fmla="*/ 291651 h 1046508"/>
                  <a:gd name="connsiteX98" fmla="*/ 14298 w 1200744"/>
                  <a:gd name="connsiteY98" fmla="*/ 277353 h 1046508"/>
                  <a:gd name="connsiteX99" fmla="*/ 0 w 1200744"/>
                  <a:gd name="connsiteY99" fmla="*/ 242836 h 1046508"/>
                  <a:gd name="connsiteX100" fmla="*/ 14298 w 1200744"/>
                  <a:gd name="connsiteY100" fmla="*/ 208318 h 1046508"/>
                  <a:gd name="connsiteX101" fmla="*/ 48816 w 1200744"/>
                  <a:gd name="connsiteY101" fmla="*/ 194020 h 1046508"/>
                  <a:gd name="connsiteX102" fmla="*/ 58977 w 1200744"/>
                  <a:gd name="connsiteY102" fmla="*/ 194020 h 1046508"/>
                  <a:gd name="connsiteX103" fmla="*/ 58806 w 1200744"/>
                  <a:gd name="connsiteY103"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1157493 w 1200744"/>
                  <a:gd name="connsiteY49" fmla="*/ 347675 h 1046508"/>
                  <a:gd name="connsiteX50" fmla="*/ 1200471 w 1200744"/>
                  <a:gd name="connsiteY50" fmla="*/ 381525 h 1046508"/>
                  <a:gd name="connsiteX51" fmla="*/ 1200470 w 1200744"/>
                  <a:gd name="connsiteY51" fmla="*/ 381526 h 1046508"/>
                  <a:gd name="connsiteX52" fmla="*/ 1166620 w 1200744"/>
                  <a:gd name="connsiteY52" fmla="*/ 424503 h 1046508"/>
                  <a:gd name="connsiteX53" fmla="*/ 883444 w 1200744"/>
                  <a:gd name="connsiteY53" fmla="*/ 458146 h 1046508"/>
                  <a:gd name="connsiteX54" fmla="*/ 883444 w 1200744"/>
                  <a:gd name="connsiteY54" fmla="*/ 506141 h 1046508"/>
                  <a:gd name="connsiteX55" fmla="*/ 792956 w 1200744"/>
                  <a:gd name="connsiteY55" fmla="*/ 516892 h 1046508"/>
                  <a:gd name="connsiteX56" fmla="*/ 792956 w 1200744"/>
                  <a:gd name="connsiteY56" fmla="*/ 468897 h 1046508"/>
                  <a:gd name="connsiteX57" fmla="*/ 688181 w 1200744"/>
                  <a:gd name="connsiteY57" fmla="*/ 481345 h 1046508"/>
                  <a:gd name="connsiteX58" fmla="*/ 688181 w 1200744"/>
                  <a:gd name="connsiteY58" fmla="*/ 529340 h 1046508"/>
                  <a:gd name="connsiteX59" fmla="*/ 418176 w 1200744"/>
                  <a:gd name="connsiteY59" fmla="*/ 561418 h 1046508"/>
                  <a:gd name="connsiteX60" fmla="*/ 392350 w 1200744"/>
                  <a:gd name="connsiteY60" fmla="*/ 575897 h 1046508"/>
                  <a:gd name="connsiteX61" fmla="*/ 384326 w 1200744"/>
                  <a:gd name="connsiteY61" fmla="*/ 604396 h 1046508"/>
                  <a:gd name="connsiteX62" fmla="*/ 398804 w 1200744"/>
                  <a:gd name="connsiteY62" fmla="*/ 630221 h 1046508"/>
                  <a:gd name="connsiteX63" fmla="*/ 427304 w 1200744"/>
                  <a:gd name="connsiteY63" fmla="*/ 638245 h 1046508"/>
                  <a:gd name="connsiteX64" fmla="*/ 1104900 w 1200744"/>
                  <a:gd name="connsiteY64" fmla="*/ 557742 h 1046508"/>
                  <a:gd name="connsiteX65" fmla="*/ 1104900 w 1200744"/>
                  <a:gd name="connsiteY65" fmla="*/ 558713 h 1046508"/>
                  <a:gd name="connsiteX66" fmla="*/ 1157491 w 1200744"/>
                  <a:gd name="connsiteY66" fmla="*/ 552464 h 1046508"/>
                  <a:gd name="connsiteX67" fmla="*/ 1200469 w 1200744"/>
                  <a:gd name="connsiteY67" fmla="*/ 586314 h 1046508"/>
                  <a:gd name="connsiteX68" fmla="*/ 1200468 w 1200744"/>
                  <a:gd name="connsiteY68" fmla="*/ 586314 h 1046508"/>
                  <a:gd name="connsiteX69" fmla="*/ 1166618 w 1200744"/>
                  <a:gd name="connsiteY69" fmla="*/ 629292 h 1046508"/>
                  <a:gd name="connsiteX70" fmla="*/ 1104900 w 1200744"/>
                  <a:gd name="connsiteY70" fmla="*/ 636624 h 1046508"/>
                  <a:gd name="connsiteX71" fmla="*/ 1104900 w 1200744"/>
                  <a:gd name="connsiteY71" fmla="*/ 817908 h 1046508"/>
                  <a:gd name="connsiteX72" fmla="*/ 971550 w 1200744"/>
                  <a:gd name="connsiteY72" fmla="*/ 946496 h 1046508"/>
                  <a:gd name="connsiteX73" fmla="*/ 752889 w 1200744"/>
                  <a:gd name="connsiteY73" fmla="*/ 946496 h 1046508"/>
                  <a:gd name="connsiteX74" fmla="*/ 749140 w 1200744"/>
                  <a:gd name="connsiteY74" fmla="*/ 965065 h 1046508"/>
                  <a:gd name="connsiteX75" fmla="*/ 626271 w 1200744"/>
                  <a:gd name="connsiteY75" fmla="*/ 1046508 h 1046508"/>
                  <a:gd name="connsiteX76" fmla="*/ 533770 w 1200744"/>
                  <a:gd name="connsiteY76" fmla="*/ 1046508 h 1046508"/>
                  <a:gd name="connsiteX77" fmla="*/ 410901 w 1200744"/>
                  <a:gd name="connsiteY77" fmla="*/ 965065 h 1046508"/>
                  <a:gd name="connsiteX78" fmla="*/ 407153 w 1200744"/>
                  <a:gd name="connsiteY78" fmla="*/ 946496 h 1046508"/>
                  <a:gd name="connsiteX79" fmla="*/ 190500 w 1200744"/>
                  <a:gd name="connsiteY79" fmla="*/ 946496 h 1046508"/>
                  <a:gd name="connsiteX80" fmla="*/ 59532 w 1200744"/>
                  <a:gd name="connsiteY80" fmla="*/ 825052 h 1046508"/>
                  <a:gd name="connsiteX81" fmla="*/ 59432 w 1200744"/>
                  <a:gd name="connsiteY81" fmla="*/ 710643 h 1046508"/>
                  <a:gd name="connsiteX82" fmla="*/ 48816 w 1200744"/>
                  <a:gd name="connsiteY82" fmla="*/ 710643 h 1046508"/>
                  <a:gd name="connsiteX83" fmla="*/ 14298 w 1200744"/>
                  <a:gd name="connsiteY83" fmla="*/ 696345 h 1046508"/>
                  <a:gd name="connsiteX84" fmla="*/ 0 w 1200744"/>
                  <a:gd name="connsiteY84" fmla="*/ 661828 h 1046508"/>
                  <a:gd name="connsiteX85" fmla="*/ 14298 w 1200744"/>
                  <a:gd name="connsiteY85" fmla="*/ 627310 h 1046508"/>
                  <a:gd name="connsiteX86" fmla="*/ 48816 w 1200744"/>
                  <a:gd name="connsiteY86" fmla="*/ 613012 h 1046508"/>
                  <a:gd name="connsiteX87" fmla="*/ 59346 w 1200744"/>
                  <a:gd name="connsiteY87" fmla="*/ 613012 h 1046508"/>
                  <a:gd name="connsiteX88" fmla="*/ 59247 w 1200744"/>
                  <a:gd name="connsiteY88" fmla="*/ 501147 h 1046508"/>
                  <a:gd name="connsiteX89" fmla="*/ 48816 w 1200744"/>
                  <a:gd name="connsiteY89" fmla="*/ 501147 h 1046508"/>
                  <a:gd name="connsiteX90" fmla="*/ 14298 w 1200744"/>
                  <a:gd name="connsiteY90" fmla="*/ 486849 h 1046508"/>
                  <a:gd name="connsiteX91" fmla="*/ 0 w 1200744"/>
                  <a:gd name="connsiteY91" fmla="*/ 452332 h 1046508"/>
                  <a:gd name="connsiteX92" fmla="*/ 14298 w 1200744"/>
                  <a:gd name="connsiteY92" fmla="*/ 417814 h 1046508"/>
                  <a:gd name="connsiteX93" fmla="*/ 48816 w 1200744"/>
                  <a:gd name="connsiteY93" fmla="*/ 403516 h 1046508"/>
                  <a:gd name="connsiteX94" fmla="*/ 59161 w 1200744"/>
                  <a:gd name="connsiteY94" fmla="*/ 403516 h 1046508"/>
                  <a:gd name="connsiteX95" fmla="*/ 59063 w 1200744"/>
                  <a:gd name="connsiteY95" fmla="*/ 291651 h 1046508"/>
                  <a:gd name="connsiteX96" fmla="*/ 48816 w 1200744"/>
                  <a:gd name="connsiteY96" fmla="*/ 291651 h 1046508"/>
                  <a:gd name="connsiteX97" fmla="*/ 14298 w 1200744"/>
                  <a:gd name="connsiteY97" fmla="*/ 277353 h 1046508"/>
                  <a:gd name="connsiteX98" fmla="*/ 0 w 1200744"/>
                  <a:gd name="connsiteY98" fmla="*/ 242836 h 1046508"/>
                  <a:gd name="connsiteX99" fmla="*/ 14298 w 1200744"/>
                  <a:gd name="connsiteY99" fmla="*/ 208318 h 1046508"/>
                  <a:gd name="connsiteX100" fmla="*/ 48816 w 1200744"/>
                  <a:gd name="connsiteY100" fmla="*/ 194020 h 1046508"/>
                  <a:gd name="connsiteX101" fmla="*/ 58977 w 1200744"/>
                  <a:gd name="connsiteY101" fmla="*/ 194020 h 1046508"/>
                  <a:gd name="connsiteX102" fmla="*/ 58806 w 1200744"/>
                  <a:gd name="connsiteY102"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1157493 w 1200744"/>
                  <a:gd name="connsiteY48" fmla="*/ 347675 h 1046508"/>
                  <a:gd name="connsiteX49" fmla="*/ 1200471 w 1200744"/>
                  <a:gd name="connsiteY49" fmla="*/ 381525 h 1046508"/>
                  <a:gd name="connsiteX50" fmla="*/ 1200470 w 1200744"/>
                  <a:gd name="connsiteY50" fmla="*/ 381526 h 1046508"/>
                  <a:gd name="connsiteX51" fmla="*/ 1166620 w 1200744"/>
                  <a:gd name="connsiteY51" fmla="*/ 424503 h 1046508"/>
                  <a:gd name="connsiteX52" fmla="*/ 883444 w 1200744"/>
                  <a:gd name="connsiteY52" fmla="*/ 458146 h 1046508"/>
                  <a:gd name="connsiteX53" fmla="*/ 883444 w 1200744"/>
                  <a:gd name="connsiteY53" fmla="*/ 506141 h 1046508"/>
                  <a:gd name="connsiteX54" fmla="*/ 792956 w 1200744"/>
                  <a:gd name="connsiteY54" fmla="*/ 516892 h 1046508"/>
                  <a:gd name="connsiteX55" fmla="*/ 792956 w 1200744"/>
                  <a:gd name="connsiteY55" fmla="*/ 468897 h 1046508"/>
                  <a:gd name="connsiteX56" fmla="*/ 688181 w 1200744"/>
                  <a:gd name="connsiteY56" fmla="*/ 481345 h 1046508"/>
                  <a:gd name="connsiteX57" fmla="*/ 688181 w 1200744"/>
                  <a:gd name="connsiteY57" fmla="*/ 529340 h 1046508"/>
                  <a:gd name="connsiteX58" fmla="*/ 418176 w 1200744"/>
                  <a:gd name="connsiteY58" fmla="*/ 561418 h 1046508"/>
                  <a:gd name="connsiteX59" fmla="*/ 392350 w 1200744"/>
                  <a:gd name="connsiteY59" fmla="*/ 575897 h 1046508"/>
                  <a:gd name="connsiteX60" fmla="*/ 384326 w 1200744"/>
                  <a:gd name="connsiteY60" fmla="*/ 604396 h 1046508"/>
                  <a:gd name="connsiteX61" fmla="*/ 398804 w 1200744"/>
                  <a:gd name="connsiteY61" fmla="*/ 630221 h 1046508"/>
                  <a:gd name="connsiteX62" fmla="*/ 427304 w 1200744"/>
                  <a:gd name="connsiteY62" fmla="*/ 638245 h 1046508"/>
                  <a:gd name="connsiteX63" fmla="*/ 1104900 w 1200744"/>
                  <a:gd name="connsiteY63" fmla="*/ 557742 h 1046508"/>
                  <a:gd name="connsiteX64" fmla="*/ 1104900 w 1200744"/>
                  <a:gd name="connsiteY64" fmla="*/ 558713 h 1046508"/>
                  <a:gd name="connsiteX65" fmla="*/ 1157491 w 1200744"/>
                  <a:gd name="connsiteY65" fmla="*/ 552464 h 1046508"/>
                  <a:gd name="connsiteX66" fmla="*/ 1200469 w 1200744"/>
                  <a:gd name="connsiteY66" fmla="*/ 586314 h 1046508"/>
                  <a:gd name="connsiteX67" fmla="*/ 1200468 w 1200744"/>
                  <a:gd name="connsiteY67" fmla="*/ 586314 h 1046508"/>
                  <a:gd name="connsiteX68" fmla="*/ 1166618 w 1200744"/>
                  <a:gd name="connsiteY68" fmla="*/ 629292 h 1046508"/>
                  <a:gd name="connsiteX69" fmla="*/ 1104900 w 1200744"/>
                  <a:gd name="connsiteY69" fmla="*/ 636624 h 1046508"/>
                  <a:gd name="connsiteX70" fmla="*/ 1104900 w 1200744"/>
                  <a:gd name="connsiteY70" fmla="*/ 817908 h 1046508"/>
                  <a:gd name="connsiteX71" fmla="*/ 971550 w 1200744"/>
                  <a:gd name="connsiteY71" fmla="*/ 946496 h 1046508"/>
                  <a:gd name="connsiteX72" fmla="*/ 752889 w 1200744"/>
                  <a:gd name="connsiteY72" fmla="*/ 946496 h 1046508"/>
                  <a:gd name="connsiteX73" fmla="*/ 749140 w 1200744"/>
                  <a:gd name="connsiteY73" fmla="*/ 965065 h 1046508"/>
                  <a:gd name="connsiteX74" fmla="*/ 626271 w 1200744"/>
                  <a:gd name="connsiteY74" fmla="*/ 1046508 h 1046508"/>
                  <a:gd name="connsiteX75" fmla="*/ 533770 w 1200744"/>
                  <a:gd name="connsiteY75" fmla="*/ 1046508 h 1046508"/>
                  <a:gd name="connsiteX76" fmla="*/ 410901 w 1200744"/>
                  <a:gd name="connsiteY76" fmla="*/ 965065 h 1046508"/>
                  <a:gd name="connsiteX77" fmla="*/ 407153 w 1200744"/>
                  <a:gd name="connsiteY77" fmla="*/ 946496 h 1046508"/>
                  <a:gd name="connsiteX78" fmla="*/ 190500 w 1200744"/>
                  <a:gd name="connsiteY78" fmla="*/ 946496 h 1046508"/>
                  <a:gd name="connsiteX79" fmla="*/ 59532 w 1200744"/>
                  <a:gd name="connsiteY79" fmla="*/ 825052 h 1046508"/>
                  <a:gd name="connsiteX80" fmla="*/ 59432 w 1200744"/>
                  <a:gd name="connsiteY80" fmla="*/ 710643 h 1046508"/>
                  <a:gd name="connsiteX81" fmla="*/ 48816 w 1200744"/>
                  <a:gd name="connsiteY81" fmla="*/ 710643 h 1046508"/>
                  <a:gd name="connsiteX82" fmla="*/ 14298 w 1200744"/>
                  <a:gd name="connsiteY82" fmla="*/ 696345 h 1046508"/>
                  <a:gd name="connsiteX83" fmla="*/ 0 w 1200744"/>
                  <a:gd name="connsiteY83" fmla="*/ 661828 h 1046508"/>
                  <a:gd name="connsiteX84" fmla="*/ 14298 w 1200744"/>
                  <a:gd name="connsiteY84" fmla="*/ 627310 h 1046508"/>
                  <a:gd name="connsiteX85" fmla="*/ 48816 w 1200744"/>
                  <a:gd name="connsiteY85" fmla="*/ 613012 h 1046508"/>
                  <a:gd name="connsiteX86" fmla="*/ 59346 w 1200744"/>
                  <a:gd name="connsiteY86" fmla="*/ 613012 h 1046508"/>
                  <a:gd name="connsiteX87" fmla="*/ 59247 w 1200744"/>
                  <a:gd name="connsiteY87" fmla="*/ 501147 h 1046508"/>
                  <a:gd name="connsiteX88" fmla="*/ 48816 w 1200744"/>
                  <a:gd name="connsiteY88" fmla="*/ 501147 h 1046508"/>
                  <a:gd name="connsiteX89" fmla="*/ 14298 w 1200744"/>
                  <a:gd name="connsiteY89" fmla="*/ 486849 h 1046508"/>
                  <a:gd name="connsiteX90" fmla="*/ 0 w 1200744"/>
                  <a:gd name="connsiteY90" fmla="*/ 452332 h 1046508"/>
                  <a:gd name="connsiteX91" fmla="*/ 14298 w 1200744"/>
                  <a:gd name="connsiteY91" fmla="*/ 417814 h 1046508"/>
                  <a:gd name="connsiteX92" fmla="*/ 48816 w 1200744"/>
                  <a:gd name="connsiteY92" fmla="*/ 403516 h 1046508"/>
                  <a:gd name="connsiteX93" fmla="*/ 59161 w 1200744"/>
                  <a:gd name="connsiteY93" fmla="*/ 403516 h 1046508"/>
                  <a:gd name="connsiteX94" fmla="*/ 59063 w 1200744"/>
                  <a:gd name="connsiteY94" fmla="*/ 291651 h 1046508"/>
                  <a:gd name="connsiteX95" fmla="*/ 48816 w 1200744"/>
                  <a:gd name="connsiteY95" fmla="*/ 291651 h 1046508"/>
                  <a:gd name="connsiteX96" fmla="*/ 14298 w 1200744"/>
                  <a:gd name="connsiteY96" fmla="*/ 277353 h 1046508"/>
                  <a:gd name="connsiteX97" fmla="*/ 0 w 1200744"/>
                  <a:gd name="connsiteY97" fmla="*/ 242836 h 1046508"/>
                  <a:gd name="connsiteX98" fmla="*/ 14298 w 1200744"/>
                  <a:gd name="connsiteY98" fmla="*/ 208318 h 1046508"/>
                  <a:gd name="connsiteX99" fmla="*/ 48816 w 1200744"/>
                  <a:gd name="connsiteY99" fmla="*/ 194020 h 1046508"/>
                  <a:gd name="connsiteX100" fmla="*/ 58977 w 1200744"/>
                  <a:gd name="connsiteY100" fmla="*/ 194020 h 1046508"/>
                  <a:gd name="connsiteX101" fmla="*/ 58806 w 1200744"/>
                  <a:gd name="connsiteY101"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1157493 w 1200744"/>
                  <a:gd name="connsiteY47" fmla="*/ 347675 h 1046508"/>
                  <a:gd name="connsiteX48" fmla="*/ 1200471 w 1200744"/>
                  <a:gd name="connsiteY48" fmla="*/ 381525 h 1046508"/>
                  <a:gd name="connsiteX49" fmla="*/ 1200470 w 1200744"/>
                  <a:gd name="connsiteY49" fmla="*/ 381526 h 1046508"/>
                  <a:gd name="connsiteX50" fmla="*/ 1166620 w 1200744"/>
                  <a:gd name="connsiteY50" fmla="*/ 424503 h 1046508"/>
                  <a:gd name="connsiteX51" fmla="*/ 883444 w 1200744"/>
                  <a:gd name="connsiteY51" fmla="*/ 458146 h 1046508"/>
                  <a:gd name="connsiteX52" fmla="*/ 883444 w 1200744"/>
                  <a:gd name="connsiteY52" fmla="*/ 506141 h 1046508"/>
                  <a:gd name="connsiteX53" fmla="*/ 792956 w 1200744"/>
                  <a:gd name="connsiteY53" fmla="*/ 516892 h 1046508"/>
                  <a:gd name="connsiteX54" fmla="*/ 792956 w 1200744"/>
                  <a:gd name="connsiteY54" fmla="*/ 468897 h 1046508"/>
                  <a:gd name="connsiteX55" fmla="*/ 688181 w 1200744"/>
                  <a:gd name="connsiteY55" fmla="*/ 481345 h 1046508"/>
                  <a:gd name="connsiteX56" fmla="*/ 688181 w 1200744"/>
                  <a:gd name="connsiteY56" fmla="*/ 529340 h 1046508"/>
                  <a:gd name="connsiteX57" fmla="*/ 418176 w 1200744"/>
                  <a:gd name="connsiteY57" fmla="*/ 561418 h 1046508"/>
                  <a:gd name="connsiteX58" fmla="*/ 392350 w 1200744"/>
                  <a:gd name="connsiteY58" fmla="*/ 575897 h 1046508"/>
                  <a:gd name="connsiteX59" fmla="*/ 384326 w 1200744"/>
                  <a:gd name="connsiteY59" fmla="*/ 604396 h 1046508"/>
                  <a:gd name="connsiteX60" fmla="*/ 398804 w 1200744"/>
                  <a:gd name="connsiteY60" fmla="*/ 630221 h 1046508"/>
                  <a:gd name="connsiteX61" fmla="*/ 427304 w 1200744"/>
                  <a:gd name="connsiteY61" fmla="*/ 638245 h 1046508"/>
                  <a:gd name="connsiteX62" fmla="*/ 1104900 w 1200744"/>
                  <a:gd name="connsiteY62" fmla="*/ 557742 h 1046508"/>
                  <a:gd name="connsiteX63" fmla="*/ 1104900 w 1200744"/>
                  <a:gd name="connsiteY63" fmla="*/ 558713 h 1046508"/>
                  <a:gd name="connsiteX64" fmla="*/ 1157491 w 1200744"/>
                  <a:gd name="connsiteY64" fmla="*/ 552464 h 1046508"/>
                  <a:gd name="connsiteX65" fmla="*/ 1200469 w 1200744"/>
                  <a:gd name="connsiteY65" fmla="*/ 586314 h 1046508"/>
                  <a:gd name="connsiteX66" fmla="*/ 1200468 w 1200744"/>
                  <a:gd name="connsiteY66" fmla="*/ 586314 h 1046508"/>
                  <a:gd name="connsiteX67" fmla="*/ 1166618 w 1200744"/>
                  <a:gd name="connsiteY67" fmla="*/ 629292 h 1046508"/>
                  <a:gd name="connsiteX68" fmla="*/ 1104900 w 1200744"/>
                  <a:gd name="connsiteY68" fmla="*/ 636624 h 1046508"/>
                  <a:gd name="connsiteX69" fmla="*/ 1104900 w 1200744"/>
                  <a:gd name="connsiteY69" fmla="*/ 817908 h 1046508"/>
                  <a:gd name="connsiteX70" fmla="*/ 971550 w 1200744"/>
                  <a:gd name="connsiteY70" fmla="*/ 946496 h 1046508"/>
                  <a:gd name="connsiteX71" fmla="*/ 752889 w 1200744"/>
                  <a:gd name="connsiteY71" fmla="*/ 946496 h 1046508"/>
                  <a:gd name="connsiteX72" fmla="*/ 749140 w 1200744"/>
                  <a:gd name="connsiteY72" fmla="*/ 965065 h 1046508"/>
                  <a:gd name="connsiteX73" fmla="*/ 626271 w 1200744"/>
                  <a:gd name="connsiteY73" fmla="*/ 1046508 h 1046508"/>
                  <a:gd name="connsiteX74" fmla="*/ 533770 w 1200744"/>
                  <a:gd name="connsiteY74" fmla="*/ 1046508 h 1046508"/>
                  <a:gd name="connsiteX75" fmla="*/ 410901 w 1200744"/>
                  <a:gd name="connsiteY75" fmla="*/ 965065 h 1046508"/>
                  <a:gd name="connsiteX76" fmla="*/ 407153 w 1200744"/>
                  <a:gd name="connsiteY76" fmla="*/ 946496 h 1046508"/>
                  <a:gd name="connsiteX77" fmla="*/ 190500 w 1200744"/>
                  <a:gd name="connsiteY77" fmla="*/ 946496 h 1046508"/>
                  <a:gd name="connsiteX78" fmla="*/ 59532 w 1200744"/>
                  <a:gd name="connsiteY78" fmla="*/ 825052 h 1046508"/>
                  <a:gd name="connsiteX79" fmla="*/ 59432 w 1200744"/>
                  <a:gd name="connsiteY79" fmla="*/ 710643 h 1046508"/>
                  <a:gd name="connsiteX80" fmla="*/ 48816 w 1200744"/>
                  <a:gd name="connsiteY80" fmla="*/ 710643 h 1046508"/>
                  <a:gd name="connsiteX81" fmla="*/ 14298 w 1200744"/>
                  <a:gd name="connsiteY81" fmla="*/ 696345 h 1046508"/>
                  <a:gd name="connsiteX82" fmla="*/ 0 w 1200744"/>
                  <a:gd name="connsiteY82" fmla="*/ 661828 h 1046508"/>
                  <a:gd name="connsiteX83" fmla="*/ 14298 w 1200744"/>
                  <a:gd name="connsiteY83" fmla="*/ 627310 h 1046508"/>
                  <a:gd name="connsiteX84" fmla="*/ 48816 w 1200744"/>
                  <a:gd name="connsiteY84" fmla="*/ 613012 h 1046508"/>
                  <a:gd name="connsiteX85" fmla="*/ 59346 w 1200744"/>
                  <a:gd name="connsiteY85" fmla="*/ 613012 h 1046508"/>
                  <a:gd name="connsiteX86" fmla="*/ 59247 w 1200744"/>
                  <a:gd name="connsiteY86" fmla="*/ 501147 h 1046508"/>
                  <a:gd name="connsiteX87" fmla="*/ 48816 w 1200744"/>
                  <a:gd name="connsiteY87" fmla="*/ 501147 h 1046508"/>
                  <a:gd name="connsiteX88" fmla="*/ 14298 w 1200744"/>
                  <a:gd name="connsiteY88" fmla="*/ 486849 h 1046508"/>
                  <a:gd name="connsiteX89" fmla="*/ 0 w 1200744"/>
                  <a:gd name="connsiteY89" fmla="*/ 452332 h 1046508"/>
                  <a:gd name="connsiteX90" fmla="*/ 14298 w 1200744"/>
                  <a:gd name="connsiteY90" fmla="*/ 417814 h 1046508"/>
                  <a:gd name="connsiteX91" fmla="*/ 48816 w 1200744"/>
                  <a:gd name="connsiteY91" fmla="*/ 403516 h 1046508"/>
                  <a:gd name="connsiteX92" fmla="*/ 59161 w 1200744"/>
                  <a:gd name="connsiteY92" fmla="*/ 403516 h 1046508"/>
                  <a:gd name="connsiteX93" fmla="*/ 59063 w 1200744"/>
                  <a:gd name="connsiteY93" fmla="*/ 291651 h 1046508"/>
                  <a:gd name="connsiteX94" fmla="*/ 48816 w 1200744"/>
                  <a:gd name="connsiteY94" fmla="*/ 291651 h 1046508"/>
                  <a:gd name="connsiteX95" fmla="*/ 14298 w 1200744"/>
                  <a:gd name="connsiteY95" fmla="*/ 277353 h 1046508"/>
                  <a:gd name="connsiteX96" fmla="*/ 0 w 1200744"/>
                  <a:gd name="connsiteY96" fmla="*/ 242836 h 1046508"/>
                  <a:gd name="connsiteX97" fmla="*/ 14298 w 1200744"/>
                  <a:gd name="connsiteY97" fmla="*/ 208318 h 1046508"/>
                  <a:gd name="connsiteX98" fmla="*/ 48816 w 1200744"/>
                  <a:gd name="connsiteY98" fmla="*/ 194020 h 1046508"/>
                  <a:gd name="connsiteX99" fmla="*/ 58977 w 1200744"/>
                  <a:gd name="connsiteY99" fmla="*/ 194020 h 1046508"/>
                  <a:gd name="connsiteX100" fmla="*/ 58806 w 1200744"/>
                  <a:gd name="connsiteY100"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1157493 w 1200744"/>
                  <a:gd name="connsiteY46" fmla="*/ 347675 h 1046508"/>
                  <a:gd name="connsiteX47" fmla="*/ 1200471 w 1200744"/>
                  <a:gd name="connsiteY47" fmla="*/ 381525 h 1046508"/>
                  <a:gd name="connsiteX48" fmla="*/ 1200470 w 1200744"/>
                  <a:gd name="connsiteY48" fmla="*/ 381526 h 1046508"/>
                  <a:gd name="connsiteX49" fmla="*/ 1166620 w 1200744"/>
                  <a:gd name="connsiteY49" fmla="*/ 424503 h 1046508"/>
                  <a:gd name="connsiteX50" fmla="*/ 883444 w 1200744"/>
                  <a:gd name="connsiteY50" fmla="*/ 458146 h 1046508"/>
                  <a:gd name="connsiteX51" fmla="*/ 883444 w 1200744"/>
                  <a:gd name="connsiteY51" fmla="*/ 506141 h 1046508"/>
                  <a:gd name="connsiteX52" fmla="*/ 792956 w 1200744"/>
                  <a:gd name="connsiteY52" fmla="*/ 516892 h 1046508"/>
                  <a:gd name="connsiteX53" fmla="*/ 792956 w 1200744"/>
                  <a:gd name="connsiteY53" fmla="*/ 468897 h 1046508"/>
                  <a:gd name="connsiteX54" fmla="*/ 688181 w 1200744"/>
                  <a:gd name="connsiteY54" fmla="*/ 481345 h 1046508"/>
                  <a:gd name="connsiteX55" fmla="*/ 688181 w 1200744"/>
                  <a:gd name="connsiteY55" fmla="*/ 529340 h 1046508"/>
                  <a:gd name="connsiteX56" fmla="*/ 418176 w 1200744"/>
                  <a:gd name="connsiteY56" fmla="*/ 561418 h 1046508"/>
                  <a:gd name="connsiteX57" fmla="*/ 392350 w 1200744"/>
                  <a:gd name="connsiteY57" fmla="*/ 575897 h 1046508"/>
                  <a:gd name="connsiteX58" fmla="*/ 384326 w 1200744"/>
                  <a:gd name="connsiteY58" fmla="*/ 604396 h 1046508"/>
                  <a:gd name="connsiteX59" fmla="*/ 398804 w 1200744"/>
                  <a:gd name="connsiteY59" fmla="*/ 630221 h 1046508"/>
                  <a:gd name="connsiteX60" fmla="*/ 427304 w 1200744"/>
                  <a:gd name="connsiteY60" fmla="*/ 638245 h 1046508"/>
                  <a:gd name="connsiteX61" fmla="*/ 1104900 w 1200744"/>
                  <a:gd name="connsiteY61" fmla="*/ 557742 h 1046508"/>
                  <a:gd name="connsiteX62" fmla="*/ 1104900 w 1200744"/>
                  <a:gd name="connsiteY62" fmla="*/ 558713 h 1046508"/>
                  <a:gd name="connsiteX63" fmla="*/ 1157491 w 1200744"/>
                  <a:gd name="connsiteY63" fmla="*/ 552464 h 1046508"/>
                  <a:gd name="connsiteX64" fmla="*/ 1200469 w 1200744"/>
                  <a:gd name="connsiteY64" fmla="*/ 586314 h 1046508"/>
                  <a:gd name="connsiteX65" fmla="*/ 1200468 w 1200744"/>
                  <a:gd name="connsiteY65" fmla="*/ 586314 h 1046508"/>
                  <a:gd name="connsiteX66" fmla="*/ 1166618 w 1200744"/>
                  <a:gd name="connsiteY66" fmla="*/ 629292 h 1046508"/>
                  <a:gd name="connsiteX67" fmla="*/ 1104900 w 1200744"/>
                  <a:gd name="connsiteY67" fmla="*/ 636624 h 1046508"/>
                  <a:gd name="connsiteX68" fmla="*/ 1104900 w 1200744"/>
                  <a:gd name="connsiteY68" fmla="*/ 817908 h 1046508"/>
                  <a:gd name="connsiteX69" fmla="*/ 971550 w 1200744"/>
                  <a:gd name="connsiteY69" fmla="*/ 946496 h 1046508"/>
                  <a:gd name="connsiteX70" fmla="*/ 752889 w 1200744"/>
                  <a:gd name="connsiteY70" fmla="*/ 946496 h 1046508"/>
                  <a:gd name="connsiteX71" fmla="*/ 749140 w 1200744"/>
                  <a:gd name="connsiteY71" fmla="*/ 965065 h 1046508"/>
                  <a:gd name="connsiteX72" fmla="*/ 626271 w 1200744"/>
                  <a:gd name="connsiteY72" fmla="*/ 1046508 h 1046508"/>
                  <a:gd name="connsiteX73" fmla="*/ 533770 w 1200744"/>
                  <a:gd name="connsiteY73" fmla="*/ 1046508 h 1046508"/>
                  <a:gd name="connsiteX74" fmla="*/ 410901 w 1200744"/>
                  <a:gd name="connsiteY74" fmla="*/ 965065 h 1046508"/>
                  <a:gd name="connsiteX75" fmla="*/ 407153 w 1200744"/>
                  <a:gd name="connsiteY75" fmla="*/ 946496 h 1046508"/>
                  <a:gd name="connsiteX76" fmla="*/ 190500 w 1200744"/>
                  <a:gd name="connsiteY76" fmla="*/ 946496 h 1046508"/>
                  <a:gd name="connsiteX77" fmla="*/ 59532 w 1200744"/>
                  <a:gd name="connsiteY77" fmla="*/ 825052 h 1046508"/>
                  <a:gd name="connsiteX78" fmla="*/ 59432 w 1200744"/>
                  <a:gd name="connsiteY78" fmla="*/ 710643 h 1046508"/>
                  <a:gd name="connsiteX79" fmla="*/ 48816 w 1200744"/>
                  <a:gd name="connsiteY79" fmla="*/ 710643 h 1046508"/>
                  <a:gd name="connsiteX80" fmla="*/ 14298 w 1200744"/>
                  <a:gd name="connsiteY80" fmla="*/ 696345 h 1046508"/>
                  <a:gd name="connsiteX81" fmla="*/ 0 w 1200744"/>
                  <a:gd name="connsiteY81" fmla="*/ 661828 h 1046508"/>
                  <a:gd name="connsiteX82" fmla="*/ 14298 w 1200744"/>
                  <a:gd name="connsiteY82" fmla="*/ 627310 h 1046508"/>
                  <a:gd name="connsiteX83" fmla="*/ 48816 w 1200744"/>
                  <a:gd name="connsiteY83" fmla="*/ 613012 h 1046508"/>
                  <a:gd name="connsiteX84" fmla="*/ 59346 w 1200744"/>
                  <a:gd name="connsiteY84" fmla="*/ 613012 h 1046508"/>
                  <a:gd name="connsiteX85" fmla="*/ 59247 w 1200744"/>
                  <a:gd name="connsiteY85" fmla="*/ 501147 h 1046508"/>
                  <a:gd name="connsiteX86" fmla="*/ 48816 w 1200744"/>
                  <a:gd name="connsiteY86" fmla="*/ 501147 h 1046508"/>
                  <a:gd name="connsiteX87" fmla="*/ 14298 w 1200744"/>
                  <a:gd name="connsiteY87" fmla="*/ 486849 h 1046508"/>
                  <a:gd name="connsiteX88" fmla="*/ 0 w 1200744"/>
                  <a:gd name="connsiteY88" fmla="*/ 452332 h 1046508"/>
                  <a:gd name="connsiteX89" fmla="*/ 14298 w 1200744"/>
                  <a:gd name="connsiteY89" fmla="*/ 417814 h 1046508"/>
                  <a:gd name="connsiteX90" fmla="*/ 48816 w 1200744"/>
                  <a:gd name="connsiteY90" fmla="*/ 403516 h 1046508"/>
                  <a:gd name="connsiteX91" fmla="*/ 59161 w 1200744"/>
                  <a:gd name="connsiteY91" fmla="*/ 403516 h 1046508"/>
                  <a:gd name="connsiteX92" fmla="*/ 59063 w 1200744"/>
                  <a:gd name="connsiteY92" fmla="*/ 291651 h 1046508"/>
                  <a:gd name="connsiteX93" fmla="*/ 48816 w 1200744"/>
                  <a:gd name="connsiteY93" fmla="*/ 291651 h 1046508"/>
                  <a:gd name="connsiteX94" fmla="*/ 14298 w 1200744"/>
                  <a:gd name="connsiteY94" fmla="*/ 277353 h 1046508"/>
                  <a:gd name="connsiteX95" fmla="*/ 0 w 1200744"/>
                  <a:gd name="connsiteY95" fmla="*/ 242836 h 1046508"/>
                  <a:gd name="connsiteX96" fmla="*/ 14298 w 1200744"/>
                  <a:gd name="connsiteY96" fmla="*/ 208318 h 1046508"/>
                  <a:gd name="connsiteX97" fmla="*/ 48816 w 1200744"/>
                  <a:gd name="connsiteY97" fmla="*/ 194020 h 1046508"/>
                  <a:gd name="connsiteX98" fmla="*/ 58977 w 1200744"/>
                  <a:gd name="connsiteY98" fmla="*/ 194020 h 1046508"/>
                  <a:gd name="connsiteX99" fmla="*/ 58806 w 1200744"/>
                  <a:gd name="connsiteY99"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83444 w 1200744"/>
                  <a:gd name="connsiteY34" fmla="*/ 235459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1157493 w 1200744"/>
                  <a:gd name="connsiteY45" fmla="*/ 347675 h 1046508"/>
                  <a:gd name="connsiteX46" fmla="*/ 1200471 w 1200744"/>
                  <a:gd name="connsiteY46" fmla="*/ 381525 h 1046508"/>
                  <a:gd name="connsiteX47" fmla="*/ 1200470 w 1200744"/>
                  <a:gd name="connsiteY47" fmla="*/ 381526 h 1046508"/>
                  <a:gd name="connsiteX48" fmla="*/ 1166620 w 1200744"/>
                  <a:gd name="connsiteY48" fmla="*/ 424503 h 1046508"/>
                  <a:gd name="connsiteX49" fmla="*/ 883444 w 1200744"/>
                  <a:gd name="connsiteY49" fmla="*/ 458146 h 1046508"/>
                  <a:gd name="connsiteX50" fmla="*/ 883444 w 1200744"/>
                  <a:gd name="connsiteY50" fmla="*/ 506141 h 1046508"/>
                  <a:gd name="connsiteX51" fmla="*/ 792956 w 1200744"/>
                  <a:gd name="connsiteY51" fmla="*/ 516892 h 1046508"/>
                  <a:gd name="connsiteX52" fmla="*/ 792956 w 1200744"/>
                  <a:gd name="connsiteY52" fmla="*/ 468897 h 1046508"/>
                  <a:gd name="connsiteX53" fmla="*/ 688181 w 1200744"/>
                  <a:gd name="connsiteY53" fmla="*/ 481345 h 1046508"/>
                  <a:gd name="connsiteX54" fmla="*/ 688181 w 1200744"/>
                  <a:gd name="connsiteY54" fmla="*/ 529340 h 1046508"/>
                  <a:gd name="connsiteX55" fmla="*/ 418176 w 1200744"/>
                  <a:gd name="connsiteY55" fmla="*/ 561418 h 1046508"/>
                  <a:gd name="connsiteX56" fmla="*/ 392350 w 1200744"/>
                  <a:gd name="connsiteY56" fmla="*/ 575897 h 1046508"/>
                  <a:gd name="connsiteX57" fmla="*/ 384326 w 1200744"/>
                  <a:gd name="connsiteY57" fmla="*/ 604396 h 1046508"/>
                  <a:gd name="connsiteX58" fmla="*/ 398804 w 1200744"/>
                  <a:gd name="connsiteY58" fmla="*/ 630221 h 1046508"/>
                  <a:gd name="connsiteX59" fmla="*/ 427304 w 1200744"/>
                  <a:gd name="connsiteY59" fmla="*/ 638245 h 1046508"/>
                  <a:gd name="connsiteX60" fmla="*/ 1104900 w 1200744"/>
                  <a:gd name="connsiteY60" fmla="*/ 557742 h 1046508"/>
                  <a:gd name="connsiteX61" fmla="*/ 1104900 w 1200744"/>
                  <a:gd name="connsiteY61" fmla="*/ 558713 h 1046508"/>
                  <a:gd name="connsiteX62" fmla="*/ 1157491 w 1200744"/>
                  <a:gd name="connsiteY62" fmla="*/ 552464 h 1046508"/>
                  <a:gd name="connsiteX63" fmla="*/ 1200469 w 1200744"/>
                  <a:gd name="connsiteY63" fmla="*/ 586314 h 1046508"/>
                  <a:gd name="connsiteX64" fmla="*/ 1200468 w 1200744"/>
                  <a:gd name="connsiteY64" fmla="*/ 586314 h 1046508"/>
                  <a:gd name="connsiteX65" fmla="*/ 1166618 w 1200744"/>
                  <a:gd name="connsiteY65" fmla="*/ 629292 h 1046508"/>
                  <a:gd name="connsiteX66" fmla="*/ 1104900 w 1200744"/>
                  <a:gd name="connsiteY66" fmla="*/ 636624 h 1046508"/>
                  <a:gd name="connsiteX67" fmla="*/ 1104900 w 1200744"/>
                  <a:gd name="connsiteY67" fmla="*/ 817908 h 1046508"/>
                  <a:gd name="connsiteX68" fmla="*/ 971550 w 1200744"/>
                  <a:gd name="connsiteY68" fmla="*/ 946496 h 1046508"/>
                  <a:gd name="connsiteX69" fmla="*/ 752889 w 1200744"/>
                  <a:gd name="connsiteY69" fmla="*/ 946496 h 1046508"/>
                  <a:gd name="connsiteX70" fmla="*/ 749140 w 1200744"/>
                  <a:gd name="connsiteY70" fmla="*/ 965065 h 1046508"/>
                  <a:gd name="connsiteX71" fmla="*/ 626271 w 1200744"/>
                  <a:gd name="connsiteY71" fmla="*/ 1046508 h 1046508"/>
                  <a:gd name="connsiteX72" fmla="*/ 533770 w 1200744"/>
                  <a:gd name="connsiteY72" fmla="*/ 1046508 h 1046508"/>
                  <a:gd name="connsiteX73" fmla="*/ 410901 w 1200744"/>
                  <a:gd name="connsiteY73" fmla="*/ 965065 h 1046508"/>
                  <a:gd name="connsiteX74" fmla="*/ 407153 w 1200744"/>
                  <a:gd name="connsiteY74" fmla="*/ 946496 h 1046508"/>
                  <a:gd name="connsiteX75" fmla="*/ 190500 w 1200744"/>
                  <a:gd name="connsiteY75" fmla="*/ 946496 h 1046508"/>
                  <a:gd name="connsiteX76" fmla="*/ 59532 w 1200744"/>
                  <a:gd name="connsiteY76" fmla="*/ 825052 h 1046508"/>
                  <a:gd name="connsiteX77" fmla="*/ 59432 w 1200744"/>
                  <a:gd name="connsiteY77" fmla="*/ 710643 h 1046508"/>
                  <a:gd name="connsiteX78" fmla="*/ 48816 w 1200744"/>
                  <a:gd name="connsiteY78" fmla="*/ 710643 h 1046508"/>
                  <a:gd name="connsiteX79" fmla="*/ 14298 w 1200744"/>
                  <a:gd name="connsiteY79" fmla="*/ 696345 h 1046508"/>
                  <a:gd name="connsiteX80" fmla="*/ 0 w 1200744"/>
                  <a:gd name="connsiteY80" fmla="*/ 661828 h 1046508"/>
                  <a:gd name="connsiteX81" fmla="*/ 14298 w 1200744"/>
                  <a:gd name="connsiteY81" fmla="*/ 627310 h 1046508"/>
                  <a:gd name="connsiteX82" fmla="*/ 48816 w 1200744"/>
                  <a:gd name="connsiteY82" fmla="*/ 613012 h 1046508"/>
                  <a:gd name="connsiteX83" fmla="*/ 59346 w 1200744"/>
                  <a:gd name="connsiteY83" fmla="*/ 613012 h 1046508"/>
                  <a:gd name="connsiteX84" fmla="*/ 59247 w 1200744"/>
                  <a:gd name="connsiteY84" fmla="*/ 501147 h 1046508"/>
                  <a:gd name="connsiteX85" fmla="*/ 48816 w 1200744"/>
                  <a:gd name="connsiteY85" fmla="*/ 501147 h 1046508"/>
                  <a:gd name="connsiteX86" fmla="*/ 14298 w 1200744"/>
                  <a:gd name="connsiteY86" fmla="*/ 486849 h 1046508"/>
                  <a:gd name="connsiteX87" fmla="*/ 0 w 1200744"/>
                  <a:gd name="connsiteY87" fmla="*/ 452332 h 1046508"/>
                  <a:gd name="connsiteX88" fmla="*/ 14298 w 1200744"/>
                  <a:gd name="connsiteY88" fmla="*/ 417814 h 1046508"/>
                  <a:gd name="connsiteX89" fmla="*/ 48816 w 1200744"/>
                  <a:gd name="connsiteY89" fmla="*/ 403516 h 1046508"/>
                  <a:gd name="connsiteX90" fmla="*/ 59161 w 1200744"/>
                  <a:gd name="connsiteY90" fmla="*/ 403516 h 1046508"/>
                  <a:gd name="connsiteX91" fmla="*/ 59063 w 1200744"/>
                  <a:gd name="connsiteY91" fmla="*/ 291651 h 1046508"/>
                  <a:gd name="connsiteX92" fmla="*/ 48816 w 1200744"/>
                  <a:gd name="connsiteY92" fmla="*/ 291651 h 1046508"/>
                  <a:gd name="connsiteX93" fmla="*/ 14298 w 1200744"/>
                  <a:gd name="connsiteY93" fmla="*/ 277353 h 1046508"/>
                  <a:gd name="connsiteX94" fmla="*/ 0 w 1200744"/>
                  <a:gd name="connsiteY94" fmla="*/ 242836 h 1046508"/>
                  <a:gd name="connsiteX95" fmla="*/ 14298 w 1200744"/>
                  <a:gd name="connsiteY95" fmla="*/ 208318 h 1046508"/>
                  <a:gd name="connsiteX96" fmla="*/ 48816 w 1200744"/>
                  <a:gd name="connsiteY96" fmla="*/ 194020 h 1046508"/>
                  <a:gd name="connsiteX97" fmla="*/ 58977 w 1200744"/>
                  <a:gd name="connsiteY97" fmla="*/ 194020 h 1046508"/>
                  <a:gd name="connsiteX98" fmla="*/ 58806 w 1200744"/>
                  <a:gd name="connsiteY98"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78682 w 1200744"/>
                  <a:gd name="connsiteY34" fmla="*/ 240221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1157493 w 1200744"/>
                  <a:gd name="connsiteY45" fmla="*/ 347675 h 1046508"/>
                  <a:gd name="connsiteX46" fmla="*/ 1200471 w 1200744"/>
                  <a:gd name="connsiteY46" fmla="*/ 381525 h 1046508"/>
                  <a:gd name="connsiteX47" fmla="*/ 1200470 w 1200744"/>
                  <a:gd name="connsiteY47" fmla="*/ 381526 h 1046508"/>
                  <a:gd name="connsiteX48" fmla="*/ 1166620 w 1200744"/>
                  <a:gd name="connsiteY48" fmla="*/ 424503 h 1046508"/>
                  <a:gd name="connsiteX49" fmla="*/ 883444 w 1200744"/>
                  <a:gd name="connsiteY49" fmla="*/ 458146 h 1046508"/>
                  <a:gd name="connsiteX50" fmla="*/ 883444 w 1200744"/>
                  <a:gd name="connsiteY50" fmla="*/ 506141 h 1046508"/>
                  <a:gd name="connsiteX51" fmla="*/ 792956 w 1200744"/>
                  <a:gd name="connsiteY51" fmla="*/ 516892 h 1046508"/>
                  <a:gd name="connsiteX52" fmla="*/ 792956 w 1200744"/>
                  <a:gd name="connsiteY52" fmla="*/ 468897 h 1046508"/>
                  <a:gd name="connsiteX53" fmla="*/ 688181 w 1200744"/>
                  <a:gd name="connsiteY53" fmla="*/ 481345 h 1046508"/>
                  <a:gd name="connsiteX54" fmla="*/ 688181 w 1200744"/>
                  <a:gd name="connsiteY54" fmla="*/ 529340 h 1046508"/>
                  <a:gd name="connsiteX55" fmla="*/ 418176 w 1200744"/>
                  <a:gd name="connsiteY55" fmla="*/ 561418 h 1046508"/>
                  <a:gd name="connsiteX56" fmla="*/ 392350 w 1200744"/>
                  <a:gd name="connsiteY56" fmla="*/ 575897 h 1046508"/>
                  <a:gd name="connsiteX57" fmla="*/ 384326 w 1200744"/>
                  <a:gd name="connsiteY57" fmla="*/ 604396 h 1046508"/>
                  <a:gd name="connsiteX58" fmla="*/ 398804 w 1200744"/>
                  <a:gd name="connsiteY58" fmla="*/ 630221 h 1046508"/>
                  <a:gd name="connsiteX59" fmla="*/ 427304 w 1200744"/>
                  <a:gd name="connsiteY59" fmla="*/ 638245 h 1046508"/>
                  <a:gd name="connsiteX60" fmla="*/ 1104900 w 1200744"/>
                  <a:gd name="connsiteY60" fmla="*/ 557742 h 1046508"/>
                  <a:gd name="connsiteX61" fmla="*/ 1104900 w 1200744"/>
                  <a:gd name="connsiteY61" fmla="*/ 558713 h 1046508"/>
                  <a:gd name="connsiteX62" fmla="*/ 1157491 w 1200744"/>
                  <a:gd name="connsiteY62" fmla="*/ 552464 h 1046508"/>
                  <a:gd name="connsiteX63" fmla="*/ 1200469 w 1200744"/>
                  <a:gd name="connsiteY63" fmla="*/ 586314 h 1046508"/>
                  <a:gd name="connsiteX64" fmla="*/ 1200468 w 1200744"/>
                  <a:gd name="connsiteY64" fmla="*/ 586314 h 1046508"/>
                  <a:gd name="connsiteX65" fmla="*/ 1166618 w 1200744"/>
                  <a:gd name="connsiteY65" fmla="*/ 629292 h 1046508"/>
                  <a:gd name="connsiteX66" fmla="*/ 1104900 w 1200744"/>
                  <a:gd name="connsiteY66" fmla="*/ 636624 h 1046508"/>
                  <a:gd name="connsiteX67" fmla="*/ 1104900 w 1200744"/>
                  <a:gd name="connsiteY67" fmla="*/ 817908 h 1046508"/>
                  <a:gd name="connsiteX68" fmla="*/ 971550 w 1200744"/>
                  <a:gd name="connsiteY68" fmla="*/ 946496 h 1046508"/>
                  <a:gd name="connsiteX69" fmla="*/ 752889 w 1200744"/>
                  <a:gd name="connsiteY69" fmla="*/ 946496 h 1046508"/>
                  <a:gd name="connsiteX70" fmla="*/ 749140 w 1200744"/>
                  <a:gd name="connsiteY70" fmla="*/ 965065 h 1046508"/>
                  <a:gd name="connsiteX71" fmla="*/ 626271 w 1200744"/>
                  <a:gd name="connsiteY71" fmla="*/ 1046508 h 1046508"/>
                  <a:gd name="connsiteX72" fmla="*/ 533770 w 1200744"/>
                  <a:gd name="connsiteY72" fmla="*/ 1046508 h 1046508"/>
                  <a:gd name="connsiteX73" fmla="*/ 410901 w 1200744"/>
                  <a:gd name="connsiteY73" fmla="*/ 965065 h 1046508"/>
                  <a:gd name="connsiteX74" fmla="*/ 407153 w 1200744"/>
                  <a:gd name="connsiteY74" fmla="*/ 946496 h 1046508"/>
                  <a:gd name="connsiteX75" fmla="*/ 190500 w 1200744"/>
                  <a:gd name="connsiteY75" fmla="*/ 946496 h 1046508"/>
                  <a:gd name="connsiteX76" fmla="*/ 59532 w 1200744"/>
                  <a:gd name="connsiteY76" fmla="*/ 825052 h 1046508"/>
                  <a:gd name="connsiteX77" fmla="*/ 59432 w 1200744"/>
                  <a:gd name="connsiteY77" fmla="*/ 710643 h 1046508"/>
                  <a:gd name="connsiteX78" fmla="*/ 48816 w 1200744"/>
                  <a:gd name="connsiteY78" fmla="*/ 710643 h 1046508"/>
                  <a:gd name="connsiteX79" fmla="*/ 14298 w 1200744"/>
                  <a:gd name="connsiteY79" fmla="*/ 696345 h 1046508"/>
                  <a:gd name="connsiteX80" fmla="*/ 0 w 1200744"/>
                  <a:gd name="connsiteY80" fmla="*/ 661828 h 1046508"/>
                  <a:gd name="connsiteX81" fmla="*/ 14298 w 1200744"/>
                  <a:gd name="connsiteY81" fmla="*/ 627310 h 1046508"/>
                  <a:gd name="connsiteX82" fmla="*/ 48816 w 1200744"/>
                  <a:gd name="connsiteY82" fmla="*/ 613012 h 1046508"/>
                  <a:gd name="connsiteX83" fmla="*/ 59346 w 1200744"/>
                  <a:gd name="connsiteY83" fmla="*/ 613012 h 1046508"/>
                  <a:gd name="connsiteX84" fmla="*/ 59247 w 1200744"/>
                  <a:gd name="connsiteY84" fmla="*/ 501147 h 1046508"/>
                  <a:gd name="connsiteX85" fmla="*/ 48816 w 1200744"/>
                  <a:gd name="connsiteY85" fmla="*/ 501147 h 1046508"/>
                  <a:gd name="connsiteX86" fmla="*/ 14298 w 1200744"/>
                  <a:gd name="connsiteY86" fmla="*/ 486849 h 1046508"/>
                  <a:gd name="connsiteX87" fmla="*/ 0 w 1200744"/>
                  <a:gd name="connsiteY87" fmla="*/ 452332 h 1046508"/>
                  <a:gd name="connsiteX88" fmla="*/ 14298 w 1200744"/>
                  <a:gd name="connsiteY88" fmla="*/ 417814 h 1046508"/>
                  <a:gd name="connsiteX89" fmla="*/ 48816 w 1200744"/>
                  <a:gd name="connsiteY89" fmla="*/ 403516 h 1046508"/>
                  <a:gd name="connsiteX90" fmla="*/ 59161 w 1200744"/>
                  <a:gd name="connsiteY90" fmla="*/ 403516 h 1046508"/>
                  <a:gd name="connsiteX91" fmla="*/ 59063 w 1200744"/>
                  <a:gd name="connsiteY91" fmla="*/ 291651 h 1046508"/>
                  <a:gd name="connsiteX92" fmla="*/ 48816 w 1200744"/>
                  <a:gd name="connsiteY92" fmla="*/ 291651 h 1046508"/>
                  <a:gd name="connsiteX93" fmla="*/ 14298 w 1200744"/>
                  <a:gd name="connsiteY93" fmla="*/ 277353 h 1046508"/>
                  <a:gd name="connsiteX94" fmla="*/ 0 w 1200744"/>
                  <a:gd name="connsiteY94" fmla="*/ 242836 h 1046508"/>
                  <a:gd name="connsiteX95" fmla="*/ 14298 w 1200744"/>
                  <a:gd name="connsiteY95" fmla="*/ 208318 h 1046508"/>
                  <a:gd name="connsiteX96" fmla="*/ 48816 w 1200744"/>
                  <a:gd name="connsiteY96" fmla="*/ 194020 h 1046508"/>
                  <a:gd name="connsiteX97" fmla="*/ 58977 w 1200744"/>
                  <a:gd name="connsiteY97" fmla="*/ 194020 h 1046508"/>
                  <a:gd name="connsiteX98" fmla="*/ 58806 w 1200744"/>
                  <a:gd name="connsiteY98" fmla="*/ 0 h 1046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200744" h="1046508">
                    <a:moveTo>
                      <a:pt x="269392" y="583922"/>
                    </a:moveTo>
                    <a:cubicBezTo>
                      <a:pt x="247034" y="583922"/>
                      <a:pt x="228910" y="602046"/>
                      <a:pt x="228910" y="624404"/>
                    </a:cubicBezTo>
                    <a:cubicBezTo>
                      <a:pt x="228910" y="646762"/>
                      <a:pt x="247034" y="664886"/>
                      <a:pt x="269392" y="664886"/>
                    </a:cubicBezTo>
                    <a:cubicBezTo>
                      <a:pt x="291750" y="664886"/>
                      <a:pt x="309874" y="646762"/>
                      <a:pt x="309874" y="624404"/>
                    </a:cubicBezTo>
                    <a:cubicBezTo>
                      <a:pt x="309874" y="602046"/>
                      <a:pt x="291750" y="583922"/>
                      <a:pt x="269392" y="583922"/>
                    </a:cubicBezTo>
                    <a:close/>
                    <a:moveTo>
                      <a:pt x="269392" y="373750"/>
                    </a:moveTo>
                    <a:cubicBezTo>
                      <a:pt x="247034" y="373750"/>
                      <a:pt x="228910" y="391874"/>
                      <a:pt x="228910" y="414232"/>
                    </a:cubicBezTo>
                    <a:cubicBezTo>
                      <a:pt x="228910" y="436590"/>
                      <a:pt x="247034" y="454714"/>
                      <a:pt x="269392" y="454714"/>
                    </a:cubicBezTo>
                    <a:cubicBezTo>
                      <a:pt x="291750" y="454714"/>
                      <a:pt x="309874" y="436590"/>
                      <a:pt x="309874" y="414232"/>
                    </a:cubicBezTo>
                    <a:cubicBezTo>
                      <a:pt x="309874" y="391874"/>
                      <a:pt x="291750" y="373750"/>
                      <a:pt x="269392" y="373750"/>
                    </a:cubicBezTo>
                    <a:close/>
                    <a:moveTo>
                      <a:pt x="269392" y="163063"/>
                    </a:moveTo>
                    <a:cubicBezTo>
                      <a:pt x="247034" y="163063"/>
                      <a:pt x="228910" y="181187"/>
                      <a:pt x="228910" y="203545"/>
                    </a:cubicBezTo>
                    <a:cubicBezTo>
                      <a:pt x="228910" y="225903"/>
                      <a:pt x="247034" y="244027"/>
                      <a:pt x="269392" y="244027"/>
                    </a:cubicBezTo>
                    <a:cubicBezTo>
                      <a:pt x="291750" y="244027"/>
                      <a:pt x="309874" y="225903"/>
                      <a:pt x="309874" y="203545"/>
                    </a:cubicBezTo>
                    <a:cubicBezTo>
                      <a:pt x="309874" y="181187"/>
                      <a:pt x="291750" y="163063"/>
                      <a:pt x="269392" y="163063"/>
                    </a:cubicBezTo>
                    <a:close/>
                    <a:moveTo>
                      <a:pt x="797719" y="0"/>
                    </a:moveTo>
                    <a:lnTo>
                      <a:pt x="883444" y="0"/>
                    </a:lnTo>
                    <a:lnTo>
                      <a:pt x="883444" y="79897"/>
                    </a:lnTo>
                    <a:lnTo>
                      <a:pt x="797719" y="90082"/>
                    </a:lnTo>
                    <a:lnTo>
                      <a:pt x="797719" y="0"/>
                    </a:lnTo>
                    <a:close/>
                    <a:moveTo>
                      <a:pt x="58806" y="0"/>
                    </a:moveTo>
                    <a:lnTo>
                      <a:pt x="692944" y="0"/>
                    </a:lnTo>
                    <a:lnTo>
                      <a:pt x="692944" y="102530"/>
                    </a:lnTo>
                    <a:lnTo>
                      <a:pt x="418176" y="135174"/>
                    </a:lnTo>
                    <a:cubicBezTo>
                      <a:pt x="407569" y="136435"/>
                      <a:pt x="398476" y="141875"/>
                      <a:pt x="392350" y="149653"/>
                    </a:cubicBezTo>
                    <a:lnTo>
                      <a:pt x="384326" y="178152"/>
                    </a:lnTo>
                    <a:lnTo>
                      <a:pt x="398804" y="203977"/>
                    </a:lnTo>
                    <a:cubicBezTo>
                      <a:pt x="406582" y="210103"/>
                      <a:pt x="416696" y="213262"/>
                      <a:pt x="427304" y="212001"/>
                    </a:cubicBezTo>
                    <a:lnTo>
                      <a:pt x="1104900" y="131498"/>
                    </a:lnTo>
                    <a:lnTo>
                      <a:pt x="1104900" y="134851"/>
                    </a:lnTo>
                    <a:lnTo>
                      <a:pt x="1157493" y="128603"/>
                    </a:lnTo>
                    <a:cubicBezTo>
                      <a:pt x="1178709" y="126082"/>
                      <a:pt x="1197951" y="141237"/>
                      <a:pt x="1200471" y="162453"/>
                    </a:cubicBezTo>
                    <a:lnTo>
                      <a:pt x="1200470" y="162453"/>
                    </a:lnTo>
                    <a:cubicBezTo>
                      <a:pt x="1202991" y="183669"/>
                      <a:pt x="1187836" y="202910"/>
                      <a:pt x="1166620" y="205431"/>
                    </a:cubicBezTo>
                    <a:lnTo>
                      <a:pt x="878682" y="240221"/>
                    </a:lnTo>
                    <a:lnTo>
                      <a:pt x="883444" y="298972"/>
                    </a:lnTo>
                    <a:lnTo>
                      <a:pt x="792956" y="309723"/>
                    </a:lnTo>
                    <a:lnTo>
                      <a:pt x="792956" y="265459"/>
                    </a:lnTo>
                    <a:lnTo>
                      <a:pt x="688181" y="265459"/>
                    </a:lnTo>
                    <a:lnTo>
                      <a:pt x="688181" y="322171"/>
                    </a:lnTo>
                    <a:lnTo>
                      <a:pt x="418176" y="354249"/>
                    </a:lnTo>
                    <a:cubicBezTo>
                      <a:pt x="407569" y="355510"/>
                      <a:pt x="398476" y="360950"/>
                      <a:pt x="392350" y="368728"/>
                    </a:cubicBezTo>
                    <a:lnTo>
                      <a:pt x="384326" y="397227"/>
                    </a:lnTo>
                    <a:lnTo>
                      <a:pt x="398804" y="423052"/>
                    </a:lnTo>
                    <a:cubicBezTo>
                      <a:pt x="406582" y="429178"/>
                      <a:pt x="416696" y="432337"/>
                      <a:pt x="427304" y="431076"/>
                    </a:cubicBezTo>
                    <a:lnTo>
                      <a:pt x="1157493" y="347675"/>
                    </a:lnTo>
                    <a:cubicBezTo>
                      <a:pt x="1178709" y="345155"/>
                      <a:pt x="1197950" y="360310"/>
                      <a:pt x="1200471" y="381525"/>
                    </a:cubicBezTo>
                    <a:lnTo>
                      <a:pt x="1200470" y="381526"/>
                    </a:lnTo>
                    <a:cubicBezTo>
                      <a:pt x="1202991" y="402741"/>
                      <a:pt x="1187836" y="421983"/>
                      <a:pt x="1166620" y="424503"/>
                    </a:cubicBezTo>
                    <a:lnTo>
                      <a:pt x="883444" y="458146"/>
                    </a:lnTo>
                    <a:lnTo>
                      <a:pt x="883444" y="506141"/>
                    </a:lnTo>
                    <a:lnTo>
                      <a:pt x="792956" y="516892"/>
                    </a:lnTo>
                    <a:lnTo>
                      <a:pt x="792956" y="468897"/>
                    </a:lnTo>
                    <a:lnTo>
                      <a:pt x="688181" y="481345"/>
                    </a:lnTo>
                    <a:lnTo>
                      <a:pt x="688181" y="529340"/>
                    </a:lnTo>
                    <a:lnTo>
                      <a:pt x="418176" y="561418"/>
                    </a:lnTo>
                    <a:cubicBezTo>
                      <a:pt x="407569" y="562679"/>
                      <a:pt x="398476" y="568119"/>
                      <a:pt x="392350" y="575897"/>
                    </a:cubicBezTo>
                    <a:lnTo>
                      <a:pt x="384326" y="604396"/>
                    </a:lnTo>
                    <a:lnTo>
                      <a:pt x="398804" y="630221"/>
                    </a:lnTo>
                    <a:cubicBezTo>
                      <a:pt x="406582" y="636347"/>
                      <a:pt x="416696" y="639506"/>
                      <a:pt x="427304" y="638245"/>
                    </a:cubicBezTo>
                    <a:lnTo>
                      <a:pt x="1104900" y="557742"/>
                    </a:lnTo>
                    <a:lnTo>
                      <a:pt x="1104900" y="558713"/>
                    </a:lnTo>
                    <a:lnTo>
                      <a:pt x="1157491" y="552464"/>
                    </a:lnTo>
                    <a:cubicBezTo>
                      <a:pt x="1178707" y="549944"/>
                      <a:pt x="1197948" y="565099"/>
                      <a:pt x="1200469" y="586314"/>
                    </a:cubicBezTo>
                    <a:lnTo>
                      <a:pt x="1200468" y="586314"/>
                    </a:lnTo>
                    <a:cubicBezTo>
                      <a:pt x="1202989" y="607530"/>
                      <a:pt x="1187834" y="626772"/>
                      <a:pt x="1166618" y="629292"/>
                    </a:cubicBezTo>
                    <a:lnTo>
                      <a:pt x="1104900" y="636624"/>
                    </a:lnTo>
                    <a:lnTo>
                      <a:pt x="1104900" y="817908"/>
                    </a:lnTo>
                    <a:lnTo>
                      <a:pt x="971550" y="946496"/>
                    </a:lnTo>
                    <a:lnTo>
                      <a:pt x="752889" y="946496"/>
                    </a:lnTo>
                    <a:lnTo>
                      <a:pt x="749140" y="965065"/>
                    </a:lnTo>
                    <a:cubicBezTo>
                      <a:pt x="728897" y="1012926"/>
                      <a:pt x="681506" y="1046508"/>
                      <a:pt x="626271" y="1046508"/>
                    </a:cubicBezTo>
                    <a:lnTo>
                      <a:pt x="533770" y="1046508"/>
                    </a:lnTo>
                    <a:cubicBezTo>
                      <a:pt x="478536" y="1046508"/>
                      <a:pt x="431145" y="1012926"/>
                      <a:pt x="410901" y="965065"/>
                    </a:cubicBezTo>
                    <a:lnTo>
                      <a:pt x="407153" y="946496"/>
                    </a:lnTo>
                    <a:lnTo>
                      <a:pt x="190500" y="946496"/>
                    </a:lnTo>
                    <a:lnTo>
                      <a:pt x="59532" y="825052"/>
                    </a:lnTo>
                    <a:cubicBezTo>
                      <a:pt x="59499" y="786916"/>
                      <a:pt x="59465" y="748779"/>
                      <a:pt x="59432" y="710643"/>
                    </a:cubicBezTo>
                    <a:lnTo>
                      <a:pt x="48816" y="710643"/>
                    </a:lnTo>
                    <a:cubicBezTo>
                      <a:pt x="35336" y="710643"/>
                      <a:pt x="23132" y="705179"/>
                      <a:pt x="14298" y="696345"/>
                    </a:cubicBezTo>
                    <a:lnTo>
                      <a:pt x="0" y="661828"/>
                    </a:lnTo>
                    <a:lnTo>
                      <a:pt x="14298" y="627310"/>
                    </a:lnTo>
                    <a:cubicBezTo>
                      <a:pt x="23132" y="618476"/>
                      <a:pt x="35336" y="613012"/>
                      <a:pt x="48816" y="613012"/>
                    </a:cubicBezTo>
                    <a:lnTo>
                      <a:pt x="59346" y="613012"/>
                    </a:lnTo>
                    <a:cubicBezTo>
                      <a:pt x="59313" y="575724"/>
                      <a:pt x="59280" y="538435"/>
                      <a:pt x="59247" y="501147"/>
                    </a:cubicBezTo>
                    <a:lnTo>
                      <a:pt x="48816" y="501147"/>
                    </a:lnTo>
                    <a:cubicBezTo>
                      <a:pt x="35336" y="501147"/>
                      <a:pt x="23132" y="495683"/>
                      <a:pt x="14298" y="486849"/>
                    </a:cubicBezTo>
                    <a:lnTo>
                      <a:pt x="0" y="452332"/>
                    </a:lnTo>
                    <a:lnTo>
                      <a:pt x="14298" y="417814"/>
                    </a:lnTo>
                    <a:cubicBezTo>
                      <a:pt x="23132" y="408980"/>
                      <a:pt x="35336" y="403516"/>
                      <a:pt x="48816" y="403516"/>
                    </a:cubicBezTo>
                    <a:lnTo>
                      <a:pt x="59161" y="403516"/>
                    </a:lnTo>
                    <a:cubicBezTo>
                      <a:pt x="59128" y="366228"/>
                      <a:pt x="59096" y="328939"/>
                      <a:pt x="59063" y="291651"/>
                    </a:cubicBezTo>
                    <a:lnTo>
                      <a:pt x="48816" y="291651"/>
                    </a:lnTo>
                    <a:cubicBezTo>
                      <a:pt x="35336" y="291651"/>
                      <a:pt x="23132" y="286187"/>
                      <a:pt x="14298" y="277353"/>
                    </a:cubicBezTo>
                    <a:lnTo>
                      <a:pt x="0" y="242836"/>
                    </a:lnTo>
                    <a:lnTo>
                      <a:pt x="14298" y="208318"/>
                    </a:lnTo>
                    <a:cubicBezTo>
                      <a:pt x="23132" y="199484"/>
                      <a:pt x="35336" y="194020"/>
                      <a:pt x="48816" y="194020"/>
                    </a:cubicBezTo>
                    <a:lnTo>
                      <a:pt x="58977" y="194020"/>
                    </a:lnTo>
                    <a:lnTo>
                      <a:pt x="58806"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81" name="Freeform 88">
                <a:extLst>
                  <a:ext uri="{FF2B5EF4-FFF2-40B4-BE49-F238E27FC236}">
                    <a16:creationId xmlns:a16="http://schemas.microsoft.com/office/drawing/2014/main" id="{BB9AC608-6DBF-425E-9F19-84DC17EFB5BD}"/>
                  </a:ext>
                </a:extLst>
              </p:cNvPr>
              <p:cNvSpPr/>
              <p:nvPr/>
            </p:nvSpPr>
            <p:spPr>
              <a:xfrm>
                <a:off x="4242295" y="1685754"/>
                <a:ext cx="3701002" cy="3743106"/>
              </a:xfrm>
              <a:custGeom>
                <a:avLst/>
                <a:gdLst>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0346 w 3701002"/>
                  <a:gd name="connsiteY11" fmla="*/ 3114359 h 3743106"/>
                  <a:gd name="connsiteX12" fmla="*/ 2659635 w 3701002"/>
                  <a:gd name="connsiteY12" fmla="*/ 3107286 h 3743106"/>
                  <a:gd name="connsiteX13" fmla="*/ 3122601 w 3701002"/>
                  <a:gd name="connsiteY13" fmla="*/ 2107732 h 3743106"/>
                  <a:gd name="connsiteX14" fmla="*/ 1850392 w 3701002"/>
                  <a:gd name="connsiteY14" fmla="*/ 812383 h 3743106"/>
                  <a:gd name="connsiteX15" fmla="*/ 578183 w 3701002"/>
                  <a:gd name="connsiteY15" fmla="*/ 2107732 h 3743106"/>
                  <a:gd name="connsiteX16" fmla="*/ 950805 w 3701002"/>
                  <a:gd name="connsiteY16" fmla="*/ 3023682 h 3743106"/>
                  <a:gd name="connsiteX17" fmla="*/ 1028685 w 3701002"/>
                  <a:gd name="connsiteY17" fmla="*/ 3095752 h 3743106"/>
                  <a:gd name="connsiteX18" fmla="*/ 1145044 w 3701002"/>
                  <a:gd name="connsiteY18" fmla="*/ 3252006 h 3743106"/>
                  <a:gd name="connsiteX19" fmla="*/ 1289824 w 3701002"/>
                  <a:gd name="connsiteY19" fmla="*/ 3549186 h 3743106"/>
                  <a:gd name="connsiteX20" fmla="*/ 1131709 w 3701002"/>
                  <a:gd name="connsiteY20" fmla="*/ 3739686 h 3743106"/>
                  <a:gd name="connsiteX21" fmla="*/ 881519 w 3701002"/>
                  <a:gd name="connsiteY21" fmla="*/ 3637451 h 3743106"/>
                  <a:gd name="connsiteX22" fmla="*/ 771664 w 3701002"/>
                  <a:gd name="connsiteY22" fmla="*/ 3290106 h 3743106"/>
                  <a:gd name="connsiteX23" fmla="*/ 377329 w 3701002"/>
                  <a:gd name="connsiteY23" fmla="*/ 3103416 h 3743106"/>
                  <a:gd name="connsiteX24" fmla="*/ 344944 w 3701002"/>
                  <a:gd name="connsiteY24" fmla="*/ 2482386 h 3743106"/>
                  <a:gd name="connsiteX25" fmla="*/ 139 w 3701002"/>
                  <a:gd name="connsiteY25" fmla="*/ 1970576 h 3743106"/>
                  <a:gd name="connsiteX26" fmla="*/ 451624 w 3701002"/>
                  <a:gd name="connsiteY26" fmla="*/ 1403521 h 3743106"/>
                  <a:gd name="connsiteX27" fmla="*/ 496709 w 3701002"/>
                  <a:gd name="connsiteY27" fmla="*/ 659301 h 3743106"/>
                  <a:gd name="connsiteX28" fmla="*/ 1199019 w 3701002"/>
                  <a:gd name="connsiteY28" fmla="*/ 517061 h 3743106"/>
                  <a:gd name="connsiteX29" fmla="*/ 1831479 w 3701002"/>
                  <a:gd name="connsiteY29"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028685 w 3701002"/>
                  <a:gd name="connsiteY16" fmla="*/ 3095752 h 3743106"/>
                  <a:gd name="connsiteX17" fmla="*/ 1145044 w 3701002"/>
                  <a:gd name="connsiteY17" fmla="*/ 3252006 h 3743106"/>
                  <a:gd name="connsiteX18" fmla="*/ 1289824 w 3701002"/>
                  <a:gd name="connsiteY18" fmla="*/ 3549186 h 3743106"/>
                  <a:gd name="connsiteX19" fmla="*/ 1131709 w 3701002"/>
                  <a:gd name="connsiteY19" fmla="*/ 3739686 h 3743106"/>
                  <a:gd name="connsiteX20" fmla="*/ 881519 w 3701002"/>
                  <a:gd name="connsiteY20" fmla="*/ 3637451 h 3743106"/>
                  <a:gd name="connsiteX21" fmla="*/ 771664 w 3701002"/>
                  <a:gd name="connsiteY21" fmla="*/ 3290106 h 3743106"/>
                  <a:gd name="connsiteX22" fmla="*/ 377329 w 3701002"/>
                  <a:gd name="connsiteY22" fmla="*/ 3103416 h 3743106"/>
                  <a:gd name="connsiteX23" fmla="*/ 344944 w 3701002"/>
                  <a:gd name="connsiteY23" fmla="*/ 2482386 h 3743106"/>
                  <a:gd name="connsiteX24" fmla="*/ 139 w 3701002"/>
                  <a:gd name="connsiteY24" fmla="*/ 1970576 h 3743106"/>
                  <a:gd name="connsiteX25" fmla="*/ 451624 w 3701002"/>
                  <a:gd name="connsiteY25" fmla="*/ 1403521 h 3743106"/>
                  <a:gd name="connsiteX26" fmla="*/ 496709 w 3701002"/>
                  <a:gd name="connsiteY26" fmla="*/ 659301 h 3743106"/>
                  <a:gd name="connsiteX27" fmla="*/ 1199019 w 3701002"/>
                  <a:gd name="connsiteY27" fmla="*/ 517061 h 3743106"/>
                  <a:gd name="connsiteX28" fmla="*/ 1831479 w 3701002"/>
                  <a:gd name="connsiteY28"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145044 w 3701002"/>
                  <a:gd name="connsiteY16" fmla="*/ 3252006 h 3743106"/>
                  <a:gd name="connsiteX17" fmla="*/ 1289824 w 3701002"/>
                  <a:gd name="connsiteY17" fmla="*/ 3549186 h 3743106"/>
                  <a:gd name="connsiteX18" fmla="*/ 1131709 w 3701002"/>
                  <a:gd name="connsiteY18" fmla="*/ 3739686 h 3743106"/>
                  <a:gd name="connsiteX19" fmla="*/ 881519 w 3701002"/>
                  <a:gd name="connsiteY19" fmla="*/ 3637451 h 3743106"/>
                  <a:gd name="connsiteX20" fmla="*/ 771664 w 3701002"/>
                  <a:gd name="connsiteY20" fmla="*/ 3290106 h 3743106"/>
                  <a:gd name="connsiteX21" fmla="*/ 377329 w 3701002"/>
                  <a:gd name="connsiteY21" fmla="*/ 3103416 h 3743106"/>
                  <a:gd name="connsiteX22" fmla="*/ 344944 w 3701002"/>
                  <a:gd name="connsiteY22" fmla="*/ 2482386 h 3743106"/>
                  <a:gd name="connsiteX23" fmla="*/ 139 w 3701002"/>
                  <a:gd name="connsiteY23" fmla="*/ 1970576 h 3743106"/>
                  <a:gd name="connsiteX24" fmla="*/ 451624 w 3701002"/>
                  <a:gd name="connsiteY24" fmla="*/ 1403521 h 3743106"/>
                  <a:gd name="connsiteX25" fmla="*/ 496709 w 3701002"/>
                  <a:gd name="connsiteY25" fmla="*/ 659301 h 3743106"/>
                  <a:gd name="connsiteX26" fmla="*/ 1199019 w 3701002"/>
                  <a:gd name="connsiteY26" fmla="*/ 517061 h 3743106"/>
                  <a:gd name="connsiteX27" fmla="*/ 1831479 w 3701002"/>
                  <a:gd name="connsiteY27"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145044 w 3701002"/>
                  <a:gd name="connsiteY16" fmla="*/ 3252006 h 3743106"/>
                  <a:gd name="connsiteX17" fmla="*/ 1289824 w 3701002"/>
                  <a:gd name="connsiteY17" fmla="*/ 3549186 h 3743106"/>
                  <a:gd name="connsiteX18" fmla="*/ 1131709 w 3701002"/>
                  <a:gd name="connsiteY18" fmla="*/ 3739686 h 3743106"/>
                  <a:gd name="connsiteX19" fmla="*/ 881519 w 3701002"/>
                  <a:gd name="connsiteY19" fmla="*/ 3637451 h 3743106"/>
                  <a:gd name="connsiteX20" fmla="*/ 771664 w 3701002"/>
                  <a:gd name="connsiteY20" fmla="*/ 3290106 h 3743106"/>
                  <a:gd name="connsiteX21" fmla="*/ 377329 w 3701002"/>
                  <a:gd name="connsiteY21" fmla="*/ 3103416 h 3743106"/>
                  <a:gd name="connsiteX22" fmla="*/ 344944 w 3701002"/>
                  <a:gd name="connsiteY22" fmla="*/ 2482386 h 3743106"/>
                  <a:gd name="connsiteX23" fmla="*/ 139 w 3701002"/>
                  <a:gd name="connsiteY23" fmla="*/ 1970576 h 3743106"/>
                  <a:gd name="connsiteX24" fmla="*/ 451624 w 3701002"/>
                  <a:gd name="connsiteY24" fmla="*/ 1403521 h 3743106"/>
                  <a:gd name="connsiteX25" fmla="*/ 496709 w 3701002"/>
                  <a:gd name="connsiteY25" fmla="*/ 659301 h 3743106"/>
                  <a:gd name="connsiteX26" fmla="*/ 1199019 w 3701002"/>
                  <a:gd name="connsiteY26" fmla="*/ 517061 h 3743106"/>
                  <a:gd name="connsiteX27" fmla="*/ 1831479 w 3701002"/>
                  <a:gd name="connsiteY27" fmla="*/ 171 h 3743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701002" h="3743106">
                    <a:moveTo>
                      <a:pt x="1831479" y="171"/>
                    </a:moveTo>
                    <a:cubicBezTo>
                      <a:pt x="2193958" y="-9460"/>
                      <a:pt x="2228989" y="388262"/>
                      <a:pt x="2478544" y="516426"/>
                    </a:cubicBezTo>
                    <a:cubicBezTo>
                      <a:pt x="2724924" y="638240"/>
                      <a:pt x="3031735" y="420753"/>
                      <a:pt x="3214509" y="673906"/>
                    </a:cubicBezTo>
                    <a:cubicBezTo>
                      <a:pt x="3397283" y="927059"/>
                      <a:pt x="3125874" y="1106394"/>
                      <a:pt x="3270389" y="1425746"/>
                    </a:cubicBezTo>
                    <a:cubicBezTo>
                      <a:pt x="3414904" y="1745098"/>
                      <a:pt x="3685678" y="1679112"/>
                      <a:pt x="3700601" y="1942319"/>
                    </a:cubicBezTo>
                    <a:cubicBezTo>
                      <a:pt x="3712349" y="2221401"/>
                      <a:pt x="3463112" y="2181714"/>
                      <a:pt x="3354844" y="2512866"/>
                    </a:cubicBezTo>
                    <a:cubicBezTo>
                      <a:pt x="3238639" y="2836081"/>
                      <a:pt x="3476765" y="2888309"/>
                      <a:pt x="3320872" y="3113258"/>
                    </a:cubicBezTo>
                    <a:cubicBezTo>
                      <a:pt x="3231655" y="3262007"/>
                      <a:pt x="3076132" y="3153476"/>
                      <a:pt x="2933839" y="3291059"/>
                    </a:cubicBezTo>
                    <a:cubicBezTo>
                      <a:pt x="2791546" y="3428642"/>
                      <a:pt x="2888756" y="3603161"/>
                      <a:pt x="2771914" y="3691109"/>
                    </a:cubicBezTo>
                    <a:cubicBezTo>
                      <a:pt x="2688410" y="3783819"/>
                      <a:pt x="2499817" y="3735717"/>
                      <a:pt x="2440444" y="3640626"/>
                    </a:cubicBezTo>
                    <a:cubicBezTo>
                      <a:pt x="2381071" y="3545535"/>
                      <a:pt x="2441714" y="3442506"/>
                      <a:pt x="2501404" y="3320586"/>
                    </a:cubicBezTo>
                    <a:lnTo>
                      <a:pt x="2659635" y="3107286"/>
                    </a:lnTo>
                    <a:cubicBezTo>
                      <a:pt x="2942380" y="2869700"/>
                      <a:pt x="3122601" y="2510145"/>
                      <a:pt x="3122601" y="2107732"/>
                    </a:cubicBezTo>
                    <a:cubicBezTo>
                      <a:pt x="3122601" y="1392331"/>
                      <a:pt x="2553014" y="812383"/>
                      <a:pt x="1850392" y="812383"/>
                    </a:cubicBezTo>
                    <a:cubicBezTo>
                      <a:pt x="1147770" y="812383"/>
                      <a:pt x="578183" y="1392331"/>
                      <a:pt x="578183" y="2107732"/>
                    </a:cubicBezTo>
                    <a:cubicBezTo>
                      <a:pt x="578183" y="2465433"/>
                      <a:pt x="720580" y="2789270"/>
                      <a:pt x="950805" y="3023682"/>
                    </a:cubicBezTo>
                    <a:cubicBezTo>
                      <a:pt x="1039364" y="3104553"/>
                      <a:pt x="1080298" y="3175898"/>
                      <a:pt x="1145044" y="3252006"/>
                    </a:cubicBezTo>
                    <a:cubicBezTo>
                      <a:pt x="1213624" y="3361226"/>
                      <a:pt x="1292047" y="3467906"/>
                      <a:pt x="1289824" y="3549186"/>
                    </a:cubicBezTo>
                    <a:cubicBezTo>
                      <a:pt x="1287602" y="3630466"/>
                      <a:pt x="1199760" y="3724975"/>
                      <a:pt x="1131709" y="3739686"/>
                    </a:cubicBezTo>
                    <a:cubicBezTo>
                      <a:pt x="1063658" y="3754397"/>
                      <a:pt x="935176" y="3721906"/>
                      <a:pt x="881519" y="3637451"/>
                    </a:cubicBezTo>
                    <a:cubicBezTo>
                      <a:pt x="827862" y="3552996"/>
                      <a:pt x="922371" y="3429912"/>
                      <a:pt x="771664" y="3290106"/>
                    </a:cubicBezTo>
                    <a:cubicBezTo>
                      <a:pt x="620957" y="3150300"/>
                      <a:pt x="489724" y="3259626"/>
                      <a:pt x="377329" y="3103416"/>
                    </a:cubicBezTo>
                    <a:cubicBezTo>
                      <a:pt x="245884" y="2847193"/>
                      <a:pt x="472103" y="2764062"/>
                      <a:pt x="344944" y="2482386"/>
                    </a:cubicBezTo>
                    <a:cubicBezTo>
                      <a:pt x="189211" y="2141178"/>
                      <a:pt x="8552" y="2246432"/>
                      <a:pt x="139" y="1970576"/>
                    </a:cubicBezTo>
                    <a:cubicBezTo>
                      <a:pt x="-7481" y="1701865"/>
                      <a:pt x="299012" y="1730017"/>
                      <a:pt x="451624" y="1403521"/>
                    </a:cubicBezTo>
                    <a:cubicBezTo>
                      <a:pt x="528036" y="943675"/>
                      <a:pt x="318168" y="908644"/>
                      <a:pt x="496709" y="659301"/>
                    </a:cubicBezTo>
                    <a:cubicBezTo>
                      <a:pt x="675250" y="409958"/>
                      <a:pt x="956978" y="650728"/>
                      <a:pt x="1199019" y="517061"/>
                    </a:cubicBezTo>
                    <a:cubicBezTo>
                      <a:pt x="1485510" y="418319"/>
                      <a:pt x="1469000" y="9802"/>
                      <a:pt x="1831479" y="171"/>
                    </a:cubicBez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grpSp>
      </p:grpSp>
      <p:sp>
        <p:nvSpPr>
          <p:cNvPr id="182" name="Text Box 205">
            <a:extLst>
              <a:ext uri="{FF2B5EF4-FFF2-40B4-BE49-F238E27FC236}">
                <a16:creationId xmlns:a16="http://schemas.microsoft.com/office/drawing/2014/main" id="{D7860F49-E97F-47FE-9D41-4C38CCA444D9}"/>
              </a:ext>
            </a:extLst>
          </p:cNvPr>
          <p:cNvSpPr txBox="1">
            <a:spLocks noChangeArrowheads="1"/>
          </p:cNvSpPr>
          <p:nvPr/>
        </p:nvSpPr>
        <p:spPr bwMode="gray">
          <a:xfrm>
            <a:off x="6790063" y="2258912"/>
            <a:ext cx="5156999" cy="1078868"/>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45720" rIns="91440" bIns="45720" numCol="1" spcCol="0" rtlCol="0" fromWordArt="0" anchor="ctr" anchorCtr="0" forceAA="0" compatLnSpc="1">
            <a:prstTxWarp prst="textNoShape">
              <a:avLst/>
            </a:prstTxWarp>
            <a:noAutofit/>
          </a:bodyPr>
          <a:lstStyle>
            <a:defPPr>
              <a:defRPr lang="en-US"/>
            </a:defPPr>
            <a:lvl1pPr marR="0" lvl="0" indent="0" defTabSz="932192" fontAlgn="base">
              <a:lnSpc>
                <a:spcPct val="100000"/>
              </a:lnSpc>
              <a:spcBef>
                <a:spcPct val="0"/>
              </a:spcBef>
              <a:spcAft>
                <a:spcPct val="0"/>
              </a:spcAft>
              <a:buClrTx/>
              <a:buSzTx/>
              <a:buFontTx/>
              <a:buNone/>
              <a:tabLst/>
              <a:defRPr kumimoji="0" sz="2000" b="1" i="1" u="none" strike="noStrike" kern="0" cap="none" spc="0" normalizeH="0" baseline="0">
                <a:ln>
                  <a:noFill/>
                </a:ln>
                <a:solidFill>
                  <a:srgbClr val="00573B"/>
                </a:solidFill>
                <a:effectLst/>
                <a:uLnTx/>
                <a:uFillTx/>
                <a:latin typeface="Arial"/>
                <a:cs typeface="Calibri" panose="020F050202020403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32123">
              <a:defRPr/>
            </a:pPr>
            <a:r>
              <a:rPr lang="en-US" sz="1400" b="0" i="0" dirty="0">
                <a:solidFill>
                  <a:prstClr val="black"/>
                </a:solidFill>
                <a:latin typeface="+mn-lt"/>
                <a:cs typeface="Arial" panose="020B0604020202020204" pitchFamily="34" charset="0"/>
              </a:rPr>
              <a:t>Migration of existing Insurance platforms (9 product lines); </a:t>
            </a:r>
            <a:r>
              <a:rPr lang="en-US" sz="1400" b="0" i="0" dirty="0" err="1">
                <a:solidFill>
                  <a:prstClr val="black"/>
                </a:solidFill>
                <a:latin typeface="+mn-lt"/>
                <a:cs typeface="Arial" panose="020B0604020202020204" pitchFamily="34" charset="0"/>
              </a:rPr>
              <a:t>Approx</a:t>
            </a:r>
            <a:r>
              <a:rPr lang="en-US" sz="1400" b="0" i="0" dirty="0">
                <a:solidFill>
                  <a:prstClr val="black"/>
                </a:solidFill>
                <a:latin typeface="+mn-lt"/>
                <a:cs typeface="Arial" panose="020B0604020202020204" pitchFamily="34" charset="0"/>
              </a:rPr>
              <a:t> 550+ Plans, consisting of 2.36 M in-force policies; 70+ interfaces to enhance the target platform </a:t>
            </a:r>
          </a:p>
        </p:txBody>
      </p:sp>
      <p:sp>
        <p:nvSpPr>
          <p:cNvPr id="185" name="TextBox 184">
            <a:extLst>
              <a:ext uri="{FF2B5EF4-FFF2-40B4-BE49-F238E27FC236}">
                <a16:creationId xmlns:a16="http://schemas.microsoft.com/office/drawing/2014/main" id="{0C3393B3-464F-45D5-B63B-893F4DFF2958}"/>
              </a:ext>
            </a:extLst>
          </p:cNvPr>
          <p:cNvSpPr txBox="1"/>
          <p:nvPr/>
        </p:nvSpPr>
        <p:spPr>
          <a:xfrm>
            <a:off x="8388939" y="1922688"/>
            <a:ext cx="1192955" cy="400110"/>
          </a:xfrm>
          <a:prstGeom prst="rect">
            <a:avLst/>
          </a:prstGeom>
          <a:noFill/>
        </p:spPr>
        <p:txBody>
          <a:bodyPr wrap="none" rtlCol="0">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a:ln>
                  <a:noFill/>
                </a:ln>
                <a:solidFill>
                  <a:srgbClr val="A626AA"/>
                </a:solidFill>
                <a:effectLst/>
                <a:uLnTx/>
                <a:uFillTx/>
                <a:latin typeface="+mj-lt"/>
                <a:ea typeface="+mn-ea"/>
                <a:cs typeface="Arial" charset="0"/>
              </a:rPr>
              <a:t>Solution</a:t>
            </a:r>
          </a:p>
        </p:txBody>
      </p:sp>
    </p:spTree>
    <p:extLst>
      <p:ext uri="{BB962C8B-B14F-4D97-AF65-F5344CB8AC3E}">
        <p14:creationId xmlns:p14="http://schemas.microsoft.com/office/powerpoint/2010/main" val="322392031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273122" y="4276815"/>
            <a:ext cx="5413179" cy="902234"/>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white"/>
              </a:solidFill>
              <a:effectLst/>
              <a:highlight>
                <a:srgbClr val="FFFF00"/>
              </a:highlight>
              <a:uLnTx/>
              <a:uFillTx/>
              <a:latin typeface="+mj-lt"/>
              <a:ea typeface="+mn-ea"/>
              <a:cs typeface="+mn-cs"/>
            </a:endParaRPr>
          </a:p>
        </p:txBody>
      </p:sp>
      <p:cxnSp>
        <p:nvCxnSpPr>
          <p:cNvPr id="4" name="Straight Connector 3"/>
          <p:cNvCxnSpPr/>
          <p:nvPr/>
        </p:nvCxnSpPr>
        <p:spPr>
          <a:xfrm>
            <a:off x="6082488" y="2391891"/>
            <a:ext cx="0" cy="3607272"/>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EB496A3C-5DEE-4E86-BAE0-87C7AD8C80EC}"/>
              </a:ext>
            </a:extLst>
          </p:cNvPr>
          <p:cNvSpPr>
            <a:spLocks noGrp="1"/>
          </p:cNvSpPr>
          <p:nvPr>
            <p:ph type="title"/>
          </p:nvPr>
        </p:nvSpPr>
        <p:spPr/>
        <p:txBody>
          <a:bodyPr/>
          <a:lstStyle/>
          <a:p>
            <a:r>
              <a:rPr lang="en-US"/>
              <a:t>TCO Reduction Through Re-platforming @ UK based Life Insurer</a:t>
            </a:r>
            <a:endParaRPr lang="en-GB"/>
          </a:p>
        </p:txBody>
      </p:sp>
      <p:sp>
        <p:nvSpPr>
          <p:cNvPr id="2" name="Text Placeholder 1"/>
          <p:cNvSpPr>
            <a:spLocks noGrp="1"/>
          </p:cNvSpPr>
          <p:nvPr>
            <p:ph type="body" sz="quarter" idx="10"/>
          </p:nvPr>
        </p:nvSpPr>
        <p:spPr/>
        <p:txBody>
          <a:bodyPr/>
          <a:lstStyle/>
          <a:p>
            <a:r>
              <a:rPr lang="en-US"/>
              <a:t>Legacy System Modernization</a:t>
            </a:r>
          </a:p>
        </p:txBody>
      </p:sp>
      <p:sp>
        <p:nvSpPr>
          <p:cNvPr id="20" name="Rectangle 19"/>
          <p:cNvSpPr/>
          <p:nvPr/>
        </p:nvSpPr>
        <p:spPr>
          <a:xfrm>
            <a:off x="0" y="1361805"/>
            <a:ext cx="12191999" cy="458772"/>
          </a:xfrm>
          <a:prstGeom prst="rect">
            <a:avLst/>
          </a:prstGeom>
          <a:solidFill>
            <a:srgbClr val="0070C0"/>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274320" tIns="91440" rIns="91440" bIns="91440" numCol="1" spcCol="0" rtlCol="0" fromWordArt="0" anchor="ctr" anchorCtr="0" forceAA="0" compatLnSpc="1">
            <a:prstTxWarp prst="textNoShape">
              <a:avLst/>
            </a:prstTxWarp>
            <a:noAutofit/>
          </a:bodyPr>
          <a:lstStyle/>
          <a:p>
            <a:pPr marL="0" lvl="2" algn="ctr"/>
            <a:r>
              <a:rPr lang="en-US" sz="2000" b="1" kern="0">
                <a:solidFill>
                  <a:prstClr val="white"/>
                </a:solidFill>
                <a:latin typeface="+mj-lt"/>
              </a:rPr>
              <a:t>Re-platform Mainframe application to Microfocus</a:t>
            </a:r>
          </a:p>
        </p:txBody>
      </p:sp>
      <p:sp>
        <p:nvSpPr>
          <p:cNvPr id="21" name="Rectangle 20"/>
          <p:cNvSpPr/>
          <p:nvPr/>
        </p:nvSpPr>
        <p:spPr>
          <a:xfrm>
            <a:off x="364712" y="5384998"/>
            <a:ext cx="1722161" cy="523220"/>
          </a:xfrm>
          <a:prstGeom prst="rect">
            <a:avLst/>
          </a:prstGeom>
        </p:spPr>
        <p:txBody>
          <a:bodyPr wrap="square">
            <a:spAutoFit/>
          </a:bodyPr>
          <a:lstStyle/>
          <a:p>
            <a:pPr algn="ctr" defTabSz="914377" fontAlgn="base">
              <a:spcBef>
                <a:spcPct val="0"/>
              </a:spcBef>
              <a:spcAft>
                <a:spcPct val="0"/>
              </a:spcAft>
            </a:pPr>
            <a:r>
              <a:rPr lang="en-US" sz="1400" kern="0">
                <a:solidFill>
                  <a:prstClr val="black"/>
                </a:solidFill>
                <a:latin typeface="+mj-lt"/>
                <a:cs typeface="Segoe UI Semilight" panose="020B0402040204020203" pitchFamily="34" charset="0"/>
              </a:rPr>
              <a:t>Lower Total Cost of Ownership</a:t>
            </a:r>
          </a:p>
        </p:txBody>
      </p:sp>
      <p:sp>
        <p:nvSpPr>
          <p:cNvPr id="22" name="TextBox 21"/>
          <p:cNvSpPr txBox="1"/>
          <p:nvPr/>
        </p:nvSpPr>
        <p:spPr>
          <a:xfrm>
            <a:off x="452622" y="4108968"/>
            <a:ext cx="2435282" cy="400110"/>
          </a:xfrm>
          <a:prstGeom prst="rect">
            <a:avLst/>
          </a:prstGeom>
          <a:solidFill>
            <a:schemeClr val="bg1"/>
          </a:solidFill>
        </p:spPr>
        <p:txBody>
          <a:bodyPr wrap="none" rtlCol="0">
            <a:spAutoFit/>
          </a:bodyPr>
          <a:lstStyle>
            <a:defPPr>
              <a:defRPr lang="fr-FR"/>
            </a:defPPr>
            <a:lvl1pPr marR="0" lvl="0" indent="0" defTabSz="914377" fontAlgn="base">
              <a:lnSpc>
                <a:spcPct val="100000"/>
              </a:lnSpc>
              <a:spcBef>
                <a:spcPct val="0"/>
              </a:spcBef>
              <a:spcAft>
                <a:spcPct val="0"/>
              </a:spcAft>
              <a:buClrTx/>
              <a:buSzTx/>
              <a:buFontTx/>
              <a:buNone/>
              <a:tabLst/>
              <a:defRPr kumimoji="0" sz="2400" b="1" i="0" u="none" strike="noStrike" kern="0" cap="none" spc="0" normalizeH="0" baseline="0">
                <a:ln>
                  <a:noFill/>
                </a:ln>
                <a:solidFill>
                  <a:srgbClr val="0066A1"/>
                </a:solidFill>
                <a:effectLst/>
                <a:uLnTx/>
                <a:uFillTx/>
                <a:latin typeface="Verdana"/>
                <a:cs typeface="Arial" charset="0"/>
              </a:defRPr>
            </a:lvl1pPr>
          </a:lstStyle>
          <a:p>
            <a:r>
              <a:rPr lang="en-US" sz="2000">
                <a:latin typeface="+mj-lt"/>
              </a:rPr>
              <a:t>Benefits Delivered</a:t>
            </a:r>
          </a:p>
        </p:txBody>
      </p:sp>
      <p:sp>
        <p:nvSpPr>
          <p:cNvPr id="23" name="TextBox 22"/>
          <p:cNvSpPr txBox="1"/>
          <p:nvPr/>
        </p:nvSpPr>
        <p:spPr>
          <a:xfrm>
            <a:off x="8388939" y="1922688"/>
            <a:ext cx="1192955" cy="400110"/>
          </a:xfrm>
          <a:prstGeom prst="rect">
            <a:avLst/>
          </a:prstGeom>
          <a:noFill/>
        </p:spPr>
        <p:txBody>
          <a:bodyPr wrap="none" rtlCol="0">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a:ln>
                  <a:noFill/>
                </a:ln>
                <a:solidFill>
                  <a:srgbClr val="A626AA"/>
                </a:solidFill>
                <a:effectLst/>
                <a:uLnTx/>
                <a:uFillTx/>
                <a:latin typeface="+mj-lt"/>
                <a:ea typeface="+mn-ea"/>
                <a:cs typeface="Arial" charset="0"/>
              </a:rPr>
              <a:t>Solution</a:t>
            </a:r>
          </a:p>
        </p:txBody>
      </p:sp>
      <p:sp>
        <p:nvSpPr>
          <p:cNvPr id="24" name="Rectangle 23"/>
          <p:cNvSpPr/>
          <p:nvPr/>
        </p:nvSpPr>
        <p:spPr bwMode="auto">
          <a:xfrm>
            <a:off x="378654" y="1989416"/>
            <a:ext cx="5368332" cy="1649531"/>
          </a:xfrm>
          <a:prstGeom prst="rect">
            <a:avLst/>
          </a:prstGeom>
          <a:noFill/>
          <a:ln>
            <a:noFill/>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225425" indent="-225425" defTabSz="932123" fontAlgn="base">
              <a:spcBef>
                <a:spcPts val="600"/>
              </a:spcBef>
              <a:spcAft>
                <a:spcPts val="600"/>
              </a:spcAft>
              <a:buClr>
                <a:srgbClr val="0066A1"/>
              </a:buClr>
              <a:buSzPct val="80000"/>
              <a:buFont typeface="Lucida Sans Unicode" panose="020B0602030504020204" pitchFamily="34" charset="0"/>
              <a:buChar char="▶"/>
              <a:defRPr/>
            </a:pPr>
            <a:r>
              <a:rPr lang="en-US" sz="1400" kern="0">
                <a:solidFill>
                  <a:prstClr val="black"/>
                </a:solidFill>
                <a:cs typeface="Arial" panose="020B0604020202020204" pitchFamily="34" charset="0"/>
              </a:rPr>
              <a:t>Customer planned to migrate their legacy applications and associated storage off the IBM mainframe and decommission within a period of 12 months. </a:t>
            </a:r>
          </a:p>
          <a:p>
            <a:pPr marL="225425" indent="-225425" defTabSz="932123" fontAlgn="base">
              <a:spcBef>
                <a:spcPts val="600"/>
              </a:spcBef>
              <a:spcAft>
                <a:spcPts val="600"/>
              </a:spcAft>
              <a:buClr>
                <a:srgbClr val="0066A1"/>
              </a:buClr>
              <a:buSzPct val="80000"/>
              <a:buFont typeface="Lucida Sans Unicode" panose="020B0602030504020204" pitchFamily="34" charset="0"/>
              <a:buChar char="▶"/>
              <a:defRPr/>
            </a:pPr>
            <a:r>
              <a:rPr lang="en-US" sz="1400" kern="0">
                <a:solidFill>
                  <a:prstClr val="black"/>
                </a:solidFill>
                <a:cs typeface="Arial" panose="020B0604020202020204" pitchFamily="34" charset="0"/>
              </a:rPr>
              <a:t>Recognize capital expenditure payback within 2 years </a:t>
            </a:r>
          </a:p>
        </p:txBody>
      </p:sp>
      <p:sp>
        <p:nvSpPr>
          <p:cNvPr id="26" name="Rectangle 25"/>
          <p:cNvSpPr/>
          <p:nvPr/>
        </p:nvSpPr>
        <p:spPr bwMode="auto">
          <a:xfrm>
            <a:off x="6400552" y="2421350"/>
            <a:ext cx="5341439" cy="457200"/>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123" fontAlgn="base">
              <a:spcBef>
                <a:spcPct val="0"/>
              </a:spcBef>
              <a:spcAft>
                <a:spcPct val="0"/>
              </a:spcAft>
              <a:defRPr/>
            </a:pPr>
            <a:r>
              <a:rPr lang="en-US" sz="1400" kern="0">
                <a:solidFill>
                  <a:prstClr val="black"/>
                </a:solidFill>
                <a:cs typeface="Arial" panose="020B0604020202020204" pitchFamily="34" charset="0"/>
              </a:rPr>
              <a:t>Design and setup the architecture of the target platform and underlying infrastructure for re-platforming</a:t>
            </a:r>
          </a:p>
        </p:txBody>
      </p:sp>
      <p:sp>
        <p:nvSpPr>
          <p:cNvPr id="32" name="Rectangle 31"/>
          <p:cNvSpPr/>
          <p:nvPr/>
        </p:nvSpPr>
        <p:spPr bwMode="auto">
          <a:xfrm>
            <a:off x="6372432" y="4517406"/>
            <a:ext cx="5341438" cy="457200"/>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123" fontAlgn="base">
              <a:spcBef>
                <a:spcPct val="0"/>
              </a:spcBef>
              <a:spcAft>
                <a:spcPct val="0"/>
              </a:spcAft>
              <a:defRPr/>
            </a:pPr>
            <a:r>
              <a:rPr lang="en-US" sz="1400" kern="0" dirty="0">
                <a:solidFill>
                  <a:prstClr val="black"/>
                </a:solidFill>
                <a:cs typeface="Arial" panose="020B0604020202020204" pitchFamily="34" charset="0"/>
              </a:rPr>
              <a:t>Depersonalization of the production data into target test environment as per customer requirements</a:t>
            </a:r>
          </a:p>
        </p:txBody>
      </p:sp>
      <p:sp>
        <p:nvSpPr>
          <p:cNvPr id="35" name="Rectangle 34"/>
          <p:cNvSpPr/>
          <p:nvPr/>
        </p:nvSpPr>
        <p:spPr bwMode="auto">
          <a:xfrm>
            <a:off x="6400552" y="5411703"/>
            <a:ext cx="5341439" cy="457200"/>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123" fontAlgn="base">
              <a:spcBef>
                <a:spcPct val="0"/>
              </a:spcBef>
              <a:spcAft>
                <a:spcPct val="0"/>
              </a:spcAft>
              <a:defRPr/>
            </a:pPr>
            <a:r>
              <a:rPr lang="en-US" sz="1400" kern="0">
                <a:solidFill>
                  <a:prstClr val="black"/>
                </a:solidFill>
                <a:cs typeface="Arial" panose="020B0604020202020204" pitchFamily="34" charset="0"/>
              </a:rPr>
              <a:t>Re-platforming approach based on minimal changes to the software code, data &amp; databases and the environment ecosystem &amp; tools</a:t>
            </a:r>
          </a:p>
        </p:txBody>
      </p:sp>
      <p:grpSp>
        <p:nvGrpSpPr>
          <p:cNvPr id="7" name="Group 6"/>
          <p:cNvGrpSpPr/>
          <p:nvPr/>
        </p:nvGrpSpPr>
        <p:grpSpPr>
          <a:xfrm>
            <a:off x="5842516" y="2433888"/>
            <a:ext cx="474070" cy="474070"/>
            <a:chOff x="6447430" y="2675492"/>
            <a:chExt cx="474070" cy="474070"/>
          </a:xfrm>
        </p:grpSpPr>
        <p:sp>
          <p:nvSpPr>
            <p:cNvPr id="6" name="Oval 5"/>
            <p:cNvSpPr/>
            <p:nvPr/>
          </p:nvSpPr>
          <p:spPr>
            <a:xfrm>
              <a:off x="6447430" y="2675492"/>
              <a:ext cx="474070" cy="474070"/>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white"/>
                </a:solidFill>
                <a:effectLst/>
                <a:uLnTx/>
                <a:uFillTx/>
                <a:latin typeface="+mj-lt"/>
                <a:ea typeface="+mn-ea"/>
                <a:cs typeface="+mn-cs"/>
              </a:endParaRPr>
            </a:p>
          </p:txBody>
        </p:sp>
        <p:grpSp>
          <p:nvGrpSpPr>
            <p:cNvPr id="28" name="Group 27"/>
            <p:cNvGrpSpPr/>
            <p:nvPr/>
          </p:nvGrpSpPr>
          <p:grpSpPr>
            <a:xfrm>
              <a:off x="6518177" y="2715380"/>
              <a:ext cx="333474" cy="369626"/>
              <a:chOff x="3114466" y="105602"/>
              <a:chExt cx="5971657" cy="6619048"/>
            </a:xfrm>
            <a:solidFill>
              <a:schemeClr val="accent5"/>
            </a:solidFill>
          </p:grpSpPr>
          <p:sp>
            <p:nvSpPr>
              <p:cNvPr id="31" name="Oval 30"/>
              <p:cNvSpPr/>
              <p:nvPr/>
            </p:nvSpPr>
            <p:spPr>
              <a:xfrm>
                <a:off x="5744819" y="745435"/>
                <a:ext cx="695738" cy="695738"/>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34" name="Oval 33"/>
              <p:cNvSpPr/>
              <p:nvPr/>
            </p:nvSpPr>
            <p:spPr>
              <a:xfrm>
                <a:off x="6626711" y="1319213"/>
                <a:ext cx="628234" cy="62823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41" name="Oval 40"/>
              <p:cNvSpPr/>
              <p:nvPr/>
            </p:nvSpPr>
            <p:spPr>
              <a:xfrm>
                <a:off x="4921736" y="1319213"/>
                <a:ext cx="628234" cy="62823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42" name="Oval 41"/>
              <p:cNvSpPr/>
              <p:nvPr/>
            </p:nvSpPr>
            <p:spPr>
              <a:xfrm>
                <a:off x="4140684" y="1766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43" name="Oval 42"/>
              <p:cNvSpPr/>
              <p:nvPr/>
            </p:nvSpPr>
            <p:spPr>
              <a:xfrm>
                <a:off x="7510049" y="1766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44" name="Oval 43"/>
              <p:cNvSpPr/>
              <p:nvPr/>
            </p:nvSpPr>
            <p:spPr>
              <a:xfrm>
                <a:off x="7716285" y="2579410"/>
                <a:ext cx="612706" cy="61270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45" name="Oval 44"/>
              <p:cNvSpPr/>
              <p:nvPr/>
            </p:nvSpPr>
            <p:spPr>
              <a:xfrm>
                <a:off x="3849963" y="2569471"/>
                <a:ext cx="612706" cy="61270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46" name="Oval 45"/>
              <p:cNvSpPr/>
              <p:nvPr/>
            </p:nvSpPr>
            <p:spPr>
              <a:xfrm>
                <a:off x="3740632" y="1416532"/>
                <a:ext cx="394046" cy="39404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47" name="Oval 46"/>
              <p:cNvSpPr/>
              <p:nvPr/>
            </p:nvSpPr>
            <p:spPr>
              <a:xfrm>
                <a:off x="8054215" y="1416532"/>
                <a:ext cx="394046" cy="39404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48" name="Oval 47"/>
              <p:cNvSpPr/>
              <p:nvPr/>
            </p:nvSpPr>
            <p:spPr>
              <a:xfrm>
                <a:off x="5878581" y="105602"/>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49" name="Oval 48"/>
              <p:cNvSpPr/>
              <p:nvPr/>
            </p:nvSpPr>
            <p:spPr>
              <a:xfrm>
                <a:off x="3114466" y="3419473"/>
                <a:ext cx="319296" cy="31929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50" name="Oval 49"/>
              <p:cNvSpPr/>
              <p:nvPr/>
            </p:nvSpPr>
            <p:spPr>
              <a:xfrm>
                <a:off x="3794675" y="5116270"/>
                <a:ext cx="282026" cy="28202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51" name="Oval 50"/>
              <p:cNvSpPr/>
              <p:nvPr/>
            </p:nvSpPr>
            <p:spPr>
              <a:xfrm>
                <a:off x="4640020" y="5060156"/>
                <a:ext cx="342902" cy="3429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52" name="Oval 51"/>
              <p:cNvSpPr/>
              <p:nvPr/>
            </p:nvSpPr>
            <p:spPr>
              <a:xfrm>
                <a:off x="4155592" y="4790040"/>
                <a:ext cx="373546" cy="37354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53" name="Oval 52"/>
              <p:cNvSpPr/>
              <p:nvPr/>
            </p:nvSpPr>
            <p:spPr>
              <a:xfrm>
                <a:off x="3892206" y="4042948"/>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54" name="Oval 53"/>
              <p:cNvSpPr/>
              <p:nvPr/>
            </p:nvSpPr>
            <p:spPr>
              <a:xfrm>
                <a:off x="7758528" y="4052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55" name="Oval 54"/>
              <p:cNvSpPr/>
              <p:nvPr/>
            </p:nvSpPr>
            <p:spPr>
              <a:xfrm>
                <a:off x="3632338" y="3395454"/>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56" name="Oval 55"/>
              <p:cNvSpPr/>
              <p:nvPr/>
            </p:nvSpPr>
            <p:spPr>
              <a:xfrm>
                <a:off x="8122650" y="3395454"/>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57" name="Oval 56"/>
              <p:cNvSpPr/>
              <p:nvPr/>
            </p:nvSpPr>
            <p:spPr>
              <a:xfrm>
                <a:off x="8747366" y="3412330"/>
                <a:ext cx="338757" cy="338757"/>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58" name="Oval 57"/>
              <p:cNvSpPr/>
              <p:nvPr/>
            </p:nvSpPr>
            <p:spPr>
              <a:xfrm>
                <a:off x="7659444" y="4792108"/>
                <a:ext cx="372514" cy="37251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59" name="Oval 58"/>
              <p:cNvSpPr/>
              <p:nvPr/>
            </p:nvSpPr>
            <p:spPr>
              <a:xfrm>
                <a:off x="7208355" y="5062538"/>
                <a:ext cx="341242" cy="34124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60" name="Oval 59"/>
              <p:cNvSpPr/>
              <p:nvPr/>
            </p:nvSpPr>
            <p:spPr>
              <a:xfrm>
                <a:off x="8113230" y="5122069"/>
                <a:ext cx="274566" cy="27456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61" name="Freeform 60"/>
              <p:cNvSpPr/>
              <p:nvPr/>
            </p:nvSpPr>
            <p:spPr>
              <a:xfrm>
                <a:off x="5507831" y="5678142"/>
                <a:ext cx="1200744" cy="1046508"/>
              </a:xfrm>
              <a:custGeom>
                <a:avLst/>
                <a:gdLst>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58806 w 1200744"/>
                  <a:gd name="connsiteY19" fmla="*/ 0 h 1046508"/>
                  <a:gd name="connsiteX20" fmla="*/ 692944 w 1200744"/>
                  <a:gd name="connsiteY20" fmla="*/ 0 h 1046508"/>
                  <a:gd name="connsiteX21" fmla="*/ 692944 w 1200744"/>
                  <a:gd name="connsiteY21" fmla="*/ 102530 h 1046508"/>
                  <a:gd name="connsiteX22" fmla="*/ 418176 w 1200744"/>
                  <a:gd name="connsiteY22" fmla="*/ 135174 h 1046508"/>
                  <a:gd name="connsiteX23" fmla="*/ 392350 w 1200744"/>
                  <a:gd name="connsiteY23" fmla="*/ 149653 h 1046508"/>
                  <a:gd name="connsiteX24" fmla="*/ 384326 w 1200744"/>
                  <a:gd name="connsiteY24" fmla="*/ 178152 h 1046508"/>
                  <a:gd name="connsiteX25" fmla="*/ 398804 w 1200744"/>
                  <a:gd name="connsiteY25" fmla="*/ 203977 h 1046508"/>
                  <a:gd name="connsiteX26" fmla="*/ 427304 w 1200744"/>
                  <a:gd name="connsiteY26" fmla="*/ 212001 h 1046508"/>
                  <a:gd name="connsiteX27" fmla="*/ 1104900 w 1200744"/>
                  <a:gd name="connsiteY27" fmla="*/ 131498 h 1046508"/>
                  <a:gd name="connsiteX28" fmla="*/ 1104900 w 1200744"/>
                  <a:gd name="connsiteY28" fmla="*/ 134851 h 1046508"/>
                  <a:gd name="connsiteX29" fmla="*/ 1157493 w 1200744"/>
                  <a:gd name="connsiteY29" fmla="*/ 128603 h 1046508"/>
                  <a:gd name="connsiteX30" fmla="*/ 1200471 w 1200744"/>
                  <a:gd name="connsiteY30" fmla="*/ 162453 h 1046508"/>
                  <a:gd name="connsiteX31" fmla="*/ 1200470 w 1200744"/>
                  <a:gd name="connsiteY31" fmla="*/ 162453 h 1046508"/>
                  <a:gd name="connsiteX32" fmla="*/ 1166620 w 1200744"/>
                  <a:gd name="connsiteY32" fmla="*/ 205431 h 1046508"/>
                  <a:gd name="connsiteX33" fmla="*/ 892471 w 1200744"/>
                  <a:gd name="connsiteY33" fmla="*/ 238001 h 1046508"/>
                  <a:gd name="connsiteX34" fmla="*/ 883444 w 1200744"/>
                  <a:gd name="connsiteY34" fmla="*/ 235459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688181 w 1200744"/>
                  <a:gd name="connsiteY45" fmla="*/ 400083 h 1046508"/>
                  <a:gd name="connsiteX46" fmla="*/ 688181 w 1200744"/>
                  <a:gd name="connsiteY46" fmla="*/ 403433 h 1046508"/>
                  <a:gd name="connsiteX47" fmla="*/ 792956 w 1200744"/>
                  <a:gd name="connsiteY47" fmla="*/ 390985 h 1046508"/>
                  <a:gd name="connsiteX48" fmla="*/ 792956 w 1200744"/>
                  <a:gd name="connsiteY48" fmla="*/ 387635 h 1046508"/>
                  <a:gd name="connsiteX49" fmla="*/ 883444 w 1200744"/>
                  <a:gd name="connsiteY49" fmla="*/ 376884 h 1046508"/>
                  <a:gd name="connsiteX50" fmla="*/ 883444 w 1200744"/>
                  <a:gd name="connsiteY50" fmla="*/ 380235 h 1046508"/>
                  <a:gd name="connsiteX51" fmla="*/ 1157493 w 1200744"/>
                  <a:gd name="connsiteY51" fmla="*/ 347675 h 1046508"/>
                  <a:gd name="connsiteX52" fmla="*/ 1200471 w 1200744"/>
                  <a:gd name="connsiteY52" fmla="*/ 381525 h 1046508"/>
                  <a:gd name="connsiteX53" fmla="*/ 1200470 w 1200744"/>
                  <a:gd name="connsiteY53" fmla="*/ 381526 h 1046508"/>
                  <a:gd name="connsiteX54" fmla="*/ 1166620 w 1200744"/>
                  <a:gd name="connsiteY54" fmla="*/ 424503 h 1046508"/>
                  <a:gd name="connsiteX55" fmla="*/ 883444 w 1200744"/>
                  <a:gd name="connsiteY55" fmla="*/ 458146 h 1046508"/>
                  <a:gd name="connsiteX56" fmla="*/ 883444 w 1200744"/>
                  <a:gd name="connsiteY56" fmla="*/ 506141 h 1046508"/>
                  <a:gd name="connsiteX57" fmla="*/ 792956 w 1200744"/>
                  <a:gd name="connsiteY57" fmla="*/ 516892 h 1046508"/>
                  <a:gd name="connsiteX58" fmla="*/ 792956 w 1200744"/>
                  <a:gd name="connsiteY58" fmla="*/ 468897 h 1046508"/>
                  <a:gd name="connsiteX59" fmla="*/ 688181 w 1200744"/>
                  <a:gd name="connsiteY59" fmla="*/ 481345 h 1046508"/>
                  <a:gd name="connsiteX60" fmla="*/ 688181 w 1200744"/>
                  <a:gd name="connsiteY60" fmla="*/ 529340 h 1046508"/>
                  <a:gd name="connsiteX61" fmla="*/ 418176 w 1200744"/>
                  <a:gd name="connsiteY61" fmla="*/ 561418 h 1046508"/>
                  <a:gd name="connsiteX62" fmla="*/ 392350 w 1200744"/>
                  <a:gd name="connsiteY62" fmla="*/ 575897 h 1046508"/>
                  <a:gd name="connsiteX63" fmla="*/ 384326 w 1200744"/>
                  <a:gd name="connsiteY63" fmla="*/ 604396 h 1046508"/>
                  <a:gd name="connsiteX64" fmla="*/ 398804 w 1200744"/>
                  <a:gd name="connsiteY64" fmla="*/ 630221 h 1046508"/>
                  <a:gd name="connsiteX65" fmla="*/ 427304 w 1200744"/>
                  <a:gd name="connsiteY65" fmla="*/ 638245 h 1046508"/>
                  <a:gd name="connsiteX66" fmla="*/ 1104900 w 1200744"/>
                  <a:gd name="connsiteY66" fmla="*/ 557742 h 1046508"/>
                  <a:gd name="connsiteX67" fmla="*/ 1104900 w 1200744"/>
                  <a:gd name="connsiteY67" fmla="*/ 558713 h 1046508"/>
                  <a:gd name="connsiteX68" fmla="*/ 1157491 w 1200744"/>
                  <a:gd name="connsiteY68" fmla="*/ 552464 h 1046508"/>
                  <a:gd name="connsiteX69" fmla="*/ 1200469 w 1200744"/>
                  <a:gd name="connsiteY69" fmla="*/ 586314 h 1046508"/>
                  <a:gd name="connsiteX70" fmla="*/ 1200468 w 1200744"/>
                  <a:gd name="connsiteY70" fmla="*/ 586314 h 1046508"/>
                  <a:gd name="connsiteX71" fmla="*/ 1166618 w 1200744"/>
                  <a:gd name="connsiteY71" fmla="*/ 629292 h 1046508"/>
                  <a:gd name="connsiteX72" fmla="*/ 1104900 w 1200744"/>
                  <a:gd name="connsiteY72" fmla="*/ 636624 h 1046508"/>
                  <a:gd name="connsiteX73" fmla="*/ 1104900 w 1200744"/>
                  <a:gd name="connsiteY73" fmla="*/ 817908 h 1046508"/>
                  <a:gd name="connsiteX74" fmla="*/ 971550 w 1200744"/>
                  <a:gd name="connsiteY74" fmla="*/ 946496 h 1046508"/>
                  <a:gd name="connsiteX75" fmla="*/ 752889 w 1200744"/>
                  <a:gd name="connsiteY75" fmla="*/ 946496 h 1046508"/>
                  <a:gd name="connsiteX76" fmla="*/ 749140 w 1200744"/>
                  <a:gd name="connsiteY76" fmla="*/ 965065 h 1046508"/>
                  <a:gd name="connsiteX77" fmla="*/ 626271 w 1200744"/>
                  <a:gd name="connsiteY77" fmla="*/ 1046508 h 1046508"/>
                  <a:gd name="connsiteX78" fmla="*/ 533770 w 1200744"/>
                  <a:gd name="connsiteY78" fmla="*/ 1046508 h 1046508"/>
                  <a:gd name="connsiteX79" fmla="*/ 410901 w 1200744"/>
                  <a:gd name="connsiteY79" fmla="*/ 965065 h 1046508"/>
                  <a:gd name="connsiteX80" fmla="*/ 407153 w 1200744"/>
                  <a:gd name="connsiteY80" fmla="*/ 946496 h 1046508"/>
                  <a:gd name="connsiteX81" fmla="*/ 190500 w 1200744"/>
                  <a:gd name="connsiteY81" fmla="*/ 946496 h 1046508"/>
                  <a:gd name="connsiteX82" fmla="*/ 59532 w 1200744"/>
                  <a:gd name="connsiteY82" fmla="*/ 825052 h 1046508"/>
                  <a:gd name="connsiteX83" fmla="*/ 59432 w 1200744"/>
                  <a:gd name="connsiteY83" fmla="*/ 710643 h 1046508"/>
                  <a:gd name="connsiteX84" fmla="*/ 48816 w 1200744"/>
                  <a:gd name="connsiteY84" fmla="*/ 710643 h 1046508"/>
                  <a:gd name="connsiteX85" fmla="*/ 14298 w 1200744"/>
                  <a:gd name="connsiteY85" fmla="*/ 696345 h 1046508"/>
                  <a:gd name="connsiteX86" fmla="*/ 0 w 1200744"/>
                  <a:gd name="connsiteY86" fmla="*/ 661828 h 1046508"/>
                  <a:gd name="connsiteX87" fmla="*/ 14298 w 1200744"/>
                  <a:gd name="connsiteY87" fmla="*/ 627310 h 1046508"/>
                  <a:gd name="connsiteX88" fmla="*/ 48816 w 1200744"/>
                  <a:gd name="connsiteY88" fmla="*/ 613012 h 1046508"/>
                  <a:gd name="connsiteX89" fmla="*/ 59346 w 1200744"/>
                  <a:gd name="connsiteY89" fmla="*/ 613012 h 1046508"/>
                  <a:gd name="connsiteX90" fmla="*/ 59247 w 1200744"/>
                  <a:gd name="connsiteY90" fmla="*/ 501147 h 1046508"/>
                  <a:gd name="connsiteX91" fmla="*/ 48816 w 1200744"/>
                  <a:gd name="connsiteY91" fmla="*/ 501147 h 1046508"/>
                  <a:gd name="connsiteX92" fmla="*/ 14298 w 1200744"/>
                  <a:gd name="connsiteY92" fmla="*/ 486849 h 1046508"/>
                  <a:gd name="connsiteX93" fmla="*/ 0 w 1200744"/>
                  <a:gd name="connsiteY93" fmla="*/ 452332 h 1046508"/>
                  <a:gd name="connsiteX94" fmla="*/ 14298 w 1200744"/>
                  <a:gd name="connsiteY94" fmla="*/ 417814 h 1046508"/>
                  <a:gd name="connsiteX95" fmla="*/ 48816 w 1200744"/>
                  <a:gd name="connsiteY95" fmla="*/ 403516 h 1046508"/>
                  <a:gd name="connsiteX96" fmla="*/ 59161 w 1200744"/>
                  <a:gd name="connsiteY96" fmla="*/ 403516 h 1046508"/>
                  <a:gd name="connsiteX97" fmla="*/ 59063 w 1200744"/>
                  <a:gd name="connsiteY97" fmla="*/ 291651 h 1046508"/>
                  <a:gd name="connsiteX98" fmla="*/ 48816 w 1200744"/>
                  <a:gd name="connsiteY98" fmla="*/ 291651 h 1046508"/>
                  <a:gd name="connsiteX99" fmla="*/ 14298 w 1200744"/>
                  <a:gd name="connsiteY99" fmla="*/ 277353 h 1046508"/>
                  <a:gd name="connsiteX100" fmla="*/ 0 w 1200744"/>
                  <a:gd name="connsiteY100" fmla="*/ 242836 h 1046508"/>
                  <a:gd name="connsiteX101" fmla="*/ 14298 w 1200744"/>
                  <a:gd name="connsiteY101" fmla="*/ 208318 h 1046508"/>
                  <a:gd name="connsiteX102" fmla="*/ 48816 w 1200744"/>
                  <a:gd name="connsiteY102" fmla="*/ 194020 h 1046508"/>
                  <a:gd name="connsiteX103" fmla="*/ 58977 w 1200744"/>
                  <a:gd name="connsiteY103" fmla="*/ 19402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792956 w 1200744"/>
                  <a:gd name="connsiteY49" fmla="*/ 387635 h 1046508"/>
                  <a:gd name="connsiteX50" fmla="*/ 883444 w 1200744"/>
                  <a:gd name="connsiteY50" fmla="*/ 376884 h 1046508"/>
                  <a:gd name="connsiteX51" fmla="*/ 1157493 w 1200744"/>
                  <a:gd name="connsiteY51" fmla="*/ 347675 h 1046508"/>
                  <a:gd name="connsiteX52" fmla="*/ 1200471 w 1200744"/>
                  <a:gd name="connsiteY52" fmla="*/ 381525 h 1046508"/>
                  <a:gd name="connsiteX53" fmla="*/ 1200470 w 1200744"/>
                  <a:gd name="connsiteY53" fmla="*/ 381526 h 1046508"/>
                  <a:gd name="connsiteX54" fmla="*/ 1166620 w 1200744"/>
                  <a:gd name="connsiteY54" fmla="*/ 424503 h 1046508"/>
                  <a:gd name="connsiteX55" fmla="*/ 883444 w 1200744"/>
                  <a:gd name="connsiteY55" fmla="*/ 458146 h 1046508"/>
                  <a:gd name="connsiteX56" fmla="*/ 883444 w 1200744"/>
                  <a:gd name="connsiteY56" fmla="*/ 506141 h 1046508"/>
                  <a:gd name="connsiteX57" fmla="*/ 792956 w 1200744"/>
                  <a:gd name="connsiteY57" fmla="*/ 516892 h 1046508"/>
                  <a:gd name="connsiteX58" fmla="*/ 792956 w 1200744"/>
                  <a:gd name="connsiteY58" fmla="*/ 468897 h 1046508"/>
                  <a:gd name="connsiteX59" fmla="*/ 688181 w 1200744"/>
                  <a:gd name="connsiteY59" fmla="*/ 481345 h 1046508"/>
                  <a:gd name="connsiteX60" fmla="*/ 688181 w 1200744"/>
                  <a:gd name="connsiteY60" fmla="*/ 529340 h 1046508"/>
                  <a:gd name="connsiteX61" fmla="*/ 418176 w 1200744"/>
                  <a:gd name="connsiteY61" fmla="*/ 561418 h 1046508"/>
                  <a:gd name="connsiteX62" fmla="*/ 392350 w 1200744"/>
                  <a:gd name="connsiteY62" fmla="*/ 575897 h 1046508"/>
                  <a:gd name="connsiteX63" fmla="*/ 384326 w 1200744"/>
                  <a:gd name="connsiteY63" fmla="*/ 604396 h 1046508"/>
                  <a:gd name="connsiteX64" fmla="*/ 398804 w 1200744"/>
                  <a:gd name="connsiteY64" fmla="*/ 630221 h 1046508"/>
                  <a:gd name="connsiteX65" fmla="*/ 427304 w 1200744"/>
                  <a:gd name="connsiteY65" fmla="*/ 638245 h 1046508"/>
                  <a:gd name="connsiteX66" fmla="*/ 1104900 w 1200744"/>
                  <a:gd name="connsiteY66" fmla="*/ 557742 h 1046508"/>
                  <a:gd name="connsiteX67" fmla="*/ 1104900 w 1200744"/>
                  <a:gd name="connsiteY67" fmla="*/ 558713 h 1046508"/>
                  <a:gd name="connsiteX68" fmla="*/ 1157491 w 1200744"/>
                  <a:gd name="connsiteY68" fmla="*/ 552464 h 1046508"/>
                  <a:gd name="connsiteX69" fmla="*/ 1200469 w 1200744"/>
                  <a:gd name="connsiteY69" fmla="*/ 586314 h 1046508"/>
                  <a:gd name="connsiteX70" fmla="*/ 1200468 w 1200744"/>
                  <a:gd name="connsiteY70" fmla="*/ 586314 h 1046508"/>
                  <a:gd name="connsiteX71" fmla="*/ 1166618 w 1200744"/>
                  <a:gd name="connsiteY71" fmla="*/ 629292 h 1046508"/>
                  <a:gd name="connsiteX72" fmla="*/ 1104900 w 1200744"/>
                  <a:gd name="connsiteY72" fmla="*/ 636624 h 1046508"/>
                  <a:gd name="connsiteX73" fmla="*/ 1104900 w 1200744"/>
                  <a:gd name="connsiteY73" fmla="*/ 817908 h 1046508"/>
                  <a:gd name="connsiteX74" fmla="*/ 971550 w 1200744"/>
                  <a:gd name="connsiteY74" fmla="*/ 946496 h 1046508"/>
                  <a:gd name="connsiteX75" fmla="*/ 752889 w 1200744"/>
                  <a:gd name="connsiteY75" fmla="*/ 946496 h 1046508"/>
                  <a:gd name="connsiteX76" fmla="*/ 749140 w 1200744"/>
                  <a:gd name="connsiteY76" fmla="*/ 965065 h 1046508"/>
                  <a:gd name="connsiteX77" fmla="*/ 626271 w 1200744"/>
                  <a:gd name="connsiteY77" fmla="*/ 1046508 h 1046508"/>
                  <a:gd name="connsiteX78" fmla="*/ 533770 w 1200744"/>
                  <a:gd name="connsiteY78" fmla="*/ 1046508 h 1046508"/>
                  <a:gd name="connsiteX79" fmla="*/ 410901 w 1200744"/>
                  <a:gd name="connsiteY79" fmla="*/ 965065 h 1046508"/>
                  <a:gd name="connsiteX80" fmla="*/ 407153 w 1200744"/>
                  <a:gd name="connsiteY80" fmla="*/ 946496 h 1046508"/>
                  <a:gd name="connsiteX81" fmla="*/ 190500 w 1200744"/>
                  <a:gd name="connsiteY81" fmla="*/ 946496 h 1046508"/>
                  <a:gd name="connsiteX82" fmla="*/ 59532 w 1200744"/>
                  <a:gd name="connsiteY82" fmla="*/ 825052 h 1046508"/>
                  <a:gd name="connsiteX83" fmla="*/ 59432 w 1200744"/>
                  <a:gd name="connsiteY83" fmla="*/ 710643 h 1046508"/>
                  <a:gd name="connsiteX84" fmla="*/ 48816 w 1200744"/>
                  <a:gd name="connsiteY84" fmla="*/ 710643 h 1046508"/>
                  <a:gd name="connsiteX85" fmla="*/ 14298 w 1200744"/>
                  <a:gd name="connsiteY85" fmla="*/ 696345 h 1046508"/>
                  <a:gd name="connsiteX86" fmla="*/ 0 w 1200744"/>
                  <a:gd name="connsiteY86" fmla="*/ 661828 h 1046508"/>
                  <a:gd name="connsiteX87" fmla="*/ 14298 w 1200744"/>
                  <a:gd name="connsiteY87" fmla="*/ 627310 h 1046508"/>
                  <a:gd name="connsiteX88" fmla="*/ 48816 w 1200744"/>
                  <a:gd name="connsiteY88" fmla="*/ 613012 h 1046508"/>
                  <a:gd name="connsiteX89" fmla="*/ 59346 w 1200744"/>
                  <a:gd name="connsiteY89" fmla="*/ 613012 h 1046508"/>
                  <a:gd name="connsiteX90" fmla="*/ 59247 w 1200744"/>
                  <a:gd name="connsiteY90" fmla="*/ 501147 h 1046508"/>
                  <a:gd name="connsiteX91" fmla="*/ 48816 w 1200744"/>
                  <a:gd name="connsiteY91" fmla="*/ 501147 h 1046508"/>
                  <a:gd name="connsiteX92" fmla="*/ 14298 w 1200744"/>
                  <a:gd name="connsiteY92" fmla="*/ 486849 h 1046508"/>
                  <a:gd name="connsiteX93" fmla="*/ 0 w 1200744"/>
                  <a:gd name="connsiteY93" fmla="*/ 452332 h 1046508"/>
                  <a:gd name="connsiteX94" fmla="*/ 14298 w 1200744"/>
                  <a:gd name="connsiteY94" fmla="*/ 417814 h 1046508"/>
                  <a:gd name="connsiteX95" fmla="*/ 48816 w 1200744"/>
                  <a:gd name="connsiteY95" fmla="*/ 403516 h 1046508"/>
                  <a:gd name="connsiteX96" fmla="*/ 59161 w 1200744"/>
                  <a:gd name="connsiteY96" fmla="*/ 403516 h 1046508"/>
                  <a:gd name="connsiteX97" fmla="*/ 59063 w 1200744"/>
                  <a:gd name="connsiteY97" fmla="*/ 291651 h 1046508"/>
                  <a:gd name="connsiteX98" fmla="*/ 48816 w 1200744"/>
                  <a:gd name="connsiteY98" fmla="*/ 291651 h 1046508"/>
                  <a:gd name="connsiteX99" fmla="*/ 14298 w 1200744"/>
                  <a:gd name="connsiteY99" fmla="*/ 277353 h 1046508"/>
                  <a:gd name="connsiteX100" fmla="*/ 0 w 1200744"/>
                  <a:gd name="connsiteY100" fmla="*/ 242836 h 1046508"/>
                  <a:gd name="connsiteX101" fmla="*/ 14298 w 1200744"/>
                  <a:gd name="connsiteY101" fmla="*/ 208318 h 1046508"/>
                  <a:gd name="connsiteX102" fmla="*/ 48816 w 1200744"/>
                  <a:gd name="connsiteY102" fmla="*/ 194020 h 1046508"/>
                  <a:gd name="connsiteX103" fmla="*/ 58977 w 1200744"/>
                  <a:gd name="connsiteY103" fmla="*/ 194020 h 1046508"/>
                  <a:gd name="connsiteX104" fmla="*/ 58806 w 1200744"/>
                  <a:gd name="connsiteY104"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792956 w 1200744"/>
                  <a:gd name="connsiteY49" fmla="*/ 387635 h 1046508"/>
                  <a:gd name="connsiteX50" fmla="*/ 1157493 w 1200744"/>
                  <a:gd name="connsiteY50" fmla="*/ 347675 h 1046508"/>
                  <a:gd name="connsiteX51" fmla="*/ 1200471 w 1200744"/>
                  <a:gd name="connsiteY51" fmla="*/ 381525 h 1046508"/>
                  <a:gd name="connsiteX52" fmla="*/ 1200470 w 1200744"/>
                  <a:gd name="connsiteY52" fmla="*/ 381526 h 1046508"/>
                  <a:gd name="connsiteX53" fmla="*/ 1166620 w 1200744"/>
                  <a:gd name="connsiteY53" fmla="*/ 424503 h 1046508"/>
                  <a:gd name="connsiteX54" fmla="*/ 883444 w 1200744"/>
                  <a:gd name="connsiteY54" fmla="*/ 458146 h 1046508"/>
                  <a:gd name="connsiteX55" fmla="*/ 883444 w 1200744"/>
                  <a:gd name="connsiteY55" fmla="*/ 506141 h 1046508"/>
                  <a:gd name="connsiteX56" fmla="*/ 792956 w 1200744"/>
                  <a:gd name="connsiteY56" fmla="*/ 516892 h 1046508"/>
                  <a:gd name="connsiteX57" fmla="*/ 792956 w 1200744"/>
                  <a:gd name="connsiteY57" fmla="*/ 468897 h 1046508"/>
                  <a:gd name="connsiteX58" fmla="*/ 688181 w 1200744"/>
                  <a:gd name="connsiteY58" fmla="*/ 481345 h 1046508"/>
                  <a:gd name="connsiteX59" fmla="*/ 688181 w 1200744"/>
                  <a:gd name="connsiteY59" fmla="*/ 529340 h 1046508"/>
                  <a:gd name="connsiteX60" fmla="*/ 418176 w 1200744"/>
                  <a:gd name="connsiteY60" fmla="*/ 561418 h 1046508"/>
                  <a:gd name="connsiteX61" fmla="*/ 392350 w 1200744"/>
                  <a:gd name="connsiteY61" fmla="*/ 575897 h 1046508"/>
                  <a:gd name="connsiteX62" fmla="*/ 384326 w 1200744"/>
                  <a:gd name="connsiteY62" fmla="*/ 604396 h 1046508"/>
                  <a:gd name="connsiteX63" fmla="*/ 398804 w 1200744"/>
                  <a:gd name="connsiteY63" fmla="*/ 630221 h 1046508"/>
                  <a:gd name="connsiteX64" fmla="*/ 427304 w 1200744"/>
                  <a:gd name="connsiteY64" fmla="*/ 638245 h 1046508"/>
                  <a:gd name="connsiteX65" fmla="*/ 1104900 w 1200744"/>
                  <a:gd name="connsiteY65" fmla="*/ 557742 h 1046508"/>
                  <a:gd name="connsiteX66" fmla="*/ 1104900 w 1200744"/>
                  <a:gd name="connsiteY66" fmla="*/ 558713 h 1046508"/>
                  <a:gd name="connsiteX67" fmla="*/ 1157491 w 1200744"/>
                  <a:gd name="connsiteY67" fmla="*/ 552464 h 1046508"/>
                  <a:gd name="connsiteX68" fmla="*/ 1200469 w 1200744"/>
                  <a:gd name="connsiteY68" fmla="*/ 586314 h 1046508"/>
                  <a:gd name="connsiteX69" fmla="*/ 1200468 w 1200744"/>
                  <a:gd name="connsiteY69" fmla="*/ 586314 h 1046508"/>
                  <a:gd name="connsiteX70" fmla="*/ 1166618 w 1200744"/>
                  <a:gd name="connsiteY70" fmla="*/ 629292 h 1046508"/>
                  <a:gd name="connsiteX71" fmla="*/ 1104900 w 1200744"/>
                  <a:gd name="connsiteY71" fmla="*/ 636624 h 1046508"/>
                  <a:gd name="connsiteX72" fmla="*/ 1104900 w 1200744"/>
                  <a:gd name="connsiteY72" fmla="*/ 817908 h 1046508"/>
                  <a:gd name="connsiteX73" fmla="*/ 971550 w 1200744"/>
                  <a:gd name="connsiteY73" fmla="*/ 946496 h 1046508"/>
                  <a:gd name="connsiteX74" fmla="*/ 752889 w 1200744"/>
                  <a:gd name="connsiteY74" fmla="*/ 946496 h 1046508"/>
                  <a:gd name="connsiteX75" fmla="*/ 749140 w 1200744"/>
                  <a:gd name="connsiteY75" fmla="*/ 965065 h 1046508"/>
                  <a:gd name="connsiteX76" fmla="*/ 626271 w 1200744"/>
                  <a:gd name="connsiteY76" fmla="*/ 1046508 h 1046508"/>
                  <a:gd name="connsiteX77" fmla="*/ 533770 w 1200744"/>
                  <a:gd name="connsiteY77" fmla="*/ 1046508 h 1046508"/>
                  <a:gd name="connsiteX78" fmla="*/ 410901 w 1200744"/>
                  <a:gd name="connsiteY78" fmla="*/ 965065 h 1046508"/>
                  <a:gd name="connsiteX79" fmla="*/ 407153 w 1200744"/>
                  <a:gd name="connsiteY79" fmla="*/ 946496 h 1046508"/>
                  <a:gd name="connsiteX80" fmla="*/ 190500 w 1200744"/>
                  <a:gd name="connsiteY80" fmla="*/ 946496 h 1046508"/>
                  <a:gd name="connsiteX81" fmla="*/ 59532 w 1200744"/>
                  <a:gd name="connsiteY81" fmla="*/ 825052 h 1046508"/>
                  <a:gd name="connsiteX82" fmla="*/ 59432 w 1200744"/>
                  <a:gd name="connsiteY82" fmla="*/ 710643 h 1046508"/>
                  <a:gd name="connsiteX83" fmla="*/ 48816 w 1200744"/>
                  <a:gd name="connsiteY83" fmla="*/ 710643 h 1046508"/>
                  <a:gd name="connsiteX84" fmla="*/ 14298 w 1200744"/>
                  <a:gd name="connsiteY84" fmla="*/ 696345 h 1046508"/>
                  <a:gd name="connsiteX85" fmla="*/ 0 w 1200744"/>
                  <a:gd name="connsiteY85" fmla="*/ 661828 h 1046508"/>
                  <a:gd name="connsiteX86" fmla="*/ 14298 w 1200744"/>
                  <a:gd name="connsiteY86" fmla="*/ 627310 h 1046508"/>
                  <a:gd name="connsiteX87" fmla="*/ 48816 w 1200744"/>
                  <a:gd name="connsiteY87" fmla="*/ 613012 h 1046508"/>
                  <a:gd name="connsiteX88" fmla="*/ 59346 w 1200744"/>
                  <a:gd name="connsiteY88" fmla="*/ 613012 h 1046508"/>
                  <a:gd name="connsiteX89" fmla="*/ 59247 w 1200744"/>
                  <a:gd name="connsiteY89" fmla="*/ 501147 h 1046508"/>
                  <a:gd name="connsiteX90" fmla="*/ 48816 w 1200744"/>
                  <a:gd name="connsiteY90" fmla="*/ 501147 h 1046508"/>
                  <a:gd name="connsiteX91" fmla="*/ 14298 w 1200744"/>
                  <a:gd name="connsiteY91" fmla="*/ 486849 h 1046508"/>
                  <a:gd name="connsiteX92" fmla="*/ 0 w 1200744"/>
                  <a:gd name="connsiteY92" fmla="*/ 452332 h 1046508"/>
                  <a:gd name="connsiteX93" fmla="*/ 14298 w 1200744"/>
                  <a:gd name="connsiteY93" fmla="*/ 417814 h 1046508"/>
                  <a:gd name="connsiteX94" fmla="*/ 48816 w 1200744"/>
                  <a:gd name="connsiteY94" fmla="*/ 403516 h 1046508"/>
                  <a:gd name="connsiteX95" fmla="*/ 59161 w 1200744"/>
                  <a:gd name="connsiteY95" fmla="*/ 403516 h 1046508"/>
                  <a:gd name="connsiteX96" fmla="*/ 59063 w 1200744"/>
                  <a:gd name="connsiteY96" fmla="*/ 291651 h 1046508"/>
                  <a:gd name="connsiteX97" fmla="*/ 48816 w 1200744"/>
                  <a:gd name="connsiteY97" fmla="*/ 291651 h 1046508"/>
                  <a:gd name="connsiteX98" fmla="*/ 14298 w 1200744"/>
                  <a:gd name="connsiteY98" fmla="*/ 277353 h 1046508"/>
                  <a:gd name="connsiteX99" fmla="*/ 0 w 1200744"/>
                  <a:gd name="connsiteY99" fmla="*/ 242836 h 1046508"/>
                  <a:gd name="connsiteX100" fmla="*/ 14298 w 1200744"/>
                  <a:gd name="connsiteY100" fmla="*/ 208318 h 1046508"/>
                  <a:gd name="connsiteX101" fmla="*/ 48816 w 1200744"/>
                  <a:gd name="connsiteY101" fmla="*/ 194020 h 1046508"/>
                  <a:gd name="connsiteX102" fmla="*/ 58977 w 1200744"/>
                  <a:gd name="connsiteY102" fmla="*/ 194020 h 1046508"/>
                  <a:gd name="connsiteX103" fmla="*/ 58806 w 1200744"/>
                  <a:gd name="connsiteY103"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1157493 w 1200744"/>
                  <a:gd name="connsiteY49" fmla="*/ 347675 h 1046508"/>
                  <a:gd name="connsiteX50" fmla="*/ 1200471 w 1200744"/>
                  <a:gd name="connsiteY50" fmla="*/ 381525 h 1046508"/>
                  <a:gd name="connsiteX51" fmla="*/ 1200470 w 1200744"/>
                  <a:gd name="connsiteY51" fmla="*/ 381526 h 1046508"/>
                  <a:gd name="connsiteX52" fmla="*/ 1166620 w 1200744"/>
                  <a:gd name="connsiteY52" fmla="*/ 424503 h 1046508"/>
                  <a:gd name="connsiteX53" fmla="*/ 883444 w 1200744"/>
                  <a:gd name="connsiteY53" fmla="*/ 458146 h 1046508"/>
                  <a:gd name="connsiteX54" fmla="*/ 883444 w 1200744"/>
                  <a:gd name="connsiteY54" fmla="*/ 506141 h 1046508"/>
                  <a:gd name="connsiteX55" fmla="*/ 792956 w 1200744"/>
                  <a:gd name="connsiteY55" fmla="*/ 516892 h 1046508"/>
                  <a:gd name="connsiteX56" fmla="*/ 792956 w 1200744"/>
                  <a:gd name="connsiteY56" fmla="*/ 468897 h 1046508"/>
                  <a:gd name="connsiteX57" fmla="*/ 688181 w 1200744"/>
                  <a:gd name="connsiteY57" fmla="*/ 481345 h 1046508"/>
                  <a:gd name="connsiteX58" fmla="*/ 688181 w 1200744"/>
                  <a:gd name="connsiteY58" fmla="*/ 529340 h 1046508"/>
                  <a:gd name="connsiteX59" fmla="*/ 418176 w 1200744"/>
                  <a:gd name="connsiteY59" fmla="*/ 561418 h 1046508"/>
                  <a:gd name="connsiteX60" fmla="*/ 392350 w 1200744"/>
                  <a:gd name="connsiteY60" fmla="*/ 575897 h 1046508"/>
                  <a:gd name="connsiteX61" fmla="*/ 384326 w 1200744"/>
                  <a:gd name="connsiteY61" fmla="*/ 604396 h 1046508"/>
                  <a:gd name="connsiteX62" fmla="*/ 398804 w 1200744"/>
                  <a:gd name="connsiteY62" fmla="*/ 630221 h 1046508"/>
                  <a:gd name="connsiteX63" fmla="*/ 427304 w 1200744"/>
                  <a:gd name="connsiteY63" fmla="*/ 638245 h 1046508"/>
                  <a:gd name="connsiteX64" fmla="*/ 1104900 w 1200744"/>
                  <a:gd name="connsiteY64" fmla="*/ 557742 h 1046508"/>
                  <a:gd name="connsiteX65" fmla="*/ 1104900 w 1200744"/>
                  <a:gd name="connsiteY65" fmla="*/ 558713 h 1046508"/>
                  <a:gd name="connsiteX66" fmla="*/ 1157491 w 1200744"/>
                  <a:gd name="connsiteY66" fmla="*/ 552464 h 1046508"/>
                  <a:gd name="connsiteX67" fmla="*/ 1200469 w 1200744"/>
                  <a:gd name="connsiteY67" fmla="*/ 586314 h 1046508"/>
                  <a:gd name="connsiteX68" fmla="*/ 1200468 w 1200744"/>
                  <a:gd name="connsiteY68" fmla="*/ 586314 h 1046508"/>
                  <a:gd name="connsiteX69" fmla="*/ 1166618 w 1200744"/>
                  <a:gd name="connsiteY69" fmla="*/ 629292 h 1046508"/>
                  <a:gd name="connsiteX70" fmla="*/ 1104900 w 1200744"/>
                  <a:gd name="connsiteY70" fmla="*/ 636624 h 1046508"/>
                  <a:gd name="connsiteX71" fmla="*/ 1104900 w 1200744"/>
                  <a:gd name="connsiteY71" fmla="*/ 817908 h 1046508"/>
                  <a:gd name="connsiteX72" fmla="*/ 971550 w 1200744"/>
                  <a:gd name="connsiteY72" fmla="*/ 946496 h 1046508"/>
                  <a:gd name="connsiteX73" fmla="*/ 752889 w 1200744"/>
                  <a:gd name="connsiteY73" fmla="*/ 946496 h 1046508"/>
                  <a:gd name="connsiteX74" fmla="*/ 749140 w 1200744"/>
                  <a:gd name="connsiteY74" fmla="*/ 965065 h 1046508"/>
                  <a:gd name="connsiteX75" fmla="*/ 626271 w 1200744"/>
                  <a:gd name="connsiteY75" fmla="*/ 1046508 h 1046508"/>
                  <a:gd name="connsiteX76" fmla="*/ 533770 w 1200744"/>
                  <a:gd name="connsiteY76" fmla="*/ 1046508 h 1046508"/>
                  <a:gd name="connsiteX77" fmla="*/ 410901 w 1200744"/>
                  <a:gd name="connsiteY77" fmla="*/ 965065 h 1046508"/>
                  <a:gd name="connsiteX78" fmla="*/ 407153 w 1200744"/>
                  <a:gd name="connsiteY78" fmla="*/ 946496 h 1046508"/>
                  <a:gd name="connsiteX79" fmla="*/ 190500 w 1200744"/>
                  <a:gd name="connsiteY79" fmla="*/ 946496 h 1046508"/>
                  <a:gd name="connsiteX80" fmla="*/ 59532 w 1200744"/>
                  <a:gd name="connsiteY80" fmla="*/ 825052 h 1046508"/>
                  <a:gd name="connsiteX81" fmla="*/ 59432 w 1200744"/>
                  <a:gd name="connsiteY81" fmla="*/ 710643 h 1046508"/>
                  <a:gd name="connsiteX82" fmla="*/ 48816 w 1200744"/>
                  <a:gd name="connsiteY82" fmla="*/ 710643 h 1046508"/>
                  <a:gd name="connsiteX83" fmla="*/ 14298 w 1200744"/>
                  <a:gd name="connsiteY83" fmla="*/ 696345 h 1046508"/>
                  <a:gd name="connsiteX84" fmla="*/ 0 w 1200744"/>
                  <a:gd name="connsiteY84" fmla="*/ 661828 h 1046508"/>
                  <a:gd name="connsiteX85" fmla="*/ 14298 w 1200744"/>
                  <a:gd name="connsiteY85" fmla="*/ 627310 h 1046508"/>
                  <a:gd name="connsiteX86" fmla="*/ 48816 w 1200744"/>
                  <a:gd name="connsiteY86" fmla="*/ 613012 h 1046508"/>
                  <a:gd name="connsiteX87" fmla="*/ 59346 w 1200744"/>
                  <a:gd name="connsiteY87" fmla="*/ 613012 h 1046508"/>
                  <a:gd name="connsiteX88" fmla="*/ 59247 w 1200744"/>
                  <a:gd name="connsiteY88" fmla="*/ 501147 h 1046508"/>
                  <a:gd name="connsiteX89" fmla="*/ 48816 w 1200744"/>
                  <a:gd name="connsiteY89" fmla="*/ 501147 h 1046508"/>
                  <a:gd name="connsiteX90" fmla="*/ 14298 w 1200744"/>
                  <a:gd name="connsiteY90" fmla="*/ 486849 h 1046508"/>
                  <a:gd name="connsiteX91" fmla="*/ 0 w 1200744"/>
                  <a:gd name="connsiteY91" fmla="*/ 452332 h 1046508"/>
                  <a:gd name="connsiteX92" fmla="*/ 14298 w 1200744"/>
                  <a:gd name="connsiteY92" fmla="*/ 417814 h 1046508"/>
                  <a:gd name="connsiteX93" fmla="*/ 48816 w 1200744"/>
                  <a:gd name="connsiteY93" fmla="*/ 403516 h 1046508"/>
                  <a:gd name="connsiteX94" fmla="*/ 59161 w 1200744"/>
                  <a:gd name="connsiteY94" fmla="*/ 403516 h 1046508"/>
                  <a:gd name="connsiteX95" fmla="*/ 59063 w 1200744"/>
                  <a:gd name="connsiteY95" fmla="*/ 291651 h 1046508"/>
                  <a:gd name="connsiteX96" fmla="*/ 48816 w 1200744"/>
                  <a:gd name="connsiteY96" fmla="*/ 291651 h 1046508"/>
                  <a:gd name="connsiteX97" fmla="*/ 14298 w 1200744"/>
                  <a:gd name="connsiteY97" fmla="*/ 277353 h 1046508"/>
                  <a:gd name="connsiteX98" fmla="*/ 0 w 1200744"/>
                  <a:gd name="connsiteY98" fmla="*/ 242836 h 1046508"/>
                  <a:gd name="connsiteX99" fmla="*/ 14298 w 1200744"/>
                  <a:gd name="connsiteY99" fmla="*/ 208318 h 1046508"/>
                  <a:gd name="connsiteX100" fmla="*/ 48816 w 1200744"/>
                  <a:gd name="connsiteY100" fmla="*/ 194020 h 1046508"/>
                  <a:gd name="connsiteX101" fmla="*/ 58977 w 1200744"/>
                  <a:gd name="connsiteY101" fmla="*/ 194020 h 1046508"/>
                  <a:gd name="connsiteX102" fmla="*/ 58806 w 1200744"/>
                  <a:gd name="connsiteY102"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1157493 w 1200744"/>
                  <a:gd name="connsiteY48" fmla="*/ 347675 h 1046508"/>
                  <a:gd name="connsiteX49" fmla="*/ 1200471 w 1200744"/>
                  <a:gd name="connsiteY49" fmla="*/ 381525 h 1046508"/>
                  <a:gd name="connsiteX50" fmla="*/ 1200470 w 1200744"/>
                  <a:gd name="connsiteY50" fmla="*/ 381526 h 1046508"/>
                  <a:gd name="connsiteX51" fmla="*/ 1166620 w 1200744"/>
                  <a:gd name="connsiteY51" fmla="*/ 424503 h 1046508"/>
                  <a:gd name="connsiteX52" fmla="*/ 883444 w 1200744"/>
                  <a:gd name="connsiteY52" fmla="*/ 458146 h 1046508"/>
                  <a:gd name="connsiteX53" fmla="*/ 883444 w 1200744"/>
                  <a:gd name="connsiteY53" fmla="*/ 506141 h 1046508"/>
                  <a:gd name="connsiteX54" fmla="*/ 792956 w 1200744"/>
                  <a:gd name="connsiteY54" fmla="*/ 516892 h 1046508"/>
                  <a:gd name="connsiteX55" fmla="*/ 792956 w 1200744"/>
                  <a:gd name="connsiteY55" fmla="*/ 468897 h 1046508"/>
                  <a:gd name="connsiteX56" fmla="*/ 688181 w 1200744"/>
                  <a:gd name="connsiteY56" fmla="*/ 481345 h 1046508"/>
                  <a:gd name="connsiteX57" fmla="*/ 688181 w 1200744"/>
                  <a:gd name="connsiteY57" fmla="*/ 529340 h 1046508"/>
                  <a:gd name="connsiteX58" fmla="*/ 418176 w 1200744"/>
                  <a:gd name="connsiteY58" fmla="*/ 561418 h 1046508"/>
                  <a:gd name="connsiteX59" fmla="*/ 392350 w 1200744"/>
                  <a:gd name="connsiteY59" fmla="*/ 575897 h 1046508"/>
                  <a:gd name="connsiteX60" fmla="*/ 384326 w 1200744"/>
                  <a:gd name="connsiteY60" fmla="*/ 604396 h 1046508"/>
                  <a:gd name="connsiteX61" fmla="*/ 398804 w 1200744"/>
                  <a:gd name="connsiteY61" fmla="*/ 630221 h 1046508"/>
                  <a:gd name="connsiteX62" fmla="*/ 427304 w 1200744"/>
                  <a:gd name="connsiteY62" fmla="*/ 638245 h 1046508"/>
                  <a:gd name="connsiteX63" fmla="*/ 1104900 w 1200744"/>
                  <a:gd name="connsiteY63" fmla="*/ 557742 h 1046508"/>
                  <a:gd name="connsiteX64" fmla="*/ 1104900 w 1200744"/>
                  <a:gd name="connsiteY64" fmla="*/ 558713 h 1046508"/>
                  <a:gd name="connsiteX65" fmla="*/ 1157491 w 1200744"/>
                  <a:gd name="connsiteY65" fmla="*/ 552464 h 1046508"/>
                  <a:gd name="connsiteX66" fmla="*/ 1200469 w 1200744"/>
                  <a:gd name="connsiteY66" fmla="*/ 586314 h 1046508"/>
                  <a:gd name="connsiteX67" fmla="*/ 1200468 w 1200744"/>
                  <a:gd name="connsiteY67" fmla="*/ 586314 h 1046508"/>
                  <a:gd name="connsiteX68" fmla="*/ 1166618 w 1200744"/>
                  <a:gd name="connsiteY68" fmla="*/ 629292 h 1046508"/>
                  <a:gd name="connsiteX69" fmla="*/ 1104900 w 1200744"/>
                  <a:gd name="connsiteY69" fmla="*/ 636624 h 1046508"/>
                  <a:gd name="connsiteX70" fmla="*/ 1104900 w 1200744"/>
                  <a:gd name="connsiteY70" fmla="*/ 817908 h 1046508"/>
                  <a:gd name="connsiteX71" fmla="*/ 971550 w 1200744"/>
                  <a:gd name="connsiteY71" fmla="*/ 946496 h 1046508"/>
                  <a:gd name="connsiteX72" fmla="*/ 752889 w 1200744"/>
                  <a:gd name="connsiteY72" fmla="*/ 946496 h 1046508"/>
                  <a:gd name="connsiteX73" fmla="*/ 749140 w 1200744"/>
                  <a:gd name="connsiteY73" fmla="*/ 965065 h 1046508"/>
                  <a:gd name="connsiteX74" fmla="*/ 626271 w 1200744"/>
                  <a:gd name="connsiteY74" fmla="*/ 1046508 h 1046508"/>
                  <a:gd name="connsiteX75" fmla="*/ 533770 w 1200744"/>
                  <a:gd name="connsiteY75" fmla="*/ 1046508 h 1046508"/>
                  <a:gd name="connsiteX76" fmla="*/ 410901 w 1200744"/>
                  <a:gd name="connsiteY76" fmla="*/ 965065 h 1046508"/>
                  <a:gd name="connsiteX77" fmla="*/ 407153 w 1200744"/>
                  <a:gd name="connsiteY77" fmla="*/ 946496 h 1046508"/>
                  <a:gd name="connsiteX78" fmla="*/ 190500 w 1200744"/>
                  <a:gd name="connsiteY78" fmla="*/ 946496 h 1046508"/>
                  <a:gd name="connsiteX79" fmla="*/ 59532 w 1200744"/>
                  <a:gd name="connsiteY79" fmla="*/ 825052 h 1046508"/>
                  <a:gd name="connsiteX80" fmla="*/ 59432 w 1200744"/>
                  <a:gd name="connsiteY80" fmla="*/ 710643 h 1046508"/>
                  <a:gd name="connsiteX81" fmla="*/ 48816 w 1200744"/>
                  <a:gd name="connsiteY81" fmla="*/ 710643 h 1046508"/>
                  <a:gd name="connsiteX82" fmla="*/ 14298 w 1200744"/>
                  <a:gd name="connsiteY82" fmla="*/ 696345 h 1046508"/>
                  <a:gd name="connsiteX83" fmla="*/ 0 w 1200744"/>
                  <a:gd name="connsiteY83" fmla="*/ 661828 h 1046508"/>
                  <a:gd name="connsiteX84" fmla="*/ 14298 w 1200744"/>
                  <a:gd name="connsiteY84" fmla="*/ 627310 h 1046508"/>
                  <a:gd name="connsiteX85" fmla="*/ 48816 w 1200744"/>
                  <a:gd name="connsiteY85" fmla="*/ 613012 h 1046508"/>
                  <a:gd name="connsiteX86" fmla="*/ 59346 w 1200744"/>
                  <a:gd name="connsiteY86" fmla="*/ 613012 h 1046508"/>
                  <a:gd name="connsiteX87" fmla="*/ 59247 w 1200744"/>
                  <a:gd name="connsiteY87" fmla="*/ 501147 h 1046508"/>
                  <a:gd name="connsiteX88" fmla="*/ 48816 w 1200744"/>
                  <a:gd name="connsiteY88" fmla="*/ 501147 h 1046508"/>
                  <a:gd name="connsiteX89" fmla="*/ 14298 w 1200744"/>
                  <a:gd name="connsiteY89" fmla="*/ 486849 h 1046508"/>
                  <a:gd name="connsiteX90" fmla="*/ 0 w 1200744"/>
                  <a:gd name="connsiteY90" fmla="*/ 452332 h 1046508"/>
                  <a:gd name="connsiteX91" fmla="*/ 14298 w 1200744"/>
                  <a:gd name="connsiteY91" fmla="*/ 417814 h 1046508"/>
                  <a:gd name="connsiteX92" fmla="*/ 48816 w 1200744"/>
                  <a:gd name="connsiteY92" fmla="*/ 403516 h 1046508"/>
                  <a:gd name="connsiteX93" fmla="*/ 59161 w 1200744"/>
                  <a:gd name="connsiteY93" fmla="*/ 403516 h 1046508"/>
                  <a:gd name="connsiteX94" fmla="*/ 59063 w 1200744"/>
                  <a:gd name="connsiteY94" fmla="*/ 291651 h 1046508"/>
                  <a:gd name="connsiteX95" fmla="*/ 48816 w 1200744"/>
                  <a:gd name="connsiteY95" fmla="*/ 291651 h 1046508"/>
                  <a:gd name="connsiteX96" fmla="*/ 14298 w 1200744"/>
                  <a:gd name="connsiteY96" fmla="*/ 277353 h 1046508"/>
                  <a:gd name="connsiteX97" fmla="*/ 0 w 1200744"/>
                  <a:gd name="connsiteY97" fmla="*/ 242836 h 1046508"/>
                  <a:gd name="connsiteX98" fmla="*/ 14298 w 1200744"/>
                  <a:gd name="connsiteY98" fmla="*/ 208318 h 1046508"/>
                  <a:gd name="connsiteX99" fmla="*/ 48816 w 1200744"/>
                  <a:gd name="connsiteY99" fmla="*/ 194020 h 1046508"/>
                  <a:gd name="connsiteX100" fmla="*/ 58977 w 1200744"/>
                  <a:gd name="connsiteY100" fmla="*/ 194020 h 1046508"/>
                  <a:gd name="connsiteX101" fmla="*/ 58806 w 1200744"/>
                  <a:gd name="connsiteY101"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1157493 w 1200744"/>
                  <a:gd name="connsiteY47" fmla="*/ 347675 h 1046508"/>
                  <a:gd name="connsiteX48" fmla="*/ 1200471 w 1200744"/>
                  <a:gd name="connsiteY48" fmla="*/ 381525 h 1046508"/>
                  <a:gd name="connsiteX49" fmla="*/ 1200470 w 1200744"/>
                  <a:gd name="connsiteY49" fmla="*/ 381526 h 1046508"/>
                  <a:gd name="connsiteX50" fmla="*/ 1166620 w 1200744"/>
                  <a:gd name="connsiteY50" fmla="*/ 424503 h 1046508"/>
                  <a:gd name="connsiteX51" fmla="*/ 883444 w 1200744"/>
                  <a:gd name="connsiteY51" fmla="*/ 458146 h 1046508"/>
                  <a:gd name="connsiteX52" fmla="*/ 883444 w 1200744"/>
                  <a:gd name="connsiteY52" fmla="*/ 506141 h 1046508"/>
                  <a:gd name="connsiteX53" fmla="*/ 792956 w 1200744"/>
                  <a:gd name="connsiteY53" fmla="*/ 516892 h 1046508"/>
                  <a:gd name="connsiteX54" fmla="*/ 792956 w 1200744"/>
                  <a:gd name="connsiteY54" fmla="*/ 468897 h 1046508"/>
                  <a:gd name="connsiteX55" fmla="*/ 688181 w 1200744"/>
                  <a:gd name="connsiteY55" fmla="*/ 481345 h 1046508"/>
                  <a:gd name="connsiteX56" fmla="*/ 688181 w 1200744"/>
                  <a:gd name="connsiteY56" fmla="*/ 529340 h 1046508"/>
                  <a:gd name="connsiteX57" fmla="*/ 418176 w 1200744"/>
                  <a:gd name="connsiteY57" fmla="*/ 561418 h 1046508"/>
                  <a:gd name="connsiteX58" fmla="*/ 392350 w 1200744"/>
                  <a:gd name="connsiteY58" fmla="*/ 575897 h 1046508"/>
                  <a:gd name="connsiteX59" fmla="*/ 384326 w 1200744"/>
                  <a:gd name="connsiteY59" fmla="*/ 604396 h 1046508"/>
                  <a:gd name="connsiteX60" fmla="*/ 398804 w 1200744"/>
                  <a:gd name="connsiteY60" fmla="*/ 630221 h 1046508"/>
                  <a:gd name="connsiteX61" fmla="*/ 427304 w 1200744"/>
                  <a:gd name="connsiteY61" fmla="*/ 638245 h 1046508"/>
                  <a:gd name="connsiteX62" fmla="*/ 1104900 w 1200744"/>
                  <a:gd name="connsiteY62" fmla="*/ 557742 h 1046508"/>
                  <a:gd name="connsiteX63" fmla="*/ 1104900 w 1200744"/>
                  <a:gd name="connsiteY63" fmla="*/ 558713 h 1046508"/>
                  <a:gd name="connsiteX64" fmla="*/ 1157491 w 1200744"/>
                  <a:gd name="connsiteY64" fmla="*/ 552464 h 1046508"/>
                  <a:gd name="connsiteX65" fmla="*/ 1200469 w 1200744"/>
                  <a:gd name="connsiteY65" fmla="*/ 586314 h 1046508"/>
                  <a:gd name="connsiteX66" fmla="*/ 1200468 w 1200744"/>
                  <a:gd name="connsiteY66" fmla="*/ 586314 h 1046508"/>
                  <a:gd name="connsiteX67" fmla="*/ 1166618 w 1200744"/>
                  <a:gd name="connsiteY67" fmla="*/ 629292 h 1046508"/>
                  <a:gd name="connsiteX68" fmla="*/ 1104900 w 1200744"/>
                  <a:gd name="connsiteY68" fmla="*/ 636624 h 1046508"/>
                  <a:gd name="connsiteX69" fmla="*/ 1104900 w 1200744"/>
                  <a:gd name="connsiteY69" fmla="*/ 817908 h 1046508"/>
                  <a:gd name="connsiteX70" fmla="*/ 971550 w 1200744"/>
                  <a:gd name="connsiteY70" fmla="*/ 946496 h 1046508"/>
                  <a:gd name="connsiteX71" fmla="*/ 752889 w 1200744"/>
                  <a:gd name="connsiteY71" fmla="*/ 946496 h 1046508"/>
                  <a:gd name="connsiteX72" fmla="*/ 749140 w 1200744"/>
                  <a:gd name="connsiteY72" fmla="*/ 965065 h 1046508"/>
                  <a:gd name="connsiteX73" fmla="*/ 626271 w 1200744"/>
                  <a:gd name="connsiteY73" fmla="*/ 1046508 h 1046508"/>
                  <a:gd name="connsiteX74" fmla="*/ 533770 w 1200744"/>
                  <a:gd name="connsiteY74" fmla="*/ 1046508 h 1046508"/>
                  <a:gd name="connsiteX75" fmla="*/ 410901 w 1200744"/>
                  <a:gd name="connsiteY75" fmla="*/ 965065 h 1046508"/>
                  <a:gd name="connsiteX76" fmla="*/ 407153 w 1200744"/>
                  <a:gd name="connsiteY76" fmla="*/ 946496 h 1046508"/>
                  <a:gd name="connsiteX77" fmla="*/ 190500 w 1200744"/>
                  <a:gd name="connsiteY77" fmla="*/ 946496 h 1046508"/>
                  <a:gd name="connsiteX78" fmla="*/ 59532 w 1200744"/>
                  <a:gd name="connsiteY78" fmla="*/ 825052 h 1046508"/>
                  <a:gd name="connsiteX79" fmla="*/ 59432 w 1200744"/>
                  <a:gd name="connsiteY79" fmla="*/ 710643 h 1046508"/>
                  <a:gd name="connsiteX80" fmla="*/ 48816 w 1200744"/>
                  <a:gd name="connsiteY80" fmla="*/ 710643 h 1046508"/>
                  <a:gd name="connsiteX81" fmla="*/ 14298 w 1200744"/>
                  <a:gd name="connsiteY81" fmla="*/ 696345 h 1046508"/>
                  <a:gd name="connsiteX82" fmla="*/ 0 w 1200744"/>
                  <a:gd name="connsiteY82" fmla="*/ 661828 h 1046508"/>
                  <a:gd name="connsiteX83" fmla="*/ 14298 w 1200744"/>
                  <a:gd name="connsiteY83" fmla="*/ 627310 h 1046508"/>
                  <a:gd name="connsiteX84" fmla="*/ 48816 w 1200744"/>
                  <a:gd name="connsiteY84" fmla="*/ 613012 h 1046508"/>
                  <a:gd name="connsiteX85" fmla="*/ 59346 w 1200744"/>
                  <a:gd name="connsiteY85" fmla="*/ 613012 h 1046508"/>
                  <a:gd name="connsiteX86" fmla="*/ 59247 w 1200744"/>
                  <a:gd name="connsiteY86" fmla="*/ 501147 h 1046508"/>
                  <a:gd name="connsiteX87" fmla="*/ 48816 w 1200744"/>
                  <a:gd name="connsiteY87" fmla="*/ 501147 h 1046508"/>
                  <a:gd name="connsiteX88" fmla="*/ 14298 w 1200744"/>
                  <a:gd name="connsiteY88" fmla="*/ 486849 h 1046508"/>
                  <a:gd name="connsiteX89" fmla="*/ 0 w 1200744"/>
                  <a:gd name="connsiteY89" fmla="*/ 452332 h 1046508"/>
                  <a:gd name="connsiteX90" fmla="*/ 14298 w 1200744"/>
                  <a:gd name="connsiteY90" fmla="*/ 417814 h 1046508"/>
                  <a:gd name="connsiteX91" fmla="*/ 48816 w 1200744"/>
                  <a:gd name="connsiteY91" fmla="*/ 403516 h 1046508"/>
                  <a:gd name="connsiteX92" fmla="*/ 59161 w 1200744"/>
                  <a:gd name="connsiteY92" fmla="*/ 403516 h 1046508"/>
                  <a:gd name="connsiteX93" fmla="*/ 59063 w 1200744"/>
                  <a:gd name="connsiteY93" fmla="*/ 291651 h 1046508"/>
                  <a:gd name="connsiteX94" fmla="*/ 48816 w 1200744"/>
                  <a:gd name="connsiteY94" fmla="*/ 291651 h 1046508"/>
                  <a:gd name="connsiteX95" fmla="*/ 14298 w 1200744"/>
                  <a:gd name="connsiteY95" fmla="*/ 277353 h 1046508"/>
                  <a:gd name="connsiteX96" fmla="*/ 0 w 1200744"/>
                  <a:gd name="connsiteY96" fmla="*/ 242836 h 1046508"/>
                  <a:gd name="connsiteX97" fmla="*/ 14298 w 1200744"/>
                  <a:gd name="connsiteY97" fmla="*/ 208318 h 1046508"/>
                  <a:gd name="connsiteX98" fmla="*/ 48816 w 1200744"/>
                  <a:gd name="connsiteY98" fmla="*/ 194020 h 1046508"/>
                  <a:gd name="connsiteX99" fmla="*/ 58977 w 1200744"/>
                  <a:gd name="connsiteY99" fmla="*/ 194020 h 1046508"/>
                  <a:gd name="connsiteX100" fmla="*/ 58806 w 1200744"/>
                  <a:gd name="connsiteY100"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1157493 w 1200744"/>
                  <a:gd name="connsiteY46" fmla="*/ 347675 h 1046508"/>
                  <a:gd name="connsiteX47" fmla="*/ 1200471 w 1200744"/>
                  <a:gd name="connsiteY47" fmla="*/ 381525 h 1046508"/>
                  <a:gd name="connsiteX48" fmla="*/ 1200470 w 1200744"/>
                  <a:gd name="connsiteY48" fmla="*/ 381526 h 1046508"/>
                  <a:gd name="connsiteX49" fmla="*/ 1166620 w 1200744"/>
                  <a:gd name="connsiteY49" fmla="*/ 424503 h 1046508"/>
                  <a:gd name="connsiteX50" fmla="*/ 883444 w 1200744"/>
                  <a:gd name="connsiteY50" fmla="*/ 458146 h 1046508"/>
                  <a:gd name="connsiteX51" fmla="*/ 883444 w 1200744"/>
                  <a:gd name="connsiteY51" fmla="*/ 506141 h 1046508"/>
                  <a:gd name="connsiteX52" fmla="*/ 792956 w 1200744"/>
                  <a:gd name="connsiteY52" fmla="*/ 516892 h 1046508"/>
                  <a:gd name="connsiteX53" fmla="*/ 792956 w 1200744"/>
                  <a:gd name="connsiteY53" fmla="*/ 468897 h 1046508"/>
                  <a:gd name="connsiteX54" fmla="*/ 688181 w 1200744"/>
                  <a:gd name="connsiteY54" fmla="*/ 481345 h 1046508"/>
                  <a:gd name="connsiteX55" fmla="*/ 688181 w 1200744"/>
                  <a:gd name="connsiteY55" fmla="*/ 529340 h 1046508"/>
                  <a:gd name="connsiteX56" fmla="*/ 418176 w 1200744"/>
                  <a:gd name="connsiteY56" fmla="*/ 561418 h 1046508"/>
                  <a:gd name="connsiteX57" fmla="*/ 392350 w 1200744"/>
                  <a:gd name="connsiteY57" fmla="*/ 575897 h 1046508"/>
                  <a:gd name="connsiteX58" fmla="*/ 384326 w 1200744"/>
                  <a:gd name="connsiteY58" fmla="*/ 604396 h 1046508"/>
                  <a:gd name="connsiteX59" fmla="*/ 398804 w 1200744"/>
                  <a:gd name="connsiteY59" fmla="*/ 630221 h 1046508"/>
                  <a:gd name="connsiteX60" fmla="*/ 427304 w 1200744"/>
                  <a:gd name="connsiteY60" fmla="*/ 638245 h 1046508"/>
                  <a:gd name="connsiteX61" fmla="*/ 1104900 w 1200744"/>
                  <a:gd name="connsiteY61" fmla="*/ 557742 h 1046508"/>
                  <a:gd name="connsiteX62" fmla="*/ 1104900 w 1200744"/>
                  <a:gd name="connsiteY62" fmla="*/ 558713 h 1046508"/>
                  <a:gd name="connsiteX63" fmla="*/ 1157491 w 1200744"/>
                  <a:gd name="connsiteY63" fmla="*/ 552464 h 1046508"/>
                  <a:gd name="connsiteX64" fmla="*/ 1200469 w 1200744"/>
                  <a:gd name="connsiteY64" fmla="*/ 586314 h 1046508"/>
                  <a:gd name="connsiteX65" fmla="*/ 1200468 w 1200744"/>
                  <a:gd name="connsiteY65" fmla="*/ 586314 h 1046508"/>
                  <a:gd name="connsiteX66" fmla="*/ 1166618 w 1200744"/>
                  <a:gd name="connsiteY66" fmla="*/ 629292 h 1046508"/>
                  <a:gd name="connsiteX67" fmla="*/ 1104900 w 1200744"/>
                  <a:gd name="connsiteY67" fmla="*/ 636624 h 1046508"/>
                  <a:gd name="connsiteX68" fmla="*/ 1104900 w 1200744"/>
                  <a:gd name="connsiteY68" fmla="*/ 817908 h 1046508"/>
                  <a:gd name="connsiteX69" fmla="*/ 971550 w 1200744"/>
                  <a:gd name="connsiteY69" fmla="*/ 946496 h 1046508"/>
                  <a:gd name="connsiteX70" fmla="*/ 752889 w 1200744"/>
                  <a:gd name="connsiteY70" fmla="*/ 946496 h 1046508"/>
                  <a:gd name="connsiteX71" fmla="*/ 749140 w 1200744"/>
                  <a:gd name="connsiteY71" fmla="*/ 965065 h 1046508"/>
                  <a:gd name="connsiteX72" fmla="*/ 626271 w 1200744"/>
                  <a:gd name="connsiteY72" fmla="*/ 1046508 h 1046508"/>
                  <a:gd name="connsiteX73" fmla="*/ 533770 w 1200744"/>
                  <a:gd name="connsiteY73" fmla="*/ 1046508 h 1046508"/>
                  <a:gd name="connsiteX74" fmla="*/ 410901 w 1200744"/>
                  <a:gd name="connsiteY74" fmla="*/ 965065 h 1046508"/>
                  <a:gd name="connsiteX75" fmla="*/ 407153 w 1200744"/>
                  <a:gd name="connsiteY75" fmla="*/ 946496 h 1046508"/>
                  <a:gd name="connsiteX76" fmla="*/ 190500 w 1200744"/>
                  <a:gd name="connsiteY76" fmla="*/ 946496 h 1046508"/>
                  <a:gd name="connsiteX77" fmla="*/ 59532 w 1200744"/>
                  <a:gd name="connsiteY77" fmla="*/ 825052 h 1046508"/>
                  <a:gd name="connsiteX78" fmla="*/ 59432 w 1200744"/>
                  <a:gd name="connsiteY78" fmla="*/ 710643 h 1046508"/>
                  <a:gd name="connsiteX79" fmla="*/ 48816 w 1200744"/>
                  <a:gd name="connsiteY79" fmla="*/ 710643 h 1046508"/>
                  <a:gd name="connsiteX80" fmla="*/ 14298 w 1200744"/>
                  <a:gd name="connsiteY80" fmla="*/ 696345 h 1046508"/>
                  <a:gd name="connsiteX81" fmla="*/ 0 w 1200744"/>
                  <a:gd name="connsiteY81" fmla="*/ 661828 h 1046508"/>
                  <a:gd name="connsiteX82" fmla="*/ 14298 w 1200744"/>
                  <a:gd name="connsiteY82" fmla="*/ 627310 h 1046508"/>
                  <a:gd name="connsiteX83" fmla="*/ 48816 w 1200744"/>
                  <a:gd name="connsiteY83" fmla="*/ 613012 h 1046508"/>
                  <a:gd name="connsiteX84" fmla="*/ 59346 w 1200744"/>
                  <a:gd name="connsiteY84" fmla="*/ 613012 h 1046508"/>
                  <a:gd name="connsiteX85" fmla="*/ 59247 w 1200744"/>
                  <a:gd name="connsiteY85" fmla="*/ 501147 h 1046508"/>
                  <a:gd name="connsiteX86" fmla="*/ 48816 w 1200744"/>
                  <a:gd name="connsiteY86" fmla="*/ 501147 h 1046508"/>
                  <a:gd name="connsiteX87" fmla="*/ 14298 w 1200744"/>
                  <a:gd name="connsiteY87" fmla="*/ 486849 h 1046508"/>
                  <a:gd name="connsiteX88" fmla="*/ 0 w 1200744"/>
                  <a:gd name="connsiteY88" fmla="*/ 452332 h 1046508"/>
                  <a:gd name="connsiteX89" fmla="*/ 14298 w 1200744"/>
                  <a:gd name="connsiteY89" fmla="*/ 417814 h 1046508"/>
                  <a:gd name="connsiteX90" fmla="*/ 48816 w 1200744"/>
                  <a:gd name="connsiteY90" fmla="*/ 403516 h 1046508"/>
                  <a:gd name="connsiteX91" fmla="*/ 59161 w 1200744"/>
                  <a:gd name="connsiteY91" fmla="*/ 403516 h 1046508"/>
                  <a:gd name="connsiteX92" fmla="*/ 59063 w 1200744"/>
                  <a:gd name="connsiteY92" fmla="*/ 291651 h 1046508"/>
                  <a:gd name="connsiteX93" fmla="*/ 48816 w 1200744"/>
                  <a:gd name="connsiteY93" fmla="*/ 291651 h 1046508"/>
                  <a:gd name="connsiteX94" fmla="*/ 14298 w 1200744"/>
                  <a:gd name="connsiteY94" fmla="*/ 277353 h 1046508"/>
                  <a:gd name="connsiteX95" fmla="*/ 0 w 1200744"/>
                  <a:gd name="connsiteY95" fmla="*/ 242836 h 1046508"/>
                  <a:gd name="connsiteX96" fmla="*/ 14298 w 1200744"/>
                  <a:gd name="connsiteY96" fmla="*/ 208318 h 1046508"/>
                  <a:gd name="connsiteX97" fmla="*/ 48816 w 1200744"/>
                  <a:gd name="connsiteY97" fmla="*/ 194020 h 1046508"/>
                  <a:gd name="connsiteX98" fmla="*/ 58977 w 1200744"/>
                  <a:gd name="connsiteY98" fmla="*/ 194020 h 1046508"/>
                  <a:gd name="connsiteX99" fmla="*/ 58806 w 1200744"/>
                  <a:gd name="connsiteY99"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83444 w 1200744"/>
                  <a:gd name="connsiteY34" fmla="*/ 235459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1157493 w 1200744"/>
                  <a:gd name="connsiteY45" fmla="*/ 347675 h 1046508"/>
                  <a:gd name="connsiteX46" fmla="*/ 1200471 w 1200744"/>
                  <a:gd name="connsiteY46" fmla="*/ 381525 h 1046508"/>
                  <a:gd name="connsiteX47" fmla="*/ 1200470 w 1200744"/>
                  <a:gd name="connsiteY47" fmla="*/ 381526 h 1046508"/>
                  <a:gd name="connsiteX48" fmla="*/ 1166620 w 1200744"/>
                  <a:gd name="connsiteY48" fmla="*/ 424503 h 1046508"/>
                  <a:gd name="connsiteX49" fmla="*/ 883444 w 1200744"/>
                  <a:gd name="connsiteY49" fmla="*/ 458146 h 1046508"/>
                  <a:gd name="connsiteX50" fmla="*/ 883444 w 1200744"/>
                  <a:gd name="connsiteY50" fmla="*/ 506141 h 1046508"/>
                  <a:gd name="connsiteX51" fmla="*/ 792956 w 1200744"/>
                  <a:gd name="connsiteY51" fmla="*/ 516892 h 1046508"/>
                  <a:gd name="connsiteX52" fmla="*/ 792956 w 1200744"/>
                  <a:gd name="connsiteY52" fmla="*/ 468897 h 1046508"/>
                  <a:gd name="connsiteX53" fmla="*/ 688181 w 1200744"/>
                  <a:gd name="connsiteY53" fmla="*/ 481345 h 1046508"/>
                  <a:gd name="connsiteX54" fmla="*/ 688181 w 1200744"/>
                  <a:gd name="connsiteY54" fmla="*/ 529340 h 1046508"/>
                  <a:gd name="connsiteX55" fmla="*/ 418176 w 1200744"/>
                  <a:gd name="connsiteY55" fmla="*/ 561418 h 1046508"/>
                  <a:gd name="connsiteX56" fmla="*/ 392350 w 1200744"/>
                  <a:gd name="connsiteY56" fmla="*/ 575897 h 1046508"/>
                  <a:gd name="connsiteX57" fmla="*/ 384326 w 1200744"/>
                  <a:gd name="connsiteY57" fmla="*/ 604396 h 1046508"/>
                  <a:gd name="connsiteX58" fmla="*/ 398804 w 1200744"/>
                  <a:gd name="connsiteY58" fmla="*/ 630221 h 1046508"/>
                  <a:gd name="connsiteX59" fmla="*/ 427304 w 1200744"/>
                  <a:gd name="connsiteY59" fmla="*/ 638245 h 1046508"/>
                  <a:gd name="connsiteX60" fmla="*/ 1104900 w 1200744"/>
                  <a:gd name="connsiteY60" fmla="*/ 557742 h 1046508"/>
                  <a:gd name="connsiteX61" fmla="*/ 1104900 w 1200744"/>
                  <a:gd name="connsiteY61" fmla="*/ 558713 h 1046508"/>
                  <a:gd name="connsiteX62" fmla="*/ 1157491 w 1200744"/>
                  <a:gd name="connsiteY62" fmla="*/ 552464 h 1046508"/>
                  <a:gd name="connsiteX63" fmla="*/ 1200469 w 1200744"/>
                  <a:gd name="connsiteY63" fmla="*/ 586314 h 1046508"/>
                  <a:gd name="connsiteX64" fmla="*/ 1200468 w 1200744"/>
                  <a:gd name="connsiteY64" fmla="*/ 586314 h 1046508"/>
                  <a:gd name="connsiteX65" fmla="*/ 1166618 w 1200744"/>
                  <a:gd name="connsiteY65" fmla="*/ 629292 h 1046508"/>
                  <a:gd name="connsiteX66" fmla="*/ 1104900 w 1200744"/>
                  <a:gd name="connsiteY66" fmla="*/ 636624 h 1046508"/>
                  <a:gd name="connsiteX67" fmla="*/ 1104900 w 1200744"/>
                  <a:gd name="connsiteY67" fmla="*/ 817908 h 1046508"/>
                  <a:gd name="connsiteX68" fmla="*/ 971550 w 1200744"/>
                  <a:gd name="connsiteY68" fmla="*/ 946496 h 1046508"/>
                  <a:gd name="connsiteX69" fmla="*/ 752889 w 1200744"/>
                  <a:gd name="connsiteY69" fmla="*/ 946496 h 1046508"/>
                  <a:gd name="connsiteX70" fmla="*/ 749140 w 1200744"/>
                  <a:gd name="connsiteY70" fmla="*/ 965065 h 1046508"/>
                  <a:gd name="connsiteX71" fmla="*/ 626271 w 1200744"/>
                  <a:gd name="connsiteY71" fmla="*/ 1046508 h 1046508"/>
                  <a:gd name="connsiteX72" fmla="*/ 533770 w 1200744"/>
                  <a:gd name="connsiteY72" fmla="*/ 1046508 h 1046508"/>
                  <a:gd name="connsiteX73" fmla="*/ 410901 w 1200744"/>
                  <a:gd name="connsiteY73" fmla="*/ 965065 h 1046508"/>
                  <a:gd name="connsiteX74" fmla="*/ 407153 w 1200744"/>
                  <a:gd name="connsiteY74" fmla="*/ 946496 h 1046508"/>
                  <a:gd name="connsiteX75" fmla="*/ 190500 w 1200744"/>
                  <a:gd name="connsiteY75" fmla="*/ 946496 h 1046508"/>
                  <a:gd name="connsiteX76" fmla="*/ 59532 w 1200744"/>
                  <a:gd name="connsiteY76" fmla="*/ 825052 h 1046508"/>
                  <a:gd name="connsiteX77" fmla="*/ 59432 w 1200744"/>
                  <a:gd name="connsiteY77" fmla="*/ 710643 h 1046508"/>
                  <a:gd name="connsiteX78" fmla="*/ 48816 w 1200744"/>
                  <a:gd name="connsiteY78" fmla="*/ 710643 h 1046508"/>
                  <a:gd name="connsiteX79" fmla="*/ 14298 w 1200744"/>
                  <a:gd name="connsiteY79" fmla="*/ 696345 h 1046508"/>
                  <a:gd name="connsiteX80" fmla="*/ 0 w 1200744"/>
                  <a:gd name="connsiteY80" fmla="*/ 661828 h 1046508"/>
                  <a:gd name="connsiteX81" fmla="*/ 14298 w 1200744"/>
                  <a:gd name="connsiteY81" fmla="*/ 627310 h 1046508"/>
                  <a:gd name="connsiteX82" fmla="*/ 48816 w 1200744"/>
                  <a:gd name="connsiteY82" fmla="*/ 613012 h 1046508"/>
                  <a:gd name="connsiteX83" fmla="*/ 59346 w 1200744"/>
                  <a:gd name="connsiteY83" fmla="*/ 613012 h 1046508"/>
                  <a:gd name="connsiteX84" fmla="*/ 59247 w 1200744"/>
                  <a:gd name="connsiteY84" fmla="*/ 501147 h 1046508"/>
                  <a:gd name="connsiteX85" fmla="*/ 48816 w 1200744"/>
                  <a:gd name="connsiteY85" fmla="*/ 501147 h 1046508"/>
                  <a:gd name="connsiteX86" fmla="*/ 14298 w 1200744"/>
                  <a:gd name="connsiteY86" fmla="*/ 486849 h 1046508"/>
                  <a:gd name="connsiteX87" fmla="*/ 0 w 1200744"/>
                  <a:gd name="connsiteY87" fmla="*/ 452332 h 1046508"/>
                  <a:gd name="connsiteX88" fmla="*/ 14298 w 1200744"/>
                  <a:gd name="connsiteY88" fmla="*/ 417814 h 1046508"/>
                  <a:gd name="connsiteX89" fmla="*/ 48816 w 1200744"/>
                  <a:gd name="connsiteY89" fmla="*/ 403516 h 1046508"/>
                  <a:gd name="connsiteX90" fmla="*/ 59161 w 1200744"/>
                  <a:gd name="connsiteY90" fmla="*/ 403516 h 1046508"/>
                  <a:gd name="connsiteX91" fmla="*/ 59063 w 1200744"/>
                  <a:gd name="connsiteY91" fmla="*/ 291651 h 1046508"/>
                  <a:gd name="connsiteX92" fmla="*/ 48816 w 1200744"/>
                  <a:gd name="connsiteY92" fmla="*/ 291651 h 1046508"/>
                  <a:gd name="connsiteX93" fmla="*/ 14298 w 1200744"/>
                  <a:gd name="connsiteY93" fmla="*/ 277353 h 1046508"/>
                  <a:gd name="connsiteX94" fmla="*/ 0 w 1200744"/>
                  <a:gd name="connsiteY94" fmla="*/ 242836 h 1046508"/>
                  <a:gd name="connsiteX95" fmla="*/ 14298 w 1200744"/>
                  <a:gd name="connsiteY95" fmla="*/ 208318 h 1046508"/>
                  <a:gd name="connsiteX96" fmla="*/ 48816 w 1200744"/>
                  <a:gd name="connsiteY96" fmla="*/ 194020 h 1046508"/>
                  <a:gd name="connsiteX97" fmla="*/ 58977 w 1200744"/>
                  <a:gd name="connsiteY97" fmla="*/ 194020 h 1046508"/>
                  <a:gd name="connsiteX98" fmla="*/ 58806 w 1200744"/>
                  <a:gd name="connsiteY98"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78682 w 1200744"/>
                  <a:gd name="connsiteY34" fmla="*/ 240221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1157493 w 1200744"/>
                  <a:gd name="connsiteY45" fmla="*/ 347675 h 1046508"/>
                  <a:gd name="connsiteX46" fmla="*/ 1200471 w 1200744"/>
                  <a:gd name="connsiteY46" fmla="*/ 381525 h 1046508"/>
                  <a:gd name="connsiteX47" fmla="*/ 1200470 w 1200744"/>
                  <a:gd name="connsiteY47" fmla="*/ 381526 h 1046508"/>
                  <a:gd name="connsiteX48" fmla="*/ 1166620 w 1200744"/>
                  <a:gd name="connsiteY48" fmla="*/ 424503 h 1046508"/>
                  <a:gd name="connsiteX49" fmla="*/ 883444 w 1200744"/>
                  <a:gd name="connsiteY49" fmla="*/ 458146 h 1046508"/>
                  <a:gd name="connsiteX50" fmla="*/ 883444 w 1200744"/>
                  <a:gd name="connsiteY50" fmla="*/ 506141 h 1046508"/>
                  <a:gd name="connsiteX51" fmla="*/ 792956 w 1200744"/>
                  <a:gd name="connsiteY51" fmla="*/ 516892 h 1046508"/>
                  <a:gd name="connsiteX52" fmla="*/ 792956 w 1200744"/>
                  <a:gd name="connsiteY52" fmla="*/ 468897 h 1046508"/>
                  <a:gd name="connsiteX53" fmla="*/ 688181 w 1200744"/>
                  <a:gd name="connsiteY53" fmla="*/ 481345 h 1046508"/>
                  <a:gd name="connsiteX54" fmla="*/ 688181 w 1200744"/>
                  <a:gd name="connsiteY54" fmla="*/ 529340 h 1046508"/>
                  <a:gd name="connsiteX55" fmla="*/ 418176 w 1200744"/>
                  <a:gd name="connsiteY55" fmla="*/ 561418 h 1046508"/>
                  <a:gd name="connsiteX56" fmla="*/ 392350 w 1200744"/>
                  <a:gd name="connsiteY56" fmla="*/ 575897 h 1046508"/>
                  <a:gd name="connsiteX57" fmla="*/ 384326 w 1200744"/>
                  <a:gd name="connsiteY57" fmla="*/ 604396 h 1046508"/>
                  <a:gd name="connsiteX58" fmla="*/ 398804 w 1200744"/>
                  <a:gd name="connsiteY58" fmla="*/ 630221 h 1046508"/>
                  <a:gd name="connsiteX59" fmla="*/ 427304 w 1200744"/>
                  <a:gd name="connsiteY59" fmla="*/ 638245 h 1046508"/>
                  <a:gd name="connsiteX60" fmla="*/ 1104900 w 1200744"/>
                  <a:gd name="connsiteY60" fmla="*/ 557742 h 1046508"/>
                  <a:gd name="connsiteX61" fmla="*/ 1104900 w 1200744"/>
                  <a:gd name="connsiteY61" fmla="*/ 558713 h 1046508"/>
                  <a:gd name="connsiteX62" fmla="*/ 1157491 w 1200744"/>
                  <a:gd name="connsiteY62" fmla="*/ 552464 h 1046508"/>
                  <a:gd name="connsiteX63" fmla="*/ 1200469 w 1200744"/>
                  <a:gd name="connsiteY63" fmla="*/ 586314 h 1046508"/>
                  <a:gd name="connsiteX64" fmla="*/ 1200468 w 1200744"/>
                  <a:gd name="connsiteY64" fmla="*/ 586314 h 1046508"/>
                  <a:gd name="connsiteX65" fmla="*/ 1166618 w 1200744"/>
                  <a:gd name="connsiteY65" fmla="*/ 629292 h 1046508"/>
                  <a:gd name="connsiteX66" fmla="*/ 1104900 w 1200744"/>
                  <a:gd name="connsiteY66" fmla="*/ 636624 h 1046508"/>
                  <a:gd name="connsiteX67" fmla="*/ 1104900 w 1200744"/>
                  <a:gd name="connsiteY67" fmla="*/ 817908 h 1046508"/>
                  <a:gd name="connsiteX68" fmla="*/ 971550 w 1200744"/>
                  <a:gd name="connsiteY68" fmla="*/ 946496 h 1046508"/>
                  <a:gd name="connsiteX69" fmla="*/ 752889 w 1200744"/>
                  <a:gd name="connsiteY69" fmla="*/ 946496 h 1046508"/>
                  <a:gd name="connsiteX70" fmla="*/ 749140 w 1200744"/>
                  <a:gd name="connsiteY70" fmla="*/ 965065 h 1046508"/>
                  <a:gd name="connsiteX71" fmla="*/ 626271 w 1200744"/>
                  <a:gd name="connsiteY71" fmla="*/ 1046508 h 1046508"/>
                  <a:gd name="connsiteX72" fmla="*/ 533770 w 1200744"/>
                  <a:gd name="connsiteY72" fmla="*/ 1046508 h 1046508"/>
                  <a:gd name="connsiteX73" fmla="*/ 410901 w 1200744"/>
                  <a:gd name="connsiteY73" fmla="*/ 965065 h 1046508"/>
                  <a:gd name="connsiteX74" fmla="*/ 407153 w 1200744"/>
                  <a:gd name="connsiteY74" fmla="*/ 946496 h 1046508"/>
                  <a:gd name="connsiteX75" fmla="*/ 190500 w 1200744"/>
                  <a:gd name="connsiteY75" fmla="*/ 946496 h 1046508"/>
                  <a:gd name="connsiteX76" fmla="*/ 59532 w 1200744"/>
                  <a:gd name="connsiteY76" fmla="*/ 825052 h 1046508"/>
                  <a:gd name="connsiteX77" fmla="*/ 59432 w 1200744"/>
                  <a:gd name="connsiteY77" fmla="*/ 710643 h 1046508"/>
                  <a:gd name="connsiteX78" fmla="*/ 48816 w 1200744"/>
                  <a:gd name="connsiteY78" fmla="*/ 710643 h 1046508"/>
                  <a:gd name="connsiteX79" fmla="*/ 14298 w 1200744"/>
                  <a:gd name="connsiteY79" fmla="*/ 696345 h 1046508"/>
                  <a:gd name="connsiteX80" fmla="*/ 0 w 1200744"/>
                  <a:gd name="connsiteY80" fmla="*/ 661828 h 1046508"/>
                  <a:gd name="connsiteX81" fmla="*/ 14298 w 1200744"/>
                  <a:gd name="connsiteY81" fmla="*/ 627310 h 1046508"/>
                  <a:gd name="connsiteX82" fmla="*/ 48816 w 1200744"/>
                  <a:gd name="connsiteY82" fmla="*/ 613012 h 1046508"/>
                  <a:gd name="connsiteX83" fmla="*/ 59346 w 1200744"/>
                  <a:gd name="connsiteY83" fmla="*/ 613012 h 1046508"/>
                  <a:gd name="connsiteX84" fmla="*/ 59247 w 1200744"/>
                  <a:gd name="connsiteY84" fmla="*/ 501147 h 1046508"/>
                  <a:gd name="connsiteX85" fmla="*/ 48816 w 1200744"/>
                  <a:gd name="connsiteY85" fmla="*/ 501147 h 1046508"/>
                  <a:gd name="connsiteX86" fmla="*/ 14298 w 1200744"/>
                  <a:gd name="connsiteY86" fmla="*/ 486849 h 1046508"/>
                  <a:gd name="connsiteX87" fmla="*/ 0 w 1200744"/>
                  <a:gd name="connsiteY87" fmla="*/ 452332 h 1046508"/>
                  <a:gd name="connsiteX88" fmla="*/ 14298 w 1200744"/>
                  <a:gd name="connsiteY88" fmla="*/ 417814 h 1046508"/>
                  <a:gd name="connsiteX89" fmla="*/ 48816 w 1200744"/>
                  <a:gd name="connsiteY89" fmla="*/ 403516 h 1046508"/>
                  <a:gd name="connsiteX90" fmla="*/ 59161 w 1200744"/>
                  <a:gd name="connsiteY90" fmla="*/ 403516 h 1046508"/>
                  <a:gd name="connsiteX91" fmla="*/ 59063 w 1200744"/>
                  <a:gd name="connsiteY91" fmla="*/ 291651 h 1046508"/>
                  <a:gd name="connsiteX92" fmla="*/ 48816 w 1200744"/>
                  <a:gd name="connsiteY92" fmla="*/ 291651 h 1046508"/>
                  <a:gd name="connsiteX93" fmla="*/ 14298 w 1200744"/>
                  <a:gd name="connsiteY93" fmla="*/ 277353 h 1046508"/>
                  <a:gd name="connsiteX94" fmla="*/ 0 w 1200744"/>
                  <a:gd name="connsiteY94" fmla="*/ 242836 h 1046508"/>
                  <a:gd name="connsiteX95" fmla="*/ 14298 w 1200744"/>
                  <a:gd name="connsiteY95" fmla="*/ 208318 h 1046508"/>
                  <a:gd name="connsiteX96" fmla="*/ 48816 w 1200744"/>
                  <a:gd name="connsiteY96" fmla="*/ 194020 h 1046508"/>
                  <a:gd name="connsiteX97" fmla="*/ 58977 w 1200744"/>
                  <a:gd name="connsiteY97" fmla="*/ 194020 h 1046508"/>
                  <a:gd name="connsiteX98" fmla="*/ 58806 w 1200744"/>
                  <a:gd name="connsiteY98" fmla="*/ 0 h 1046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200744" h="1046508">
                    <a:moveTo>
                      <a:pt x="269392" y="583922"/>
                    </a:moveTo>
                    <a:cubicBezTo>
                      <a:pt x="247034" y="583922"/>
                      <a:pt x="228910" y="602046"/>
                      <a:pt x="228910" y="624404"/>
                    </a:cubicBezTo>
                    <a:cubicBezTo>
                      <a:pt x="228910" y="646762"/>
                      <a:pt x="247034" y="664886"/>
                      <a:pt x="269392" y="664886"/>
                    </a:cubicBezTo>
                    <a:cubicBezTo>
                      <a:pt x="291750" y="664886"/>
                      <a:pt x="309874" y="646762"/>
                      <a:pt x="309874" y="624404"/>
                    </a:cubicBezTo>
                    <a:cubicBezTo>
                      <a:pt x="309874" y="602046"/>
                      <a:pt x="291750" y="583922"/>
                      <a:pt x="269392" y="583922"/>
                    </a:cubicBezTo>
                    <a:close/>
                    <a:moveTo>
                      <a:pt x="269392" y="373750"/>
                    </a:moveTo>
                    <a:cubicBezTo>
                      <a:pt x="247034" y="373750"/>
                      <a:pt x="228910" y="391874"/>
                      <a:pt x="228910" y="414232"/>
                    </a:cubicBezTo>
                    <a:cubicBezTo>
                      <a:pt x="228910" y="436590"/>
                      <a:pt x="247034" y="454714"/>
                      <a:pt x="269392" y="454714"/>
                    </a:cubicBezTo>
                    <a:cubicBezTo>
                      <a:pt x="291750" y="454714"/>
                      <a:pt x="309874" y="436590"/>
                      <a:pt x="309874" y="414232"/>
                    </a:cubicBezTo>
                    <a:cubicBezTo>
                      <a:pt x="309874" y="391874"/>
                      <a:pt x="291750" y="373750"/>
                      <a:pt x="269392" y="373750"/>
                    </a:cubicBezTo>
                    <a:close/>
                    <a:moveTo>
                      <a:pt x="269392" y="163063"/>
                    </a:moveTo>
                    <a:cubicBezTo>
                      <a:pt x="247034" y="163063"/>
                      <a:pt x="228910" y="181187"/>
                      <a:pt x="228910" y="203545"/>
                    </a:cubicBezTo>
                    <a:cubicBezTo>
                      <a:pt x="228910" y="225903"/>
                      <a:pt x="247034" y="244027"/>
                      <a:pt x="269392" y="244027"/>
                    </a:cubicBezTo>
                    <a:cubicBezTo>
                      <a:pt x="291750" y="244027"/>
                      <a:pt x="309874" y="225903"/>
                      <a:pt x="309874" y="203545"/>
                    </a:cubicBezTo>
                    <a:cubicBezTo>
                      <a:pt x="309874" y="181187"/>
                      <a:pt x="291750" y="163063"/>
                      <a:pt x="269392" y="163063"/>
                    </a:cubicBezTo>
                    <a:close/>
                    <a:moveTo>
                      <a:pt x="797719" y="0"/>
                    </a:moveTo>
                    <a:lnTo>
                      <a:pt x="883444" y="0"/>
                    </a:lnTo>
                    <a:lnTo>
                      <a:pt x="883444" y="79897"/>
                    </a:lnTo>
                    <a:lnTo>
                      <a:pt x="797719" y="90082"/>
                    </a:lnTo>
                    <a:lnTo>
                      <a:pt x="797719" y="0"/>
                    </a:lnTo>
                    <a:close/>
                    <a:moveTo>
                      <a:pt x="58806" y="0"/>
                    </a:moveTo>
                    <a:lnTo>
                      <a:pt x="692944" y="0"/>
                    </a:lnTo>
                    <a:lnTo>
                      <a:pt x="692944" y="102530"/>
                    </a:lnTo>
                    <a:lnTo>
                      <a:pt x="418176" y="135174"/>
                    </a:lnTo>
                    <a:cubicBezTo>
                      <a:pt x="407569" y="136435"/>
                      <a:pt x="398476" y="141875"/>
                      <a:pt x="392350" y="149653"/>
                    </a:cubicBezTo>
                    <a:lnTo>
                      <a:pt x="384326" y="178152"/>
                    </a:lnTo>
                    <a:lnTo>
                      <a:pt x="398804" y="203977"/>
                    </a:lnTo>
                    <a:cubicBezTo>
                      <a:pt x="406582" y="210103"/>
                      <a:pt x="416696" y="213262"/>
                      <a:pt x="427304" y="212001"/>
                    </a:cubicBezTo>
                    <a:lnTo>
                      <a:pt x="1104900" y="131498"/>
                    </a:lnTo>
                    <a:lnTo>
                      <a:pt x="1104900" y="134851"/>
                    </a:lnTo>
                    <a:lnTo>
                      <a:pt x="1157493" y="128603"/>
                    </a:lnTo>
                    <a:cubicBezTo>
                      <a:pt x="1178709" y="126082"/>
                      <a:pt x="1197951" y="141237"/>
                      <a:pt x="1200471" y="162453"/>
                    </a:cubicBezTo>
                    <a:lnTo>
                      <a:pt x="1200470" y="162453"/>
                    </a:lnTo>
                    <a:cubicBezTo>
                      <a:pt x="1202991" y="183669"/>
                      <a:pt x="1187836" y="202910"/>
                      <a:pt x="1166620" y="205431"/>
                    </a:cubicBezTo>
                    <a:lnTo>
                      <a:pt x="878682" y="240221"/>
                    </a:lnTo>
                    <a:lnTo>
                      <a:pt x="883444" y="298972"/>
                    </a:lnTo>
                    <a:lnTo>
                      <a:pt x="792956" y="309723"/>
                    </a:lnTo>
                    <a:lnTo>
                      <a:pt x="792956" y="265459"/>
                    </a:lnTo>
                    <a:lnTo>
                      <a:pt x="688181" y="265459"/>
                    </a:lnTo>
                    <a:lnTo>
                      <a:pt x="688181" y="322171"/>
                    </a:lnTo>
                    <a:lnTo>
                      <a:pt x="418176" y="354249"/>
                    </a:lnTo>
                    <a:cubicBezTo>
                      <a:pt x="407569" y="355510"/>
                      <a:pt x="398476" y="360950"/>
                      <a:pt x="392350" y="368728"/>
                    </a:cubicBezTo>
                    <a:lnTo>
                      <a:pt x="384326" y="397227"/>
                    </a:lnTo>
                    <a:lnTo>
                      <a:pt x="398804" y="423052"/>
                    </a:lnTo>
                    <a:cubicBezTo>
                      <a:pt x="406582" y="429178"/>
                      <a:pt x="416696" y="432337"/>
                      <a:pt x="427304" y="431076"/>
                    </a:cubicBezTo>
                    <a:lnTo>
                      <a:pt x="1157493" y="347675"/>
                    </a:lnTo>
                    <a:cubicBezTo>
                      <a:pt x="1178709" y="345155"/>
                      <a:pt x="1197950" y="360310"/>
                      <a:pt x="1200471" y="381525"/>
                    </a:cubicBezTo>
                    <a:lnTo>
                      <a:pt x="1200470" y="381526"/>
                    </a:lnTo>
                    <a:cubicBezTo>
                      <a:pt x="1202991" y="402741"/>
                      <a:pt x="1187836" y="421983"/>
                      <a:pt x="1166620" y="424503"/>
                    </a:cubicBezTo>
                    <a:lnTo>
                      <a:pt x="883444" y="458146"/>
                    </a:lnTo>
                    <a:lnTo>
                      <a:pt x="883444" y="506141"/>
                    </a:lnTo>
                    <a:lnTo>
                      <a:pt x="792956" y="516892"/>
                    </a:lnTo>
                    <a:lnTo>
                      <a:pt x="792956" y="468897"/>
                    </a:lnTo>
                    <a:lnTo>
                      <a:pt x="688181" y="481345"/>
                    </a:lnTo>
                    <a:lnTo>
                      <a:pt x="688181" y="529340"/>
                    </a:lnTo>
                    <a:lnTo>
                      <a:pt x="418176" y="561418"/>
                    </a:lnTo>
                    <a:cubicBezTo>
                      <a:pt x="407569" y="562679"/>
                      <a:pt x="398476" y="568119"/>
                      <a:pt x="392350" y="575897"/>
                    </a:cubicBezTo>
                    <a:lnTo>
                      <a:pt x="384326" y="604396"/>
                    </a:lnTo>
                    <a:lnTo>
                      <a:pt x="398804" y="630221"/>
                    </a:lnTo>
                    <a:cubicBezTo>
                      <a:pt x="406582" y="636347"/>
                      <a:pt x="416696" y="639506"/>
                      <a:pt x="427304" y="638245"/>
                    </a:cubicBezTo>
                    <a:lnTo>
                      <a:pt x="1104900" y="557742"/>
                    </a:lnTo>
                    <a:lnTo>
                      <a:pt x="1104900" y="558713"/>
                    </a:lnTo>
                    <a:lnTo>
                      <a:pt x="1157491" y="552464"/>
                    </a:lnTo>
                    <a:cubicBezTo>
                      <a:pt x="1178707" y="549944"/>
                      <a:pt x="1197948" y="565099"/>
                      <a:pt x="1200469" y="586314"/>
                    </a:cubicBezTo>
                    <a:lnTo>
                      <a:pt x="1200468" y="586314"/>
                    </a:lnTo>
                    <a:cubicBezTo>
                      <a:pt x="1202989" y="607530"/>
                      <a:pt x="1187834" y="626772"/>
                      <a:pt x="1166618" y="629292"/>
                    </a:cubicBezTo>
                    <a:lnTo>
                      <a:pt x="1104900" y="636624"/>
                    </a:lnTo>
                    <a:lnTo>
                      <a:pt x="1104900" y="817908"/>
                    </a:lnTo>
                    <a:lnTo>
                      <a:pt x="971550" y="946496"/>
                    </a:lnTo>
                    <a:lnTo>
                      <a:pt x="752889" y="946496"/>
                    </a:lnTo>
                    <a:lnTo>
                      <a:pt x="749140" y="965065"/>
                    </a:lnTo>
                    <a:cubicBezTo>
                      <a:pt x="728897" y="1012926"/>
                      <a:pt x="681506" y="1046508"/>
                      <a:pt x="626271" y="1046508"/>
                    </a:cubicBezTo>
                    <a:lnTo>
                      <a:pt x="533770" y="1046508"/>
                    </a:lnTo>
                    <a:cubicBezTo>
                      <a:pt x="478536" y="1046508"/>
                      <a:pt x="431145" y="1012926"/>
                      <a:pt x="410901" y="965065"/>
                    </a:cubicBezTo>
                    <a:lnTo>
                      <a:pt x="407153" y="946496"/>
                    </a:lnTo>
                    <a:lnTo>
                      <a:pt x="190500" y="946496"/>
                    </a:lnTo>
                    <a:lnTo>
                      <a:pt x="59532" y="825052"/>
                    </a:lnTo>
                    <a:cubicBezTo>
                      <a:pt x="59499" y="786916"/>
                      <a:pt x="59465" y="748779"/>
                      <a:pt x="59432" y="710643"/>
                    </a:cubicBezTo>
                    <a:lnTo>
                      <a:pt x="48816" y="710643"/>
                    </a:lnTo>
                    <a:cubicBezTo>
                      <a:pt x="35336" y="710643"/>
                      <a:pt x="23132" y="705179"/>
                      <a:pt x="14298" y="696345"/>
                    </a:cubicBezTo>
                    <a:lnTo>
                      <a:pt x="0" y="661828"/>
                    </a:lnTo>
                    <a:lnTo>
                      <a:pt x="14298" y="627310"/>
                    </a:lnTo>
                    <a:cubicBezTo>
                      <a:pt x="23132" y="618476"/>
                      <a:pt x="35336" y="613012"/>
                      <a:pt x="48816" y="613012"/>
                    </a:cubicBezTo>
                    <a:lnTo>
                      <a:pt x="59346" y="613012"/>
                    </a:lnTo>
                    <a:cubicBezTo>
                      <a:pt x="59313" y="575724"/>
                      <a:pt x="59280" y="538435"/>
                      <a:pt x="59247" y="501147"/>
                    </a:cubicBezTo>
                    <a:lnTo>
                      <a:pt x="48816" y="501147"/>
                    </a:lnTo>
                    <a:cubicBezTo>
                      <a:pt x="35336" y="501147"/>
                      <a:pt x="23132" y="495683"/>
                      <a:pt x="14298" y="486849"/>
                    </a:cubicBezTo>
                    <a:lnTo>
                      <a:pt x="0" y="452332"/>
                    </a:lnTo>
                    <a:lnTo>
                      <a:pt x="14298" y="417814"/>
                    </a:lnTo>
                    <a:cubicBezTo>
                      <a:pt x="23132" y="408980"/>
                      <a:pt x="35336" y="403516"/>
                      <a:pt x="48816" y="403516"/>
                    </a:cubicBezTo>
                    <a:lnTo>
                      <a:pt x="59161" y="403516"/>
                    </a:lnTo>
                    <a:cubicBezTo>
                      <a:pt x="59128" y="366228"/>
                      <a:pt x="59096" y="328939"/>
                      <a:pt x="59063" y="291651"/>
                    </a:cubicBezTo>
                    <a:lnTo>
                      <a:pt x="48816" y="291651"/>
                    </a:lnTo>
                    <a:cubicBezTo>
                      <a:pt x="35336" y="291651"/>
                      <a:pt x="23132" y="286187"/>
                      <a:pt x="14298" y="277353"/>
                    </a:cubicBezTo>
                    <a:lnTo>
                      <a:pt x="0" y="242836"/>
                    </a:lnTo>
                    <a:lnTo>
                      <a:pt x="14298" y="208318"/>
                    </a:lnTo>
                    <a:cubicBezTo>
                      <a:pt x="23132" y="199484"/>
                      <a:pt x="35336" y="194020"/>
                      <a:pt x="48816" y="194020"/>
                    </a:cubicBezTo>
                    <a:lnTo>
                      <a:pt x="58977" y="194020"/>
                    </a:lnTo>
                    <a:lnTo>
                      <a:pt x="58806"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62" name="Freeform 61"/>
              <p:cNvSpPr/>
              <p:nvPr/>
            </p:nvSpPr>
            <p:spPr>
              <a:xfrm>
                <a:off x="4242295" y="1685754"/>
                <a:ext cx="3701002" cy="3743106"/>
              </a:xfrm>
              <a:custGeom>
                <a:avLst/>
                <a:gdLst>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0346 w 3701002"/>
                  <a:gd name="connsiteY11" fmla="*/ 3114359 h 3743106"/>
                  <a:gd name="connsiteX12" fmla="*/ 2659635 w 3701002"/>
                  <a:gd name="connsiteY12" fmla="*/ 3107286 h 3743106"/>
                  <a:gd name="connsiteX13" fmla="*/ 3122601 w 3701002"/>
                  <a:gd name="connsiteY13" fmla="*/ 2107732 h 3743106"/>
                  <a:gd name="connsiteX14" fmla="*/ 1850392 w 3701002"/>
                  <a:gd name="connsiteY14" fmla="*/ 812383 h 3743106"/>
                  <a:gd name="connsiteX15" fmla="*/ 578183 w 3701002"/>
                  <a:gd name="connsiteY15" fmla="*/ 2107732 h 3743106"/>
                  <a:gd name="connsiteX16" fmla="*/ 950805 w 3701002"/>
                  <a:gd name="connsiteY16" fmla="*/ 3023682 h 3743106"/>
                  <a:gd name="connsiteX17" fmla="*/ 1028685 w 3701002"/>
                  <a:gd name="connsiteY17" fmla="*/ 3095752 h 3743106"/>
                  <a:gd name="connsiteX18" fmla="*/ 1145044 w 3701002"/>
                  <a:gd name="connsiteY18" fmla="*/ 3252006 h 3743106"/>
                  <a:gd name="connsiteX19" fmla="*/ 1289824 w 3701002"/>
                  <a:gd name="connsiteY19" fmla="*/ 3549186 h 3743106"/>
                  <a:gd name="connsiteX20" fmla="*/ 1131709 w 3701002"/>
                  <a:gd name="connsiteY20" fmla="*/ 3739686 h 3743106"/>
                  <a:gd name="connsiteX21" fmla="*/ 881519 w 3701002"/>
                  <a:gd name="connsiteY21" fmla="*/ 3637451 h 3743106"/>
                  <a:gd name="connsiteX22" fmla="*/ 771664 w 3701002"/>
                  <a:gd name="connsiteY22" fmla="*/ 3290106 h 3743106"/>
                  <a:gd name="connsiteX23" fmla="*/ 377329 w 3701002"/>
                  <a:gd name="connsiteY23" fmla="*/ 3103416 h 3743106"/>
                  <a:gd name="connsiteX24" fmla="*/ 344944 w 3701002"/>
                  <a:gd name="connsiteY24" fmla="*/ 2482386 h 3743106"/>
                  <a:gd name="connsiteX25" fmla="*/ 139 w 3701002"/>
                  <a:gd name="connsiteY25" fmla="*/ 1970576 h 3743106"/>
                  <a:gd name="connsiteX26" fmla="*/ 451624 w 3701002"/>
                  <a:gd name="connsiteY26" fmla="*/ 1403521 h 3743106"/>
                  <a:gd name="connsiteX27" fmla="*/ 496709 w 3701002"/>
                  <a:gd name="connsiteY27" fmla="*/ 659301 h 3743106"/>
                  <a:gd name="connsiteX28" fmla="*/ 1199019 w 3701002"/>
                  <a:gd name="connsiteY28" fmla="*/ 517061 h 3743106"/>
                  <a:gd name="connsiteX29" fmla="*/ 1831479 w 3701002"/>
                  <a:gd name="connsiteY29"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028685 w 3701002"/>
                  <a:gd name="connsiteY16" fmla="*/ 3095752 h 3743106"/>
                  <a:gd name="connsiteX17" fmla="*/ 1145044 w 3701002"/>
                  <a:gd name="connsiteY17" fmla="*/ 3252006 h 3743106"/>
                  <a:gd name="connsiteX18" fmla="*/ 1289824 w 3701002"/>
                  <a:gd name="connsiteY18" fmla="*/ 3549186 h 3743106"/>
                  <a:gd name="connsiteX19" fmla="*/ 1131709 w 3701002"/>
                  <a:gd name="connsiteY19" fmla="*/ 3739686 h 3743106"/>
                  <a:gd name="connsiteX20" fmla="*/ 881519 w 3701002"/>
                  <a:gd name="connsiteY20" fmla="*/ 3637451 h 3743106"/>
                  <a:gd name="connsiteX21" fmla="*/ 771664 w 3701002"/>
                  <a:gd name="connsiteY21" fmla="*/ 3290106 h 3743106"/>
                  <a:gd name="connsiteX22" fmla="*/ 377329 w 3701002"/>
                  <a:gd name="connsiteY22" fmla="*/ 3103416 h 3743106"/>
                  <a:gd name="connsiteX23" fmla="*/ 344944 w 3701002"/>
                  <a:gd name="connsiteY23" fmla="*/ 2482386 h 3743106"/>
                  <a:gd name="connsiteX24" fmla="*/ 139 w 3701002"/>
                  <a:gd name="connsiteY24" fmla="*/ 1970576 h 3743106"/>
                  <a:gd name="connsiteX25" fmla="*/ 451624 w 3701002"/>
                  <a:gd name="connsiteY25" fmla="*/ 1403521 h 3743106"/>
                  <a:gd name="connsiteX26" fmla="*/ 496709 w 3701002"/>
                  <a:gd name="connsiteY26" fmla="*/ 659301 h 3743106"/>
                  <a:gd name="connsiteX27" fmla="*/ 1199019 w 3701002"/>
                  <a:gd name="connsiteY27" fmla="*/ 517061 h 3743106"/>
                  <a:gd name="connsiteX28" fmla="*/ 1831479 w 3701002"/>
                  <a:gd name="connsiteY28"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145044 w 3701002"/>
                  <a:gd name="connsiteY16" fmla="*/ 3252006 h 3743106"/>
                  <a:gd name="connsiteX17" fmla="*/ 1289824 w 3701002"/>
                  <a:gd name="connsiteY17" fmla="*/ 3549186 h 3743106"/>
                  <a:gd name="connsiteX18" fmla="*/ 1131709 w 3701002"/>
                  <a:gd name="connsiteY18" fmla="*/ 3739686 h 3743106"/>
                  <a:gd name="connsiteX19" fmla="*/ 881519 w 3701002"/>
                  <a:gd name="connsiteY19" fmla="*/ 3637451 h 3743106"/>
                  <a:gd name="connsiteX20" fmla="*/ 771664 w 3701002"/>
                  <a:gd name="connsiteY20" fmla="*/ 3290106 h 3743106"/>
                  <a:gd name="connsiteX21" fmla="*/ 377329 w 3701002"/>
                  <a:gd name="connsiteY21" fmla="*/ 3103416 h 3743106"/>
                  <a:gd name="connsiteX22" fmla="*/ 344944 w 3701002"/>
                  <a:gd name="connsiteY22" fmla="*/ 2482386 h 3743106"/>
                  <a:gd name="connsiteX23" fmla="*/ 139 w 3701002"/>
                  <a:gd name="connsiteY23" fmla="*/ 1970576 h 3743106"/>
                  <a:gd name="connsiteX24" fmla="*/ 451624 w 3701002"/>
                  <a:gd name="connsiteY24" fmla="*/ 1403521 h 3743106"/>
                  <a:gd name="connsiteX25" fmla="*/ 496709 w 3701002"/>
                  <a:gd name="connsiteY25" fmla="*/ 659301 h 3743106"/>
                  <a:gd name="connsiteX26" fmla="*/ 1199019 w 3701002"/>
                  <a:gd name="connsiteY26" fmla="*/ 517061 h 3743106"/>
                  <a:gd name="connsiteX27" fmla="*/ 1831479 w 3701002"/>
                  <a:gd name="connsiteY27"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145044 w 3701002"/>
                  <a:gd name="connsiteY16" fmla="*/ 3252006 h 3743106"/>
                  <a:gd name="connsiteX17" fmla="*/ 1289824 w 3701002"/>
                  <a:gd name="connsiteY17" fmla="*/ 3549186 h 3743106"/>
                  <a:gd name="connsiteX18" fmla="*/ 1131709 w 3701002"/>
                  <a:gd name="connsiteY18" fmla="*/ 3739686 h 3743106"/>
                  <a:gd name="connsiteX19" fmla="*/ 881519 w 3701002"/>
                  <a:gd name="connsiteY19" fmla="*/ 3637451 h 3743106"/>
                  <a:gd name="connsiteX20" fmla="*/ 771664 w 3701002"/>
                  <a:gd name="connsiteY20" fmla="*/ 3290106 h 3743106"/>
                  <a:gd name="connsiteX21" fmla="*/ 377329 w 3701002"/>
                  <a:gd name="connsiteY21" fmla="*/ 3103416 h 3743106"/>
                  <a:gd name="connsiteX22" fmla="*/ 344944 w 3701002"/>
                  <a:gd name="connsiteY22" fmla="*/ 2482386 h 3743106"/>
                  <a:gd name="connsiteX23" fmla="*/ 139 w 3701002"/>
                  <a:gd name="connsiteY23" fmla="*/ 1970576 h 3743106"/>
                  <a:gd name="connsiteX24" fmla="*/ 451624 w 3701002"/>
                  <a:gd name="connsiteY24" fmla="*/ 1403521 h 3743106"/>
                  <a:gd name="connsiteX25" fmla="*/ 496709 w 3701002"/>
                  <a:gd name="connsiteY25" fmla="*/ 659301 h 3743106"/>
                  <a:gd name="connsiteX26" fmla="*/ 1199019 w 3701002"/>
                  <a:gd name="connsiteY26" fmla="*/ 517061 h 3743106"/>
                  <a:gd name="connsiteX27" fmla="*/ 1831479 w 3701002"/>
                  <a:gd name="connsiteY27" fmla="*/ 171 h 3743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701002" h="3743106">
                    <a:moveTo>
                      <a:pt x="1831479" y="171"/>
                    </a:moveTo>
                    <a:cubicBezTo>
                      <a:pt x="2193958" y="-9460"/>
                      <a:pt x="2228989" y="388262"/>
                      <a:pt x="2478544" y="516426"/>
                    </a:cubicBezTo>
                    <a:cubicBezTo>
                      <a:pt x="2724924" y="638240"/>
                      <a:pt x="3031735" y="420753"/>
                      <a:pt x="3214509" y="673906"/>
                    </a:cubicBezTo>
                    <a:cubicBezTo>
                      <a:pt x="3397283" y="927059"/>
                      <a:pt x="3125874" y="1106394"/>
                      <a:pt x="3270389" y="1425746"/>
                    </a:cubicBezTo>
                    <a:cubicBezTo>
                      <a:pt x="3414904" y="1745098"/>
                      <a:pt x="3685678" y="1679112"/>
                      <a:pt x="3700601" y="1942319"/>
                    </a:cubicBezTo>
                    <a:cubicBezTo>
                      <a:pt x="3712349" y="2221401"/>
                      <a:pt x="3463112" y="2181714"/>
                      <a:pt x="3354844" y="2512866"/>
                    </a:cubicBezTo>
                    <a:cubicBezTo>
                      <a:pt x="3238639" y="2836081"/>
                      <a:pt x="3476765" y="2888309"/>
                      <a:pt x="3320872" y="3113258"/>
                    </a:cubicBezTo>
                    <a:cubicBezTo>
                      <a:pt x="3231655" y="3262007"/>
                      <a:pt x="3076132" y="3153476"/>
                      <a:pt x="2933839" y="3291059"/>
                    </a:cubicBezTo>
                    <a:cubicBezTo>
                      <a:pt x="2791546" y="3428642"/>
                      <a:pt x="2888756" y="3603161"/>
                      <a:pt x="2771914" y="3691109"/>
                    </a:cubicBezTo>
                    <a:cubicBezTo>
                      <a:pt x="2688410" y="3783819"/>
                      <a:pt x="2499817" y="3735717"/>
                      <a:pt x="2440444" y="3640626"/>
                    </a:cubicBezTo>
                    <a:cubicBezTo>
                      <a:pt x="2381071" y="3545535"/>
                      <a:pt x="2441714" y="3442506"/>
                      <a:pt x="2501404" y="3320586"/>
                    </a:cubicBezTo>
                    <a:lnTo>
                      <a:pt x="2659635" y="3107286"/>
                    </a:lnTo>
                    <a:cubicBezTo>
                      <a:pt x="2942380" y="2869700"/>
                      <a:pt x="3122601" y="2510145"/>
                      <a:pt x="3122601" y="2107732"/>
                    </a:cubicBezTo>
                    <a:cubicBezTo>
                      <a:pt x="3122601" y="1392331"/>
                      <a:pt x="2553014" y="812383"/>
                      <a:pt x="1850392" y="812383"/>
                    </a:cubicBezTo>
                    <a:cubicBezTo>
                      <a:pt x="1147770" y="812383"/>
                      <a:pt x="578183" y="1392331"/>
                      <a:pt x="578183" y="2107732"/>
                    </a:cubicBezTo>
                    <a:cubicBezTo>
                      <a:pt x="578183" y="2465433"/>
                      <a:pt x="720580" y="2789270"/>
                      <a:pt x="950805" y="3023682"/>
                    </a:cubicBezTo>
                    <a:cubicBezTo>
                      <a:pt x="1039364" y="3104553"/>
                      <a:pt x="1080298" y="3175898"/>
                      <a:pt x="1145044" y="3252006"/>
                    </a:cubicBezTo>
                    <a:cubicBezTo>
                      <a:pt x="1213624" y="3361226"/>
                      <a:pt x="1292047" y="3467906"/>
                      <a:pt x="1289824" y="3549186"/>
                    </a:cubicBezTo>
                    <a:cubicBezTo>
                      <a:pt x="1287602" y="3630466"/>
                      <a:pt x="1199760" y="3724975"/>
                      <a:pt x="1131709" y="3739686"/>
                    </a:cubicBezTo>
                    <a:cubicBezTo>
                      <a:pt x="1063658" y="3754397"/>
                      <a:pt x="935176" y="3721906"/>
                      <a:pt x="881519" y="3637451"/>
                    </a:cubicBezTo>
                    <a:cubicBezTo>
                      <a:pt x="827862" y="3552996"/>
                      <a:pt x="922371" y="3429912"/>
                      <a:pt x="771664" y="3290106"/>
                    </a:cubicBezTo>
                    <a:cubicBezTo>
                      <a:pt x="620957" y="3150300"/>
                      <a:pt x="489724" y="3259626"/>
                      <a:pt x="377329" y="3103416"/>
                    </a:cubicBezTo>
                    <a:cubicBezTo>
                      <a:pt x="245884" y="2847193"/>
                      <a:pt x="472103" y="2764062"/>
                      <a:pt x="344944" y="2482386"/>
                    </a:cubicBezTo>
                    <a:cubicBezTo>
                      <a:pt x="189211" y="2141178"/>
                      <a:pt x="8552" y="2246432"/>
                      <a:pt x="139" y="1970576"/>
                    </a:cubicBezTo>
                    <a:cubicBezTo>
                      <a:pt x="-7481" y="1701865"/>
                      <a:pt x="299012" y="1730017"/>
                      <a:pt x="451624" y="1403521"/>
                    </a:cubicBezTo>
                    <a:cubicBezTo>
                      <a:pt x="528036" y="943675"/>
                      <a:pt x="318168" y="908644"/>
                      <a:pt x="496709" y="659301"/>
                    </a:cubicBezTo>
                    <a:cubicBezTo>
                      <a:pt x="675250" y="409958"/>
                      <a:pt x="956978" y="650728"/>
                      <a:pt x="1199019" y="517061"/>
                    </a:cubicBezTo>
                    <a:cubicBezTo>
                      <a:pt x="1485510" y="418319"/>
                      <a:pt x="1469000" y="9802"/>
                      <a:pt x="1831479" y="171"/>
                    </a:cubicBez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grpSp>
      </p:grpSp>
      <p:grpSp>
        <p:nvGrpSpPr>
          <p:cNvPr id="90" name="Group 89"/>
          <p:cNvGrpSpPr/>
          <p:nvPr/>
        </p:nvGrpSpPr>
        <p:grpSpPr>
          <a:xfrm>
            <a:off x="5842516" y="4497184"/>
            <a:ext cx="474070" cy="474070"/>
            <a:chOff x="6447430" y="2675492"/>
            <a:chExt cx="474070" cy="474070"/>
          </a:xfrm>
        </p:grpSpPr>
        <p:sp>
          <p:nvSpPr>
            <p:cNvPr id="91" name="Oval 90"/>
            <p:cNvSpPr/>
            <p:nvPr/>
          </p:nvSpPr>
          <p:spPr>
            <a:xfrm>
              <a:off x="6447430" y="2675492"/>
              <a:ext cx="474070" cy="474070"/>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white"/>
                </a:solidFill>
                <a:effectLst/>
                <a:uLnTx/>
                <a:uFillTx/>
                <a:latin typeface="+mj-lt"/>
                <a:ea typeface="+mn-ea"/>
                <a:cs typeface="+mn-cs"/>
              </a:endParaRPr>
            </a:p>
          </p:txBody>
        </p:sp>
        <p:grpSp>
          <p:nvGrpSpPr>
            <p:cNvPr id="92" name="Group 91"/>
            <p:cNvGrpSpPr/>
            <p:nvPr/>
          </p:nvGrpSpPr>
          <p:grpSpPr>
            <a:xfrm>
              <a:off x="6518177" y="2715380"/>
              <a:ext cx="333474" cy="369626"/>
              <a:chOff x="3114466" y="105602"/>
              <a:chExt cx="5971657" cy="6619048"/>
            </a:xfrm>
            <a:solidFill>
              <a:schemeClr val="accent5"/>
            </a:solidFill>
          </p:grpSpPr>
          <p:sp>
            <p:nvSpPr>
              <p:cNvPr id="93" name="Oval 92"/>
              <p:cNvSpPr/>
              <p:nvPr/>
            </p:nvSpPr>
            <p:spPr>
              <a:xfrm>
                <a:off x="5744819" y="745435"/>
                <a:ext cx="695738" cy="695738"/>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94" name="Oval 93"/>
              <p:cNvSpPr/>
              <p:nvPr/>
            </p:nvSpPr>
            <p:spPr>
              <a:xfrm>
                <a:off x="6626711" y="1319213"/>
                <a:ext cx="628234" cy="62823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95" name="Oval 94"/>
              <p:cNvSpPr/>
              <p:nvPr/>
            </p:nvSpPr>
            <p:spPr>
              <a:xfrm>
                <a:off x="4921736" y="1319213"/>
                <a:ext cx="628234" cy="62823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96" name="Oval 95"/>
              <p:cNvSpPr/>
              <p:nvPr/>
            </p:nvSpPr>
            <p:spPr>
              <a:xfrm>
                <a:off x="4140684" y="1766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97" name="Oval 96"/>
              <p:cNvSpPr/>
              <p:nvPr/>
            </p:nvSpPr>
            <p:spPr>
              <a:xfrm>
                <a:off x="7510049" y="1766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98" name="Oval 97"/>
              <p:cNvSpPr/>
              <p:nvPr/>
            </p:nvSpPr>
            <p:spPr>
              <a:xfrm>
                <a:off x="7716285" y="2579410"/>
                <a:ext cx="612706" cy="61270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99" name="Oval 98"/>
              <p:cNvSpPr/>
              <p:nvPr/>
            </p:nvSpPr>
            <p:spPr>
              <a:xfrm>
                <a:off x="3849963" y="2569471"/>
                <a:ext cx="612706" cy="61270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00" name="Oval 99"/>
              <p:cNvSpPr/>
              <p:nvPr/>
            </p:nvSpPr>
            <p:spPr>
              <a:xfrm>
                <a:off x="3740632" y="1416532"/>
                <a:ext cx="394046" cy="39404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01" name="Oval 100"/>
              <p:cNvSpPr/>
              <p:nvPr/>
            </p:nvSpPr>
            <p:spPr>
              <a:xfrm>
                <a:off x="8054215" y="1416532"/>
                <a:ext cx="394046" cy="39404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02" name="Oval 101"/>
              <p:cNvSpPr/>
              <p:nvPr/>
            </p:nvSpPr>
            <p:spPr>
              <a:xfrm>
                <a:off x="5878581" y="105602"/>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03" name="Oval 102"/>
              <p:cNvSpPr/>
              <p:nvPr/>
            </p:nvSpPr>
            <p:spPr>
              <a:xfrm>
                <a:off x="3114466" y="3419473"/>
                <a:ext cx="319296" cy="31929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04" name="Oval 103"/>
              <p:cNvSpPr/>
              <p:nvPr/>
            </p:nvSpPr>
            <p:spPr>
              <a:xfrm>
                <a:off x="3794675" y="5116270"/>
                <a:ext cx="282026" cy="28202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05" name="Oval 104"/>
              <p:cNvSpPr/>
              <p:nvPr/>
            </p:nvSpPr>
            <p:spPr>
              <a:xfrm>
                <a:off x="4640020" y="5060156"/>
                <a:ext cx="342902" cy="3429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06" name="Oval 105"/>
              <p:cNvSpPr/>
              <p:nvPr/>
            </p:nvSpPr>
            <p:spPr>
              <a:xfrm>
                <a:off x="4155592" y="4790040"/>
                <a:ext cx="373546" cy="37354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07" name="Oval 106"/>
              <p:cNvSpPr/>
              <p:nvPr/>
            </p:nvSpPr>
            <p:spPr>
              <a:xfrm>
                <a:off x="3892206" y="4042948"/>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08" name="Oval 107"/>
              <p:cNvSpPr/>
              <p:nvPr/>
            </p:nvSpPr>
            <p:spPr>
              <a:xfrm>
                <a:off x="7758528" y="4052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09" name="Oval 108"/>
              <p:cNvSpPr/>
              <p:nvPr/>
            </p:nvSpPr>
            <p:spPr>
              <a:xfrm>
                <a:off x="3632338" y="3395454"/>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10" name="Oval 109"/>
              <p:cNvSpPr/>
              <p:nvPr/>
            </p:nvSpPr>
            <p:spPr>
              <a:xfrm>
                <a:off x="8122650" y="3395454"/>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11" name="Oval 110"/>
              <p:cNvSpPr/>
              <p:nvPr/>
            </p:nvSpPr>
            <p:spPr>
              <a:xfrm>
                <a:off x="8747366" y="3412330"/>
                <a:ext cx="338757" cy="338757"/>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12" name="Oval 111"/>
              <p:cNvSpPr/>
              <p:nvPr/>
            </p:nvSpPr>
            <p:spPr>
              <a:xfrm>
                <a:off x="7659444" y="4792108"/>
                <a:ext cx="372514" cy="37251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13" name="Oval 112"/>
              <p:cNvSpPr/>
              <p:nvPr/>
            </p:nvSpPr>
            <p:spPr>
              <a:xfrm>
                <a:off x="7208355" y="5062538"/>
                <a:ext cx="341242" cy="34124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14" name="Oval 113"/>
              <p:cNvSpPr/>
              <p:nvPr/>
            </p:nvSpPr>
            <p:spPr>
              <a:xfrm>
                <a:off x="8113230" y="5122069"/>
                <a:ext cx="274566" cy="27456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15" name="Freeform 114"/>
              <p:cNvSpPr/>
              <p:nvPr/>
            </p:nvSpPr>
            <p:spPr>
              <a:xfrm>
                <a:off x="5507831" y="5678142"/>
                <a:ext cx="1200744" cy="1046508"/>
              </a:xfrm>
              <a:custGeom>
                <a:avLst/>
                <a:gdLst>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58806 w 1200744"/>
                  <a:gd name="connsiteY19" fmla="*/ 0 h 1046508"/>
                  <a:gd name="connsiteX20" fmla="*/ 692944 w 1200744"/>
                  <a:gd name="connsiteY20" fmla="*/ 0 h 1046508"/>
                  <a:gd name="connsiteX21" fmla="*/ 692944 w 1200744"/>
                  <a:gd name="connsiteY21" fmla="*/ 102530 h 1046508"/>
                  <a:gd name="connsiteX22" fmla="*/ 418176 w 1200744"/>
                  <a:gd name="connsiteY22" fmla="*/ 135174 h 1046508"/>
                  <a:gd name="connsiteX23" fmla="*/ 392350 w 1200744"/>
                  <a:gd name="connsiteY23" fmla="*/ 149653 h 1046508"/>
                  <a:gd name="connsiteX24" fmla="*/ 384326 w 1200744"/>
                  <a:gd name="connsiteY24" fmla="*/ 178152 h 1046508"/>
                  <a:gd name="connsiteX25" fmla="*/ 398804 w 1200744"/>
                  <a:gd name="connsiteY25" fmla="*/ 203977 h 1046508"/>
                  <a:gd name="connsiteX26" fmla="*/ 427304 w 1200744"/>
                  <a:gd name="connsiteY26" fmla="*/ 212001 h 1046508"/>
                  <a:gd name="connsiteX27" fmla="*/ 1104900 w 1200744"/>
                  <a:gd name="connsiteY27" fmla="*/ 131498 h 1046508"/>
                  <a:gd name="connsiteX28" fmla="*/ 1104900 w 1200744"/>
                  <a:gd name="connsiteY28" fmla="*/ 134851 h 1046508"/>
                  <a:gd name="connsiteX29" fmla="*/ 1157493 w 1200744"/>
                  <a:gd name="connsiteY29" fmla="*/ 128603 h 1046508"/>
                  <a:gd name="connsiteX30" fmla="*/ 1200471 w 1200744"/>
                  <a:gd name="connsiteY30" fmla="*/ 162453 h 1046508"/>
                  <a:gd name="connsiteX31" fmla="*/ 1200470 w 1200744"/>
                  <a:gd name="connsiteY31" fmla="*/ 162453 h 1046508"/>
                  <a:gd name="connsiteX32" fmla="*/ 1166620 w 1200744"/>
                  <a:gd name="connsiteY32" fmla="*/ 205431 h 1046508"/>
                  <a:gd name="connsiteX33" fmla="*/ 892471 w 1200744"/>
                  <a:gd name="connsiteY33" fmla="*/ 238001 h 1046508"/>
                  <a:gd name="connsiteX34" fmla="*/ 883444 w 1200744"/>
                  <a:gd name="connsiteY34" fmla="*/ 235459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688181 w 1200744"/>
                  <a:gd name="connsiteY45" fmla="*/ 400083 h 1046508"/>
                  <a:gd name="connsiteX46" fmla="*/ 688181 w 1200744"/>
                  <a:gd name="connsiteY46" fmla="*/ 403433 h 1046508"/>
                  <a:gd name="connsiteX47" fmla="*/ 792956 w 1200744"/>
                  <a:gd name="connsiteY47" fmla="*/ 390985 h 1046508"/>
                  <a:gd name="connsiteX48" fmla="*/ 792956 w 1200744"/>
                  <a:gd name="connsiteY48" fmla="*/ 387635 h 1046508"/>
                  <a:gd name="connsiteX49" fmla="*/ 883444 w 1200744"/>
                  <a:gd name="connsiteY49" fmla="*/ 376884 h 1046508"/>
                  <a:gd name="connsiteX50" fmla="*/ 883444 w 1200744"/>
                  <a:gd name="connsiteY50" fmla="*/ 380235 h 1046508"/>
                  <a:gd name="connsiteX51" fmla="*/ 1157493 w 1200744"/>
                  <a:gd name="connsiteY51" fmla="*/ 347675 h 1046508"/>
                  <a:gd name="connsiteX52" fmla="*/ 1200471 w 1200744"/>
                  <a:gd name="connsiteY52" fmla="*/ 381525 h 1046508"/>
                  <a:gd name="connsiteX53" fmla="*/ 1200470 w 1200744"/>
                  <a:gd name="connsiteY53" fmla="*/ 381526 h 1046508"/>
                  <a:gd name="connsiteX54" fmla="*/ 1166620 w 1200744"/>
                  <a:gd name="connsiteY54" fmla="*/ 424503 h 1046508"/>
                  <a:gd name="connsiteX55" fmla="*/ 883444 w 1200744"/>
                  <a:gd name="connsiteY55" fmla="*/ 458146 h 1046508"/>
                  <a:gd name="connsiteX56" fmla="*/ 883444 w 1200744"/>
                  <a:gd name="connsiteY56" fmla="*/ 506141 h 1046508"/>
                  <a:gd name="connsiteX57" fmla="*/ 792956 w 1200744"/>
                  <a:gd name="connsiteY57" fmla="*/ 516892 h 1046508"/>
                  <a:gd name="connsiteX58" fmla="*/ 792956 w 1200744"/>
                  <a:gd name="connsiteY58" fmla="*/ 468897 h 1046508"/>
                  <a:gd name="connsiteX59" fmla="*/ 688181 w 1200744"/>
                  <a:gd name="connsiteY59" fmla="*/ 481345 h 1046508"/>
                  <a:gd name="connsiteX60" fmla="*/ 688181 w 1200744"/>
                  <a:gd name="connsiteY60" fmla="*/ 529340 h 1046508"/>
                  <a:gd name="connsiteX61" fmla="*/ 418176 w 1200744"/>
                  <a:gd name="connsiteY61" fmla="*/ 561418 h 1046508"/>
                  <a:gd name="connsiteX62" fmla="*/ 392350 w 1200744"/>
                  <a:gd name="connsiteY62" fmla="*/ 575897 h 1046508"/>
                  <a:gd name="connsiteX63" fmla="*/ 384326 w 1200744"/>
                  <a:gd name="connsiteY63" fmla="*/ 604396 h 1046508"/>
                  <a:gd name="connsiteX64" fmla="*/ 398804 w 1200744"/>
                  <a:gd name="connsiteY64" fmla="*/ 630221 h 1046508"/>
                  <a:gd name="connsiteX65" fmla="*/ 427304 w 1200744"/>
                  <a:gd name="connsiteY65" fmla="*/ 638245 h 1046508"/>
                  <a:gd name="connsiteX66" fmla="*/ 1104900 w 1200744"/>
                  <a:gd name="connsiteY66" fmla="*/ 557742 h 1046508"/>
                  <a:gd name="connsiteX67" fmla="*/ 1104900 w 1200744"/>
                  <a:gd name="connsiteY67" fmla="*/ 558713 h 1046508"/>
                  <a:gd name="connsiteX68" fmla="*/ 1157491 w 1200744"/>
                  <a:gd name="connsiteY68" fmla="*/ 552464 h 1046508"/>
                  <a:gd name="connsiteX69" fmla="*/ 1200469 w 1200744"/>
                  <a:gd name="connsiteY69" fmla="*/ 586314 h 1046508"/>
                  <a:gd name="connsiteX70" fmla="*/ 1200468 w 1200744"/>
                  <a:gd name="connsiteY70" fmla="*/ 586314 h 1046508"/>
                  <a:gd name="connsiteX71" fmla="*/ 1166618 w 1200744"/>
                  <a:gd name="connsiteY71" fmla="*/ 629292 h 1046508"/>
                  <a:gd name="connsiteX72" fmla="*/ 1104900 w 1200744"/>
                  <a:gd name="connsiteY72" fmla="*/ 636624 h 1046508"/>
                  <a:gd name="connsiteX73" fmla="*/ 1104900 w 1200744"/>
                  <a:gd name="connsiteY73" fmla="*/ 817908 h 1046508"/>
                  <a:gd name="connsiteX74" fmla="*/ 971550 w 1200744"/>
                  <a:gd name="connsiteY74" fmla="*/ 946496 h 1046508"/>
                  <a:gd name="connsiteX75" fmla="*/ 752889 w 1200744"/>
                  <a:gd name="connsiteY75" fmla="*/ 946496 h 1046508"/>
                  <a:gd name="connsiteX76" fmla="*/ 749140 w 1200744"/>
                  <a:gd name="connsiteY76" fmla="*/ 965065 h 1046508"/>
                  <a:gd name="connsiteX77" fmla="*/ 626271 w 1200744"/>
                  <a:gd name="connsiteY77" fmla="*/ 1046508 h 1046508"/>
                  <a:gd name="connsiteX78" fmla="*/ 533770 w 1200744"/>
                  <a:gd name="connsiteY78" fmla="*/ 1046508 h 1046508"/>
                  <a:gd name="connsiteX79" fmla="*/ 410901 w 1200744"/>
                  <a:gd name="connsiteY79" fmla="*/ 965065 h 1046508"/>
                  <a:gd name="connsiteX80" fmla="*/ 407153 w 1200744"/>
                  <a:gd name="connsiteY80" fmla="*/ 946496 h 1046508"/>
                  <a:gd name="connsiteX81" fmla="*/ 190500 w 1200744"/>
                  <a:gd name="connsiteY81" fmla="*/ 946496 h 1046508"/>
                  <a:gd name="connsiteX82" fmla="*/ 59532 w 1200744"/>
                  <a:gd name="connsiteY82" fmla="*/ 825052 h 1046508"/>
                  <a:gd name="connsiteX83" fmla="*/ 59432 w 1200744"/>
                  <a:gd name="connsiteY83" fmla="*/ 710643 h 1046508"/>
                  <a:gd name="connsiteX84" fmla="*/ 48816 w 1200744"/>
                  <a:gd name="connsiteY84" fmla="*/ 710643 h 1046508"/>
                  <a:gd name="connsiteX85" fmla="*/ 14298 w 1200744"/>
                  <a:gd name="connsiteY85" fmla="*/ 696345 h 1046508"/>
                  <a:gd name="connsiteX86" fmla="*/ 0 w 1200744"/>
                  <a:gd name="connsiteY86" fmla="*/ 661828 h 1046508"/>
                  <a:gd name="connsiteX87" fmla="*/ 14298 w 1200744"/>
                  <a:gd name="connsiteY87" fmla="*/ 627310 h 1046508"/>
                  <a:gd name="connsiteX88" fmla="*/ 48816 w 1200744"/>
                  <a:gd name="connsiteY88" fmla="*/ 613012 h 1046508"/>
                  <a:gd name="connsiteX89" fmla="*/ 59346 w 1200744"/>
                  <a:gd name="connsiteY89" fmla="*/ 613012 h 1046508"/>
                  <a:gd name="connsiteX90" fmla="*/ 59247 w 1200744"/>
                  <a:gd name="connsiteY90" fmla="*/ 501147 h 1046508"/>
                  <a:gd name="connsiteX91" fmla="*/ 48816 w 1200744"/>
                  <a:gd name="connsiteY91" fmla="*/ 501147 h 1046508"/>
                  <a:gd name="connsiteX92" fmla="*/ 14298 w 1200744"/>
                  <a:gd name="connsiteY92" fmla="*/ 486849 h 1046508"/>
                  <a:gd name="connsiteX93" fmla="*/ 0 w 1200744"/>
                  <a:gd name="connsiteY93" fmla="*/ 452332 h 1046508"/>
                  <a:gd name="connsiteX94" fmla="*/ 14298 w 1200744"/>
                  <a:gd name="connsiteY94" fmla="*/ 417814 h 1046508"/>
                  <a:gd name="connsiteX95" fmla="*/ 48816 w 1200744"/>
                  <a:gd name="connsiteY95" fmla="*/ 403516 h 1046508"/>
                  <a:gd name="connsiteX96" fmla="*/ 59161 w 1200744"/>
                  <a:gd name="connsiteY96" fmla="*/ 403516 h 1046508"/>
                  <a:gd name="connsiteX97" fmla="*/ 59063 w 1200744"/>
                  <a:gd name="connsiteY97" fmla="*/ 291651 h 1046508"/>
                  <a:gd name="connsiteX98" fmla="*/ 48816 w 1200744"/>
                  <a:gd name="connsiteY98" fmla="*/ 291651 h 1046508"/>
                  <a:gd name="connsiteX99" fmla="*/ 14298 w 1200744"/>
                  <a:gd name="connsiteY99" fmla="*/ 277353 h 1046508"/>
                  <a:gd name="connsiteX100" fmla="*/ 0 w 1200744"/>
                  <a:gd name="connsiteY100" fmla="*/ 242836 h 1046508"/>
                  <a:gd name="connsiteX101" fmla="*/ 14298 w 1200744"/>
                  <a:gd name="connsiteY101" fmla="*/ 208318 h 1046508"/>
                  <a:gd name="connsiteX102" fmla="*/ 48816 w 1200744"/>
                  <a:gd name="connsiteY102" fmla="*/ 194020 h 1046508"/>
                  <a:gd name="connsiteX103" fmla="*/ 58977 w 1200744"/>
                  <a:gd name="connsiteY103" fmla="*/ 19402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792956 w 1200744"/>
                  <a:gd name="connsiteY49" fmla="*/ 387635 h 1046508"/>
                  <a:gd name="connsiteX50" fmla="*/ 883444 w 1200744"/>
                  <a:gd name="connsiteY50" fmla="*/ 376884 h 1046508"/>
                  <a:gd name="connsiteX51" fmla="*/ 1157493 w 1200744"/>
                  <a:gd name="connsiteY51" fmla="*/ 347675 h 1046508"/>
                  <a:gd name="connsiteX52" fmla="*/ 1200471 w 1200744"/>
                  <a:gd name="connsiteY52" fmla="*/ 381525 h 1046508"/>
                  <a:gd name="connsiteX53" fmla="*/ 1200470 w 1200744"/>
                  <a:gd name="connsiteY53" fmla="*/ 381526 h 1046508"/>
                  <a:gd name="connsiteX54" fmla="*/ 1166620 w 1200744"/>
                  <a:gd name="connsiteY54" fmla="*/ 424503 h 1046508"/>
                  <a:gd name="connsiteX55" fmla="*/ 883444 w 1200744"/>
                  <a:gd name="connsiteY55" fmla="*/ 458146 h 1046508"/>
                  <a:gd name="connsiteX56" fmla="*/ 883444 w 1200744"/>
                  <a:gd name="connsiteY56" fmla="*/ 506141 h 1046508"/>
                  <a:gd name="connsiteX57" fmla="*/ 792956 w 1200744"/>
                  <a:gd name="connsiteY57" fmla="*/ 516892 h 1046508"/>
                  <a:gd name="connsiteX58" fmla="*/ 792956 w 1200744"/>
                  <a:gd name="connsiteY58" fmla="*/ 468897 h 1046508"/>
                  <a:gd name="connsiteX59" fmla="*/ 688181 w 1200744"/>
                  <a:gd name="connsiteY59" fmla="*/ 481345 h 1046508"/>
                  <a:gd name="connsiteX60" fmla="*/ 688181 w 1200744"/>
                  <a:gd name="connsiteY60" fmla="*/ 529340 h 1046508"/>
                  <a:gd name="connsiteX61" fmla="*/ 418176 w 1200744"/>
                  <a:gd name="connsiteY61" fmla="*/ 561418 h 1046508"/>
                  <a:gd name="connsiteX62" fmla="*/ 392350 w 1200744"/>
                  <a:gd name="connsiteY62" fmla="*/ 575897 h 1046508"/>
                  <a:gd name="connsiteX63" fmla="*/ 384326 w 1200744"/>
                  <a:gd name="connsiteY63" fmla="*/ 604396 h 1046508"/>
                  <a:gd name="connsiteX64" fmla="*/ 398804 w 1200744"/>
                  <a:gd name="connsiteY64" fmla="*/ 630221 h 1046508"/>
                  <a:gd name="connsiteX65" fmla="*/ 427304 w 1200744"/>
                  <a:gd name="connsiteY65" fmla="*/ 638245 h 1046508"/>
                  <a:gd name="connsiteX66" fmla="*/ 1104900 w 1200744"/>
                  <a:gd name="connsiteY66" fmla="*/ 557742 h 1046508"/>
                  <a:gd name="connsiteX67" fmla="*/ 1104900 w 1200744"/>
                  <a:gd name="connsiteY67" fmla="*/ 558713 h 1046508"/>
                  <a:gd name="connsiteX68" fmla="*/ 1157491 w 1200744"/>
                  <a:gd name="connsiteY68" fmla="*/ 552464 h 1046508"/>
                  <a:gd name="connsiteX69" fmla="*/ 1200469 w 1200744"/>
                  <a:gd name="connsiteY69" fmla="*/ 586314 h 1046508"/>
                  <a:gd name="connsiteX70" fmla="*/ 1200468 w 1200744"/>
                  <a:gd name="connsiteY70" fmla="*/ 586314 h 1046508"/>
                  <a:gd name="connsiteX71" fmla="*/ 1166618 w 1200744"/>
                  <a:gd name="connsiteY71" fmla="*/ 629292 h 1046508"/>
                  <a:gd name="connsiteX72" fmla="*/ 1104900 w 1200744"/>
                  <a:gd name="connsiteY72" fmla="*/ 636624 h 1046508"/>
                  <a:gd name="connsiteX73" fmla="*/ 1104900 w 1200744"/>
                  <a:gd name="connsiteY73" fmla="*/ 817908 h 1046508"/>
                  <a:gd name="connsiteX74" fmla="*/ 971550 w 1200744"/>
                  <a:gd name="connsiteY74" fmla="*/ 946496 h 1046508"/>
                  <a:gd name="connsiteX75" fmla="*/ 752889 w 1200744"/>
                  <a:gd name="connsiteY75" fmla="*/ 946496 h 1046508"/>
                  <a:gd name="connsiteX76" fmla="*/ 749140 w 1200744"/>
                  <a:gd name="connsiteY76" fmla="*/ 965065 h 1046508"/>
                  <a:gd name="connsiteX77" fmla="*/ 626271 w 1200744"/>
                  <a:gd name="connsiteY77" fmla="*/ 1046508 h 1046508"/>
                  <a:gd name="connsiteX78" fmla="*/ 533770 w 1200744"/>
                  <a:gd name="connsiteY78" fmla="*/ 1046508 h 1046508"/>
                  <a:gd name="connsiteX79" fmla="*/ 410901 w 1200744"/>
                  <a:gd name="connsiteY79" fmla="*/ 965065 h 1046508"/>
                  <a:gd name="connsiteX80" fmla="*/ 407153 w 1200744"/>
                  <a:gd name="connsiteY80" fmla="*/ 946496 h 1046508"/>
                  <a:gd name="connsiteX81" fmla="*/ 190500 w 1200744"/>
                  <a:gd name="connsiteY81" fmla="*/ 946496 h 1046508"/>
                  <a:gd name="connsiteX82" fmla="*/ 59532 w 1200744"/>
                  <a:gd name="connsiteY82" fmla="*/ 825052 h 1046508"/>
                  <a:gd name="connsiteX83" fmla="*/ 59432 w 1200744"/>
                  <a:gd name="connsiteY83" fmla="*/ 710643 h 1046508"/>
                  <a:gd name="connsiteX84" fmla="*/ 48816 w 1200744"/>
                  <a:gd name="connsiteY84" fmla="*/ 710643 h 1046508"/>
                  <a:gd name="connsiteX85" fmla="*/ 14298 w 1200744"/>
                  <a:gd name="connsiteY85" fmla="*/ 696345 h 1046508"/>
                  <a:gd name="connsiteX86" fmla="*/ 0 w 1200744"/>
                  <a:gd name="connsiteY86" fmla="*/ 661828 h 1046508"/>
                  <a:gd name="connsiteX87" fmla="*/ 14298 w 1200744"/>
                  <a:gd name="connsiteY87" fmla="*/ 627310 h 1046508"/>
                  <a:gd name="connsiteX88" fmla="*/ 48816 w 1200744"/>
                  <a:gd name="connsiteY88" fmla="*/ 613012 h 1046508"/>
                  <a:gd name="connsiteX89" fmla="*/ 59346 w 1200744"/>
                  <a:gd name="connsiteY89" fmla="*/ 613012 h 1046508"/>
                  <a:gd name="connsiteX90" fmla="*/ 59247 w 1200744"/>
                  <a:gd name="connsiteY90" fmla="*/ 501147 h 1046508"/>
                  <a:gd name="connsiteX91" fmla="*/ 48816 w 1200744"/>
                  <a:gd name="connsiteY91" fmla="*/ 501147 h 1046508"/>
                  <a:gd name="connsiteX92" fmla="*/ 14298 w 1200744"/>
                  <a:gd name="connsiteY92" fmla="*/ 486849 h 1046508"/>
                  <a:gd name="connsiteX93" fmla="*/ 0 w 1200744"/>
                  <a:gd name="connsiteY93" fmla="*/ 452332 h 1046508"/>
                  <a:gd name="connsiteX94" fmla="*/ 14298 w 1200744"/>
                  <a:gd name="connsiteY94" fmla="*/ 417814 h 1046508"/>
                  <a:gd name="connsiteX95" fmla="*/ 48816 w 1200744"/>
                  <a:gd name="connsiteY95" fmla="*/ 403516 h 1046508"/>
                  <a:gd name="connsiteX96" fmla="*/ 59161 w 1200744"/>
                  <a:gd name="connsiteY96" fmla="*/ 403516 h 1046508"/>
                  <a:gd name="connsiteX97" fmla="*/ 59063 w 1200744"/>
                  <a:gd name="connsiteY97" fmla="*/ 291651 h 1046508"/>
                  <a:gd name="connsiteX98" fmla="*/ 48816 w 1200744"/>
                  <a:gd name="connsiteY98" fmla="*/ 291651 h 1046508"/>
                  <a:gd name="connsiteX99" fmla="*/ 14298 w 1200744"/>
                  <a:gd name="connsiteY99" fmla="*/ 277353 h 1046508"/>
                  <a:gd name="connsiteX100" fmla="*/ 0 w 1200744"/>
                  <a:gd name="connsiteY100" fmla="*/ 242836 h 1046508"/>
                  <a:gd name="connsiteX101" fmla="*/ 14298 w 1200744"/>
                  <a:gd name="connsiteY101" fmla="*/ 208318 h 1046508"/>
                  <a:gd name="connsiteX102" fmla="*/ 48816 w 1200744"/>
                  <a:gd name="connsiteY102" fmla="*/ 194020 h 1046508"/>
                  <a:gd name="connsiteX103" fmla="*/ 58977 w 1200744"/>
                  <a:gd name="connsiteY103" fmla="*/ 194020 h 1046508"/>
                  <a:gd name="connsiteX104" fmla="*/ 58806 w 1200744"/>
                  <a:gd name="connsiteY104"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792956 w 1200744"/>
                  <a:gd name="connsiteY49" fmla="*/ 387635 h 1046508"/>
                  <a:gd name="connsiteX50" fmla="*/ 1157493 w 1200744"/>
                  <a:gd name="connsiteY50" fmla="*/ 347675 h 1046508"/>
                  <a:gd name="connsiteX51" fmla="*/ 1200471 w 1200744"/>
                  <a:gd name="connsiteY51" fmla="*/ 381525 h 1046508"/>
                  <a:gd name="connsiteX52" fmla="*/ 1200470 w 1200744"/>
                  <a:gd name="connsiteY52" fmla="*/ 381526 h 1046508"/>
                  <a:gd name="connsiteX53" fmla="*/ 1166620 w 1200744"/>
                  <a:gd name="connsiteY53" fmla="*/ 424503 h 1046508"/>
                  <a:gd name="connsiteX54" fmla="*/ 883444 w 1200744"/>
                  <a:gd name="connsiteY54" fmla="*/ 458146 h 1046508"/>
                  <a:gd name="connsiteX55" fmla="*/ 883444 w 1200744"/>
                  <a:gd name="connsiteY55" fmla="*/ 506141 h 1046508"/>
                  <a:gd name="connsiteX56" fmla="*/ 792956 w 1200744"/>
                  <a:gd name="connsiteY56" fmla="*/ 516892 h 1046508"/>
                  <a:gd name="connsiteX57" fmla="*/ 792956 w 1200744"/>
                  <a:gd name="connsiteY57" fmla="*/ 468897 h 1046508"/>
                  <a:gd name="connsiteX58" fmla="*/ 688181 w 1200744"/>
                  <a:gd name="connsiteY58" fmla="*/ 481345 h 1046508"/>
                  <a:gd name="connsiteX59" fmla="*/ 688181 w 1200744"/>
                  <a:gd name="connsiteY59" fmla="*/ 529340 h 1046508"/>
                  <a:gd name="connsiteX60" fmla="*/ 418176 w 1200744"/>
                  <a:gd name="connsiteY60" fmla="*/ 561418 h 1046508"/>
                  <a:gd name="connsiteX61" fmla="*/ 392350 w 1200744"/>
                  <a:gd name="connsiteY61" fmla="*/ 575897 h 1046508"/>
                  <a:gd name="connsiteX62" fmla="*/ 384326 w 1200744"/>
                  <a:gd name="connsiteY62" fmla="*/ 604396 h 1046508"/>
                  <a:gd name="connsiteX63" fmla="*/ 398804 w 1200744"/>
                  <a:gd name="connsiteY63" fmla="*/ 630221 h 1046508"/>
                  <a:gd name="connsiteX64" fmla="*/ 427304 w 1200744"/>
                  <a:gd name="connsiteY64" fmla="*/ 638245 h 1046508"/>
                  <a:gd name="connsiteX65" fmla="*/ 1104900 w 1200744"/>
                  <a:gd name="connsiteY65" fmla="*/ 557742 h 1046508"/>
                  <a:gd name="connsiteX66" fmla="*/ 1104900 w 1200744"/>
                  <a:gd name="connsiteY66" fmla="*/ 558713 h 1046508"/>
                  <a:gd name="connsiteX67" fmla="*/ 1157491 w 1200744"/>
                  <a:gd name="connsiteY67" fmla="*/ 552464 h 1046508"/>
                  <a:gd name="connsiteX68" fmla="*/ 1200469 w 1200744"/>
                  <a:gd name="connsiteY68" fmla="*/ 586314 h 1046508"/>
                  <a:gd name="connsiteX69" fmla="*/ 1200468 w 1200744"/>
                  <a:gd name="connsiteY69" fmla="*/ 586314 h 1046508"/>
                  <a:gd name="connsiteX70" fmla="*/ 1166618 w 1200744"/>
                  <a:gd name="connsiteY70" fmla="*/ 629292 h 1046508"/>
                  <a:gd name="connsiteX71" fmla="*/ 1104900 w 1200744"/>
                  <a:gd name="connsiteY71" fmla="*/ 636624 h 1046508"/>
                  <a:gd name="connsiteX72" fmla="*/ 1104900 w 1200744"/>
                  <a:gd name="connsiteY72" fmla="*/ 817908 h 1046508"/>
                  <a:gd name="connsiteX73" fmla="*/ 971550 w 1200744"/>
                  <a:gd name="connsiteY73" fmla="*/ 946496 h 1046508"/>
                  <a:gd name="connsiteX74" fmla="*/ 752889 w 1200744"/>
                  <a:gd name="connsiteY74" fmla="*/ 946496 h 1046508"/>
                  <a:gd name="connsiteX75" fmla="*/ 749140 w 1200744"/>
                  <a:gd name="connsiteY75" fmla="*/ 965065 h 1046508"/>
                  <a:gd name="connsiteX76" fmla="*/ 626271 w 1200744"/>
                  <a:gd name="connsiteY76" fmla="*/ 1046508 h 1046508"/>
                  <a:gd name="connsiteX77" fmla="*/ 533770 w 1200744"/>
                  <a:gd name="connsiteY77" fmla="*/ 1046508 h 1046508"/>
                  <a:gd name="connsiteX78" fmla="*/ 410901 w 1200744"/>
                  <a:gd name="connsiteY78" fmla="*/ 965065 h 1046508"/>
                  <a:gd name="connsiteX79" fmla="*/ 407153 w 1200744"/>
                  <a:gd name="connsiteY79" fmla="*/ 946496 h 1046508"/>
                  <a:gd name="connsiteX80" fmla="*/ 190500 w 1200744"/>
                  <a:gd name="connsiteY80" fmla="*/ 946496 h 1046508"/>
                  <a:gd name="connsiteX81" fmla="*/ 59532 w 1200744"/>
                  <a:gd name="connsiteY81" fmla="*/ 825052 h 1046508"/>
                  <a:gd name="connsiteX82" fmla="*/ 59432 w 1200744"/>
                  <a:gd name="connsiteY82" fmla="*/ 710643 h 1046508"/>
                  <a:gd name="connsiteX83" fmla="*/ 48816 w 1200744"/>
                  <a:gd name="connsiteY83" fmla="*/ 710643 h 1046508"/>
                  <a:gd name="connsiteX84" fmla="*/ 14298 w 1200744"/>
                  <a:gd name="connsiteY84" fmla="*/ 696345 h 1046508"/>
                  <a:gd name="connsiteX85" fmla="*/ 0 w 1200744"/>
                  <a:gd name="connsiteY85" fmla="*/ 661828 h 1046508"/>
                  <a:gd name="connsiteX86" fmla="*/ 14298 w 1200744"/>
                  <a:gd name="connsiteY86" fmla="*/ 627310 h 1046508"/>
                  <a:gd name="connsiteX87" fmla="*/ 48816 w 1200744"/>
                  <a:gd name="connsiteY87" fmla="*/ 613012 h 1046508"/>
                  <a:gd name="connsiteX88" fmla="*/ 59346 w 1200744"/>
                  <a:gd name="connsiteY88" fmla="*/ 613012 h 1046508"/>
                  <a:gd name="connsiteX89" fmla="*/ 59247 w 1200744"/>
                  <a:gd name="connsiteY89" fmla="*/ 501147 h 1046508"/>
                  <a:gd name="connsiteX90" fmla="*/ 48816 w 1200744"/>
                  <a:gd name="connsiteY90" fmla="*/ 501147 h 1046508"/>
                  <a:gd name="connsiteX91" fmla="*/ 14298 w 1200744"/>
                  <a:gd name="connsiteY91" fmla="*/ 486849 h 1046508"/>
                  <a:gd name="connsiteX92" fmla="*/ 0 w 1200744"/>
                  <a:gd name="connsiteY92" fmla="*/ 452332 h 1046508"/>
                  <a:gd name="connsiteX93" fmla="*/ 14298 w 1200744"/>
                  <a:gd name="connsiteY93" fmla="*/ 417814 h 1046508"/>
                  <a:gd name="connsiteX94" fmla="*/ 48816 w 1200744"/>
                  <a:gd name="connsiteY94" fmla="*/ 403516 h 1046508"/>
                  <a:gd name="connsiteX95" fmla="*/ 59161 w 1200744"/>
                  <a:gd name="connsiteY95" fmla="*/ 403516 h 1046508"/>
                  <a:gd name="connsiteX96" fmla="*/ 59063 w 1200744"/>
                  <a:gd name="connsiteY96" fmla="*/ 291651 h 1046508"/>
                  <a:gd name="connsiteX97" fmla="*/ 48816 w 1200744"/>
                  <a:gd name="connsiteY97" fmla="*/ 291651 h 1046508"/>
                  <a:gd name="connsiteX98" fmla="*/ 14298 w 1200744"/>
                  <a:gd name="connsiteY98" fmla="*/ 277353 h 1046508"/>
                  <a:gd name="connsiteX99" fmla="*/ 0 w 1200744"/>
                  <a:gd name="connsiteY99" fmla="*/ 242836 h 1046508"/>
                  <a:gd name="connsiteX100" fmla="*/ 14298 w 1200744"/>
                  <a:gd name="connsiteY100" fmla="*/ 208318 h 1046508"/>
                  <a:gd name="connsiteX101" fmla="*/ 48816 w 1200744"/>
                  <a:gd name="connsiteY101" fmla="*/ 194020 h 1046508"/>
                  <a:gd name="connsiteX102" fmla="*/ 58977 w 1200744"/>
                  <a:gd name="connsiteY102" fmla="*/ 194020 h 1046508"/>
                  <a:gd name="connsiteX103" fmla="*/ 58806 w 1200744"/>
                  <a:gd name="connsiteY103"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1157493 w 1200744"/>
                  <a:gd name="connsiteY49" fmla="*/ 347675 h 1046508"/>
                  <a:gd name="connsiteX50" fmla="*/ 1200471 w 1200744"/>
                  <a:gd name="connsiteY50" fmla="*/ 381525 h 1046508"/>
                  <a:gd name="connsiteX51" fmla="*/ 1200470 w 1200744"/>
                  <a:gd name="connsiteY51" fmla="*/ 381526 h 1046508"/>
                  <a:gd name="connsiteX52" fmla="*/ 1166620 w 1200744"/>
                  <a:gd name="connsiteY52" fmla="*/ 424503 h 1046508"/>
                  <a:gd name="connsiteX53" fmla="*/ 883444 w 1200744"/>
                  <a:gd name="connsiteY53" fmla="*/ 458146 h 1046508"/>
                  <a:gd name="connsiteX54" fmla="*/ 883444 w 1200744"/>
                  <a:gd name="connsiteY54" fmla="*/ 506141 h 1046508"/>
                  <a:gd name="connsiteX55" fmla="*/ 792956 w 1200744"/>
                  <a:gd name="connsiteY55" fmla="*/ 516892 h 1046508"/>
                  <a:gd name="connsiteX56" fmla="*/ 792956 w 1200744"/>
                  <a:gd name="connsiteY56" fmla="*/ 468897 h 1046508"/>
                  <a:gd name="connsiteX57" fmla="*/ 688181 w 1200744"/>
                  <a:gd name="connsiteY57" fmla="*/ 481345 h 1046508"/>
                  <a:gd name="connsiteX58" fmla="*/ 688181 w 1200744"/>
                  <a:gd name="connsiteY58" fmla="*/ 529340 h 1046508"/>
                  <a:gd name="connsiteX59" fmla="*/ 418176 w 1200744"/>
                  <a:gd name="connsiteY59" fmla="*/ 561418 h 1046508"/>
                  <a:gd name="connsiteX60" fmla="*/ 392350 w 1200744"/>
                  <a:gd name="connsiteY60" fmla="*/ 575897 h 1046508"/>
                  <a:gd name="connsiteX61" fmla="*/ 384326 w 1200744"/>
                  <a:gd name="connsiteY61" fmla="*/ 604396 h 1046508"/>
                  <a:gd name="connsiteX62" fmla="*/ 398804 w 1200744"/>
                  <a:gd name="connsiteY62" fmla="*/ 630221 h 1046508"/>
                  <a:gd name="connsiteX63" fmla="*/ 427304 w 1200744"/>
                  <a:gd name="connsiteY63" fmla="*/ 638245 h 1046508"/>
                  <a:gd name="connsiteX64" fmla="*/ 1104900 w 1200744"/>
                  <a:gd name="connsiteY64" fmla="*/ 557742 h 1046508"/>
                  <a:gd name="connsiteX65" fmla="*/ 1104900 w 1200744"/>
                  <a:gd name="connsiteY65" fmla="*/ 558713 h 1046508"/>
                  <a:gd name="connsiteX66" fmla="*/ 1157491 w 1200744"/>
                  <a:gd name="connsiteY66" fmla="*/ 552464 h 1046508"/>
                  <a:gd name="connsiteX67" fmla="*/ 1200469 w 1200744"/>
                  <a:gd name="connsiteY67" fmla="*/ 586314 h 1046508"/>
                  <a:gd name="connsiteX68" fmla="*/ 1200468 w 1200744"/>
                  <a:gd name="connsiteY68" fmla="*/ 586314 h 1046508"/>
                  <a:gd name="connsiteX69" fmla="*/ 1166618 w 1200744"/>
                  <a:gd name="connsiteY69" fmla="*/ 629292 h 1046508"/>
                  <a:gd name="connsiteX70" fmla="*/ 1104900 w 1200744"/>
                  <a:gd name="connsiteY70" fmla="*/ 636624 h 1046508"/>
                  <a:gd name="connsiteX71" fmla="*/ 1104900 w 1200744"/>
                  <a:gd name="connsiteY71" fmla="*/ 817908 h 1046508"/>
                  <a:gd name="connsiteX72" fmla="*/ 971550 w 1200744"/>
                  <a:gd name="connsiteY72" fmla="*/ 946496 h 1046508"/>
                  <a:gd name="connsiteX73" fmla="*/ 752889 w 1200744"/>
                  <a:gd name="connsiteY73" fmla="*/ 946496 h 1046508"/>
                  <a:gd name="connsiteX74" fmla="*/ 749140 w 1200744"/>
                  <a:gd name="connsiteY74" fmla="*/ 965065 h 1046508"/>
                  <a:gd name="connsiteX75" fmla="*/ 626271 w 1200744"/>
                  <a:gd name="connsiteY75" fmla="*/ 1046508 h 1046508"/>
                  <a:gd name="connsiteX76" fmla="*/ 533770 w 1200744"/>
                  <a:gd name="connsiteY76" fmla="*/ 1046508 h 1046508"/>
                  <a:gd name="connsiteX77" fmla="*/ 410901 w 1200744"/>
                  <a:gd name="connsiteY77" fmla="*/ 965065 h 1046508"/>
                  <a:gd name="connsiteX78" fmla="*/ 407153 w 1200744"/>
                  <a:gd name="connsiteY78" fmla="*/ 946496 h 1046508"/>
                  <a:gd name="connsiteX79" fmla="*/ 190500 w 1200744"/>
                  <a:gd name="connsiteY79" fmla="*/ 946496 h 1046508"/>
                  <a:gd name="connsiteX80" fmla="*/ 59532 w 1200744"/>
                  <a:gd name="connsiteY80" fmla="*/ 825052 h 1046508"/>
                  <a:gd name="connsiteX81" fmla="*/ 59432 w 1200744"/>
                  <a:gd name="connsiteY81" fmla="*/ 710643 h 1046508"/>
                  <a:gd name="connsiteX82" fmla="*/ 48816 w 1200744"/>
                  <a:gd name="connsiteY82" fmla="*/ 710643 h 1046508"/>
                  <a:gd name="connsiteX83" fmla="*/ 14298 w 1200744"/>
                  <a:gd name="connsiteY83" fmla="*/ 696345 h 1046508"/>
                  <a:gd name="connsiteX84" fmla="*/ 0 w 1200744"/>
                  <a:gd name="connsiteY84" fmla="*/ 661828 h 1046508"/>
                  <a:gd name="connsiteX85" fmla="*/ 14298 w 1200744"/>
                  <a:gd name="connsiteY85" fmla="*/ 627310 h 1046508"/>
                  <a:gd name="connsiteX86" fmla="*/ 48816 w 1200744"/>
                  <a:gd name="connsiteY86" fmla="*/ 613012 h 1046508"/>
                  <a:gd name="connsiteX87" fmla="*/ 59346 w 1200744"/>
                  <a:gd name="connsiteY87" fmla="*/ 613012 h 1046508"/>
                  <a:gd name="connsiteX88" fmla="*/ 59247 w 1200744"/>
                  <a:gd name="connsiteY88" fmla="*/ 501147 h 1046508"/>
                  <a:gd name="connsiteX89" fmla="*/ 48816 w 1200744"/>
                  <a:gd name="connsiteY89" fmla="*/ 501147 h 1046508"/>
                  <a:gd name="connsiteX90" fmla="*/ 14298 w 1200744"/>
                  <a:gd name="connsiteY90" fmla="*/ 486849 h 1046508"/>
                  <a:gd name="connsiteX91" fmla="*/ 0 w 1200744"/>
                  <a:gd name="connsiteY91" fmla="*/ 452332 h 1046508"/>
                  <a:gd name="connsiteX92" fmla="*/ 14298 w 1200744"/>
                  <a:gd name="connsiteY92" fmla="*/ 417814 h 1046508"/>
                  <a:gd name="connsiteX93" fmla="*/ 48816 w 1200744"/>
                  <a:gd name="connsiteY93" fmla="*/ 403516 h 1046508"/>
                  <a:gd name="connsiteX94" fmla="*/ 59161 w 1200744"/>
                  <a:gd name="connsiteY94" fmla="*/ 403516 h 1046508"/>
                  <a:gd name="connsiteX95" fmla="*/ 59063 w 1200744"/>
                  <a:gd name="connsiteY95" fmla="*/ 291651 h 1046508"/>
                  <a:gd name="connsiteX96" fmla="*/ 48816 w 1200744"/>
                  <a:gd name="connsiteY96" fmla="*/ 291651 h 1046508"/>
                  <a:gd name="connsiteX97" fmla="*/ 14298 w 1200744"/>
                  <a:gd name="connsiteY97" fmla="*/ 277353 h 1046508"/>
                  <a:gd name="connsiteX98" fmla="*/ 0 w 1200744"/>
                  <a:gd name="connsiteY98" fmla="*/ 242836 h 1046508"/>
                  <a:gd name="connsiteX99" fmla="*/ 14298 w 1200744"/>
                  <a:gd name="connsiteY99" fmla="*/ 208318 h 1046508"/>
                  <a:gd name="connsiteX100" fmla="*/ 48816 w 1200744"/>
                  <a:gd name="connsiteY100" fmla="*/ 194020 h 1046508"/>
                  <a:gd name="connsiteX101" fmla="*/ 58977 w 1200744"/>
                  <a:gd name="connsiteY101" fmla="*/ 194020 h 1046508"/>
                  <a:gd name="connsiteX102" fmla="*/ 58806 w 1200744"/>
                  <a:gd name="connsiteY102"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1157493 w 1200744"/>
                  <a:gd name="connsiteY48" fmla="*/ 347675 h 1046508"/>
                  <a:gd name="connsiteX49" fmla="*/ 1200471 w 1200744"/>
                  <a:gd name="connsiteY49" fmla="*/ 381525 h 1046508"/>
                  <a:gd name="connsiteX50" fmla="*/ 1200470 w 1200744"/>
                  <a:gd name="connsiteY50" fmla="*/ 381526 h 1046508"/>
                  <a:gd name="connsiteX51" fmla="*/ 1166620 w 1200744"/>
                  <a:gd name="connsiteY51" fmla="*/ 424503 h 1046508"/>
                  <a:gd name="connsiteX52" fmla="*/ 883444 w 1200744"/>
                  <a:gd name="connsiteY52" fmla="*/ 458146 h 1046508"/>
                  <a:gd name="connsiteX53" fmla="*/ 883444 w 1200744"/>
                  <a:gd name="connsiteY53" fmla="*/ 506141 h 1046508"/>
                  <a:gd name="connsiteX54" fmla="*/ 792956 w 1200744"/>
                  <a:gd name="connsiteY54" fmla="*/ 516892 h 1046508"/>
                  <a:gd name="connsiteX55" fmla="*/ 792956 w 1200744"/>
                  <a:gd name="connsiteY55" fmla="*/ 468897 h 1046508"/>
                  <a:gd name="connsiteX56" fmla="*/ 688181 w 1200744"/>
                  <a:gd name="connsiteY56" fmla="*/ 481345 h 1046508"/>
                  <a:gd name="connsiteX57" fmla="*/ 688181 w 1200744"/>
                  <a:gd name="connsiteY57" fmla="*/ 529340 h 1046508"/>
                  <a:gd name="connsiteX58" fmla="*/ 418176 w 1200744"/>
                  <a:gd name="connsiteY58" fmla="*/ 561418 h 1046508"/>
                  <a:gd name="connsiteX59" fmla="*/ 392350 w 1200744"/>
                  <a:gd name="connsiteY59" fmla="*/ 575897 h 1046508"/>
                  <a:gd name="connsiteX60" fmla="*/ 384326 w 1200744"/>
                  <a:gd name="connsiteY60" fmla="*/ 604396 h 1046508"/>
                  <a:gd name="connsiteX61" fmla="*/ 398804 w 1200744"/>
                  <a:gd name="connsiteY61" fmla="*/ 630221 h 1046508"/>
                  <a:gd name="connsiteX62" fmla="*/ 427304 w 1200744"/>
                  <a:gd name="connsiteY62" fmla="*/ 638245 h 1046508"/>
                  <a:gd name="connsiteX63" fmla="*/ 1104900 w 1200744"/>
                  <a:gd name="connsiteY63" fmla="*/ 557742 h 1046508"/>
                  <a:gd name="connsiteX64" fmla="*/ 1104900 w 1200744"/>
                  <a:gd name="connsiteY64" fmla="*/ 558713 h 1046508"/>
                  <a:gd name="connsiteX65" fmla="*/ 1157491 w 1200744"/>
                  <a:gd name="connsiteY65" fmla="*/ 552464 h 1046508"/>
                  <a:gd name="connsiteX66" fmla="*/ 1200469 w 1200744"/>
                  <a:gd name="connsiteY66" fmla="*/ 586314 h 1046508"/>
                  <a:gd name="connsiteX67" fmla="*/ 1200468 w 1200744"/>
                  <a:gd name="connsiteY67" fmla="*/ 586314 h 1046508"/>
                  <a:gd name="connsiteX68" fmla="*/ 1166618 w 1200744"/>
                  <a:gd name="connsiteY68" fmla="*/ 629292 h 1046508"/>
                  <a:gd name="connsiteX69" fmla="*/ 1104900 w 1200744"/>
                  <a:gd name="connsiteY69" fmla="*/ 636624 h 1046508"/>
                  <a:gd name="connsiteX70" fmla="*/ 1104900 w 1200744"/>
                  <a:gd name="connsiteY70" fmla="*/ 817908 h 1046508"/>
                  <a:gd name="connsiteX71" fmla="*/ 971550 w 1200744"/>
                  <a:gd name="connsiteY71" fmla="*/ 946496 h 1046508"/>
                  <a:gd name="connsiteX72" fmla="*/ 752889 w 1200744"/>
                  <a:gd name="connsiteY72" fmla="*/ 946496 h 1046508"/>
                  <a:gd name="connsiteX73" fmla="*/ 749140 w 1200744"/>
                  <a:gd name="connsiteY73" fmla="*/ 965065 h 1046508"/>
                  <a:gd name="connsiteX74" fmla="*/ 626271 w 1200744"/>
                  <a:gd name="connsiteY74" fmla="*/ 1046508 h 1046508"/>
                  <a:gd name="connsiteX75" fmla="*/ 533770 w 1200744"/>
                  <a:gd name="connsiteY75" fmla="*/ 1046508 h 1046508"/>
                  <a:gd name="connsiteX76" fmla="*/ 410901 w 1200744"/>
                  <a:gd name="connsiteY76" fmla="*/ 965065 h 1046508"/>
                  <a:gd name="connsiteX77" fmla="*/ 407153 w 1200744"/>
                  <a:gd name="connsiteY77" fmla="*/ 946496 h 1046508"/>
                  <a:gd name="connsiteX78" fmla="*/ 190500 w 1200744"/>
                  <a:gd name="connsiteY78" fmla="*/ 946496 h 1046508"/>
                  <a:gd name="connsiteX79" fmla="*/ 59532 w 1200744"/>
                  <a:gd name="connsiteY79" fmla="*/ 825052 h 1046508"/>
                  <a:gd name="connsiteX80" fmla="*/ 59432 w 1200744"/>
                  <a:gd name="connsiteY80" fmla="*/ 710643 h 1046508"/>
                  <a:gd name="connsiteX81" fmla="*/ 48816 w 1200744"/>
                  <a:gd name="connsiteY81" fmla="*/ 710643 h 1046508"/>
                  <a:gd name="connsiteX82" fmla="*/ 14298 w 1200744"/>
                  <a:gd name="connsiteY82" fmla="*/ 696345 h 1046508"/>
                  <a:gd name="connsiteX83" fmla="*/ 0 w 1200744"/>
                  <a:gd name="connsiteY83" fmla="*/ 661828 h 1046508"/>
                  <a:gd name="connsiteX84" fmla="*/ 14298 w 1200744"/>
                  <a:gd name="connsiteY84" fmla="*/ 627310 h 1046508"/>
                  <a:gd name="connsiteX85" fmla="*/ 48816 w 1200744"/>
                  <a:gd name="connsiteY85" fmla="*/ 613012 h 1046508"/>
                  <a:gd name="connsiteX86" fmla="*/ 59346 w 1200744"/>
                  <a:gd name="connsiteY86" fmla="*/ 613012 h 1046508"/>
                  <a:gd name="connsiteX87" fmla="*/ 59247 w 1200744"/>
                  <a:gd name="connsiteY87" fmla="*/ 501147 h 1046508"/>
                  <a:gd name="connsiteX88" fmla="*/ 48816 w 1200744"/>
                  <a:gd name="connsiteY88" fmla="*/ 501147 h 1046508"/>
                  <a:gd name="connsiteX89" fmla="*/ 14298 w 1200744"/>
                  <a:gd name="connsiteY89" fmla="*/ 486849 h 1046508"/>
                  <a:gd name="connsiteX90" fmla="*/ 0 w 1200744"/>
                  <a:gd name="connsiteY90" fmla="*/ 452332 h 1046508"/>
                  <a:gd name="connsiteX91" fmla="*/ 14298 w 1200744"/>
                  <a:gd name="connsiteY91" fmla="*/ 417814 h 1046508"/>
                  <a:gd name="connsiteX92" fmla="*/ 48816 w 1200744"/>
                  <a:gd name="connsiteY92" fmla="*/ 403516 h 1046508"/>
                  <a:gd name="connsiteX93" fmla="*/ 59161 w 1200744"/>
                  <a:gd name="connsiteY93" fmla="*/ 403516 h 1046508"/>
                  <a:gd name="connsiteX94" fmla="*/ 59063 w 1200744"/>
                  <a:gd name="connsiteY94" fmla="*/ 291651 h 1046508"/>
                  <a:gd name="connsiteX95" fmla="*/ 48816 w 1200744"/>
                  <a:gd name="connsiteY95" fmla="*/ 291651 h 1046508"/>
                  <a:gd name="connsiteX96" fmla="*/ 14298 w 1200744"/>
                  <a:gd name="connsiteY96" fmla="*/ 277353 h 1046508"/>
                  <a:gd name="connsiteX97" fmla="*/ 0 w 1200744"/>
                  <a:gd name="connsiteY97" fmla="*/ 242836 h 1046508"/>
                  <a:gd name="connsiteX98" fmla="*/ 14298 w 1200744"/>
                  <a:gd name="connsiteY98" fmla="*/ 208318 h 1046508"/>
                  <a:gd name="connsiteX99" fmla="*/ 48816 w 1200744"/>
                  <a:gd name="connsiteY99" fmla="*/ 194020 h 1046508"/>
                  <a:gd name="connsiteX100" fmla="*/ 58977 w 1200744"/>
                  <a:gd name="connsiteY100" fmla="*/ 194020 h 1046508"/>
                  <a:gd name="connsiteX101" fmla="*/ 58806 w 1200744"/>
                  <a:gd name="connsiteY101"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1157493 w 1200744"/>
                  <a:gd name="connsiteY47" fmla="*/ 347675 h 1046508"/>
                  <a:gd name="connsiteX48" fmla="*/ 1200471 w 1200744"/>
                  <a:gd name="connsiteY48" fmla="*/ 381525 h 1046508"/>
                  <a:gd name="connsiteX49" fmla="*/ 1200470 w 1200744"/>
                  <a:gd name="connsiteY49" fmla="*/ 381526 h 1046508"/>
                  <a:gd name="connsiteX50" fmla="*/ 1166620 w 1200744"/>
                  <a:gd name="connsiteY50" fmla="*/ 424503 h 1046508"/>
                  <a:gd name="connsiteX51" fmla="*/ 883444 w 1200744"/>
                  <a:gd name="connsiteY51" fmla="*/ 458146 h 1046508"/>
                  <a:gd name="connsiteX52" fmla="*/ 883444 w 1200744"/>
                  <a:gd name="connsiteY52" fmla="*/ 506141 h 1046508"/>
                  <a:gd name="connsiteX53" fmla="*/ 792956 w 1200744"/>
                  <a:gd name="connsiteY53" fmla="*/ 516892 h 1046508"/>
                  <a:gd name="connsiteX54" fmla="*/ 792956 w 1200744"/>
                  <a:gd name="connsiteY54" fmla="*/ 468897 h 1046508"/>
                  <a:gd name="connsiteX55" fmla="*/ 688181 w 1200744"/>
                  <a:gd name="connsiteY55" fmla="*/ 481345 h 1046508"/>
                  <a:gd name="connsiteX56" fmla="*/ 688181 w 1200744"/>
                  <a:gd name="connsiteY56" fmla="*/ 529340 h 1046508"/>
                  <a:gd name="connsiteX57" fmla="*/ 418176 w 1200744"/>
                  <a:gd name="connsiteY57" fmla="*/ 561418 h 1046508"/>
                  <a:gd name="connsiteX58" fmla="*/ 392350 w 1200744"/>
                  <a:gd name="connsiteY58" fmla="*/ 575897 h 1046508"/>
                  <a:gd name="connsiteX59" fmla="*/ 384326 w 1200744"/>
                  <a:gd name="connsiteY59" fmla="*/ 604396 h 1046508"/>
                  <a:gd name="connsiteX60" fmla="*/ 398804 w 1200744"/>
                  <a:gd name="connsiteY60" fmla="*/ 630221 h 1046508"/>
                  <a:gd name="connsiteX61" fmla="*/ 427304 w 1200744"/>
                  <a:gd name="connsiteY61" fmla="*/ 638245 h 1046508"/>
                  <a:gd name="connsiteX62" fmla="*/ 1104900 w 1200744"/>
                  <a:gd name="connsiteY62" fmla="*/ 557742 h 1046508"/>
                  <a:gd name="connsiteX63" fmla="*/ 1104900 w 1200744"/>
                  <a:gd name="connsiteY63" fmla="*/ 558713 h 1046508"/>
                  <a:gd name="connsiteX64" fmla="*/ 1157491 w 1200744"/>
                  <a:gd name="connsiteY64" fmla="*/ 552464 h 1046508"/>
                  <a:gd name="connsiteX65" fmla="*/ 1200469 w 1200744"/>
                  <a:gd name="connsiteY65" fmla="*/ 586314 h 1046508"/>
                  <a:gd name="connsiteX66" fmla="*/ 1200468 w 1200744"/>
                  <a:gd name="connsiteY66" fmla="*/ 586314 h 1046508"/>
                  <a:gd name="connsiteX67" fmla="*/ 1166618 w 1200744"/>
                  <a:gd name="connsiteY67" fmla="*/ 629292 h 1046508"/>
                  <a:gd name="connsiteX68" fmla="*/ 1104900 w 1200744"/>
                  <a:gd name="connsiteY68" fmla="*/ 636624 h 1046508"/>
                  <a:gd name="connsiteX69" fmla="*/ 1104900 w 1200744"/>
                  <a:gd name="connsiteY69" fmla="*/ 817908 h 1046508"/>
                  <a:gd name="connsiteX70" fmla="*/ 971550 w 1200744"/>
                  <a:gd name="connsiteY70" fmla="*/ 946496 h 1046508"/>
                  <a:gd name="connsiteX71" fmla="*/ 752889 w 1200744"/>
                  <a:gd name="connsiteY71" fmla="*/ 946496 h 1046508"/>
                  <a:gd name="connsiteX72" fmla="*/ 749140 w 1200744"/>
                  <a:gd name="connsiteY72" fmla="*/ 965065 h 1046508"/>
                  <a:gd name="connsiteX73" fmla="*/ 626271 w 1200744"/>
                  <a:gd name="connsiteY73" fmla="*/ 1046508 h 1046508"/>
                  <a:gd name="connsiteX74" fmla="*/ 533770 w 1200744"/>
                  <a:gd name="connsiteY74" fmla="*/ 1046508 h 1046508"/>
                  <a:gd name="connsiteX75" fmla="*/ 410901 w 1200744"/>
                  <a:gd name="connsiteY75" fmla="*/ 965065 h 1046508"/>
                  <a:gd name="connsiteX76" fmla="*/ 407153 w 1200744"/>
                  <a:gd name="connsiteY76" fmla="*/ 946496 h 1046508"/>
                  <a:gd name="connsiteX77" fmla="*/ 190500 w 1200744"/>
                  <a:gd name="connsiteY77" fmla="*/ 946496 h 1046508"/>
                  <a:gd name="connsiteX78" fmla="*/ 59532 w 1200744"/>
                  <a:gd name="connsiteY78" fmla="*/ 825052 h 1046508"/>
                  <a:gd name="connsiteX79" fmla="*/ 59432 w 1200744"/>
                  <a:gd name="connsiteY79" fmla="*/ 710643 h 1046508"/>
                  <a:gd name="connsiteX80" fmla="*/ 48816 w 1200744"/>
                  <a:gd name="connsiteY80" fmla="*/ 710643 h 1046508"/>
                  <a:gd name="connsiteX81" fmla="*/ 14298 w 1200744"/>
                  <a:gd name="connsiteY81" fmla="*/ 696345 h 1046508"/>
                  <a:gd name="connsiteX82" fmla="*/ 0 w 1200744"/>
                  <a:gd name="connsiteY82" fmla="*/ 661828 h 1046508"/>
                  <a:gd name="connsiteX83" fmla="*/ 14298 w 1200744"/>
                  <a:gd name="connsiteY83" fmla="*/ 627310 h 1046508"/>
                  <a:gd name="connsiteX84" fmla="*/ 48816 w 1200744"/>
                  <a:gd name="connsiteY84" fmla="*/ 613012 h 1046508"/>
                  <a:gd name="connsiteX85" fmla="*/ 59346 w 1200744"/>
                  <a:gd name="connsiteY85" fmla="*/ 613012 h 1046508"/>
                  <a:gd name="connsiteX86" fmla="*/ 59247 w 1200744"/>
                  <a:gd name="connsiteY86" fmla="*/ 501147 h 1046508"/>
                  <a:gd name="connsiteX87" fmla="*/ 48816 w 1200744"/>
                  <a:gd name="connsiteY87" fmla="*/ 501147 h 1046508"/>
                  <a:gd name="connsiteX88" fmla="*/ 14298 w 1200744"/>
                  <a:gd name="connsiteY88" fmla="*/ 486849 h 1046508"/>
                  <a:gd name="connsiteX89" fmla="*/ 0 w 1200744"/>
                  <a:gd name="connsiteY89" fmla="*/ 452332 h 1046508"/>
                  <a:gd name="connsiteX90" fmla="*/ 14298 w 1200744"/>
                  <a:gd name="connsiteY90" fmla="*/ 417814 h 1046508"/>
                  <a:gd name="connsiteX91" fmla="*/ 48816 w 1200744"/>
                  <a:gd name="connsiteY91" fmla="*/ 403516 h 1046508"/>
                  <a:gd name="connsiteX92" fmla="*/ 59161 w 1200744"/>
                  <a:gd name="connsiteY92" fmla="*/ 403516 h 1046508"/>
                  <a:gd name="connsiteX93" fmla="*/ 59063 w 1200744"/>
                  <a:gd name="connsiteY93" fmla="*/ 291651 h 1046508"/>
                  <a:gd name="connsiteX94" fmla="*/ 48816 w 1200744"/>
                  <a:gd name="connsiteY94" fmla="*/ 291651 h 1046508"/>
                  <a:gd name="connsiteX95" fmla="*/ 14298 w 1200744"/>
                  <a:gd name="connsiteY95" fmla="*/ 277353 h 1046508"/>
                  <a:gd name="connsiteX96" fmla="*/ 0 w 1200744"/>
                  <a:gd name="connsiteY96" fmla="*/ 242836 h 1046508"/>
                  <a:gd name="connsiteX97" fmla="*/ 14298 w 1200744"/>
                  <a:gd name="connsiteY97" fmla="*/ 208318 h 1046508"/>
                  <a:gd name="connsiteX98" fmla="*/ 48816 w 1200744"/>
                  <a:gd name="connsiteY98" fmla="*/ 194020 h 1046508"/>
                  <a:gd name="connsiteX99" fmla="*/ 58977 w 1200744"/>
                  <a:gd name="connsiteY99" fmla="*/ 194020 h 1046508"/>
                  <a:gd name="connsiteX100" fmla="*/ 58806 w 1200744"/>
                  <a:gd name="connsiteY100"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1157493 w 1200744"/>
                  <a:gd name="connsiteY46" fmla="*/ 347675 h 1046508"/>
                  <a:gd name="connsiteX47" fmla="*/ 1200471 w 1200744"/>
                  <a:gd name="connsiteY47" fmla="*/ 381525 h 1046508"/>
                  <a:gd name="connsiteX48" fmla="*/ 1200470 w 1200744"/>
                  <a:gd name="connsiteY48" fmla="*/ 381526 h 1046508"/>
                  <a:gd name="connsiteX49" fmla="*/ 1166620 w 1200744"/>
                  <a:gd name="connsiteY49" fmla="*/ 424503 h 1046508"/>
                  <a:gd name="connsiteX50" fmla="*/ 883444 w 1200744"/>
                  <a:gd name="connsiteY50" fmla="*/ 458146 h 1046508"/>
                  <a:gd name="connsiteX51" fmla="*/ 883444 w 1200744"/>
                  <a:gd name="connsiteY51" fmla="*/ 506141 h 1046508"/>
                  <a:gd name="connsiteX52" fmla="*/ 792956 w 1200744"/>
                  <a:gd name="connsiteY52" fmla="*/ 516892 h 1046508"/>
                  <a:gd name="connsiteX53" fmla="*/ 792956 w 1200744"/>
                  <a:gd name="connsiteY53" fmla="*/ 468897 h 1046508"/>
                  <a:gd name="connsiteX54" fmla="*/ 688181 w 1200744"/>
                  <a:gd name="connsiteY54" fmla="*/ 481345 h 1046508"/>
                  <a:gd name="connsiteX55" fmla="*/ 688181 w 1200744"/>
                  <a:gd name="connsiteY55" fmla="*/ 529340 h 1046508"/>
                  <a:gd name="connsiteX56" fmla="*/ 418176 w 1200744"/>
                  <a:gd name="connsiteY56" fmla="*/ 561418 h 1046508"/>
                  <a:gd name="connsiteX57" fmla="*/ 392350 w 1200744"/>
                  <a:gd name="connsiteY57" fmla="*/ 575897 h 1046508"/>
                  <a:gd name="connsiteX58" fmla="*/ 384326 w 1200744"/>
                  <a:gd name="connsiteY58" fmla="*/ 604396 h 1046508"/>
                  <a:gd name="connsiteX59" fmla="*/ 398804 w 1200744"/>
                  <a:gd name="connsiteY59" fmla="*/ 630221 h 1046508"/>
                  <a:gd name="connsiteX60" fmla="*/ 427304 w 1200744"/>
                  <a:gd name="connsiteY60" fmla="*/ 638245 h 1046508"/>
                  <a:gd name="connsiteX61" fmla="*/ 1104900 w 1200744"/>
                  <a:gd name="connsiteY61" fmla="*/ 557742 h 1046508"/>
                  <a:gd name="connsiteX62" fmla="*/ 1104900 w 1200744"/>
                  <a:gd name="connsiteY62" fmla="*/ 558713 h 1046508"/>
                  <a:gd name="connsiteX63" fmla="*/ 1157491 w 1200744"/>
                  <a:gd name="connsiteY63" fmla="*/ 552464 h 1046508"/>
                  <a:gd name="connsiteX64" fmla="*/ 1200469 w 1200744"/>
                  <a:gd name="connsiteY64" fmla="*/ 586314 h 1046508"/>
                  <a:gd name="connsiteX65" fmla="*/ 1200468 w 1200744"/>
                  <a:gd name="connsiteY65" fmla="*/ 586314 h 1046508"/>
                  <a:gd name="connsiteX66" fmla="*/ 1166618 w 1200744"/>
                  <a:gd name="connsiteY66" fmla="*/ 629292 h 1046508"/>
                  <a:gd name="connsiteX67" fmla="*/ 1104900 w 1200744"/>
                  <a:gd name="connsiteY67" fmla="*/ 636624 h 1046508"/>
                  <a:gd name="connsiteX68" fmla="*/ 1104900 w 1200744"/>
                  <a:gd name="connsiteY68" fmla="*/ 817908 h 1046508"/>
                  <a:gd name="connsiteX69" fmla="*/ 971550 w 1200744"/>
                  <a:gd name="connsiteY69" fmla="*/ 946496 h 1046508"/>
                  <a:gd name="connsiteX70" fmla="*/ 752889 w 1200744"/>
                  <a:gd name="connsiteY70" fmla="*/ 946496 h 1046508"/>
                  <a:gd name="connsiteX71" fmla="*/ 749140 w 1200744"/>
                  <a:gd name="connsiteY71" fmla="*/ 965065 h 1046508"/>
                  <a:gd name="connsiteX72" fmla="*/ 626271 w 1200744"/>
                  <a:gd name="connsiteY72" fmla="*/ 1046508 h 1046508"/>
                  <a:gd name="connsiteX73" fmla="*/ 533770 w 1200744"/>
                  <a:gd name="connsiteY73" fmla="*/ 1046508 h 1046508"/>
                  <a:gd name="connsiteX74" fmla="*/ 410901 w 1200744"/>
                  <a:gd name="connsiteY74" fmla="*/ 965065 h 1046508"/>
                  <a:gd name="connsiteX75" fmla="*/ 407153 w 1200744"/>
                  <a:gd name="connsiteY75" fmla="*/ 946496 h 1046508"/>
                  <a:gd name="connsiteX76" fmla="*/ 190500 w 1200744"/>
                  <a:gd name="connsiteY76" fmla="*/ 946496 h 1046508"/>
                  <a:gd name="connsiteX77" fmla="*/ 59532 w 1200744"/>
                  <a:gd name="connsiteY77" fmla="*/ 825052 h 1046508"/>
                  <a:gd name="connsiteX78" fmla="*/ 59432 w 1200744"/>
                  <a:gd name="connsiteY78" fmla="*/ 710643 h 1046508"/>
                  <a:gd name="connsiteX79" fmla="*/ 48816 w 1200744"/>
                  <a:gd name="connsiteY79" fmla="*/ 710643 h 1046508"/>
                  <a:gd name="connsiteX80" fmla="*/ 14298 w 1200744"/>
                  <a:gd name="connsiteY80" fmla="*/ 696345 h 1046508"/>
                  <a:gd name="connsiteX81" fmla="*/ 0 w 1200744"/>
                  <a:gd name="connsiteY81" fmla="*/ 661828 h 1046508"/>
                  <a:gd name="connsiteX82" fmla="*/ 14298 w 1200744"/>
                  <a:gd name="connsiteY82" fmla="*/ 627310 h 1046508"/>
                  <a:gd name="connsiteX83" fmla="*/ 48816 w 1200744"/>
                  <a:gd name="connsiteY83" fmla="*/ 613012 h 1046508"/>
                  <a:gd name="connsiteX84" fmla="*/ 59346 w 1200744"/>
                  <a:gd name="connsiteY84" fmla="*/ 613012 h 1046508"/>
                  <a:gd name="connsiteX85" fmla="*/ 59247 w 1200744"/>
                  <a:gd name="connsiteY85" fmla="*/ 501147 h 1046508"/>
                  <a:gd name="connsiteX86" fmla="*/ 48816 w 1200744"/>
                  <a:gd name="connsiteY86" fmla="*/ 501147 h 1046508"/>
                  <a:gd name="connsiteX87" fmla="*/ 14298 w 1200744"/>
                  <a:gd name="connsiteY87" fmla="*/ 486849 h 1046508"/>
                  <a:gd name="connsiteX88" fmla="*/ 0 w 1200744"/>
                  <a:gd name="connsiteY88" fmla="*/ 452332 h 1046508"/>
                  <a:gd name="connsiteX89" fmla="*/ 14298 w 1200744"/>
                  <a:gd name="connsiteY89" fmla="*/ 417814 h 1046508"/>
                  <a:gd name="connsiteX90" fmla="*/ 48816 w 1200744"/>
                  <a:gd name="connsiteY90" fmla="*/ 403516 h 1046508"/>
                  <a:gd name="connsiteX91" fmla="*/ 59161 w 1200744"/>
                  <a:gd name="connsiteY91" fmla="*/ 403516 h 1046508"/>
                  <a:gd name="connsiteX92" fmla="*/ 59063 w 1200744"/>
                  <a:gd name="connsiteY92" fmla="*/ 291651 h 1046508"/>
                  <a:gd name="connsiteX93" fmla="*/ 48816 w 1200744"/>
                  <a:gd name="connsiteY93" fmla="*/ 291651 h 1046508"/>
                  <a:gd name="connsiteX94" fmla="*/ 14298 w 1200744"/>
                  <a:gd name="connsiteY94" fmla="*/ 277353 h 1046508"/>
                  <a:gd name="connsiteX95" fmla="*/ 0 w 1200744"/>
                  <a:gd name="connsiteY95" fmla="*/ 242836 h 1046508"/>
                  <a:gd name="connsiteX96" fmla="*/ 14298 w 1200744"/>
                  <a:gd name="connsiteY96" fmla="*/ 208318 h 1046508"/>
                  <a:gd name="connsiteX97" fmla="*/ 48816 w 1200744"/>
                  <a:gd name="connsiteY97" fmla="*/ 194020 h 1046508"/>
                  <a:gd name="connsiteX98" fmla="*/ 58977 w 1200744"/>
                  <a:gd name="connsiteY98" fmla="*/ 194020 h 1046508"/>
                  <a:gd name="connsiteX99" fmla="*/ 58806 w 1200744"/>
                  <a:gd name="connsiteY99"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83444 w 1200744"/>
                  <a:gd name="connsiteY34" fmla="*/ 235459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1157493 w 1200744"/>
                  <a:gd name="connsiteY45" fmla="*/ 347675 h 1046508"/>
                  <a:gd name="connsiteX46" fmla="*/ 1200471 w 1200744"/>
                  <a:gd name="connsiteY46" fmla="*/ 381525 h 1046508"/>
                  <a:gd name="connsiteX47" fmla="*/ 1200470 w 1200744"/>
                  <a:gd name="connsiteY47" fmla="*/ 381526 h 1046508"/>
                  <a:gd name="connsiteX48" fmla="*/ 1166620 w 1200744"/>
                  <a:gd name="connsiteY48" fmla="*/ 424503 h 1046508"/>
                  <a:gd name="connsiteX49" fmla="*/ 883444 w 1200744"/>
                  <a:gd name="connsiteY49" fmla="*/ 458146 h 1046508"/>
                  <a:gd name="connsiteX50" fmla="*/ 883444 w 1200744"/>
                  <a:gd name="connsiteY50" fmla="*/ 506141 h 1046508"/>
                  <a:gd name="connsiteX51" fmla="*/ 792956 w 1200744"/>
                  <a:gd name="connsiteY51" fmla="*/ 516892 h 1046508"/>
                  <a:gd name="connsiteX52" fmla="*/ 792956 w 1200744"/>
                  <a:gd name="connsiteY52" fmla="*/ 468897 h 1046508"/>
                  <a:gd name="connsiteX53" fmla="*/ 688181 w 1200744"/>
                  <a:gd name="connsiteY53" fmla="*/ 481345 h 1046508"/>
                  <a:gd name="connsiteX54" fmla="*/ 688181 w 1200744"/>
                  <a:gd name="connsiteY54" fmla="*/ 529340 h 1046508"/>
                  <a:gd name="connsiteX55" fmla="*/ 418176 w 1200744"/>
                  <a:gd name="connsiteY55" fmla="*/ 561418 h 1046508"/>
                  <a:gd name="connsiteX56" fmla="*/ 392350 w 1200744"/>
                  <a:gd name="connsiteY56" fmla="*/ 575897 h 1046508"/>
                  <a:gd name="connsiteX57" fmla="*/ 384326 w 1200744"/>
                  <a:gd name="connsiteY57" fmla="*/ 604396 h 1046508"/>
                  <a:gd name="connsiteX58" fmla="*/ 398804 w 1200744"/>
                  <a:gd name="connsiteY58" fmla="*/ 630221 h 1046508"/>
                  <a:gd name="connsiteX59" fmla="*/ 427304 w 1200744"/>
                  <a:gd name="connsiteY59" fmla="*/ 638245 h 1046508"/>
                  <a:gd name="connsiteX60" fmla="*/ 1104900 w 1200744"/>
                  <a:gd name="connsiteY60" fmla="*/ 557742 h 1046508"/>
                  <a:gd name="connsiteX61" fmla="*/ 1104900 w 1200744"/>
                  <a:gd name="connsiteY61" fmla="*/ 558713 h 1046508"/>
                  <a:gd name="connsiteX62" fmla="*/ 1157491 w 1200744"/>
                  <a:gd name="connsiteY62" fmla="*/ 552464 h 1046508"/>
                  <a:gd name="connsiteX63" fmla="*/ 1200469 w 1200744"/>
                  <a:gd name="connsiteY63" fmla="*/ 586314 h 1046508"/>
                  <a:gd name="connsiteX64" fmla="*/ 1200468 w 1200744"/>
                  <a:gd name="connsiteY64" fmla="*/ 586314 h 1046508"/>
                  <a:gd name="connsiteX65" fmla="*/ 1166618 w 1200744"/>
                  <a:gd name="connsiteY65" fmla="*/ 629292 h 1046508"/>
                  <a:gd name="connsiteX66" fmla="*/ 1104900 w 1200744"/>
                  <a:gd name="connsiteY66" fmla="*/ 636624 h 1046508"/>
                  <a:gd name="connsiteX67" fmla="*/ 1104900 w 1200744"/>
                  <a:gd name="connsiteY67" fmla="*/ 817908 h 1046508"/>
                  <a:gd name="connsiteX68" fmla="*/ 971550 w 1200744"/>
                  <a:gd name="connsiteY68" fmla="*/ 946496 h 1046508"/>
                  <a:gd name="connsiteX69" fmla="*/ 752889 w 1200744"/>
                  <a:gd name="connsiteY69" fmla="*/ 946496 h 1046508"/>
                  <a:gd name="connsiteX70" fmla="*/ 749140 w 1200744"/>
                  <a:gd name="connsiteY70" fmla="*/ 965065 h 1046508"/>
                  <a:gd name="connsiteX71" fmla="*/ 626271 w 1200744"/>
                  <a:gd name="connsiteY71" fmla="*/ 1046508 h 1046508"/>
                  <a:gd name="connsiteX72" fmla="*/ 533770 w 1200744"/>
                  <a:gd name="connsiteY72" fmla="*/ 1046508 h 1046508"/>
                  <a:gd name="connsiteX73" fmla="*/ 410901 w 1200744"/>
                  <a:gd name="connsiteY73" fmla="*/ 965065 h 1046508"/>
                  <a:gd name="connsiteX74" fmla="*/ 407153 w 1200744"/>
                  <a:gd name="connsiteY74" fmla="*/ 946496 h 1046508"/>
                  <a:gd name="connsiteX75" fmla="*/ 190500 w 1200744"/>
                  <a:gd name="connsiteY75" fmla="*/ 946496 h 1046508"/>
                  <a:gd name="connsiteX76" fmla="*/ 59532 w 1200744"/>
                  <a:gd name="connsiteY76" fmla="*/ 825052 h 1046508"/>
                  <a:gd name="connsiteX77" fmla="*/ 59432 w 1200744"/>
                  <a:gd name="connsiteY77" fmla="*/ 710643 h 1046508"/>
                  <a:gd name="connsiteX78" fmla="*/ 48816 w 1200744"/>
                  <a:gd name="connsiteY78" fmla="*/ 710643 h 1046508"/>
                  <a:gd name="connsiteX79" fmla="*/ 14298 w 1200744"/>
                  <a:gd name="connsiteY79" fmla="*/ 696345 h 1046508"/>
                  <a:gd name="connsiteX80" fmla="*/ 0 w 1200744"/>
                  <a:gd name="connsiteY80" fmla="*/ 661828 h 1046508"/>
                  <a:gd name="connsiteX81" fmla="*/ 14298 w 1200744"/>
                  <a:gd name="connsiteY81" fmla="*/ 627310 h 1046508"/>
                  <a:gd name="connsiteX82" fmla="*/ 48816 w 1200744"/>
                  <a:gd name="connsiteY82" fmla="*/ 613012 h 1046508"/>
                  <a:gd name="connsiteX83" fmla="*/ 59346 w 1200744"/>
                  <a:gd name="connsiteY83" fmla="*/ 613012 h 1046508"/>
                  <a:gd name="connsiteX84" fmla="*/ 59247 w 1200744"/>
                  <a:gd name="connsiteY84" fmla="*/ 501147 h 1046508"/>
                  <a:gd name="connsiteX85" fmla="*/ 48816 w 1200744"/>
                  <a:gd name="connsiteY85" fmla="*/ 501147 h 1046508"/>
                  <a:gd name="connsiteX86" fmla="*/ 14298 w 1200744"/>
                  <a:gd name="connsiteY86" fmla="*/ 486849 h 1046508"/>
                  <a:gd name="connsiteX87" fmla="*/ 0 w 1200744"/>
                  <a:gd name="connsiteY87" fmla="*/ 452332 h 1046508"/>
                  <a:gd name="connsiteX88" fmla="*/ 14298 w 1200744"/>
                  <a:gd name="connsiteY88" fmla="*/ 417814 h 1046508"/>
                  <a:gd name="connsiteX89" fmla="*/ 48816 w 1200744"/>
                  <a:gd name="connsiteY89" fmla="*/ 403516 h 1046508"/>
                  <a:gd name="connsiteX90" fmla="*/ 59161 w 1200744"/>
                  <a:gd name="connsiteY90" fmla="*/ 403516 h 1046508"/>
                  <a:gd name="connsiteX91" fmla="*/ 59063 w 1200744"/>
                  <a:gd name="connsiteY91" fmla="*/ 291651 h 1046508"/>
                  <a:gd name="connsiteX92" fmla="*/ 48816 w 1200744"/>
                  <a:gd name="connsiteY92" fmla="*/ 291651 h 1046508"/>
                  <a:gd name="connsiteX93" fmla="*/ 14298 w 1200744"/>
                  <a:gd name="connsiteY93" fmla="*/ 277353 h 1046508"/>
                  <a:gd name="connsiteX94" fmla="*/ 0 w 1200744"/>
                  <a:gd name="connsiteY94" fmla="*/ 242836 h 1046508"/>
                  <a:gd name="connsiteX95" fmla="*/ 14298 w 1200744"/>
                  <a:gd name="connsiteY95" fmla="*/ 208318 h 1046508"/>
                  <a:gd name="connsiteX96" fmla="*/ 48816 w 1200744"/>
                  <a:gd name="connsiteY96" fmla="*/ 194020 h 1046508"/>
                  <a:gd name="connsiteX97" fmla="*/ 58977 w 1200744"/>
                  <a:gd name="connsiteY97" fmla="*/ 194020 h 1046508"/>
                  <a:gd name="connsiteX98" fmla="*/ 58806 w 1200744"/>
                  <a:gd name="connsiteY98"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78682 w 1200744"/>
                  <a:gd name="connsiteY34" fmla="*/ 240221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1157493 w 1200744"/>
                  <a:gd name="connsiteY45" fmla="*/ 347675 h 1046508"/>
                  <a:gd name="connsiteX46" fmla="*/ 1200471 w 1200744"/>
                  <a:gd name="connsiteY46" fmla="*/ 381525 h 1046508"/>
                  <a:gd name="connsiteX47" fmla="*/ 1200470 w 1200744"/>
                  <a:gd name="connsiteY47" fmla="*/ 381526 h 1046508"/>
                  <a:gd name="connsiteX48" fmla="*/ 1166620 w 1200744"/>
                  <a:gd name="connsiteY48" fmla="*/ 424503 h 1046508"/>
                  <a:gd name="connsiteX49" fmla="*/ 883444 w 1200744"/>
                  <a:gd name="connsiteY49" fmla="*/ 458146 h 1046508"/>
                  <a:gd name="connsiteX50" fmla="*/ 883444 w 1200744"/>
                  <a:gd name="connsiteY50" fmla="*/ 506141 h 1046508"/>
                  <a:gd name="connsiteX51" fmla="*/ 792956 w 1200744"/>
                  <a:gd name="connsiteY51" fmla="*/ 516892 h 1046508"/>
                  <a:gd name="connsiteX52" fmla="*/ 792956 w 1200744"/>
                  <a:gd name="connsiteY52" fmla="*/ 468897 h 1046508"/>
                  <a:gd name="connsiteX53" fmla="*/ 688181 w 1200744"/>
                  <a:gd name="connsiteY53" fmla="*/ 481345 h 1046508"/>
                  <a:gd name="connsiteX54" fmla="*/ 688181 w 1200744"/>
                  <a:gd name="connsiteY54" fmla="*/ 529340 h 1046508"/>
                  <a:gd name="connsiteX55" fmla="*/ 418176 w 1200744"/>
                  <a:gd name="connsiteY55" fmla="*/ 561418 h 1046508"/>
                  <a:gd name="connsiteX56" fmla="*/ 392350 w 1200744"/>
                  <a:gd name="connsiteY56" fmla="*/ 575897 h 1046508"/>
                  <a:gd name="connsiteX57" fmla="*/ 384326 w 1200744"/>
                  <a:gd name="connsiteY57" fmla="*/ 604396 h 1046508"/>
                  <a:gd name="connsiteX58" fmla="*/ 398804 w 1200744"/>
                  <a:gd name="connsiteY58" fmla="*/ 630221 h 1046508"/>
                  <a:gd name="connsiteX59" fmla="*/ 427304 w 1200744"/>
                  <a:gd name="connsiteY59" fmla="*/ 638245 h 1046508"/>
                  <a:gd name="connsiteX60" fmla="*/ 1104900 w 1200744"/>
                  <a:gd name="connsiteY60" fmla="*/ 557742 h 1046508"/>
                  <a:gd name="connsiteX61" fmla="*/ 1104900 w 1200744"/>
                  <a:gd name="connsiteY61" fmla="*/ 558713 h 1046508"/>
                  <a:gd name="connsiteX62" fmla="*/ 1157491 w 1200744"/>
                  <a:gd name="connsiteY62" fmla="*/ 552464 h 1046508"/>
                  <a:gd name="connsiteX63" fmla="*/ 1200469 w 1200744"/>
                  <a:gd name="connsiteY63" fmla="*/ 586314 h 1046508"/>
                  <a:gd name="connsiteX64" fmla="*/ 1200468 w 1200744"/>
                  <a:gd name="connsiteY64" fmla="*/ 586314 h 1046508"/>
                  <a:gd name="connsiteX65" fmla="*/ 1166618 w 1200744"/>
                  <a:gd name="connsiteY65" fmla="*/ 629292 h 1046508"/>
                  <a:gd name="connsiteX66" fmla="*/ 1104900 w 1200744"/>
                  <a:gd name="connsiteY66" fmla="*/ 636624 h 1046508"/>
                  <a:gd name="connsiteX67" fmla="*/ 1104900 w 1200744"/>
                  <a:gd name="connsiteY67" fmla="*/ 817908 h 1046508"/>
                  <a:gd name="connsiteX68" fmla="*/ 971550 w 1200744"/>
                  <a:gd name="connsiteY68" fmla="*/ 946496 h 1046508"/>
                  <a:gd name="connsiteX69" fmla="*/ 752889 w 1200744"/>
                  <a:gd name="connsiteY69" fmla="*/ 946496 h 1046508"/>
                  <a:gd name="connsiteX70" fmla="*/ 749140 w 1200744"/>
                  <a:gd name="connsiteY70" fmla="*/ 965065 h 1046508"/>
                  <a:gd name="connsiteX71" fmla="*/ 626271 w 1200744"/>
                  <a:gd name="connsiteY71" fmla="*/ 1046508 h 1046508"/>
                  <a:gd name="connsiteX72" fmla="*/ 533770 w 1200744"/>
                  <a:gd name="connsiteY72" fmla="*/ 1046508 h 1046508"/>
                  <a:gd name="connsiteX73" fmla="*/ 410901 w 1200744"/>
                  <a:gd name="connsiteY73" fmla="*/ 965065 h 1046508"/>
                  <a:gd name="connsiteX74" fmla="*/ 407153 w 1200744"/>
                  <a:gd name="connsiteY74" fmla="*/ 946496 h 1046508"/>
                  <a:gd name="connsiteX75" fmla="*/ 190500 w 1200744"/>
                  <a:gd name="connsiteY75" fmla="*/ 946496 h 1046508"/>
                  <a:gd name="connsiteX76" fmla="*/ 59532 w 1200744"/>
                  <a:gd name="connsiteY76" fmla="*/ 825052 h 1046508"/>
                  <a:gd name="connsiteX77" fmla="*/ 59432 w 1200744"/>
                  <a:gd name="connsiteY77" fmla="*/ 710643 h 1046508"/>
                  <a:gd name="connsiteX78" fmla="*/ 48816 w 1200744"/>
                  <a:gd name="connsiteY78" fmla="*/ 710643 h 1046508"/>
                  <a:gd name="connsiteX79" fmla="*/ 14298 w 1200744"/>
                  <a:gd name="connsiteY79" fmla="*/ 696345 h 1046508"/>
                  <a:gd name="connsiteX80" fmla="*/ 0 w 1200744"/>
                  <a:gd name="connsiteY80" fmla="*/ 661828 h 1046508"/>
                  <a:gd name="connsiteX81" fmla="*/ 14298 w 1200744"/>
                  <a:gd name="connsiteY81" fmla="*/ 627310 h 1046508"/>
                  <a:gd name="connsiteX82" fmla="*/ 48816 w 1200744"/>
                  <a:gd name="connsiteY82" fmla="*/ 613012 h 1046508"/>
                  <a:gd name="connsiteX83" fmla="*/ 59346 w 1200744"/>
                  <a:gd name="connsiteY83" fmla="*/ 613012 h 1046508"/>
                  <a:gd name="connsiteX84" fmla="*/ 59247 w 1200744"/>
                  <a:gd name="connsiteY84" fmla="*/ 501147 h 1046508"/>
                  <a:gd name="connsiteX85" fmla="*/ 48816 w 1200744"/>
                  <a:gd name="connsiteY85" fmla="*/ 501147 h 1046508"/>
                  <a:gd name="connsiteX86" fmla="*/ 14298 w 1200744"/>
                  <a:gd name="connsiteY86" fmla="*/ 486849 h 1046508"/>
                  <a:gd name="connsiteX87" fmla="*/ 0 w 1200744"/>
                  <a:gd name="connsiteY87" fmla="*/ 452332 h 1046508"/>
                  <a:gd name="connsiteX88" fmla="*/ 14298 w 1200744"/>
                  <a:gd name="connsiteY88" fmla="*/ 417814 h 1046508"/>
                  <a:gd name="connsiteX89" fmla="*/ 48816 w 1200744"/>
                  <a:gd name="connsiteY89" fmla="*/ 403516 h 1046508"/>
                  <a:gd name="connsiteX90" fmla="*/ 59161 w 1200744"/>
                  <a:gd name="connsiteY90" fmla="*/ 403516 h 1046508"/>
                  <a:gd name="connsiteX91" fmla="*/ 59063 w 1200744"/>
                  <a:gd name="connsiteY91" fmla="*/ 291651 h 1046508"/>
                  <a:gd name="connsiteX92" fmla="*/ 48816 w 1200744"/>
                  <a:gd name="connsiteY92" fmla="*/ 291651 h 1046508"/>
                  <a:gd name="connsiteX93" fmla="*/ 14298 w 1200744"/>
                  <a:gd name="connsiteY93" fmla="*/ 277353 h 1046508"/>
                  <a:gd name="connsiteX94" fmla="*/ 0 w 1200744"/>
                  <a:gd name="connsiteY94" fmla="*/ 242836 h 1046508"/>
                  <a:gd name="connsiteX95" fmla="*/ 14298 w 1200744"/>
                  <a:gd name="connsiteY95" fmla="*/ 208318 h 1046508"/>
                  <a:gd name="connsiteX96" fmla="*/ 48816 w 1200744"/>
                  <a:gd name="connsiteY96" fmla="*/ 194020 h 1046508"/>
                  <a:gd name="connsiteX97" fmla="*/ 58977 w 1200744"/>
                  <a:gd name="connsiteY97" fmla="*/ 194020 h 1046508"/>
                  <a:gd name="connsiteX98" fmla="*/ 58806 w 1200744"/>
                  <a:gd name="connsiteY98" fmla="*/ 0 h 1046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200744" h="1046508">
                    <a:moveTo>
                      <a:pt x="269392" y="583922"/>
                    </a:moveTo>
                    <a:cubicBezTo>
                      <a:pt x="247034" y="583922"/>
                      <a:pt x="228910" y="602046"/>
                      <a:pt x="228910" y="624404"/>
                    </a:cubicBezTo>
                    <a:cubicBezTo>
                      <a:pt x="228910" y="646762"/>
                      <a:pt x="247034" y="664886"/>
                      <a:pt x="269392" y="664886"/>
                    </a:cubicBezTo>
                    <a:cubicBezTo>
                      <a:pt x="291750" y="664886"/>
                      <a:pt x="309874" y="646762"/>
                      <a:pt x="309874" y="624404"/>
                    </a:cubicBezTo>
                    <a:cubicBezTo>
                      <a:pt x="309874" y="602046"/>
                      <a:pt x="291750" y="583922"/>
                      <a:pt x="269392" y="583922"/>
                    </a:cubicBezTo>
                    <a:close/>
                    <a:moveTo>
                      <a:pt x="269392" y="373750"/>
                    </a:moveTo>
                    <a:cubicBezTo>
                      <a:pt x="247034" y="373750"/>
                      <a:pt x="228910" y="391874"/>
                      <a:pt x="228910" y="414232"/>
                    </a:cubicBezTo>
                    <a:cubicBezTo>
                      <a:pt x="228910" y="436590"/>
                      <a:pt x="247034" y="454714"/>
                      <a:pt x="269392" y="454714"/>
                    </a:cubicBezTo>
                    <a:cubicBezTo>
                      <a:pt x="291750" y="454714"/>
                      <a:pt x="309874" y="436590"/>
                      <a:pt x="309874" y="414232"/>
                    </a:cubicBezTo>
                    <a:cubicBezTo>
                      <a:pt x="309874" y="391874"/>
                      <a:pt x="291750" y="373750"/>
                      <a:pt x="269392" y="373750"/>
                    </a:cubicBezTo>
                    <a:close/>
                    <a:moveTo>
                      <a:pt x="269392" y="163063"/>
                    </a:moveTo>
                    <a:cubicBezTo>
                      <a:pt x="247034" y="163063"/>
                      <a:pt x="228910" y="181187"/>
                      <a:pt x="228910" y="203545"/>
                    </a:cubicBezTo>
                    <a:cubicBezTo>
                      <a:pt x="228910" y="225903"/>
                      <a:pt x="247034" y="244027"/>
                      <a:pt x="269392" y="244027"/>
                    </a:cubicBezTo>
                    <a:cubicBezTo>
                      <a:pt x="291750" y="244027"/>
                      <a:pt x="309874" y="225903"/>
                      <a:pt x="309874" y="203545"/>
                    </a:cubicBezTo>
                    <a:cubicBezTo>
                      <a:pt x="309874" y="181187"/>
                      <a:pt x="291750" y="163063"/>
                      <a:pt x="269392" y="163063"/>
                    </a:cubicBezTo>
                    <a:close/>
                    <a:moveTo>
                      <a:pt x="797719" y="0"/>
                    </a:moveTo>
                    <a:lnTo>
                      <a:pt x="883444" y="0"/>
                    </a:lnTo>
                    <a:lnTo>
                      <a:pt x="883444" y="79897"/>
                    </a:lnTo>
                    <a:lnTo>
                      <a:pt x="797719" y="90082"/>
                    </a:lnTo>
                    <a:lnTo>
                      <a:pt x="797719" y="0"/>
                    </a:lnTo>
                    <a:close/>
                    <a:moveTo>
                      <a:pt x="58806" y="0"/>
                    </a:moveTo>
                    <a:lnTo>
                      <a:pt x="692944" y="0"/>
                    </a:lnTo>
                    <a:lnTo>
                      <a:pt x="692944" y="102530"/>
                    </a:lnTo>
                    <a:lnTo>
                      <a:pt x="418176" y="135174"/>
                    </a:lnTo>
                    <a:cubicBezTo>
                      <a:pt x="407569" y="136435"/>
                      <a:pt x="398476" y="141875"/>
                      <a:pt x="392350" y="149653"/>
                    </a:cubicBezTo>
                    <a:lnTo>
                      <a:pt x="384326" y="178152"/>
                    </a:lnTo>
                    <a:lnTo>
                      <a:pt x="398804" y="203977"/>
                    </a:lnTo>
                    <a:cubicBezTo>
                      <a:pt x="406582" y="210103"/>
                      <a:pt x="416696" y="213262"/>
                      <a:pt x="427304" y="212001"/>
                    </a:cubicBezTo>
                    <a:lnTo>
                      <a:pt x="1104900" y="131498"/>
                    </a:lnTo>
                    <a:lnTo>
                      <a:pt x="1104900" y="134851"/>
                    </a:lnTo>
                    <a:lnTo>
                      <a:pt x="1157493" y="128603"/>
                    </a:lnTo>
                    <a:cubicBezTo>
                      <a:pt x="1178709" y="126082"/>
                      <a:pt x="1197951" y="141237"/>
                      <a:pt x="1200471" y="162453"/>
                    </a:cubicBezTo>
                    <a:lnTo>
                      <a:pt x="1200470" y="162453"/>
                    </a:lnTo>
                    <a:cubicBezTo>
                      <a:pt x="1202991" y="183669"/>
                      <a:pt x="1187836" y="202910"/>
                      <a:pt x="1166620" y="205431"/>
                    </a:cubicBezTo>
                    <a:lnTo>
                      <a:pt x="878682" y="240221"/>
                    </a:lnTo>
                    <a:lnTo>
                      <a:pt x="883444" y="298972"/>
                    </a:lnTo>
                    <a:lnTo>
                      <a:pt x="792956" y="309723"/>
                    </a:lnTo>
                    <a:lnTo>
                      <a:pt x="792956" y="265459"/>
                    </a:lnTo>
                    <a:lnTo>
                      <a:pt x="688181" y="265459"/>
                    </a:lnTo>
                    <a:lnTo>
                      <a:pt x="688181" y="322171"/>
                    </a:lnTo>
                    <a:lnTo>
                      <a:pt x="418176" y="354249"/>
                    </a:lnTo>
                    <a:cubicBezTo>
                      <a:pt x="407569" y="355510"/>
                      <a:pt x="398476" y="360950"/>
                      <a:pt x="392350" y="368728"/>
                    </a:cubicBezTo>
                    <a:lnTo>
                      <a:pt x="384326" y="397227"/>
                    </a:lnTo>
                    <a:lnTo>
                      <a:pt x="398804" y="423052"/>
                    </a:lnTo>
                    <a:cubicBezTo>
                      <a:pt x="406582" y="429178"/>
                      <a:pt x="416696" y="432337"/>
                      <a:pt x="427304" y="431076"/>
                    </a:cubicBezTo>
                    <a:lnTo>
                      <a:pt x="1157493" y="347675"/>
                    </a:lnTo>
                    <a:cubicBezTo>
                      <a:pt x="1178709" y="345155"/>
                      <a:pt x="1197950" y="360310"/>
                      <a:pt x="1200471" y="381525"/>
                    </a:cubicBezTo>
                    <a:lnTo>
                      <a:pt x="1200470" y="381526"/>
                    </a:lnTo>
                    <a:cubicBezTo>
                      <a:pt x="1202991" y="402741"/>
                      <a:pt x="1187836" y="421983"/>
                      <a:pt x="1166620" y="424503"/>
                    </a:cubicBezTo>
                    <a:lnTo>
                      <a:pt x="883444" y="458146"/>
                    </a:lnTo>
                    <a:lnTo>
                      <a:pt x="883444" y="506141"/>
                    </a:lnTo>
                    <a:lnTo>
                      <a:pt x="792956" y="516892"/>
                    </a:lnTo>
                    <a:lnTo>
                      <a:pt x="792956" y="468897"/>
                    </a:lnTo>
                    <a:lnTo>
                      <a:pt x="688181" y="481345"/>
                    </a:lnTo>
                    <a:lnTo>
                      <a:pt x="688181" y="529340"/>
                    </a:lnTo>
                    <a:lnTo>
                      <a:pt x="418176" y="561418"/>
                    </a:lnTo>
                    <a:cubicBezTo>
                      <a:pt x="407569" y="562679"/>
                      <a:pt x="398476" y="568119"/>
                      <a:pt x="392350" y="575897"/>
                    </a:cubicBezTo>
                    <a:lnTo>
                      <a:pt x="384326" y="604396"/>
                    </a:lnTo>
                    <a:lnTo>
                      <a:pt x="398804" y="630221"/>
                    </a:lnTo>
                    <a:cubicBezTo>
                      <a:pt x="406582" y="636347"/>
                      <a:pt x="416696" y="639506"/>
                      <a:pt x="427304" y="638245"/>
                    </a:cubicBezTo>
                    <a:lnTo>
                      <a:pt x="1104900" y="557742"/>
                    </a:lnTo>
                    <a:lnTo>
                      <a:pt x="1104900" y="558713"/>
                    </a:lnTo>
                    <a:lnTo>
                      <a:pt x="1157491" y="552464"/>
                    </a:lnTo>
                    <a:cubicBezTo>
                      <a:pt x="1178707" y="549944"/>
                      <a:pt x="1197948" y="565099"/>
                      <a:pt x="1200469" y="586314"/>
                    </a:cubicBezTo>
                    <a:lnTo>
                      <a:pt x="1200468" y="586314"/>
                    </a:lnTo>
                    <a:cubicBezTo>
                      <a:pt x="1202989" y="607530"/>
                      <a:pt x="1187834" y="626772"/>
                      <a:pt x="1166618" y="629292"/>
                    </a:cubicBezTo>
                    <a:lnTo>
                      <a:pt x="1104900" y="636624"/>
                    </a:lnTo>
                    <a:lnTo>
                      <a:pt x="1104900" y="817908"/>
                    </a:lnTo>
                    <a:lnTo>
                      <a:pt x="971550" y="946496"/>
                    </a:lnTo>
                    <a:lnTo>
                      <a:pt x="752889" y="946496"/>
                    </a:lnTo>
                    <a:lnTo>
                      <a:pt x="749140" y="965065"/>
                    </a:lnTo>
                    <a:cubicBezTo>
                      <a:pt x="728897" y="1012926"/>
                      <a:pt x="681506" y="1046508"/>
                      <a:pt x="626271" y="1046508"/>
                    </a:cubicBezTo>
                    <a:lnTo>
                      <a:pt x="533770" y="1046508"/>
                    </a:lnTo>
                    <a:cubicBezTo>
                      <a:pt x="478536" y="1046508"/>
                      <a:pt x="431145" y="1012926"/>
                      <a:pt x="410901" y="965065"/>
                    </a:cubicBezTo>
                    <a:lnTo>
                      <a:pt x="407153" y="946496"/>
                    </a:lnTo>
                    <a:lnTo>
                      <a:pt x="190500" y="946496"/>
                    </a:lnTo>
                    <a:lnTo>
                      <a:pt x="59532" y="825052"/>
                    </a:lnTo>
                    <a:cubicBezTo>
                      <a:pt x="59499" y="786916"/>
                      <a:pt x="59465" y="748779"/>
                      <a:pt x="59432" y="710643"/>
                    </a:cubicBezTo>
                    <a:lnTo>
                      <a:pt x="48816" y="710643"/>
                    </a:lnTo>
                    <a:cubicBezTo>
                      <a:pt x="35336" y="710643"/>
                      <a:pt x="23132" y="705179"/>
                      <a:pt x="14298" y="696345"/>
                    </a:cubicBezTo>
                    <a:lnTo>
                      <a:pt x="0" y="661828"/>
                    </a:lnTo>
                    <a:lnTo>
                      <a:pt x="14298" y="627310"/>
                    </a:lnTo>
                    <a:cubicBezTo>
                      <a:pt x="23132" y="618476"/>
                      <a:pt x="35336" y="613012"/>
                      <a:pt x="48816" y="613012"/>
                    </a:cubicBezTo>
                    <a:lnTo>
                      <a:pt x="59346" y="613012"/>
                    </a:lnTo>
                    <a:cubicBezTo>
                      <a:pt x="59313" y="575724"/>
                      <a:pt x="59280" y="538435"/>
                      <a:pt x="59247" y="501147"/>
                    </a:cubicBezTo>
                    <a:lnTo>
                      <a:pt x="48816" y="501147"/>
                    </a:lnTo>
                    <a:cubicBezTo>
                      <a:pt x="35336" y="501147"/>
                      <a:pt x="23132" y="495683"/>
                      <a:pt x="14298" y="486849"/>
                    </a:cubicBezTo>
                    <a:lnTo>
                      <a:pt x="0" y="452332"/>
                    </a:lnTo>
                    <a:lnTo>
                      <a:pt x="14298" y="417814"/>
                    </a:lnTo>
                    <a:cubicBezTo>
                      <a:pt x="23132" y="408980"/>
                      <a:pt x="35336" y="403516"/>
                      <a:pt x="48816" y="403516"/>
                    </a:cubicBezTo>
                    <a:lnTo>
                      <a:pt x="59161" y="403516"/>
                    </a:lnTo>
                    <a:cubicBezTo>
                      <a:pt x="59128" y="366228"/>
                      <a:pt x="59096" y="328939"/>
                      <a:pt x="59063" y="291651"/>
                    </a:cubicBezTo>
                    <a:lnTo>
                      <a:pt x="48816" y="291651"/>
                    </a:lnTo>
                    <a:cubicBezTo>
                      <a:pt x="35336" y="291651"/>
                      <a:pt x="23132" y="286187"/>
                      <a:pt x="14298" y="277353"/>
                    </a:cubicBezTo>
                    <a:lnTo>
                      <a:pt x="0" y="242836"/>
                    </a:lnTo>
                    <a:lnTo>
                      <a:pt x="14298" y="208318"/>
                    </a:lnTo>
                    <a:cubicBezTo>
                      <a:pt x="23132" y="199484"/>
                      <a:pt x="35336" y="194020"/>
                      <a:pt x="48816" y="194020"/>
                    </a:cubicBezTo>
                    <a:lnTo>
                      <a:pt x="58977" y="194020"/>
                    </a:lnTo>
                    <a:lnTo>
                      <a:pt x="58806"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16" name="Freeform 115"/>
              <p:cNvSpPr/>
              <p:nvPr/>
            </p:nvSpPr>
            <p:spPr>
              <a:xfrm>
                <a:off x="4242295" y="1685754"/>
                <a:ext cx="3701002" cy="3743106"/>
              </a:xfrm>
              <a:custGeom>
                <a:avLst/>
                <a:gdLst>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0346 w 3701002"/>
                  <a:gd name="connsiteY11" fmla="*/ 3114359 h 3743106"/>
                  <a:gd name="connsiteX12" fmla="*/ 2659635 w 3701002"/>
                  <a:gd name="connsiteY12" fmla="*/ 3107286 h 3743106"/>
                  <a:gd name="connsiteX13" fmla="*/ 3122601 w 3701002"/>
                  <a:gd name="connsiteY13" fmla="*/ 2107732 h 3743106"/>
                  <a:gd name="connsiteX14" fmla="*/ 1850392 w 3701002"/>
                  <a:gd name="connsiteY14" fmla="*/ 812383 h 3743106"/>
                  <a:gd name="connsiteX15" fmla="*/ 578183 w 3701002"/>
                  <a:gd name="connsiteY15" fmla="*/ 2107732 h 3743106"/>
                  <a:gd name="connsiteX16" fmla="*/ 950805 w 3701002"/>
                  <a:gd name="connsiteY16" fmla="*/ 3023682 h 3743106"/>
                  <a:gd name="connsiteX17" fmla="*/ 1028685 w 3701002"/>
                  <a:gd name="connsiteY17" fmla="*/ 3095752 h 3743106"/>
                  <a:gd name="connsiteX18" fmla="*/ 1145044 w 3701002"/>
                  <a:gd name="connsiteY18" fmla="*/ 3252006 h 3743106"/>
                  <a:gd name="connsiteX19" fmla="*/ 1289824 w 3701002"/>
                  <a:gd name="connsiteY19" fmla="*/ 3549186 h 3743106"/>
                  <a:gd name="connsiteX20" fmla="*/ 1131709 w 3701002"/>
                  <a:gd name="connsiteY20" fmla="*/ 3739686 h 3743106"/>
                  <a:gd name="connsiteX21" fmla="*/ 881519 w 3701002"/>
                  <a:gd name="connsiteY21" fmla="*/ 3637451 h 3743106"/>
                  <a:gd name="connsiteX22" fmla="*/ 771664 w 3701002"/>
                  <a:gd name="connsiteY22" fmla="*/ 3290106 h 3743106"/>
                  <a:gd name="connsiteX23" fmla="*/ 377329 w 3701002"/>
                  <a:gd name="connsiteY23" fmla="*/ 3103416 h 3743106"/>
                  <a:gd name="connsiteX24" fmla="*/ 344944 w 3701002"/>
                  <a:gd name="connsiteY24" fmla="*/ 2482386 h 3743106"/>
                  <a:gd name="connsiteX25" fmla="*/ 139 w 3701002"/>
                  <a:gd name="connsiteY25" fmla="*/ 1970576 h 3743106"/>
                  <a:gd name="connsiteX26" fmla="*/ 451624 w 3701002"/>
                  <a:gd name="connsiteY26" fmla="*/ 1403521 h 3743106"/>
                  <a:gd name="connsiteX27" fmla="*/ 496709 w 3701002"/>
                  <a:gd name="connsiteY27" fmla="*/ 659301 h 3743106"/>
                  <a:gd name="connsiteX28" fmla="*/ 1199019 w 3701002"/>
                  <a:gd name="connsiteY28" fmla="*/ 517061 h 3743106"/>
                  <a:gd name="connsiteX29" fmla="*/ 1831479 w 3701002"/>
                  <a:gd name="connsiteY29"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028685 w 3701002"/>
                  <a:gd name="connsiteY16" fmla="*/ 3095752 h 3743106"/>
                  <a:gd name="connsiteX17" fmla="*/ 1145044 w 3701002"/>
                  <a:gd name="connsiteY17" fmla="*/ 3252006 h 3743106"/>
                  <a:gd name="connsiteX18" fmla="*/ 1289824 w 3701002"/>
                  <a:gd name="connsiteY18" fmla="*/ 3549186 h 3743106"/>
                  <a:gd name="connsiteX19" fmla="*/ 1131709 w 3701002"/>
                  <a:gd name="connsiteY19" fmla="*/ 3739686 h 3743106"/>
                  <a:gd name="connsiteX20" fmla="*/ 881519 w 3701002"/>
                  <a:gd name="connsiteY20" fmla="*/ 3637451 h 3743106"/>
                  <a:gd name="connsiteX21" fmla="*/ 771664 w 3701002"/>
                  <a:gd name="connsiteY21" fmla="*/ 3290106 h 3743106"/>
                  <a:gd name="connsiteX22" fmla="*/ 377329 w 3701002"/>
                  <a:gd name="connsiteY22" fmla="*/ 3103416 h 3743106"/>
                  <a:gd name="connsiteX23" fmla="*/ 344944 w 3701002"/>
                  <a:gd name="connsiteY23" fmla="*/ 2482386 h 3743106"/>
                  <a:gd name="connsiteX24" fmla="*/ 139 w 3701002"/>
                  <a:gd name="connsiteY24" fmla="*/ 1970576 h 3743106"/>
                  <a:gd name="connsiteX25" fmla="*/ 451624 w 3701002"/>
                  <a:gd name="connsiteY25" fmla="*/ 1403521 h 3743106"/>
                  <a:gd name="connsiteX26" fmla="*/ 496709 w 3701002"/>
                  <a:gd name="connsiteY26" fmla="*/ 659301 h 3743106"/>
                  <a:gd name="connsiteX27" fmla="*/ 1199019 w 3701002"/>
                  <a:gd name="connsiteY27" fmla="*/ 517061 h 3743106"/>
                  <a:gd name="connsiteX28" fmla="*/ 1831479 w 3701002"/>
                  <a:gd name="connsiteY28"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145044 w 3701002"/>
                  <a:gd name="connsiteY16" fmla="*/ 3252006 h 3743106"/>
                  <a:gd name="connsiteX17" fmla="*/ 1289824 w 3701002"/>
                  <a:gd name="connsiteY17" fmla="*/ 3549186 h 3743106"/>
                  <a:gd name="connsiteX18" fmla="*/ 1131709 w 3701002"/>
                  <a:gd name="connsiteY18" fmla="*/ 3739686 h 3743106"/>
                  <a:gd name="connsiteX19" fmla="*/ 881519 w 3701002"/>
                  <a:gd name="connsiteY19" fmla="*/ 3637451 h 3743106"/>
                  <a:gd name="connsiteX20" fmla="*/ 771664 w 3701002"/>
                  <a:gd name="connsiteY20" fmla="*/ 3290106 h 3743106"/>
                  <a:gd name="connsiteX21" fmla="*/ 377329 w 3701002"/>
                  <a:gd name="connsiteY21" fmla="*/ 3103416 h 3743106"/>
                  <a:gd name="connsiteX22" fmla="*/ 344944 w 3701002"/>
                  <a:gd name="connsiteY22" fmla="*/ 2482386 h 3743106"/>
                  <a:gd name="connsiteX23" fmla="*/ 139 w 3701002"/>
                  <a:gd name="connsiteY23" fmla="*/ 1970576 h 3743106"/>
                  <a:gd name="connsiteX24" fmla="*/ 451624 w 3701002"/>
                  <a:gd name="connsiteY24" fmla="*/ 1403521 h 3743106"/>
                  <a:gd name="connsiteX25" fmla="*/ 496709 w 3701002"/>
                  <a:gd name="connsiteY25" fmla="*/ 659301 h 3743106"/>
                  <a:gd name="connsiteX26" fmla="*/ 1199019 w 3701002"/>
                  <a:gd name="connsiteY26" fmla="*/ 517061 h 3743106"/>
                  <a:gd name="connsiteX27" fmla="*/ 1831479 w 3701002"/>
                  <a:gd name="connsiteY27"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145044 w 3701002"/>
                  <a:gd name="connsiteY16" fmla="*/ 3252006 h 3743106"/>
                  <a:gd name="connsiteX17" fmla="*/ 1289824 w 3701002"/>
                  <a:gd name="connsiteY17" fmla="*/ 3549186 h 3743106"/>
                  <a:gd name="connsiteX18" fmla="*/ 1131709 w 3701002"/>
                  <a:gd name="connsiteY18" fmla="*/ 3739686 h 3743106"/>
                  <a:gd name="connsiteX19" fmla="*/ 881519 w 3701002"/>
                  <a:gd name="connsiteY19" fmla="*/ 3637451 h 3743106"/>
                  <a:gd name="connsiteX20" fmla="*/ 771664 w 3701002"/>
                  <a:gd name="connsiteY20" fmla="*/ 3290106 h 3743106"/>
                  <a:gd name="connsiteX21" fmla="*/ 377329 w 3701002"/>
                  <a:gd name="connsiteY21" fmla="*/ 3103416 h 3743106"/>
                  <a:gd name="connsiteX22" fmla="*/ 344944 w 3701002"/>
                  <a:gd name="connsiteY22" fmla="*/ 2482386 h 3743106"/>
                  <a:gd name="connsiteX23" fmla="*/ 139 w 3701002"/>
                  <a:gd name="connsiteY23" fmla="*/ 1970576 h 3743106"/>
                  <a:gd name="connsiteX24" fmla="*/ 451624 w 3701002"/>
                  <a:gd name="connsiteY24" fmla="*/ 1403521 h 3743106"/>
                  <a:gd name="connsiteX25" fmla="*/ 496709 w 3701002"/>
                  <a:gd name="connsiteY25" fmla="*/ 659301 h 3743106"/>
                  <a:gd name="connsiteX26" fmla="*/ 1199019 w 3701002"/>
                  <a:gd name="connsiteY26" fmla="*/ 517061 h 3743106"/>
                  <a:gd name="connsiteX27" fmla="*/ 1831479 w 3701002"/>
                  <a:gd name="connsiteY27" fmla="*/ 171 h 3743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701002" h="3743106">
                    <a:moveTo>
                      <a:pt x="1831479" y="171"/>
                    </a:moveTo>
                    <a:cubicBezTo>
                      <a:pt x="2193958" y="-9460"/>
                      <a:pt x="2228989" y="388262"/>
                      <a:pt x="2478544" y="516426"/>
                    </a:cubicBezTo>
                    <a:cubicBezTo>
                      <a:pt x="2724924" y="638240"/>
                      <a:pt x="3031735" y="420753"/>
                      <a:pt x="3214509" y="673906"/>
                    </a:cubicBezTo>
                    <a:cubicBezTo>
                      <a:pt x="3397283" y="927059"/>
                      <a:pt x="3125874" y="1106394"/>
                      <a:pt x="3270389" y="1425746"/>
                    </a:cubicBezTo>
                    <a:cubicBezTo>
                      <a:pt x="3414904" y="1745098"/>
                      <a:pt x="3685678" y="1679112"/>
                      <a:pt x="3700601" y="1942319"/>
                    </a:cubicBezTo>
                    <a:cubicBezTo>
                      <a:pt x="3712349" y="2221401"/>
                      <a:pt x="3463112" y="2181714"/>
                      <a:pt x="3354844" y="2512866"/>
                    </a:cubicBezTo>
                    <a:cubicBezTo>
                      <a:pt x="3238639" y="2836081"/>
                      <a:pt x="3476765" y="2888309"/>
                      <a:pt x="3320872" y="3113258"/>
                    </a:cubicBezTo>
                    <a:cubicBezTo>
                      <a:pt x="3231655" y="3262007"/>
                      <a:pt x="3076132" y="3153476"/>
                      <a:pt x="2933839" y="3291059"/>
                    </a:cubicBezTo>
                    <a:cubicBezTo>
                      <a:pt x="2791546" y="3428642"/>
                      <a:pt x="2888756" y="3603161"/>
                      <a:pt x="2771914" y="3691109"/>
                    </a:cubicBezTo>
                    <a:cubicBezTo>
                      <a:pt x="2688410" y="3783819"/>
                      <a:pt x="2499817" y="3735717"/>
                      <a:pt x="2440444" y="3640626"/>
                    </a:cubicBezTo>
                    <a:cubicBezTo>
                      <a:pt x="2381071" y="3545535"/>
                      <a:pt x="2441714" y="3442506"/>
                      <a:pt x="2501404" y="3320586"/>
                    </a:cubicBezTo>
                    <a:lnTo>
                      <a:pt x="2659635" y="3107286"/>
                    </a:lnTo>
                    <a:cubicBezTo>
                      <a:pt x="2942380" y="2869700"/>
                      <a:pt x="3122601" y="2510145"/>
                      <a:pt x="3122601" y="2107732"/>
                    </a:cubicBezTo>
                    <a:cubicBezTo>
                      <a:pt x="3122601" y="1392331"/>
                      <a:pt x="2553014" y="812383"/>
                      <a:pt x="1850392" y="812383"/>
                    </a:cubicBezTo>
                    <a:cubicBezTo>
                      <a:pt x="1147770" y="812383"/>
                      <a:pt x="578183" y="1392331"/>
                      <a:pt x="578183" y="2107732"/>
                    </a:cubicBezTo>
                    <a:cubicBezTo>
                      <a:pt x="578183" y="2465433"/>
                      <a:pt x="720580" y="2789270"/>
                      <a:pt x="950805" y="3023682"/>
                    </a:cubicBezTo>
                    <a:cubicBezTo>
                      <a:pt x="1039364" y="3104553"/>
                      <a:pt x="1080298" y="3175898"/>
                      <a:pt x="1145044" y="3252006"/>
                    </a:cubicBezTo>
                    <a:cubicBezTo>
                      <a:pt x="1213624" y="3361226"/>
                      <a:pt x="1292047" y="3467906"/>
                      <a:pt x="1289824" y="3549186"/>
                    </a:cubicBezTo>
                    <a:cubicBezTo>
                      <a:pt x="1287602" y="3630466"/>
                      <a:pt x="1199760" y="3724975"/>
                      <a:pt x="1131709" y="3739686"/>
                    </a:cubicBezTo>
                    <a:cubicBezTo>
                      <a:pt x="1063658" y="3754397"/>
                      <a:pt x="935176" y="3721906"/>
                      <a:pt x="881519" y="3637451"/>
                    </a:cubicBezTo>
                    <a:cubicBezTo>
                      <a:pt x="827862" y="3552996"/>
                      <a:pt x="922371" y="3429912"/>
                      <a:pt x="771664" y="3290106"/>
                    </a:cubicBezTo>
                    <a:cubicBezTo>
                      <a:pt x="620957" y="3150300"/>
                      <a:pt x="489724" y="3259626"/>
                      <a:pt x="377329" y="3103416"/>
                    </a:cubicBezTo>
                    <a:cubicBezTo>
                      <a:pt x="245884" y="2847193"/>
                      <a:pt x="472103" y="2764062"/>
                      <a:pt x="344944" y="2482386"/>
                    </a:cubicBezTo>
                    <a:cubicBezTo>
                      <a:pt x="189211" y="2141178"/>
                      <a:pt x="8552" y="2246432"/>
                      <a:pt x="139" y="1970576"/>
                    </a:cubicBezTo>
                    <a:cubicBezTo>
                      <a:pt x="-7481" y="1701865"/>
                      <a:pt x="299012" y="1730017"/>
                      <a:pt x="451624" y="1403521"/>
                    </a:cubicBezTo>
                    <a:cubicBezTo>
                      <a:pt x="528036" y="943675"/>
                      <a:pt x="318168" y="908644"/>
                      <a:pt x="496709" y="659301"/>
                    </a:cubicBezTo>
                    <a:cubicBezTo>
                      <a:pt x="675250" y="409958"/>
                      <a:pt x="956978" y="650728"/>
                      <a:pt x="1199019" y="517061"/>
                    </a:cubicBezTo>
                    <a:cubicBezTo>
                      <a:pt x="1485510" y="418319"/>
                      <a:pt x="1469000" y="9802"/>
                      <a:pt x="1831479" y="171"/>
                    </a:cubicBez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grpSp>
      </p:grpSp>
      <p:grpSp>
        <p:nvGrpSpPr>
          <p:cNvPr id="117" name="Group 116"/>
          <p:cNvGrpSpPr/>
          <p:nvPr/>
        </p:nvGrpSpPr>
        <p:grpSpPr>
          <a:xfrm>
            <a:off x="5842516" y="5432327"/>
            <a:ext cx="474070" cy="474070"/>
            <a:chOff x="6447430" y="2675492"/>
            <a:chExt cx="474070" cy="474070"/>
          </a:xfrm>
        </p:grpSpPr>
        <p:sp>
          <p:nvSpPr>
            <p:cNvPr id="118" name="Oval 117"/>
            <p:cNvSpPr/>
            <p:nvPr/>
          </p:nvSpPr>
          <p:spPr>
            <a:xfrm>
              <a:off x="6447430" y="2675492"/>
              <a:ext cx="474070" cy="474070"/>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white"/>
                </a:solidFill>
                <a:effectLst/>
                <a:uLnTx/>
                <a:uFillTx/>
                <a:latin typeface="+mj-lt"/>
                <a:ea typeface="+mn-ea"/>
                <a:cs typeface="+mn-cs"/>
              </a:endParaRPr>
            </a:p>
          </p:txBody>
        </p:sp>
        <p:grpSp>
          <p:nvGrpSpPr>
            <p:cNvPr id="119" name="Group 118"/>
            <p:cNvGrpSpPr/>
            <p:nvPr/>
          </p:nvGrpSpPr>
          <p:grpSpPr>
            <a:xfrm>
              <a:off x="6518177" y="2715380"/>
              <a:ext cx="333474" cy="369626"/>
              <a:chOff x="3114466" y="105602"/>
              <a:chExt cx="5971657" cy="6619048"/>
            </a:xfrm>
            <a:solidFill>
              <a:schemeClr val="accent5"/>
            </a:solidFill>
          </p:grpSpPr>
          <p:sp>
            <p:nvSpPr>
              <p:cNvPr id="120" name="Oval 119"/>
              <p:cNvSpPr/>
              <p:nvPr/>
            </p:nvSpPr>
            <p:spPr>
              <a:xfrm>
                <a:off x="5744819" y="745435"/>
                <a:ext cx="695738" cy="695738"/>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21" name="Oval 120"/>
              <p:cNvSpPr/>
              <p:nvPr/>
            </p:nvSpPr>
            <p:spPr>
              <a:xfrm>
                <a:off x="6626711" y="1319213"/>
                <a:ext cx="628234" cy="62823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22" name="Oval 121"/>
              <p:cNvSpPr/>
              <p:nvPr/>
            </p:nvSpPr>
            <p:spPr>
              <a:xfrm>
                <a:off x="4921736" y="1319213"/>
                <a:ext cx="628234" cy="62823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23" name="Oval 122"/>
              <p:cNvSpPr/>
              <p:nvPr/>
            </p:nvSpPr>
            <p:spPr>
              <a:xfrm>
                <a:off x="4140684" y="1766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24" name="Oval 123"/>
              <p:cNvSpPr/>
              <p:nvPr/>
            </p:nvSpPr>
            <p:spPr>
              <a:xfrm>
                <a:off x="7510049" y="1766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25" name="Oval 124"/>
              <p:cNvSpPr/>
              <p:nvPr/>
            </p:nvSpPr>
            <p:spPr>
              <a:xfrm>
                <a:off x="7716285" y="2579410"/>
                <a:ext cx="612706" cy="61270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26" name="Oval 125"/>
              <p:cNvSpPr/>
              <p:nvPr/>
            </p:nvSpPr>
            <p:spPr>
              <a:xfrm>
                <a:off x="3849963" y="2569471"/>
                <a:ext cx="612706" cy="61270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27" name="Oval 126"/>
              <p:cNvSpPr/>
              <p:nvPr/>
            </p:nvSpPr>
            <p:spPr>
              <a:xfrm>
                <a:off x="3740632" y="1416532"/>
                <a:ext cx="394046" cy="39404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28" name="Oval 127"/>
              <p:cNvSpPr/>
              <p:nvPr/>
            </p:nvSpPr>
            <p:spPr>
              <a:xfrm>
                <a:off x="8054215" y="1416532"/>
                <a:ext cx="394046" cy="39404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29" name="Oval 128"/>
              <p:cNvSpPr/>
              <p:nvPr/>
            </p:nvSpPr>
            <p:spPr>
              <a:xfrm>
                <a:off x="5878581" y="105602"/>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30" name="Oval 129"/>
              <p:cNvSpPr/>
              <p:nvPr/>
            </p:nvSpPr>
            <p:spPr>
              <a:xfrm>
                <a:off x="3114466" y="3419473"/>
                <a:ext cx="319296" cy="31929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31" name="Oval 130"/>
              <p:cNvSpPr/>
              <p:nvPr/>
            </p:nvSpPr>
            <p:spPr>
              <a:xfrm>
                <a:off x="3794675" y="5116270"/>
                <a:ext cx="282026" cy="28202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32" name="Oval 131"/>
              <p:cNvSpPr/>
              <p:nvPr/>
            </p:nvSpPr>
            <p:spPr>
              <a:xfrm>
                <a:off x="4640020" y="5060156"/>
                <a:ext cx="342902" cy="3429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33" name="Oval 132"/>
              <p:cNvSpPr/>
              <p:nvPr/>
            </p:nvSpPr>
            <p:spPr>
              <a:xfrm>
                <a:off x="4155592" y="4790040"/>
                <a:ext cx="373546" cy="37354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34" name="Oval 133"/>
              <p:cNvSpPr/>
              <p:nvPr/>
            </p:nvSpPr>
            <p:spPr>
              <a:xfrm>
                <a:off x="3892206" y="4042948"/>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35" name="Oval 134"/>
              <p:cNvSpPr/>
              <p:nvPr/>
            </p:nvSpPr>
            <p:spPr>
              <a:xfrm>
                <a:off x="7758528" y="4052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36" name="Oval 135"/>
              <p:cNvSpPr/>
              <p:nvPr/>
            </p:nvSpPr>
            <p:spPr>
              <a:xfrm>
                <a:off x="3632338" y="3395454"/>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37" name="Oval 136"/>
              <p:cNvSpPr/>
              <p:nvPr/>
            </p:nvSpPr>
            <p:spPr>
              <a:xfrm>
                <a:off x="8122650" y="3395454"/>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38" name="Oval 137"/>
              <p:cNvSpPr/>
              <p:nvPr/>
            </p:nvSpPr>
            <p:spPr>
              <a:xfrm>
                <a:off x="8747366" y="3412330"/>
                <a:ext cx="338757" cy="338757"/>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39" name="Oval 138"/>
              <p:cNvSpPr/>
              <p:nvPr/>
            </p:nvSpPr>
            <p:spPr>
              <a:xfrm>
                <a:off x="7659444" y="4792108"/>
                <a:ext cx="372514" cy="37251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40" name="Oval 139"/>
              <p:cNvSpPr/>
              <p:nvPr/>
            </p:nvSpPr>
            <p:spPr>
              <a:xfrm>
                <a:off x="7208355" y="5062538"/>
                <a:ext cx="341242" cy="34124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41" name="Oval 140"/>
              <p:cNvSpPr/>
              <p:nvPr/>
            </p:nvSpPr>
            <p:spPr>
              <a:xfrm>
                <a:off x="8113230" y="5122069"/>
                <a:ext cx="274566" cy="27456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42" name="Freeform 141"/>
              <p:cNvSpPr/>
              <p:nvPr/>
            </p:nvSpPr>
            <p:spPr>
              <a:xfrm>
                <a:off x="5507831" y="5678142"/>
                <a:ext cx="1200744" cy="1046508"/>
              </a:xfrm>
              <a:custGeom>
                <a:avLst/>
                <a:gdLst>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58806 w 1200744"/>
                  <a:gd name="connsiteY19" fmla="*/ 0 h 1046508"/>
                  <a:gd name="connsiteX20" fmla="*/ 692944 w 1200744"/>
                  <a:gd name="connsiteY20" fmla="*/ 0 h 1046508"/>
                  <a:gd name="connsiteX21" fmla="*/ 692944 w 1200744"/>
                  <a:gd name="connsiteY21" fmla="*/ 102530 h 1046508"/>
                  <a:gd name="connsiteX22" fmla="*/ 418176 w 1200744"/>
                  <a:gd name="connsiteY22" fmla="*/ 135174 h 1046508"/>
                  <a:gd name="connsiteX23" fmla="*/ 392350 w 1200744"/>
                  <a:gd name="connsiteY23" fmla="*/ 149653 h 1046508"/>
                  <a:gd name="connsiteX24" fmla="*/ 384326 w 1200744"/>
                  <a:gd name="connsiteY24" fmla="*/ 178152 h 1046508"/>
                  <a:gd name="connsiteX25" fmla="*/ 398804 w 1200744"/>
                  <a:gd name="connsiteY25" fmla="*/ 203977 h 1046508"/>
                  <a:gd name="connsiteX26" fmla="*/ 427304 w 1200744"/>
                  <a:gd name="connsiteY26" fmla="*/ 212001 h 1046508"/>
                  <a:gd name="connsiteX27" fmla="*/ 1104900 w 1200744"/>
                  <a:gd name="connsiteY27" fmla="*/ 131498 h 1046508"/>
                  <a:gd name="connsiteX28" fmla="*/ 1104900 w 1200744"/>
                  <a:gd name="connsiteY28" fmla="*/ 134851 h 1046508"/>
                  <a:gd name="connsiteX29" fmla="*/ 1157493 w 1200744"/>
                  <a:gd name="connsiteY29" fmla="*/ 128603 h 1046508"/>
                  <a:gd name="connsiteX30" fmla="*/ 1200471 w 1200744"/>
                  <a:gd name="connsiteY30" fmla="*/ 162453 h 1046508"/>
                  <a:gd name="connsiteX31" fmla="*/ 1200470 w 1200744"/>
                  <a:gd name="connsiteY31" fmla="*/ 162453 h 1046508"/>
                  <a:gd name="connsiteX32" fmla="*/ 1166620 w 1200744"/>
                  <a:gd name="connsiteY32" fmla="*/ 205431 h 1046508"/>
                  <a:gd name="connsiteX33" fmla="*/ 892471 w 1200744"/>
                  <a:gd name="connsiteY33" fmla="*/ 238001 h 1046508"/>
                  <a:gd name="connsiteX34" fmla="*/ 883444 w 1200744"/>
                  <a:gd name="connsiteY34" fmla="*/ 235459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688181 w 1200744"/>
                  <a:gd name="connsiteY45" fmla="*/ 400083 h 1046508"/>
                  <a:gd name="connsiteX46" fmla="*/ 688181 w 1200744"/>
                  <a:gd name="connsiteY46" fmla="*/ 403433 h 1046508"/>
                  <a:gd name="connsiteX47" fmla="*/ 792956 w 1200744"/>
                  <a:gd name="connsiteY47" fmla="*/ 390985 h 1046508"/>
                  <a:gd name="connsiteX48" fmla="*/ 792956 w 1200744"/>
                  <a:gd name="connsiteY48" fmla="*/ 387635 h 1046508"/>
                  <a:gd name="connsiteX49" fmla="*/ 883444 w 1200744"/>
                  <a:gd name="connsiteY49" fmla="*/ 376884 h 1046508"/>
                  <a:gd name="connsiteX50" fmla="*/ 883444 w 1200744"/>
                  <a:gd name="connsiteY50" fmla="*/ 380235 h 1046508"/>
                  <a:gd name="connsiteX51" fmla="*/ 1157493 w 1200744"/>
                  <a:gd name="connsiteY51" fmla="*/ 347675 h 1046508"/>
                  <a:gd name="connsiteX52" fmla="*/ 1200471 w 1200744"/>
                  <a:gd name="connsiteY52" fmla="*/ 381525 h 1046508"/>
                  <a:gd name="connsiteX53" fmla="*/ 1200470 w 1200744"/>
                  <a:gd name="connsiteY53" fmla="*/ 381526 h 1046508"/>
                  <a:gd name="connsiteX54" fmla="*/ 1166620 w 1200744"/>
                  <a:gd name="connsiteY54" fmla="*/ 424503 h 1046508"/>
                  <a:gd name="connsiteX55" fmla="*/ 883444 w 1200744"/>
                  <a:gd name="connsiteY55" fmla="*/ 458146 h 1046508"/>
                  <a:gd name="connsiteX56" fmla="*/ 883444 w 1200744"/>
                  <a:gd name="connsiteY56" fmla="*/ 506141 h 1046508"/>
                  <a:gd name="connsiteX57" fmla="*/ 792956 w 1200744"/>
                  <a:gd name="connsiteY57" fmla="*/ 516892 h 1046508"/>
                  <a:gd name="connsiteX58" fmla="*/ 792956 w 1200744"/>
                  <a:gd name="connsiteY58" fmla="*/ 468897 h 1046508"/>
                  <a:gd name="connsiteX59" fmla="*/ 688181 w 1200744"/>
                  <a:gd name="connsiteY59" fmla="*/ 481345 h 1046508"/>
                  <a:gd name="connsiteX60" fmla="*/ 688181 w 1200744"/>
                  <a:gd name="connsiteY60" fmla="*/ 529340 h 1046508"/>
                  <a:gd name="connsiteX61" fmla="*/ 418176 w 1200744"/>
                  <a:gd name="connsiteY61" fmla="*/ 561418 h 1046508"/>
                  <a:gd name="connsiteX62" fmla="*/ 392350 w 1200744"/>
                  <a:gd name="connsiteY62" fmla="*/ 575897 h 1046508"/>
                  <a:gd name="connsiteX63" fmla="*/ 384326 w 1200744"/>
                  <a:gd name="connsiteY63" fmla="*/ 604396 h 1046508"/>
                  <a:gd name="connsiteX64" fmla="*/ 398804 w 1200744"/>
                  <a:gd name="connsiteY64" fmla="*/ 630221 h 1046508"/>
                  <a:gd name="connsiteX65" fmla="*/ 427304 w 1200744"/>
                  <a:gd name="connsiteY65" fmla="*/ 638245 h 1046508"/>
                  <a:gd name="connsiteX66" fmla="*/ 1104900 w 1200744"/>
                  <a:gd name="connsiteY66" fmla="*/ 557742 h 1046508"/>
                  <a:gd name="connsiteX67" fmla="*/ 1104900 w 1200744"/>
                  <a:gd name="connsiteY67" fmla="*/ 558713 h 1046508"/>
                  <a:gd name="connsiteX68" fmla="*/ 1157491 w 1200744"/>
                  <a:gd name="connsiteY68" fmla="*/ 552464 h 1046508"/>
                  <a:gd name="connsiteX69" fmla="*/ 1200469 w 1200744"/>
                  <a:gd name="connsiteY69" fmla="*/ 586314 h 1046508"/>
                  <a:gd name="connsiteX70" fmla="*/ 1200468 w 1200744"/>
                  <a:gd name="connsiteY70" fmla="*/ 586314 h 1046508"/>
                  <a:gd name="connsiteX71" fmla="*/ 1166618 w 1200744"/>
                  <a:gd name="connsiteY71" fmla="*/ 629292 h 1046508"/>
                  <a:gd name="connsiteX72" fmla="*/ 1104900 w 1200744"/>
                  <a:gd name="connsiteY72" fmla="*/ 636624 h 1046508"/>
                  <a:gd name="connsiteX73" fmla="*/ 1104900 w 1200744"/>
                  <a:gd name="connsiteY73" fmla="*/ 817908 h 1046508"/>
                  <a:gd name="connsiteX74" fmla="*/ 971550 w 1200744"/>
                  <a:gd name="connsiteY74" fmla="*/ 946496 h 1046508"/>
                  <a:gd name="connsiteX75" fmla="*/ 752889 w 1200744"/>
                  <a:gd name="connsiteY75" fmla="*/ 946496 h 1046508"/>
                  <a:gd name="connsiteX76" fmla="*/ 749140 w 1200744"/>
                  <a:gd name="connsiteY76" fmla="*/ 965065 h 1046508"/>
                  <a:gd name="connsiteX77" fmla="*/ 626271 w 1200744"/>
                  <a:gd name="connsiteY77" fmla="*/ 1046508 h 1046508"/>
                  <a:gd name="connsiteX78" fmla="*/ 533770 w 1200744"/>
                  <a:gd name="connsiteY78" fmla="*/ 1046508 h 1046508"/>
                  <a:gd name="connsiteX79" fmla="*/ 410901 w 1200744"/>
                  <a:gd name="connsiteY79" fmla="*/ 965065 h 1046508"/>
                  <a:gd name="connsiteX80" fmla="*/ 407153 w 1200744"/>
                  <a:gd name="connsiteY80" fmla="*/ 946496 h 1046508"/>
                  <a:gd name="connsiteX81" fmla="*/ 190500 w 1200744"/>
                  <a:gd name="connsiteY81" fmla="*/ 946496 h 1046508"/>
                  <a:gd name="connsiteX82" fmla="*/ 59532 w 1200744"/>
                  <a:gd name="connsiteY82" fmla="*/ 825052 h 1046508"/>
                  <a:gd name="connsiteX83" fmla="*/ 59432 w 1200744"/>
                  <a:gd name="connsiteY83" fmla="*/ 710643 h 1046508"/>
                  <a:gd name="connsiteX84" fmla="*/ 48816 w 1200744"/>
                  <a:gd name="connsiteY84" fmla="*/ 710643 h 1046508"/>
                  <a:gd name="connsiteX85" fmla="*/ 14298 w 1200744"/>
                  <a:gd name="connsiteY85" fmla="*/ 696345 h 1046508"/>
                  <a:gd name="connsiteX86" fmla="*/ 0 w 1200744"/>
                  <a:gd name="connsiteY86" fmla="*/ 661828 h 1046508"/>
                  <a:gd name="connsiteX87" fmla="*/ 14298 w 1200744"/>
                  <a:gd name="connsiteY87" fmla="*/ 627310 h 1046508"/>
                  <a:gd name="connsiteX88" fmla="*/ 48816 w 1200744"/>
                  <a:gd name="connsiteY88" fmla="*/ 613012 h 1046508"/>
                  <a:gd name="connsiteX89" fmla="*/ 59346 w 1200744"/>
                  <a:gd name="connsiteY89" fmla="*/ 613012 h 1046508"/>
                  <a:gd name="connsiteX90" fmla="*/ 59247 w 1200744"/>
                  <a:gd name="connsiteY90" fmla="*/ 501147 h 1046508"/>
                  <a:gd name="connsiteX91" fmla="*/ 48816 w 1200744"/>
                  <a:gd name="connsiteY91" fmla="*/ 501147 h 1046508"/>
                  <a:gd name="connsiteX92" fmla="*/ 14298 w 1200744"/>
                  <a:gd name="connsiteY92" fmla="*/ 486849 h 1046508"/>
                  <a:gd name="connsiteX93" fmla="*/ 0 w 1200744"/>
                  <a:gd name="connsiteY93" fmla="*/ 452332 h 1046508"/>
                  <a:gd name="connsiteX94" fmla="*/ 14298 w 1200744"/>
                  <a:gd name="connsiteY94" fmla="*/ 417814 h 1046508"/>
                  <a:gd name="connsiteX95" fmla="*/ 48816 w 1200744"/>
                  <a:gd name="connsiteY95" fmla="*/ 403516 h 1046508"/>
                  <a:gd name="connsiteX96" fmla="*/ 59161 w 1200744"/>
                  <a:gd name="connsiteY96" fmla="*/ 403516 h 1046508"/>
                  <a:gd name="connsiteX97" fmla="*/ 59063 w 1200744"/>
                  <a:gd name="connsiteY97" fmla="*/ 291651 h 1046508"/>
                  <a:gd name="connsiteX98" fmla="*/ 48816 w 1200744"/>
                  <a:gd name="connsiteY98" fmla="*/ 291651 h 1046508"/>
                  <a:gd name="connsiteX99" fmla="*/ 14298 w 1200744"/>
                  <a:gd name="connsiteY99" fmla="*/ 277353 h 1046508"/>
                  <a:gd name="connsiteX100" fmla="*/ 0 w 1200744"/>
                  <a:gd name="connsiteY100" fmla="*/ 242836 h 1046508"/>
                  <a:gd name="connsiteX101" fmla="*/ 14298 w 1200744"/>
                  <a:gd name="connsiteY101" fmla="*/ 208318 h 1046508"/>
                  <a:gd name="connsiteX102" fmla="*/ 48816 w 1200744"/>
                  <a:gd name="connsiteY102" fmla="*/ 194020 h 1046508"/>
                  <a:gd name="connsiteX103" fmla="*/ 58977 w 1200744"/>
                  <a:gd name="connsiteY103" fmla="*/ 19402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792956 w 1200744"/>
                  <a:gd name="connsiteY49" fmla="*/ 387635 h 1046508"/>
                  <a:gd name="connsiteX50" fmla="*/ 883444 w 1200744"/>
                  <a:gd name="connsiteY50" fmla="*/ 376884 h 1046508"/>
                  <a:gd name="connsiteX51" fmla="*/ 1157493 w 1200744"/>
                  <a:gd name="connsiteY51" fmla="*/ 347675 h 1046508"/>
                  <a:gd name="connsiteX52" fmla="*/ 1200471 w 1200744"/>
                  <a:gd name="connsiteY52" fmla="*/ 381525 h 1046508"/>
                  <a:gd name="connsiteX53" fmla="*/ 1200470 w 1200744"/>
                  <a:gd name="connsiteY53" fmla="*/ 381526 h 1046508"/>
                  <a:gd name="connsiteX54" fmla="*/ 1166620 w 1200744"/>
                  <a:gd name="connsiteY54" fmla="*/ 424503 h 1046508"/>
                  <a:gd name="connsiteX55" fmla="*/ 883444 w 1200744"/>
                  <a:gd name="connsiteY55" fmla="*/ 458146 h 1046508"/>
                  <a:gd name="connsiteX56" fmla="*/ 883444 w 1200744"/>
                  <a:gd name="connsiteY56" fmla="*/ 506141 h 1046508"/>
                  <a:gd name="connsiteX57" fmla="*/ 792956 w 1200744"/>
                  <a:gd name="connsiteY57" fmla="*/ 516892 h 1046508"/>
                  <a:gd name="connsiteX58" fmla="*/ 792956 w 1200744"/>
                  <a:gd name="connsiteY58" fmla="*/ 468897 h 1046508"/>
                  <a:gd name="connsiteX59" fmla="*/ 688181 w 1200744"/>
                  <a:gd name="connsiteY59" fmla="*/ 481345 h 1046508"/>
                  <a:gd name="connsiteX60" fmla="*/ 688181 w 1200744"/>
                  <a:gd name="connsiteY60" fmla="*/ 529340 h 1046508"/>
                  <a:gd name="connsiteX61" fmla="*/ 418176 w 1200744"/>
                  <a:gd name="connsiteY61" fmla="*/ 561418 h 1046508"/>
                  <a:gd name="connsiteX62" fmla="*/ 392350 w 1200744"/>
                  <a:gd name="connsiteY62" fmla="*/ 575897 h 1046508"/>
                  <a:gd name="connsiteX63" fmla="*/ 384326 w 1200744"/>
                  <a:gd name="connsiteY63" fmla="*/ 604396 h 1046508"/>
                  <a:gd name="connsiteX64" fmla="*/ 398804 w 1200744"/>
                  <a:gd name="connsiteY64" fmla="*/ 630221 h 1046508"/>
                  <a:gd name="connsiteX65" fmla="*/ 427304 w 1200744"/>
                  <a:gd name="connsiteY65" fmla="*/ 638245 h 1046508"/>
                  <a:gd name="connsiteX66" fmla="*/ 1104900 w 1200744"/>
                  <a:gd name="connsiteY66" fmla="*/ 557742 h 1046508"/>
                  <a:gd name="connsiteX67" fmla="*/ 1104900 w 1200744"/>
                  <a:gd name="connsiteY67" fmla="*/ 558713 h 1046508"/>
                  <a:gd name="connsiteX68" fmla="*/ 1157491 w 1200744"/>
                  <a:gd name="connsiteY68" fmla="*/ 552464 h 1046508"/>
                  <a:gd name="connsiteX69" fmla="*/ 1200469 w 1200744"/>
                  <a:gd name="connsiteY69" fmla="*/ 586314 h 1046508"/>
                  <a:gd name="connsiteX70" fmla="*/ 1200468 w 1200744"/>
                  <a:gd name="connsiteY70" fmla="*/ 586314 h 1046508"/>
                  <a:gd name="connsiteX71" fmla="*/ 1166618 w 1200744"/>
                  <a:gd name="connsiteY71" fmla="*/ 629292 h 1046508"/>
                  <a:gd name="connsiteX72" fmla="*/ 1104900 w 1200744"/>
                  <a:gd name="connsiteY72" fmla="*/ 636624 h 1046508"/>
                  <a:gd name="connsiteX73" fmla="*/ 1104900 w 1200744"/>
                  <a:gd name="connsiteY73" fmla="*/ 817908 h 1046508"/>
                  <a:gd name="connsiteX74" fmla="*/ 971550 w 1200744"/>
                  <a:gd name="connsiteY74" fmla="*/ 946496 h 1046508"/>
                  <a:gd name="connsiteX75" fmla="*/ 752889 w 1200744"/>
                  <a:gd name="connsiteY75" fmla="*/ 946496 h 1046508"/>
                  <a:gd name="connsiteX76" fmla="*/ 749140 w 1200744"/>
                  <a:gd name="connsiteY76" fmla="*/ 965065 h 1046508"/>
                  <a:gd name="connsiteX77" fmla="*/ 626271 w 1200744"/>
                  <a:gd name="connsiteY77" fmla="*/ 1046508 h 1046508"/>
                  <a:gd name="connsiteX78" fmla="*/ 533770 w 1200744"/>
                  <a:gd name="connsiteY78" fmla="*/ 1046508 h 1046508"/>
                  <a:gd name="connsiteX79" fmla="*/ 410901 w 1200744"/>
                  <a:gd name="connsiteY79" fmla="*/ 965065 h 1046508"/>
                  <a:gd name="connsiteX80" fmla="*/ 407153 w 1200744"/>
                  <a:gd name="connsiteY80" fmla="*/ 946496 h 1046508"/>
                  <a:gd name="connsiteX81" fmla="*/ 190500 w 1200744"/>
                  <a:gd name="connsiteY81" fmla="*/ 946496 h 1046508"/>
                  <a:gd name="connsiteX82" fmla="*/ 59532 w 1200744"/>
                  <a:gd name="connsiteY82" fmla="*/ 825052 h 1046508"/>
                  <a:gd name="connsiteX83" fmla="*/ 59432 w 1200744"/>
                  <a:gd name="connsiteY83" fmla="*/ 710643 h 1046508"/>
                  <a:gd name="connsiteX84" fmla="*/ 48816 w 1200744"/>
                  <a:gd name="connsiteY84" fmla="*/ 710643 h 1046508"/>
                  <a:gd name="connsiteX85" fmla="*/ 14298 w 1200744"/>
                  <a:gd name="connsiteY85" fmla="*/ 696345 h 1046508"/>
                  <a:gd name="connsiteX86" fmla="*/ 0 w 1200744"/>
                  <a:gd name="connsiteY86" fmla="*/ 661828 h 1046508"/>
                  <a:gd name="connsiteX87" fmla="*/ 14298 w 1200744"/>
                  <a:gd name="connsiteY87" fmla="*/ 627310 h 1046508"/>
                  <a:gd name="connsiteX88" fmla="*/ 48816 w 1200744"/>
                  <a:gd name="connsiteY88" fmla="*/ 613012 h 1046508"/>
                  <a:gd name="connsiteX89" fmla="*/ 59346 w 1200744"/>
                  <a:gd name="connsiteY89" fmla="*/ 613012 h 1046508"/>
                  <a:gd name="connsiteX90" fmla="*/ 59247 w 1200744"/>
                  <a:gd name="connsiteY90" fmla="*/ 501147 h 1046508"/>
                  <a:gd name="connsiteX91" fmla="*/ 48816 w 1200744"/>
                  <a:gd name="connsiteY91" fmla="*/ 501147 h 1046508"/>
                  <a:gd name="connsiteX92" fmla="*/ 14298 w 1200744"/>
                  <a:gd name="connsiteY92" fmla="*/ 486849 h 1046508"/>
                  <a:gd name="connsiteX93" fmla="*/ 0 w 1200744"/>
                  <a:gd name="connsiteY93" fmla="*/ 452332 h 1046508"/>
                  <a:gd name="connsiteX94" fmla="*/ 14298 w 1200744"/>
                  <a:gd name="connsiteY94" fmla="*/ 417814 h 1046508"/>
                  <a:gd name="connsiteX95" fmla="*/ 48816 w 1200744"/>
                  <a:gd name="connsiteY95" fmla="*/ 403516 h 1046508"/>
                  <a:gd name="connsiteX96" fmla="*/ 59161 w 1200744"/>
                  <a:gd name="connsiteY96" fmla="*/ 403516 h 1046508"/>
                  <a:gd name="connsiteX97" fmla="*/ 59063 w 1200744"/>
                  <a:gd name="connsiteY97" fmla="*/ 291651 h 1046508"/>
                  <a:gd name="connsiteX98" fmla="*/ 48816 w 1200744"/>
                  <a:gd name="connsiteY98" fmla="*/ 291651 h 1046508"/>
                  <a:gd name="connsiteX99" fmla="*/ 14298 w 1200744"/>
                  <a:gd name="connsiteY99" fmla="*/ 277353 h 1046508"/>
                  <a:gd name="connsiteX100" fmla="*/ 0 w 1200744"/>
                  <a:gd name="connsiteY100" fmla="*/ 242836 h 1046508"/>
                  <a:gd name="connsiteX101" fmla="*/ 14298 w 1200744"/>
                  <a:gd name="connsiteY101" fmla="*/ 208318 h 1046508"/>
                  <a:gd name="connsiteX102" fmla="*/ 48816 w 1200744"/>
                  <a:gd name="connsiteY102" fmla="*/ 194020 h 1046508"/>
                  <a:gd name="connsiteX103" fmla="*/ 58977 w 1200744"/>
                  <a:gd name="connsiteY103" fmla="*/ 194020 h 1046508"/>
                  <a:gd name="connsiteX104" fmla="*/ 58806 w 1200744"/>
                  <a:gd name="connsiteY104"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792956 w 1200744"/>
                  <a:gd name="connsiteY49" fmla="*/ 387635 h 1046508"/>
                  <a:gd name="connsiteX50" fmla="*/ 1157493 w 1200744"/>
                  <a:gd name="connsiteY50" fmla="*/ 347675 h 1046508"/>
                  <a:gd name="connsiteX51" fmla="*/ 1200471 w 1200744"/>
                  <a:gd name="connsiteY51" fmla="*/ 381525 h 1046508"/>
                  <a:gd name="connsiteX52" fmla="*/ 1200470 w 1200744"/>
                  <a:gd name="connsiteY52" fmla="*/ 381526 h 1046508"/>
                  <a:gd name="connsiteX53" fmla="*/ 1166620 w 1200744"/>
                  <a:gd name="connsiteY53" fmla="*/ 424503 h 1046508"/>
                  <a:gd name="connsiteX54" fmla="*/ 883444 w 1200744"/>
                  <a:gd name="connsiteY54" fmla="*/ 458146 h 1046508"/>
                  <a:gd name="connsiteX55" fmla="*/ 883444 w 1200744"/>
                  <a:gd name="connsiteY55" fmla="*/ 506141 h 1046508"/>
                  <a:gd name="connsiteX56" fmla="*/ 792956 w 1200744"/>
                  <a:gd name="connsiteY56" fmla="*/ 516892 h 1046508"/>
                  <a:gd name="connsiteX57" fmla="*/ 792956 w 1200744"/>
                  <a:gd name="connsiteY57" fmla="*/ 468897 h 1046508"/>
                  <a:gd name="connsiteX58" fmla="*/ 688181 w 1200744"/>
                  <a:gd name="connsiteY58" fmla="*/ 481345 h 1046508"/>
                  <a:gd name="connsiteX59" fmla="*/ 688181 w 1200744"/>
                  <a:gd name="connsiteY59" fmla="*/ 529340 h 1046508"/>
                  <a:gd name="connsiteX60" fmla="*/ 418176 w 1200744"/>
                  <a:gd name="connsiteY60" fmla="*/ 561418 h 1046508"/>
                  <a:gd name="connsiteX61" fmla="*/ 392350 w 1200744"/>
                  <a:gd name="connsiteY61" fmla="*/ 575897 h 1046508"/>
                  <a:gd name="connsiteX62" fmla="*/ 384326 w 1200744"/>
                  <a:gd name="connsiteY62" fmla="*/ 604396 h 1046508"/>
                  <a:gd name="connsiteX63" fmla="*/ 398804 w 1200744"/>
                  <a:gd name="connsiteY63" fmla="*/ 630221 h 1046508"/>
                  <a:gd name="connsiteX64" fmla="*/ 427304 w 1200744"/>
                  <a:gd name="connsiteY64" fmla="*/ 638245 h 1046508"/>
                  <a:gd name="connsiteX65" fmla="*/ 1104900 w 1200744"/>
                  <a:gd name="connsiteY65" fmla="*/ 557742 h 1046508"/>
                  <a:gd name="connsiteX66" fmla="*/ 1104900 w 1200744"/>
                  <a:gd name="connsiteY66" fmla="*/ 558713 h 1046508"/>
                  <a:gd name="connsiteX67" fmla="*/ 1157491 w 1200744"/>
                  <a:gd name="connsiteY67" fmla="*/ 552464 h 1046508"/>
                  <a:gd name="connsiteX68" fmla="*/ 1200469 w 1200744"/>
                  <a:gd name="connsiteY68" fmla="*/ 586314 h 1046508"/>
                  <a:gd name="connsiteX69" fmla="*/ 1200468 w 1200744"/>
                  <a:gd name="connsiteY69" fmla="*/ 586314 h 1046508"/>
                  <a:gd name="connsiteX70" fmla="*/ 1166618 w 1200744"/>
                  <a:gd name="connsiteY70" fmla="*/ 629292 h 1046508"/>
                  <a:gd name="connsiteX71" fmla="*/ 1104900 w 1200744"/>
                  <a:gd name="connsiteY71" fmla="*/ 636624 h 1046508"/>
                  <a:gd name="connsiteX72" fmla="*/ 1104900 w 1200744"/>
                  <a:gd name="connsiteY72" fmla="*/ 817908 h 1046508"/>
                  <a:gd name="connsiteX73" fmla="*/ 971550 w 1200744"/>
                  <a:gd name="connsiteY73" fmla="*/ 946496 h 1046508"/>
                  <a:gd name="connsiteX74" fmla="*/ 752889 w 1200744"/>
                  <a:gd name="connsiteY74" fmla="*/ 946496 h 1046508"/>
                  <a:gd name="connsiteX75" fmla="*/ 749140 w 1200744"/>
                  <a:gd name="connsiteY75" fmla="*/ 965065 h 1046508"/>
                  <a:gd name="connsiteX76" fmla="*/ 626271 w 1200744"/>
                  <a:gd name="connsiteY76" fmla="*/ 1046508 h 1046508"/>
                  <a:gd name="connsiteX77" fmla="*/ 533770 w 1200744"/>
                  <a:gd name="connsiteY77" fmla="*/ 1046508 h 1046508"/>
                  <a:gd name="connsiteX78" fmla="*/ 410901 w 1200744"/>
                  <a:gd name="connsiteY78" fmla="*/ 965065 h 1046508"/>
                  <a:gd name="connsiteX79" fmla="*/ 407153 w 1200744"/>
                  <a:gd name="connsiteY79" fmla="*/ 946496 h 1046508"/>
                  <a:gd name="connsiteX80" fmla="*/ 190500 w 1200744"/>
                  <a:gd name="connsiteY80" fmla="*/ 946496 h 1046508"/>
                  <a:gd name="connsiteX81" fmla="*/ 59532 w 1200744"/>
                  <a:gd name="connsiteY81" fmla="*/ 825052 h 1046508"/>
                  <a:gd name="connsiteX82" fmla="*/ 59432 w 1200744"/>
                  <a:gd name="connsiteY82" fmla="*/ 710643 h 1046508"/>
                  <a:gd name="connsiteX83" fmla="*/ 48816 w 1200744"/>
                  <a:gd name="connsiteY83" fmla="*/ 710643 h 1046508"/>
                  <a:gd name="connsiteX84" fmla="*/ 14298 w 1200744"/>
                  <a:gd name="connsiteY84" fmla="*/ 696345 h 1046508"/>
                  <a:gd name="connsiteX85" fmla="*/ 0 w 1200744"/>
                  <a:gd name="connsiteY85" fmla="*/ 661828 h 1046508"/>
                  <a:gd name="connsiteX86" fmla="*/ 14298 w 1200744"/>
                  <a:gd name="connsiteY86" fmla="*/ 627310 h 1046508"/>
                  <a:gd name="connsiteX87" fmla="*/ 48816 w 1200744"/>
                  <a:gd name="connsiteY87" fmla="*/ 613012 h 1046508"/>
                  <a:gd name="connsiteX88" fmla="*/ 59346 w 1200744"/>
                  <a:gd name="connsiteY88" fmla="*/ 613012 h 1046508"/>
                  <a:gd name="connsiteX89" fmla="*/ 59247 w 1200744"/>
                  <a:gd name="connsiteY89" fmla="*/ 501147 h 1046508"/>
                  <a:gd name="connsiteX90" fmla="*/ 48816 w 1200744"/>
                  <a:gd name="connsiteY90" fmla="*/ 501147 h 1046508"/>
                  <a:gd name="connsiteX91" fmla="*/ 14298 w 1200744"/>
                  <a:gd name="connsiteY91" fmla="*/ 486849 h 1046508"/>
                  <a:gd name="connsiteX92" fmla="*/ 0 w 1200744"/>
                  <a:gd name="connsiteY92" fmla="*/ 452332 h 1046508"/>
                  <a:gd name="connsiteX93" fmla="*/ 14298 w 1200744"/>
                  <a:gd name="connsiteY93" fmla="*/ 417814 h 1046508"/>
                  <a:gd name="connsiteX94" fmla="*/ 48816 w 1200744"/>
                  <a:gd name="connsiteY94" fmla="*/ 403516 h 1046508"/>
                  <a:gd name="connsiteX95" fmla="*/ 59161 w 1200744"/>
                  <a:gd name="connsiteY95" fmla="*/ 403516 h 1046508"/>
                  <a:gd name="connsiteX96" fmla="*/ 59063 w 1200744"/>
                  <a:gd name="connsiteY96" fmla="*/ 291651 h 1046508"/>
                  <a:gd name="connsiteX97" fmla="*/ 48816 w 1200744"/>
                  <a:gd name="connsiteY97" fmla="*/ 291651 h 1046508"/>
                  <a:gd name="connsiteX98" fmla="*/ 14298 w 1200744"/>
                  <a:gd name="connsiteY98" fmla="*/ 277353 h 1046508"/>
                  <a:gd name="connsiteX99" fmla="*/ 0 w 1200744"/>
                  <a:gd name="connsiteY99" fmla="*/ 242836 h 1046508"/>
                  <a:gd name="connsiteX100" fmla="*/ 14298 w 1200744"/>
                  <a:gd name="connsiteY100" fmla="*/ 208318 h 1046508"/>
                  <a:gd name="connsiteX101" fmla="*/ 48816 w 1200744"/>
                  <a:gd name="connsiteY101" fmla="*/ 194020 h 1046508"/>
                  <a:gd name="connsiteX102" fmla="*/ 58977 w 1200744"/>
                  <a:gd name="connsiteY102" fmla="*/ 194020 h 1046508"/>
                  <a:gd name="connsiteX103" fmla="*/ 58806 w 1200744"/>
                  <a:gd name="connsiteY103"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1157493 w 1200744"/>
                  <a:gd name="connsiteY49" fmla="*/ 347675 h 1046508"/>
                  <a:gd name="connsiteX50" fmla="*/ 1200471 w 1200744"/>
                  <a:gd name="connsiteY50" fmla="*/ 381525 h 1046508"/>
                  <a:gd name="connsiteX51" fmla="*/ 1200470 w 1200744"/>
                  <a:gd name="connsiteY51" fmla="*/ 381526 h 1046508"/>
                  <a:gd name="connsiteX52" fmla="*/ 1166620 w 1200744"/>
                  <a:gd name="connsiteY52" fmla="*/ 424503 h 1046508"/>
                  <a:gd name="connsiteX53" fmla="*/ 883444 w 1200744"/>
                  <a:gd name="connsiteY53" fmla="*/ 458146 h 1046508"/>
                  <a:gd name="connsiteX54" fmla="*/ 883444 w 1200744"/>
                  <a:gd name="connsiteY54" fmla="*/ 506141 h 1046508"/>
                  <a:gd name="connsiteX55" fmla="*/ 792956 w 1200744"/>
                  <a:gd name="connsiteY55" fmla="*/ 516892 h 1046508"/>
                  <a:gd name="connsiteX56" fmla="*/ 792956 w 1200744"/>
                  <a:gd name="connsiteY56" fmla="*/ 468897 h 1046508"/>
                  <a:gd name="connsiteX57" fmla="*/ 688181 w 1200744"/>
                  <a:gd name="connsiteY57" fmla="*/ 481345 h 1046508"/>
                  <a:gd name="connsiteX58" fmla="*/ 688181 w 1200744"/>
                  <a:gd name="connsiteY58" fmla="*/ 529340 h 1046508"/>
                  <a:gd name="connsiteX59" fmla="*/ 418176 w 1200744"/>
                  <a:gd name="connsiteY59" fmla="*/ 561418 h 1046508"/>
                  <a:gd name="connsiteX60" fmla="*/ 392350 w 1200744"/>
                  <a:gd name="connsiteY60" fmla="*/ 575897 h 1046508"/>
                  <a:gd name="connsiteX61" fmla="*/ 384326 w 1200744"/>
                  <a:gd name="connsiteY61" fmla="*/ 604396 h 1046508"/>
                  <a:gd name="connsiteX62" fmla="*/ 398804 w 1200744"/>
                  <a:gd name="connsiteY62" fmla="*/ 630221 h 1046508"/>
                  <a:gd name="connsiteX63" fmla="*/ 427304 w 1200744"/>
                  <a:gd name="connsiteY63" fmla="*/ 638245 h 1046508"/>
                  <a:gd name="connsiteX64" fmla="*/ 1104900 w 1200744"/>
                  <a:gd name="connsiteY64" fmla="*/ 557742 h 1046508"/>
                  <a:gd name="connsiteX65" fmla="*/ 1104900 w 1200744"/>
                  <a:gd name="connsiteY65" fmla="*/ 558713 h 1046508"/>
                  <a:gd name="connsiteX66" fmla="*/ 1157491 w 1200744"/>
                  <a:gd name="connsiteY66" fmla="*/ 552464 h 1046508"/>
                  <a:gd name="connsiteX67" fmla="*/ 1200469 w 1200744"/>
                  <a:gd name="connsiteY67" fmla="*/ 586314 h 1046508"/>
                  <a:gd name="connsiteX68" fmla="*/ 1200468 w 1200744"/>
                  <a:gd name="connsiteY68" fmla="*/ 586314 h 1046508"/>
                  <a:gd name="connsiteX69" fmla="*/ 1166618 w 1200744"/>
                  <a:gd name="connsiteY69" fmla="*/ 629292 h 1046508"/>
                  <a:gd name="connsiteX70" fmla="*/ 1104900 w 1200744"/>
                  <a:gd name="connsiteY70" fmla="*/ 636624 h 1046508"/>
                  <a:gd name="connsiteX71" fmla="*/ 1104900 w 1200744"/>
                  <a:gd name="connsiteY71" fmla="*/ 817908 h 1046508"/>
                  <a:gd name="connsiteX72" fmla="*/ 971550 w 1200744"/>
                  <a:gd name="connsiteY72" fmla="*/ 946496 h 1046508"/>
                  <a:gd name="connsiteX73" fmla="*/ 752889 w 1200744"/>
                  <a:gd name="connsiteY73" fmla="*/ 946496 h 1046508"/>
                  <a:gd name="connsiteX74" fmla="*/ 749140 w 1200744"/>
                  <a:gd name="connsiteY74" fmla="*/ 965065 h 1046508"/>
                  <a:gd name="connsiteX75" fmla="*/ 626271 w 1200744"/>
                  <a:gd name="connsiteY75" fmla="*/ 1046508 h 1046508"/>
                  <a:gd name="connsiteX76" fmla="*/ 533770 w 1200744"/>
                  <a:gd name="connsiteY76" fmla="*/ 1046508 h 1046508"/>
                  <a:gd name="connsiteX77" fmla="*/ 410901 w 1200744"/>
                  <a:gd name="connsiteY77" fmla="*/ 965065 h 1046508"/>
                  <a:gd name="connsiteX78" fmla="*/ 407153 w 1200744"/>
                  <a:gd name="connsiteY78" fmla="*/ 946496 h 1046508"/>
                  <a:gd name="connsiteX79" fmla="*/ 190500 w 1200744"/>
                  <a:gd name="connsiteY79" fmla="*/ 946496 h 1046508"/>
                  <a:gd name="connsiteX80" fmla="*/ 59532 w 1200744"/>
                  <a:gd name="connsiteY80" fmla="*/ 825052 h 1046508"/>
                  <a:gd name="connsiteX81" fmla="*/ 59432 w 1200744"/>
                  <a:gd name="connsiteY81" fmla="*/ 710643 h 1046508"/>
                  <a:gd name="connsiteX82" fmla="*/ 48816 w 1200744"/>
                  <a:gd name="connsiteY82" fmla="*/ 710643 h 1046508"/>
                  <a:gd name="connsiteX83" fmla="*/ 14298 w 1200744"/>
                  <a:gd name="connsiteY83" fmla="*/ 696345 h 1046508"/>
                  <a:gd name="connsiteX84" fmla="*/ 0 w 1200744"/>
                  <a:gd name="connsiteY84" fmla="*/ 661828 h 1046508"/>
                  <a:gd name="connsiteX85" fmla="*/ 14298 w 1200744"/>
                  <a:gd name="connsiteY85" fmla="*/ 627310 h 1046508"/>
                  <a:gd name="connsiteX86" fmla="*/ 48816 w 1200744"/>
                  <a:gd name="connsiteY86" fmla="*/ 613012 h 1046508"/>
                  <a:gd name="connsiteX87" fmla="*/ 59346 w 1200744"/>
                  <a:gd name="connsiteY87" fmla="*/ 613012 h 1046508"/>
                  <a:gd name="connsiteX88" fmla="*/ 59247 w 1200744"/>
                  <a:gd name="connsiteY88" fmla="*/ 501147 h 1046508"/>
                  <a:gd name="connsiteX89" fmla="*/ 48816 w 1200744"/>
                  <a:gd name="connsiteY89" fmla="*/ 501147 h 1046508"/>
                  <a:gd name="connsiteX90" fmla="*/ 14298 w 1200744"/>
                  <a:gd name="connsiteY90" fmla="*/ 486849 h 1046508"/>
                  <a:gd name="connsiteX91" fmla="*/ 0 w 1200744"/>
                  <a:gd name="connsiteY91" fmla="*/ 452332 h 1046508"/>
                  <a:gd name="connsiteX92" fmla="*/ 14298 w 1200744"/>
                  <a:gd name="connsiteY92" fmla="*/ 417814 h 1046508"/>
                  <a:gd name="connsiteX93" fmla="*/ 48816 w 1200744"/>
                  <a:gd name="connsiteY93" fmla="*/ 403516 h 1046508"/>
                  <a:gd name="connsiteX94" fmla="*/ 59161 w 1200744"/>
                  <a:gd name="connsiteY94" fmla="*/ 403516 h 1046508"/>
                  <a:gd name="connsiteX95" fmla="*/ 59063 w 1200744"/>
                  <a:gd name="connsiteY95" fmla="*/ 291651 h 1046508"/>
                  <a:gd name="connsiteX96" fmla="*/ 48816 w 1200744"/>
                  <a:gd name="connsiteY96" fmla="*/ 291651 h 1046508"/>
                  <a:gd name="connsiteX97" fmla="*/ 14298 w 1200744"/>
                  <a:gd name="connsiteY97" fmla="*/ 277353 h 1046508"/>
                  <a:gd name="connsiteX98" fmla="*/ 0 w 1200744"/>
                  <a:gd name="connsiteY98" fmla="*/ 242836 h 1046508"/>
                  <a:gd name="connsiteX99" fmla="*/ 14298 w 1200744"/>
                  <a:gd name="connsiteY99" fmla="*/ 208318 h 1046508"/>
                  <a:gd name="connsiteX100" fmla="*/ 48816 w 1200744"/>
                  <a:gd name="connsiteY100" fmla="*/ 194020 h 1046508"/>
                  <a:gd name="connsiteX101" fmla="*/ 58977 w 1200744"/>
                  <a:gd name="connsiteY101" fmla="*/ 194020 h 1046508"/>
                  <a:gd name="connsiteX102" fmla="*/ 58806 w 1200744"/>
                  <a:gd name="connsiteY102"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1157493 w 1200744"/>
                  <a:gd name="connsiteY48" fmla="*/ 347675 h 1046508"/>
                  <a:gd name="connsiteX49" fmla="*/ 1200471 w 1200744"/>
                  <a:gd name="connsiteY49" fmla="*/ 381525 h 1046508"/>
                  <a:gd name="connsiteX50" fmla="*/ 1200470 w 1200744"/>
                  <a:gd name="connsiteY50" fmla="*/ 381526 h 1046508"/>
                  <a:gd name="connsiteX51" fmla="*/ 1166620 w 1200744"/>
                  <a:gd name="connsiteY51" fmla="*/ 424503 h 1046508"/>
                  <a:gd name="connsiteX52" fmla="*/ 883444 w 1200744"/>
                  <a:gd name="connsiteY52" fmla="*/ 458146 h 1046508"/>
                  <a:gd name="connsiteX53" fmla="*/ 883444 w 1200744"/>
                  <a:gd name="connsiteY53" fmla="*/ 506141 h 1046508"/>
                  <a:gd name="connsiteX54" fmla="*/ 792956 w 1200744"/>
                  <a:gd name="connsiteY54" fmla="*/ 516892 h 1046508"/>
                  <a:gd name="connsiteX55" fmla="*/ 792956 w 1200744"/>
                  <a:gd name="connsiteY55" fmla="*/ 468897 h 1046508"/>
                  <a:gd name="connsiteX56" fmla="*/ 688181 w 1200744"/>
                  <a:gd name="connsiteY56" fmla="*/ 481345 h 1046508"/>
                  <a:gd name="connsiteX57" fmla="*/ 688181 w 1200744"/>
                  <a:gd name="connsiteY57" fmla="*/ 529340 h 1046508"/>
                  <a:gd name="connsiteX58" fmla="*/ 418176 w 1200744"/>
                  <a:gd name="connsiteY58" fmla="*/ 561418 h 1046508"/>
                  <a:gd name="connsiteX59" fmla="*/ 392350 w 1200744"/>
                  <a:gd name="connsiteY59" fmla="*/ 575897 h 1046508"/>
                  <a:gd name="connsiteX60" fmla="*/ 384326 w 1200744"/>
                  <a:gd name="connsiteY60" fmla="*/ 604396 h 1046508"/>
                  <a:gd name="connsiteX61" fmla="*/ 398804 w 1200744"/>
                  <a:gd name="connsiteY61" fmla="*/ 630221 h 1046508"/>
                  <a:gd name="connsiteX62" fmla="*/ 427304 w 1200744"/>
                  <a:gd name="connsiteY62" fmla="*/ 638245 h 1046508"/>
                  <a:gd name="connsiteX63" fmla="*/ 1104900 w 1200744"/>
                  <a:gd name="connsiteY63" fmla="*/ 557742 h 1046508"/>
                  <a:gd name="connsiteX64" fmla="*/ 1104900 w 1200744"/>
                  <a:gd name="connsiteY64" fmla="*/ 558713 h 1046508"/>
                  <a:gd name="connsiteX65" fmla="*/ 1157491 w 1200744"/>
                  <a:gd name="connsiteY65" fmla="*/ 552464 h 1046508"/>
                  <a:gd name="connsiteX66" fmla="*/ 1200469 w 1200744"/>
                  <a:gd name="connsiteY66" fmla="*/ 586314 h 1046508"/>
                  <a:gd name="connsiteX67" fmla="*/ 1200468 w 1200744"/>
                  <a:gd name="connsiteY67" fmla="*/ 586314 h 1046508"/>
                  <a:gd name="connsiteX68" fmla="*/ 1166618 w 1200744"/>
                  <a:gd name="connsiteY68" fmla="*/ 629292 h 1046508"/>
                  <a:gd name="connsiteX69" fmla="*/ 1104900 w 1200744"/>
                  <a:gd name="connsiteY69" fmla="*/ 636624 h 1046508"/>
                  <a:gd name="connsiteX70" fmla="*/ 1104900 w 1200744"/>
                  <a:gd name="connsiteY70" fmla="*/ 817908 h 1046508"/>
                  <a:gd name="connsiteX71" fmla="*/ 971550 w 1200744"/>
                  <a:gd name="connsiteY71" fmla="*/ 946496 h 1046508"/>
                  <a:gd name="connsiteX72" fmla="*/ 752889 w 1200744"/>
                  <a:gd name="connsiteY72" fmla="*/ 946496 h 1046508"/>
                  <a:gd name="connsiteX73" fmla="*/ 749140 w 1200744"/>
                  <a:gd name="connsiteY73" fmla="*/ 965065 h 1046508"/>
                  <a:gd name="connsiteX74" fmla="*/ 626271 w 1200744"/>
                  <a:gd name="connsiteY74" fmla="*/ 1046508 h 1046508"/>
                  <a:gd name="connsiteX75" fmla="*/ 533770 w 1200744"/>
                  <a:gd name="connsiteY75" fmla="*/ 1046508 h 1046508"/>
                  <a:gd name="connsiteX76" fmla="*/ 410901 w 1200744"/>
                  <a:gd name="connsiteY76" fmla="*/ 965065 h 1046508"/>
                  <a:gd name="connsiteX77" fmla="*/ 407153 w 1200744"/>
                  <a:gd name="connsiteY77" fmla="*/ 946496 h 1046508"/>
                  <a:gd name="connsiteX78" fmla="*/ 190500 w 1200744"/>
                  <a:gd name="connsiteY78" fmla="*/ 946496 h 1046508"/>
                  <a:gd name="connsiteX79" fmla="*/ 59532 w 1200744"/>
                  <a:gd name="connsiteY79" fmla="*/ 825052 h 1046508"/>
                  <a:gd name="connsiteX80" fmla="*/ 59432 w 1200744"/>
                  <a:gd name="connsiteY80" fmla="*/ 710643 h 1046508"/>
                  <a:gd name="connsiteX81" fmla="*/ 48816 w 1200744"/>
                  <a:gd name="connsiteY81" fmla="*/ 710643 h 1046508"/>
                  <a:gd name="connsiteX82" fmla="*/ 14298 w 1200744"/>
                  <a:gd name="connsiteY82" fmla="*/ 696345 h 1046508"/>
                  <a:gd name="connsiteX83" fmla="*/ 0 w 1200744"/>
                  <a:gd name="connsiteY83" fmla="*/ 661828 h 1046508"/>
                  <a:gd name="connsiteX84" fmla="*/ 14298 w 1200744"/>
                  <a:gd name="connsiteY84" fmla="*/ 627310 h 1046508"/>
                  <a:gd name="connsiteX85" fmla="*/ 48816 w 1200744"/>
                  <a:gd name="connsiteY85" fmla="*/ 613012 h 1046508"/>
                  <a:gd name="connsiteX86" fmla="*/ 59346 w 1200744"/>
                  <a:gd name="connsiteY86" fmla="*/ 613012 h 1046508"/>
                  <a:gd name="connsiteX87" fmla="*/ 59247 w 1200744"/>
                  <a:gd name="connsiteY87" fmla="*/ 501147 h 1046508"/>
                  <a:gd name="connsiteX88" fmla="*/ 48816 w 1200744"/>
                  <a:gd name="connsiteY88" fmla="*/ 501147 h 1046508"/>
                  <a:gd name="connsiteX89" fmla="*/ 14298 w 1200744"/>
                  <a:gd name="connsiteY89" fmla="*/ 486849 h 1046508"/>
                  <a:gd name="connsiteX90" fmla="*/ 0 w 1200744"/>
                  <a:gd name="connsiteY90" fmla="*/ 452332 h 1046508"/>
                  <a:gd name="connsiteX91" fmla="*/ 14298 w 1200744"/>
                  <a:gd name="connsiteY91" fmla="*/ 417814 h 1046508"/>
                  <a:gd name="connsiteX92" fmla="*/ 48816 w 1200744"/>
                  <a:gd name="connsiteY92" fmla="*/ 403516 h 1046508"/>
                  <a:gd name="connsiteX93" fmla="*/ 59161 w 1200744"/>
                  <a:gd name="connsiteY93" fmla="*/ 403516 h 1046508"/>
                  <a:gd name="connsiteX94" fmla="*/ 59063 w 1200744"/>
                  <a:gd name="connsiteY94" fmla="*/ 291651 h 1046508"/>
                  <a:gd name="connsiteX95" fmla="*/ 48816 w 1200744"/>
                  <a:gd name="connsiteY95" fmla="*/ 291651 h 1046508"/>
                  <a:gd name="connsiteX96" fmla="*/ 14298 w 1200744"/>
                  <a:gd name="connsiteY96" fmla="*/ 277353 h 1046508"/>
                  <a:gd name="connsiteX97" fmla="*/ 0 w 1200744"/>
                  <a:gd name="connsiteY97" fmla="*/ 242836 h 1046508"/>
                  <a:gd name="connsiteX98" fmla="*/ 14298 w 1200744"/>
                  <a:gd name="connsiteY98" fmla="*/ 208318 h 1046508"/>
                  <a:gd name="connsiteX99" fmla="*/ 48816 w 1200744"/>
                  <a:gd name="connsiteY99" fmla="*/ 194020 h 1046508"/>
                  <a:gd name="connsiteX100" fmla="*/ 58977 w 1200744"/>
                  <a:gd name="connsiteY100" fmla="*/ 194020 h 1046508"/>
                  <a:gd name="connsiteX101" fmla="*/ 58806 w 1200744"/>
                  <a:gd name="connsiteY101"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1157493 w 1200744"/>
                  <a:gd name="connsiteY47" fmla="*/ 347675 h 1046508"/>
                  <a:gd name="connsiteX48" fmla="*/ 1200471 w 1200744"/>
                  <a:gd name="connsiteY48" fmla="*/ 381525 h 1046508"/>
                  <a:gd name="connsiteX49" fmla="*/ 1200470 w 1200744"/>
                  <a:gd name="connsiteY49" fmla="*/ 381526 h 1046508"/>
                  <a:gd name="connsiteX50" fmla="*/ 1166620 w 1200744"/>
                  <a:gd name="connsiteY50" fmla="*/ 424503 h 1046508"/>
                  <a:gd name="connsiteX51" fmla="*/ 883444 w 1200744"/>
                  <a:gd name="connsiteY51" fmla="*/ 458146 h 1046508"/>
                  <a:gd name="connsiteX52" fmla="*/ 883444 w 1200744"/>
                  <a:gd name="connsiteY52" fmla="*/ 506141 h 1046508"/>
                  <a:gd name="connsiteX53" fmla="*/ 792956 w 1200744"/>
                  <a:gd name="connsiteY53" fmla="*/ 516892 h 1046508"/>
                  <a:gd name="connsiteX54" fmla="*/ 792956 w 1200744"/>
                  <a:gd name="connsiteY54" fmla="*/ 468897 h 1046508"/>
                  <a:gd name="connsiteX55" fmla="*/ 688181 w 1200744"/>
                  <a:gd name="connsiteY55" fmla="*/ 481345 h 1046508"/>
                  <a:gd name="connsiteX56" fmla="*/ 688181 w 1200744"/>
                  <a:gd name="connsiteY56" fmla="*/ 529340 h 1046508"/>
                  <a:gd name="connsiteX57" fmla="*/ 418176 w 1200744"/>
                  <a:gd name="connsiteY57" fmla="*/ 561418 h 1046508"/>
                  <a:gd name="connsiteX58" fmla="*/ 392350 w 1200744"/>
                  <a:gd name="connsiteY58" fmla="*/ 575897 h 1046508"/>
                  <a:gd name="connsiteX59" fmla="*/ 384326 w 1200744"/>
                  <a:gd name="connsiteY59" fmla="*/ 604396 h 1046508"/>
                  <a:gd name="connsiteX60" fmla="*/ 398804 w 1200744"/>
                  <a:gd name="connsiteY60" fmla="*/ 630221 h 1046508"/>
                  <a:gd name="connsiteX61" fmla="*/ 427304 w 1200744"/>
                  <a:gd name="connsiteY61" fmla="*/ 638245 h 1046508"/>
                  <a:gd name="connsiteX62" fmla="*/ 1104900 w 1200744"/>
                  <a:gd name="connsiteY62" fmla="*/ 557742 h 1046508"/>
                  <a:gd name="connsiteX63" fmla="*/ 1104900 w 1200744"/>
                  <a:gd name="connsiteY63" fmla="*/ 558713 h 1046508"/>
                  <a:gd name="connsiteX64" fmla="*/ 1157491 w 1200744"/>
                  <a:gd name="connsiteY64" fmla="*/ 552464 h 1046508"/>
                  <a:gd name="connsiteX65" fmla="*/ 1200469 w 1200744"/>
                  <a:gd name="connsiteY65" fmla="*/ 586314 h 1046508"/>
                  <a:gd name="connsiteX66" fmla="*/ 1200468 w 1200744"/>
                  <a:gd name="connsiteY66" fmla="*/ 586314 h 1046508"/>
                  <a:gd name="connsiteX67" fmla="*/ 1166618 w 1200744"/>
                  <a:gd name="connsiteY67" fmla="*/ 629292 h 1046508"/>
                  <a:gd name="connsiteX68" fmla="*/ 1104900 w 1200744"/>
                  <a:gd name="connsiteY68" fmla="*/ 636624 h 1046508"/>
                  <a:gd name="connsiteX69" fmla="*/ 1104900 w 1200744"/>
                  <a:gd name="connsiteY69" fmla="*/ 817908 h 1046508"/>
                  <a:gd name="connsiteX70" fmla="*/ 971550 w 1200744"/>
                  <a:gd name="connsiteY70" fmla="*/ 946496 h 1046508"/>
                  <a:gd name="connsiteX71" fmla="*/ 752889 w 1200744"/>
                  <a:gd name="connsiteY71" fmla="*/ 946496 h 1046508"/>
                  <a:gd name="connsiteX72" fmla="*/ 749140 w 1200744"/>
                  <a:gd name="connsiteY72" fmla="*/ 965065 h 1046508"/>
                  <a:gd name="connsiteX73" fmla="*/ 626271 w 1200744"/>
                  <a:gd name="connsiteY73" fmla="*/ 1046508 h 1046508"/>
                  <a:gd name="connsiteX74" fmla="*/ 533770 w 1200744"/>
                  <a:gd name="connsiteY74" fmla="*/ 1046508 h 1046508"/>
                  <a:gd name="connsiteX75" fmla="*/ 410901 w 1200744"/>
                  <a:gd name="connsiteY75" fmla="*/ 965065 h 1046508"/>
                  <a:gd name="connsiteX76" fmla="*/ 407153 w 1200744"/>
                  <a:gd name="connsiteY76" fmla="*/ 946496 h 1046508"/>
                  <a:gd name="connsiteX77" fmla="*/ 190500 w 1200744"/>
                  <a:gd name="connsiteY77" fmla="*/ 946496 h 1046508"/>
                  <a:gd name="connsiteX78" fmla="*/ 59532 w 1200744"/>
                  <a:gd name="connsiteY78" fmla="*/ 825052 h 1046508"/>
                  <a:gd name="connsiteX79" fmla="*/ 59432 w 1200744"/>
                  <a:gd name="connsiteY79" fmla="*/ 710643 h 1046508"/>
                  <a:gd name="connsiteX80" fmla="*/ 48816 w 1200744"/>
                  <a:gd name="connsiteY80" fmla="*/ 710643 h 1046508"/>
                  <a:gd name="connsiteX81" fmla="*/ 14298 w 1200744"/>
                  <a:gd name="connsiteY81" fmla="*/ 696345 h 1046508"/>
                  <a:gd name="connsiteX82" fmla="*/ 0 w 1200744"/>
                  <a:gd name="connsiteY82" fmla="*/ 661828 h 1046508"/>
                  <a:gd name="connsiteX83" fmla="*/ 14298 w 1200744"/>
                  <a:gd name="connsiteY83" fmla="*/ 627310 h 1046508"/>
                  <a:gd name="connsiteX84" fmla="*/ 48816 w 1200744"/>
                  <a:gd name="connsiteY84" fmla="*/ 613012 h 1046508"/>
                  <a:gd name="connsiteX85" fmla="*/ 59346 w 1200744"/>
                  <a:gd name="connsiteY85" fmla="*/ 613012 h 1046508"/>
                  <a:gd name="connsiteX86" fmla="*/ 59247 w 1200744"/>
                  <a:gd name="connsiteY86" fmla="*/ 501147 h 1046508"/>
                  <a:gd name="connsiteX87" fmla="*/ 48816 w 1200744"/>
                  <a:gd name="connsiteY87" fmla="*/ 501147 h 1046508"/>
                  <a:gd name="connsiteX88" fmla="*/ 14298 w 1200744"/>
                  <a:gd name="connsiteY88" fmla="*/ 486849 h 1046508"/>
                  <a:gd name="connsiteX89" fmla="*/ 0 w 1200744"/>
                  <a:gd name="connsiteY89" fmla="*/ 452332 h 1046508"/>
                  <a:gd name="connsiteX90" fmla="*/ 14298 w 1200744"/>
                  <a:gd name="connsiteY90" fmla="*/ 417814 h 1046508"/>
                  <a:gd name="connsiteX91" fmla="*/ 48816 w 1200744"/>
                  <a:gd name="connsiteY91" fmla="*/ 403516 h 1046508"/>
                  <a:gd name="connsiteX92" fmla="*/ 59161 w 1200744"/>
                  <a:gd name="connsiteY92" fmla="*/ 403516 h 1046508"/>
                  <a:gd name="connsiteX93" fmla="*/ 59063 w 1200744"/>
                  <a:gd name="connsiteY93" fmla="*/ 291651 h 1046508"/>
                  <a:gd name="connsiteX94" fmla="*/ 48816 w 1200744"/>
                  <a:gd name="connsiteY94" fmla="*/ 291651 h 1046508"/>
                  <a:gd name="connsiteX95" fmla="*/ 14298 w 1200744"/>
                  <a:gd name="connsiteY95" fmla="*/ 277353 h 1046508"/>
                  <a:gd name="connsiteX96" fmla="*/ 0 w 1200744"/>
                  <a:gd name="connsiteY96" fmla="*/ 242836 h 1046508"/>
                  <a:gd name="connsiteX97" fmla="*/ 14298 w 1200744"/>
                  <a:gd name="connsiteY97" fmla="*/ 208318 h 1046508"/>
                  <a:gd name="connsiteX98" fmla="*/ 48816 w 1200744"/>
                  <a:gd name="connsiteY98" fmla="*/ 194020 h 1046508"/>
                  <a:gd name="connsiteX99" fmla="*/ 58977 w 1200744"/>
                  <a:gd name="connsiteY99" fmla="*/ 194020 h 1046508"/>
                  <a:gd name="connsiteX100" fmla="*/ 58806 w 1200744"/>
                  <a:gd name="connsiteY100"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1157493 w 1200744"/>
                  <a:gd name="connsiteY46" fmla="*/ 347675 h 1046508"/>
                  <a:gd name="connsiteX47" fmla="*/ 1200471 w 1200744"/>
                  <a:gd name="connsiteY47" fmla="*/ 381525 h 1046508"/>
                  <a:gd name="connsiteX48" fmla="*/ 1200470 w 1200744"/>
                  <a:gd name="connsiteY48" fmla="*/ 381526 h 1046508"/>
                  <a:gd name="connsiteX49" fmla="*/ 1166620 w 1200744"/>
                  <a:gd name="connsiteY49" fmla="*/ 424503 h 1046508"/>
                  <a:gd name="connsiteX50" fmla="*/ 883444 w 1200744"/>
                  <a:gd name="connsiteY50" fmla="*/ 458146 h 1046508"/>
                  <a:gd name="connsiteX51" fmla="*/ 883444 w 1200744"/>
                  <a:gd name="connsiteY51" fmla="*/ 506141 h 1046508"/>
                  <a:gd name="connsiteX52" fmla="*/ 792956 w 1200744"/>
                  <a:gd name="connsiteY52" fmla="*/ 516892 h 1046508"/>
                  <a:gd name="connsiteX53" fmla="*/ 792956 w 1200744"/>
                  <a:gd name="connsiteY53" fmla="*/ 468897 h 1046508"/>
                  <a:gd name="connsiteX54" fmla="*/ 688181 w 1200744"/>
                  <a:gd name="connsiteY54" fmla="*/ 481345 h 1046508"/>
                  <a:gd name="connsiteX55" fmla="*/ 688181 w 1200744"/>
                  <a:gd name="connsiteY55" fmla="*/ 529340 h 1046508"/>
                  <a:gd name="connsiteX56" fmla="*/ 418176 w 1200744"/>
                  <a:gd name="connsiteY56" fmla="*/ 561418 h 1046508"/>
                  <a:gd name="connsiteX57" fmla="*/ 392350 w 1200744"/>
                  <a:gd name="connsiteY57" fmla="*/ 575897 h 1046508"/>
                  <a:gd name="connsiteX58" fmla="*/ 384326 w 1200744"/>
                  <a:gd name="connsiteY58" fmla="*/ 604396 h 1046508"/>
                  <a:gd name="connsiteX59" fmla="*/ 398804 w 1200744"/>
                  <a:gd name="connsiteY59" fmla="*/ 630221 h 1046508"/>
                  <a:gd name="connsiteX60" fmla="*/ 427304 w 1200744"/>
                  <a:gd name="connsiteY60" fmla="*/ 638245 h 1046508"/>
                  <a:gd name="connsiteX61" fmla="*/ 1104900 w 1200744"/>
                  <a:gd name="connsiteY61" fmla="*/ 557742 h 1046508"/>
                  <a:gd name="connsiteX62" fmla="*/ 1104900 w 1200744"/>
                  <a:gd name="connsiteY62" fmla="*/ 558713 h 1046508"/>
                  <a:gd name="connsiteX63" fmla="*/ 1157491 w 1200744"/>
                  <a:gd name="connsiteY63" fmla="*/ 552464 h 1046508"/>
                  <a:gd name="connsiteX64" fmla="*/ 1200469 w 1200744"/>
                  <a:gd name="connsiteY64" fmla="*/ 586314 h 1046508"/>
                  <a:gd name="connsiteX65" fmla="*/ 1200468 w 1200744"/>
                  <a:gd name="connsiteY65" fmla="*/ 586314 h 1046508"/>
                  <a:gd name="connsiteX66" fmla="*/ 1166618 w 1200744"/>
                  <a:gd name="connsiteY66" fmla="*/ 629292 h 1046508"/>
                  <a:gd name="connsiteX67" fmla="*/ 1104900 w 1200744"/>
                  <a:gd name="connsiteY67" fmla="*/ 636624 h 1046508"/>
                  <a:gd name="connsiteX68" fmla="*/ 1104900 w 1200744"/>
                  <a:gd name="connsiteY68" fmla="*/ 817908 h 1046508"/>
                  <a:gd name="connsiteX69" fmla="*/ 971550 w 1200744"/>
                  <a:gd name="connsiteY69" fmla="*/ 946496 h 1046508"/>
                  <a:gd name="connsiteX70" fmla="*/ 752889 w 1200744"/>
                  <a:gd name="connsiteY70" fmla="*/ 946496 h 1046508"/>
                  <a:gd name="connsiteX71" fmla="*/ 749140 w 1200744"/>
                  <a:gd name="connsiteY71" fmla="*/ 965065 h 1046508"/>
                  <a:gd name="connsiteX72" fmla="*/ 626271 w 1200744"/>
                  <a:gd name="connsiteY72" fmla="*/ 1046508 h 1046508"/>
                  <a:gd name="connsiteX73" fmla="*/ 533770 w 1200744"/>
                  <a:gd name="connsiteY73" fmla="*/ 1046508 h 1046508"/>
                  <a:gd name="connsiteX74" fmla="*/ 410901 w 1200744"/>
                  <a:gd name="connsiteY74" fmla="*/ 965065 h 1046508"/>
                  <a:gd name="connsiteX75" fmla="*/ 407153 w 1200744"/>
                  <a:gd name="connsiteY75" fmla="*/ 946496 h 1046508"/>
                  <a:gd name="connsiteX76" fmla="*/ 190500 w 1200744"/>
                  <a:gd name="connsiteY76" fmla="*/ 946496 h 1046508"/>
                  <a:gd name="connsiteX77" fmla="*/ 59532 w 1200744"/>
                  <a:gd name="connsiteY77" fmla="*/ 825052 h 1046508"/>
                  <a:gd name="connsiteX78" fmla="*/ 59432 w 1200744"/>
                  <a:gd name="connsiteY78" fmla="*/ 710643 h 1046508"/>
                  <a:gd name="connsiteX79" fmla="*/ 48816 w 1200744"/>
                  <a:gd name="connsiteY79" fmla="*/ 710643 h 1046508"/>
                  <a:gd name="connsiteX80" fmla="*/ 14298 w 1200744"/>
                  <a:gd name="connsiteY80" fmla="*/ 696345 h 1046508"/>
                  <a:gd name="connsiteX81" fmla="*/ 0 w 1200744"/>
                  <a:gd name="connsiteY81" fmla="*/ 661828 h 1046508"/>
                  <a:gd name="connsiteX82" fmla="*/ 14298 w 1200744"/>
                  <a:gd name="connsiteY82" fmla="*/ 627310 h 1046508"/>
                  <a:gd name="connsiteX83" fmla="*/ 48816 w 1200744"/>
                  <a:gd name="connsiteY83" fmla="*/ 613012 h 1046508"/>
                  <a:gd name="connsiteX84" fmla="*/ 59346 w 1200744"/>
                  <a:gd name="connsiteY84" fmla="*/ 613012 h 1046508"/>
                  <a:gd name="connsiteX85" fmla="*/ 59247 w 1200744"/>
                  <a:gd name="connsiteY85" fmla="*/ 501147 h 1046508"/>
                  <a:gd name="connsiteX86" fmla="*/ 48816 w 1200744"/>
                  <a:gd name="connsiteY86" fmla="*/ 501147 h 1046508"/>
                  <a:gd name="connsiteX87" fmla="*/ 14298 w 1200744"/>
                  <a:gd name="connsiteY87" fmla="*/ 486849 h 1046508"/>
                  <a:gd name="connsiteX88" fmla="*/ 0 w 1200744"/>
                  <a:gd name="connsiteY88" fmla="*/ 452332 h 1046508"/>
                  <a:gd name="connsiteX89" fmla="*/ 14298 w 1200744"/>
                  <a:gd name="connsiteY89" fmla="*/ 417814 h 1046508"/>
                  <a:gd name="connsiteX90" fmla="*/ 48816 w 1200744"/>
                  <a:gd name="connsiteY90" fmla="*/ 403516 h 1046508"/>
                  <a:gd name="connsiteX91" fmla="*/ 59161 w 1200744"/>
                  <a:gd name="connsiteY91" fmla="*/ 403516 h 1046508"/>
                  <a:gd name="connsiteX92" fmla="*/ 59063 w 1200744"/>
                  <a:gd name="connsiteY92" fmla="*/ 291651 h 1046508"/>
                  <a:gd name="connsiteX93" fmla="*/ 48816 w 1200744"/>
                  <a:gd name="connsiteY93" fmla="*/ 291651 h 1046508"/>
                  <a:gd name="connsiteX94" fmla="*/ 14298 w 1200744"/>
                  <a:gd name="connsiteY94" fmla="*/ 277353 h 1046508"/>
                  <a:gd name="connsiteX95" fmla="*/ 0 w 1200744"/>
                  <a:gd name="connsiteY95" fmla="*/ 242836 h 1046508"/>
                  <a:gd name="connsiteX96" fmla="*/ 14298 w 1200744"/>
                  <a:gd name="connsiteY96" fmla="*/ 208318 h 1046508"/>
                  <a:gd name="connsiteX97" fmla="*/ 48816 w 1200744"/>
                  <a:gd name="connsiteY97" fmla="*/ 194020 h 1046508"/>
                  <a:gd name="connsiteX98" fmla="*/ 58977 w 1200744"/>
                  <a:gd name="connsiteY98" fmla="*/ 194020 h 1046508"/>
                  <a:gd name="connsiteX99" fmla="*/ 58806 w 1200744"/>
                  <a:gd name="connsiteY99"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83444 w 1200744"/>
                  <a:gd name="connsiteY34" fmla="*/ 235459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1157493 w 1200744"/>
                  <a:gd name="connsiteY45" fmla="*/ 347675 h 1046508"/>
                  <a:gd name="connsiteX46" fmla="*/ 1200471 w 1200744"/>
                  <a:gd name="connsiteY46" fmla="*/ 381525 h 1046508"/>
                  <a:gd name="connsiteX47" fmla="*/ 1200470 w 1200744"/>
                  <a:gd name="connsiteY47" fmla="*/ 381526 h 1046508"/>
                  <a:gd name="connsiteX48" fmla="*/ 1166620 w 1200744"/>
                  <a:gd name="connsiteY48" fmla="*/ 424503 h 1046508"/>
                  <a:gd name="connsiteX49" fmla="*/ 883444 w 1200744"/>
                  <a:gd name="connsiteY49" fmla="*/ 458146 h 1046508"/>
                  <a:gd name="connsiteX50" fmla="*/ 883444 w 1200744"/>
                  <a:gd name="connsiteY50" fmla="*/ 506141 h 1046508"/>
                  <a:gd name="connsiteX51" fmla="*/ 792956 w 1200744"/>
                  <a:gd name="connsiteY51" fmla="*/ 516892 h 1046508"/>
                  <a:gd name="connsiteX52" fmla="*/ 792956 w 1200744"/>
                  <a:gd name="connsiteY52" fmla="*/ 468897 h 1046508"/>
                  <a:gd name="connsiteX53" fmla="*/ 688181 w 1200744"/>
                  <a:gd name="connsiteY53" fmla="*/ 481345 h 1046508"/>
                  <a:gd name="connsiteX54" fmla="*/ 688181 w 1200744"/>
                  <a:gd name="connsiteY54" fmla="*/ 529340 h 1046508"/>
                  <a:gd name="connsiteX55" fmla="*/ 418176 w 1200744"/>
                  <a:gd name="connsiteY55" fmla="*/ 561418 h 1046508"/>
                  <a:gd name="connsiteX56" fmla="*/ 392350 w 1200744"/>
                  <a:gd name="connsiteY56" fmla="*/ 575897 h 1046508"/>
                  <a:gd name="connsiteX57" fmla="*/ 384326 w 1200744"/>
                  <a:gd name="connsiteY57" fmla="*/ 604396 h 1046508"/>
                  <a:gd name="connsiteX58" fmla="*/ 398804 w 1200744"/>
                  <a:gd name="connsiteY58" fmla="*/ 630221 h 1046508"/>
                  <a:gd name="connsiteX59" fmla="*/ 427304 w 1200744"/>
                  <a:gd name="connsiteY59" fmla="*/ 638245 h 1046508"/>
                  <a:gd name="connsiteX60" fmla="*/ 1104900 w 1200744"/>
                  <a:gd name="connsiteY60" fmla="*/ 557742 h 1046508"/>
                  <a:gd name="connsiteX61" fmla="*/ 1104900 w 1200744"/>
                  <a:gd name="connsiteY61" fmla="*/ 558713 h 1046508"/>
                  <a:gd name="connsiteX62" fmla="*/ 1157491 w 1200744"/>
                  <a:gd name="connsiteY62" fmla="*/ 552464 h 1046508"/>
                  <a:gd name="connsiteX63" fmla="*/ 1200469 w 1200744"/>
                  <a:gd name="connsiteY63" fmla="*/ 586314 h 1046508"/>
                  <a:gd name="connsiteX64" fmla="*/ 1200468 w 1200744"/>
                  <a:gd name="connsiteY64" fmla="*/ 586314 h 1046508"/>
                  <a:gd name="connsiteX65" fmla="*/ 1166618 w 1200744"/>
                  <a:gd name="connsiteY65" fmla="*/ 629292 h 1046508"/>
                  <a:gd name="connsiteX66" fmla="*/ 1104900 w 1200744"/>
                  <a:gd name="connsiteY66" fmla="*/ 636624 h 1046508"/>
                  <a:gd name="connsiteX67" fmla="*/ 1104900 w 1200744"/>
                  <a:gd name="connsiteY67" fmla="*/ 817908 h 1046508"/>
                  <a:gd name="connsiteX68" fmla="*/ 971550 w 1200744"/>
                  <a:gd name="connsiteY68" fmla="*/ 946496 h 1046508"/>
                  <a:gd name="connsiteX69" fmla="*/ 752889 w 1200744"/>
                  <a:gd name="connsiteY69" fmla="*/ 946496 h 1046508"/>
                  <a:gd name="connsiteX70" fmla="*/ 749140 w 1200744"/>
                  <a:gd name="connsiteY70" fmla="*/ 965065 h 1046508"/>
                  <a:gd name="connsiteX71" fmla="*/ 626271 w 1200744"/>
                  <a:gd name="connsiteY71" fmla="*/ 1046508 h 1046508"/>
                  <a:gd name="connsiteX72" fmla="*/ 533770 w 1200744"/>
                  <a:gd name="connsiteY72" fmla="*/ 1046508 h 1046508"/>
                  <a:gd name="connsiteX73" fmla="*/ 410901 w 1200744"/>
                  <a:gd name="connsiteY73" fmla="*/ 965065 h 1046508"/>
                  <a:gd name="connsiteX74" fmla="*/ 407153 w 1200744"/>
                  <a:gd name="connsiteY74" fmla="*/ 946496 h 1046508"/>
                  <a:gd name="connsiteX75" fmla="*/ 190500 w 1200744"/>
                  <a:gd name="connsiteY75" fmla="*/ 946496 h 1046508"/>
                  <a:gd name="connsiteX76" fmla="*/ 59532 w 1200744"/>
                  <a:gd name="connsiteY76" fmla="*/ 825052 h 1046508"/>
                  <a:gd name="connsiteX77" fmla="*/ 59432 w 1200744"/>
                  <a:gd name="connsiteY77" fmla="*/ 710643 h 1046508"/>
                  <a:gd name="connsiteX78" fmla="*/ 48816 w 1200744"/>
                  <a:gd name="connsiteY78" fmla="*/ 710643 h 1046508"/>
                  <a:gd name="connsiteX79" fmla="*/ 14298 w 1200744"/>
                  <a:gd name="connsiteY79" fmla="*/ 696345 h 1046508"/>
                  <a:gd name="connsiteX80" fmla="*/ 0 w 1200744"/>
                  <a:gd name="connsiteY80" fmla="*/ 661828 h 1046508"/>
                  <a:gd name="connsiteX81" fmla="*/ 14298 w 1200744"/>
                  <a:gd name="connsiteY81" fmla="*/ 627310 h 1046508"/>
                  <a:gd name="connsiteX82" fmla="*/ 48816 w 1200744"/>
                  <a:gd name="connsiteY82" fmla="*/ 613012 h 1046508"/>
                  <a:gd name="connsiteX83" fmla="*/ 59346 w 1200744"/>
                  <a:gd name="connsiteY83" fmla="*/ 613012 h 1046508"/>
                  <a:gd name="connsiteX84" fmla="*/ 59247 w 1200744"/>
                  <a:gd name="connsiteY84" fmla="*/ 501147 h 1046508"/>
                  <a:gd name="connsiteX85" fmla="*/ 48816 w 1200744"/>
                  <a:gd name="connsiteY85" fmla="*/ 501147 h 1046508"/>
                  <a:gd name="connsiteX86" fmla="*/ 14298 w 1200744"/>
                  <a:gd name="connsiteY86" fmla="*/ 486849 h 1046508"/>
                  <a:gd name="connsiteX87" fmla="*/ 0 w 1200744"/>
                  <a:gd name="connsiteY87" fmla="*/ 452332 h 1046508"/>
                  <a:gd name="connsiteX88" fmla="*/ 14298 w 1200744"/>
                  <a:gd name="connsiteY88" fmla="*/ 417814 h 1046508"/>
                  <a:gd name="connsiteX89" fmla="*/ 48816 w 1200744"/>
                  <a:gd name="connsiteY89" fmla="*/ 403516 h 1046508"/>
                  <a:gd name="connsiteX90" fmla="*/ 59161 w 1200744"/>
                  <a:gd name="connsiteY90" fmla="*/ 403516 h 1046508"/>
                  <a:gd name="connsiteX91" fmla="*/ 59063 w 1200744"/>
                  <a:gd name="connsiteY91" fmla="*/ 291651 h 1046508"/>
                  <a:gd name="connsiteX92" fmla="*/ 48816 w 1200744"/>
                  <a:gd name="connsiteY92" fmla="*/ 291651 h 1046508"/>
                  <a:gd name="connsiteX93" fmla="*/ 14298 w 1200744"/>
                  <a:gd name="connsiteY93" fmla="*/ 277353 h 1046508"/>
                  <a:gd name="connsiteX94" fmla="*/ 0 w 1200744"/>
                  <a:gd name="connsiteY94" fmla="*/ 242836 h 1046508"/>
                  <a:gd name="connsiteX95" fmla="*/ 14298 w 1200744"/>
                  <a:gd name="connsiteY95" fmla="*/ 208318 h 1046508"/>
                  <a:gd name="connsiteX96" fmla="*/ 48816 w 1200744"/>
                  <a:gd name="connsiteY96" fmla="*/ 194020 h 1046508"/>
                  <a:gd name="connsiteX97" fmla="*/ 58977 w 1200744"/>
                  <a:gd name="connsiteY97" fmla="*/ 194020 h 1046508"/>
                  <a:gd name="connsiteX98" fmla="*/ 58806 w 1200744"/>
                  <a:gd name="connsiteY98"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78682 w 1200744"/>
                  <a:gd name="connsiteY34" fmla="*/ 240221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1157493 w 1200744"/>
                  <a:gd name="connsiteY45" fmla="*/ 347675 h 1046508"/>
                  <a:gd name="connsiteX46" fmla="*/ 1200471 w 1200744"/>
                  <a:gd name="connsiteY46" fmla="*/ 381525 h 1046508"/>
                  <a:gd name="connsiteX47" fmla="*/ 1200470 w 1200744"/>
                  <a:gd name="connsiteY47" fmla="*/ 381526 h 1046508"/>
                  <a:gd name="connsiteX48" fmla="*/ 1166620 w 1200744"/>
                  <a:gd name="connsiteY48" fmla="*/ 424503 h 1046508"/>
                  <a:gd name="connsiteX49" fmla="*/ 883444 w 1200744"/>
                  <a:gd name="connsiteY49" fmla="*/ 458146 h 1046508"/>
                  <a:gd name="connsiteX50" fmla="*/ 883444 w 1200744"/>
                  <a:gd name="connsiteY50" fmla="*/ 506141 h 1046508"/>
                  <a:gd name="connsiteX51" fmla="*/ 792956 w 1200744"/>
                  <a:gd name="connsiteY51" fmla="*/ 516892 h 1046508"/>
                  <a:gd name="connsiteX52" fmla="*/ 792956 w 1200744"/>
                  <a:gd name="connsiteY52" fmla="*/ 468897 h 1046508"/>
                  <a:gd name="connsiteX53" fmla="*/ 688181 w 1200744"/>
                  <a:gd name="connsiteY53" fmla="*/ 481345 h 1046508"/>
                  <a:gd name="connsiteX54" fmla="*/ 688181 w 1200744"/>
                  <a:gd name="connsiteY54" fmla="*/ 529340 h 1046508"/>
                  <a:gd name="connsiteX55" fmla="*/ 418176 w 1200744"/>
                  <a:gd name="connsiteY55" fmla="*/ 561418 h 1046508"/>
                  <a:gd name="connsiteX56" fmla="*/ 392350 w 1200744"/>
                  <a:gd name="connsiteY56" fmla="*/ 575897 h 1046508"/>
                  <a:gd name="connsiteX57" fmla="*/ 384326 w 1200744"/>
                  <a:gd name="connsiteY57" fmla="*/ 604396 h 1046508"/>
                  <a:gd name="connsiteX58" fmla="*/ 398804 w 1200744"/>
                  <a:gd name="connsiteY58" fmla="*/ 630221 h 1046508"/>
                  <a:gd name="connsiteX59" fmla="*/ 427304 w 1200744"/>
                  <a:gd name="connsiteY59" fmla="*/ 638245 h 1046508"/>
                  <a:gd name="connsiteX60" fmla="*/ 1104900 w 1200744"/>
                  <a:gd name="connsiteY60" fmla="*/ 557742 h 1046508"/>
                  <a:gd name="connsiteX61" fmla="*/ 1104900 w 1200744"/>
                  <a:gd name="connsiteY61" fmla="*/ 558713 h 1046508"/>
                  <a:gd name="connsiteX62" fmla="*/ 1157491 w 1200744"/>
                  <a:gd name="connsiteY62" fmla="*/ 552464 h 1046508"/>
                  <a:gd name="connsiteX63" fmla="*/ 1200469 w 1200744"/>
                  <a:gd name="connsiteY63" fmla="*/ 586314 h 1046508"/>
                  <a:gd name="connsiteX64" fmla="*/ 1200468 w 1200744"/>
                  <a:gd name="connsiteY64" fmla="*/ 586314 h 1046508"/>
                  <a:gd name="connsiteX65" fmla="*/ 1166618 w 1200744"/>
                  <a:gd name="connsiteY65" fmla="*/ 629292 h 1046508"/>
                  <a:gd name="connsiteX66" fmla="*/ 1104900 w 1200744"/>
                  <a:gd name="connsiteY66" fmla="*/ 636624 h 1046508"/>
                  <a:gd name="connsiteX67" fmla="*/ 1104900 w 1200744"/>
                  <a:gd name="connsiteY67" fmla="*/ 817908 h 1046508"/>
                  <a:gd name="connsiteX68" fmla="*/ 971550 w 1200744"/>
                  <a:gd name="connsiteY68" fmla="*/ 946496 h 1046508"/>
                  <a:gd name="connsiteX69" fmla="*/ 752889 w 1200744"/>
                  <a:gd name="connsiteY69" fmla="*/ 946496 h 1046508"/>
                  <a:gd name="connsiteX70" fmla="*/ 749140 w 1200744"/>
                  <a:gd name="connsiteY70" fmla="*/ 965065 h 1046508"/>
                  <a:gd name="connsiteX71" fmla="*/ 626271 w 1200744"/>
                  <a:gd name="connsiteY71" fmla="*/ 1046508 h 1046508"/>
                  <a:gd name="connsiteX72" fmla="*/ 533770 w 1200744"/>
                  <a:gd name="connsiteY72" fmla="*/ 1046508 h 1046508"/>
                  <a:gd name="connsiteX73" fmla="*/ 410901 w 1200744"/>
                  <a:gd name="connsiteY73" fmla="*/ 965065 h 1046508"/>
                  <a:gd name="connsiteX74" fmla="*/ 407153 w 1200744"/>
                  <a:gd name="connsiteY74" fmla="*/ 946496 h 1046508"/>
                  <a:gd name="connsiteX75" fmla="*/ 190500 w 1200744"/>
                  <a:gd name="connsiteY75" fmla="*/ 946496 h 1046508"/>
                  <a:gd name="connsiteX76" fmla="*/ 59532 w 1200744"/>
                  <a:gd name="connsiteY76" fmla="*/ 825052 h 1046508"/>
                  <a:gd name="connsiteX77" fmla="*/ 59432 w 1200744"/>
                  <a:gd name="connsiteY77" fmla="*/ 710643 h 1046508"/>
                  <a:gd name="connsiteX78" fmla="*/ 48816 w 1200744"/>
                  <a:gd name="connsiteY78" fmla="*/ 710643 h 1046508"/>
                  <a:gd name="connsiteX79" fmla="*/ 14298 w 1200744"/>
                  <a:gd name="connsiteY79" fmla="*/ 696345 h 1046508"/>
                  <a:gd name="connsiteX80" fmla="*/ 0 w 1200744"/>
                  <a:gd name="connsiteY80" fmla="*/ 661828 h 1046508"/>
                  <a:gd name="connsiteX81" fmla="*/ 14298 w 1200744"/>
                  <a:gd name="connsiteY81" fmla="*/ 627310 h 1046508"/>
                  <a:gd name="connsiteX82" fmla="*/ 48816 w 1200744"/>
                  <a:gd name="connsiteY82" fmla="*/ 613012 h 1046508"/>
                  <a:gd name="connsiteX83" fmla="*/ 59346 w 1200744"/>
                  <a:gd name="connsiteY83" fmla="*/ 613012 h 1046508"/>
                  <a:gd name="connsiteX84" fmla="*/ 59247 w 1200744"/>
                  <a:gd name="connsiteY84" fmla="*/ 501147 h 1046508"/>
                  <a:gd name="connsiteX85" fmla="*/ 48816 w 1200744"/>
                  <a:gd name="connsiteY85" fmla="*/ 501147 h 1046508"/>
                  <a:gd name="connsiteX86" fmla="*/ 14298 w 1200744"/>
                  <a:gd name="connsiteY86" fmla="*/ 486849 h 1046508"/>
                  <a:gd name="connsiteX87" fmla="*/ 0 w 1200744"/>
                  <a:gd name="connsiteY87" fmla="*/ 452332 h 1046508"/>
                  <a:gd name="connsiteX88" fmla="*/ 14298 w 1200744"/>
                  <a:gd name="connsiteY88" fmla="*/ 417814 h 1046508"/>
                  <a:gd name="connsiteX89" fmla="*/ 48816 w 1200744"/>
                  <a:gd name="connsiteY89" fmla="*/ 403516 h 1046508"/>
                  <a:gd name="connsiteX90" fmla="*/ 59161 w 1200744"/>
                  <a:gd name="connsiteY90" fmla="*/ 403516 h 1046508"/>
                  <a:gd name="connsiteX91" fmla="*/ 59063 w 1200744"/>
                  <a:gd name="connsiteY91" fmla="*/ 291651 h 1046508"/>
                  <a:gd name="connsiteX92" fmla="*/ 48816 w 1200744"/>
                  <a:gd name="connsiteY92" fmla="*/ 291651 h 1046508"/>
                  <a:gd name="connsiteX93" fmla="*/ 14298 w 1200744"/>
                  <a:gd name="connsiteY93" fmla="*/ 277353 h 1046508"/>
                  <a:gd name="connsiteX94" fmla="*/ 0 w 1200744"/>
                  <a:gd name="connsiteY94" fmla="*/ 242836 h 1046508"/>
                  <a:gd name="connsiteX95" fmla="*/ 14298 w 1200744"/>
                  <a:gd name="connsiteY95" fmla="*/ 208318 h 1046508"/>
                  <a:gd name="connsiteX96" fmla="*/ 48816 w 1200744"/>
                  <a:gd name="connsiteY96" fmla="*/ 194020 h 1046508"/>
                  <a:gd name="connsiteX97" fmla="*/ 58977 w 1200744"/>
                  <a:gd name="connsiteY97" fmla="*/ 194020 h 1046508"/>
                  <a:gd name="connsiteX98" fmla="*/ 58806 w 1200744"/>
                  <a:gd name="connsiteY98" fmla="*/ 0 h 1046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200744" h="1046508">
                    <a:moveTo>
                      <a:pt x="269392" y="583922"/>
                    </a:moveTo>
                    <a:cubicBezTo>
                      <a:pt x="247034" y="583922"/>
                      <a:pt x="228910" y="602046"/>
                      <a:pt x="228910" y="624404"/>
                    </a:cubicBezTo>
                    <a:cubicBezTo>
                      <a:pt x="228910" y="646762"/>
                      <a:pt x="247034" y="664886"/>
                      <a:pt x="269392" y="664886"/>
                    </a:cubicBezTo>
                    <a:cubicBezTo>
                      <a:pt x="291750" y="664886"/>
                      <a:pt x="309874" y="646762"/>
                      <a:pt x="309874" y="624404"/>
                    </a:cubicBezTo>
                    <a:cubicBezTo>
                      <a:pt x="309874" y="602046"/>
                      <a:pt x="291750" y="583922"/>
                      <a:pt x="269392" y="583922"/>
                    </a:cubicBezTo>
                    <a:close/>
                    <a:moveTo>
                      <a:pt x="269392" y="373750"/>
                    </a:moveTo>
                    <a:cubicBezTo>
                      <a:pt x="247034" y="373750"/>
                      <a:pt x="228910" y="391874"/>
                      <a:pt x="228910" y="414232"/>
                    </a:cubicBezTo>
                    <a:cubicBezTo>
                      <a:pt x="228910" y="436590"/>
                      <a:pt x="247034" y="454714"/>
                      <a:pt x="269392" y="454714"/>
                    </a:cubicBezTo>
                    <a:cubicBezTo>
                      <a:pt x="291750" y="454714"/>
                      <a:pt x="309874" y="436590"/>
                      <a:pt x="309874" y="414232"/>
                    </a:cubicBezTo>
                    <a:cubicBezTo>
                      <a:pt x="309874" y="391874"/>
                      <a:pt x="291750" y="373750"/>
                      <a:pt x="269392" y="373750"/>
                    </a:cubicBezTo>
                    <a:close/>
                    <a:moveTo>
                      <a:pt x="269392" y="163063"/>
                    </a:moveTo>
                    <a:cubicBezTo>
                      <a:pt x="247034" y="163063"/>
                      <a:pt x="228910" y="181187"/>
                      <a:pt x="228910" y="203545"/>
                    </a:cubicBezTo>
                    <a:cubicBezTo>
                      <a:pt x="228910" y="225903"/>
                      <a:pt x="247034" y="244027"/>
                      <a:pt x="269392" y="244027"/>
                    </a:cubicBezTo>
                    <a:cubicBezTo>
                      <a:pt x="291750" y="244027"/>
                      <a:pt x="309874" y="225903"/>
                      <a:pt x="309874" y="203545"/>
                    </a:cubicBezTo>
                    <a:cubicBezTo>
                      <a:pt x="309874" y="181187"/>
                      <a:pt x="291750" y="163063"/>
                      <a:pt x="269392" y="163063"/>
                    </a:cubicBezTo>
                    <a:close/>
                    <a:moveTo>
                      <a:pt x="797719" y="0"/>
                    </a:moveTo>
                    <a:lnTo>
                      <a:pt x="883444" y="0"/>
                    </a:lnTo>
                    <a:lnTo>
                      <a:pt x="883444" y="79897"/>
                    </a:lnTo>
                    <a:lnTo>
                      <a:pt x="797719" y="90082"/>
                    </a:lnTo>
                    <a:lnTo>
                      <a:pt x="797719" y="0"/>
                    </a:lnTo>
                    <a:close/>
                    <a:moveTo>
                      <a:pt x="58806" y="0"/>
                    </a:moveTo>
                    <a:lnTo>
                      <a:pt x="692944" y="0"/>
                    </a:lnTo>
                    <a:lnTo>
                      <a:pt x="692944" y="102530"/>
                    </a:lnTo>
                    <a:lnTo>
                      <a:pt x="418176" y="135174"/>
                    </a:lnTo>
                    <a:cubicBezTo>
                      <a:pt x="407569" y="136435"/>
                      <a:pt x="398476" y="141875"/>
                      <a:pt x="392350" y="149653"/>
                    </a:cubicBezTo>
                    <a:lnTo>
                      <a:pt x="384326" y="178152"/>
                    </a:lnTo>
                    <a:lnTo>
                      <a:pt x="398804" y="203977"/>
                    </a:lnTo>
                    <a:cubicBezTo>
                      <a:pt x="406582" y="210103"/>
                      <a:pt x="416696" y="213262"/>
                      <a:pt x="427304" y="212001"/>
                    </a:cubicBezTo>
                    <a:lnTo>
                      <a:pt x="1104900" y="131498"/>
                    </a:lnTo>
                    <a:lnTo>
                      <a:pt x="1104900" y="134851"/>
                    </a:lnTo>
                    <a:lnTo>
                      <a:pt x="1157493" y="128603"/>
                    </a:lnTo>
                    <a:cubicBezTo>
                      <a:pt x="1178709" y="126082"/>
                      <a:pt x="1197951" y="141237"/>
                      <a:pt x="1200471" y="162453"/>
                    </a:cubicBezTo>
                    <a:lnTo>
                      <a:pt x="1200470" y="162453"/>
                    </a:lnTo>
                    <a:cubicBezTo>
                      <a:pt x="1202991" y="183669"/>
                      <a:pt x="1187836" y="202910"/>
                      <a:pt x="1166620" y="205431"/>
                    </a:cubicBezTo>
                    <a:lnTo>
                      <a:pt x="878682" y="240221"/>
                    </a:lnTo>
                    <a:lnTo>
                      <a:pt x="883444" y="298972"/>
                    </a:lnTo>
                    <a:lnTo>
                      <a:pt x="792956" y="309723"/>
                    </a:lnTo>
                    <a:lnTo>
                      <a:pt x="792956" y="265459"/>
                    </a:lnTo>
                    <a:lnTo>
                      <a:pt x="688181" y="265459"/>
                    </a:lnTo>
                    <a:lnTo>
                      <a:pt x="688181" y="322171"/>
                    </a:lnTo>
                    <a:lnTo>
                      <a:pt x="418176" y="354249"/>
                    </a:lnTo>
                    <a:cubicBezTo>
                      <a:pt x="407569" y="355510"/>
                      <a:pt x="398476" y="360950"/>
                      <a:pt x="392350" y="368728"/>
                    </a:cubicBezTo>
                    <a:lnTo>
                      <a:pt x="384326" y="397227"/>
                    </a:lnTo>
                    <a:lnTo>
                      <a:pt x="398804" y="423052"/>
                    </a:lnTo>
                    <a:cubicBezTo>
                      <a:pt x="406582" y="429178"/>
                      <a:pt x="416696" y="432337"/>
                      <a:pt x="427304" y="431076"/>
                    </a:cubicBezTo>
                    <a:lnTo>
                      <a:pt x="1157493" y="347675"/>
                    </a:lnTo>
                    <a:cubicBezTo>
                      <a:pt x="1178709" y="345155"/>
                      <a:pt x="1197950" y="360310"/>
                      <a:pt x="1200471" y="381525"/>
                    </a:cubicBezTo>
                    <a:lnTo>
                      <a:pt x="1200470" y="381526"/>
                    </a:lnTo>
                    <a:cubicBezTo>
                      <a:pt x="1202991" y="402741"/>
                      <a:pt x="1187836" y="421983"/>
                      <a:pt x="1166620" y="424503"/>
                    </a:cubicBezTo>
                    <a:lnTo>
                      <a:pt x="883444" y="458146"/>
                    </a:lnTo>
                    <a:lnTo>
                      <a:pt x="883444" y="506141"/>
                    </a:lnTo>
                    <a:lnTo>
                      <a:pt x="792956" y="516892"/>
                    </a:lnTo>
                    <a:lnTo>
                      <a:pt x="792956" y="468897"/>
                    </a:lnTo>
                    <a:lnTo>
                      <a:pt x="688181" y="481345"/>
                    </a:lnTo>
                    <a:lnTo>
                      <a:pt x="688181" y="529340"/>
                    </a:lnTo>
                    <a:lnTo>
                      <a:pt x="418176" y="561418"/>
                    </a:lnTo>
                    <a:cubicBezTo>
                      <a:pt x="407569" y="562679"/>
                      <a:pt x="398476" y="568119"/>
                      <a:pt x="392350" y="575897"/>
                    </a:cubicBezTo>
                    <a:lnTo>
                      <a:pt x="384326" y="604396"/>
                    </a:lnTo>
                    <a:lnTo>
                      <a:pt x="398804" y="630221"/>
                    </a:lnTo>
                    <a:cubicBezTo>
                      <a:pt x="406582" y="636347"/>
                      <a:pt x="416696" y="639506"/>
                      <a:pt x="427304" y="638245"/>
                    </a:cubicBezTo>
                    <a:lnTo>
                      <a:pt x="1104900" y="557742"/>
                    </a:lnTo>
                    <a:lnTo>
                      <a:pt x="1104900" y="558713"/>
                    </a:lnTo>
                    <a:lnTo>
                      <a:pt x="1157491" y="552464"/>
                    </a:lnTo>
                    <a:cubicBezTo>
                      <a:pt x="1178707" y="549944"/>
                      <a:pt x="1197948" y="565099"/>
                      <a:pt x="1200469" y="586314"/>
                    </a:cubicBezTo>
                    <a:lnTo>
                      <a:pt x="1200468" y="586314"/>
                    </a:lnTo>
                    <a:cubicBezTo>
                      <a:pt x="1202989" y="607530"/>
                      <a:pt x="1187834" y="626772"/>
                      <a:pt x="1166618" y="629292"/>
                    </a:cubicBezTo>
                    <a:lnTo>
                      <a:pt x="1104900" y="636624"/>
                    </a:lnTo>
                    <a:lnTo>
                      <a:pt x="1104900" y="817908"/>
                    </a:lnTo>
                    <a:lnTo>
                      <a:pt x="971550" y="946496"/>
                    </a:lnTo>
                    <a:lnTo>
                      <a:pt x="752889" y="946496"/>
                    </a:lnTo>
                    <a:lnTo>
                      <a:pt x="749140" y="965065"/>
                    </a:lnTo>
                    <a:cubicBezTo>
                      <a:pt x="728897" y="1012926"/>
                      <a:pt x="681506" y="1046508"/>
                      <a:pt x="626271" y="1046508"/>
                    </a:cubicBezTo>
                    <a:lnTo>
                      <a:pt x="533770" y="1046508"/>
                    </a:lnTo>
                    <a:cubicBezTo>
                      <a:pt x="478536" y="1046508"/>
                      <a:pt x="431145" y="1012926"/>
                      <a:pt x="410901" y="965065"/>
                    </a:cubicBezTo>
                    <a:lnTo>
                      <a:pt x="407153" y="946496"/>
                    </a:lnTo>
                    <a:lnTo>
                      <a:pt x="190500" y="946496"/>
                    </a:lnTo>
                    <a:lnTo>
                      <a:pt x="59532" y="825052"/>
                    </a:lnTo>
                    <a:cubicBezTo>
                      <a:pt x="59499" y="786916"/>
                      <a:pt x="59465" y="748779"/>
                      <a:pt x="59432" y="710643"/>
                    </a:cubicBezTo>
                    <a:lnTo>
                      <a:pt x="48816" y="710643"/>
                    </a:lnTo>
                    <a:cubicBezTo>
                      <a:pt x="35336" y="710643"/>
                      <a:pt x="23132" y="705179"/>
                      <a:pt x="14298" y="696345"/>
                    </a:cubicBezTo>
                    <a:lnTo>
                      <a:pt x="0" y="661828"/>
                    </a:lnTo>
                    <a:lnTo>
                      <a:pt x="14298" y="627310"/>
                    </a:lnTo>
                    <a:cubicBezTo>
                      <a:pt x="23132" y="618476"/>
                      <a:pt x="35336" y="613012"/>
                      <a:pt x="48816" y="613012"/>
                    </a:cubicBezTo>
                    <a:lnTo>
                      <a:pt x="59346" y="613012"/>
                    </a:lnTo>
                    <a:cubicBezTo>
                      <a:pt x="59313" y="575724"/>
                      <a:pt x="59280" y="538435"/>
                      <a:pt x="59247" y="501147"/>
                    </a:cubicBezTo>
                    <a:lnTo>
                      <a:pt x="48816" y="501147"/>
                    </a:lnTo>
                    <a:cubicBezTo>
                      <a:pt x="35336" y="501147"/>
                      <a:pt x="23132" y="495683"/>
                      <a:pt x="14298" y="486849"/>
                    </a:cubicBezTo>
                    <a:lnTo>
                      <a:pt x="0" y="452332"/>
                    </a:lnTo>
                    <a:lnTo>
                      <a:pt x="14298" y="417814"/>
                    </a:lnTo>
                    <a:cubicBezTo>
                      <a:pt x="23132" y="408980"/>
                      <a:pt x="35336" y="403516"/>
                      <a:pt x="48816" y="403516"/>
                    </a:cubicBezTo>
                    <a:lnTo>
                      <a:pt x="59161" y="403516"/>
                    </a:lnTo>
                    <a:cubicBezTo>
                      <a:pt x="59128" y="366228"/>
                      <a:pt x="59096" y="328939"/>
                      <a:pt x="59063" y="291651"/>
                    </a:cubicBezTo>
                    <a:lnTo>
                      <a:pt x="48816" y="291651"/>
                    </a:lnTo>
                    <a:cubicBezTo>
                      <a:pt x="35336" y="291651"/>
                      <a:pt x="23132" y="286187"/>
                      <a:pt x="14298" y="277353"/>
                    </a:cubicBezTo>
                    <a:lnTo>
                      <a:pt x="0" y="242836"/>
                    </a:lnTo>
                    <a:lnTo>
                      <a:pt x="14298" y="208318"/>
                    </a:lnTo>
                    <a:cubicBezTo>
                      <a:pt x="23132" y="199484"/>
                      <a:pt x="35336" y="194020"/>
                      <a:pt x="48816" y="194020"/>
                    </a:cubicBezTo>
                    <a:lnTo>
                      <a:pt x="58977" y="194020"/>
                    </a:lnTo>
                    <a:lnTo>
                      <a:pt x="58806"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43" name="Freeform 142"/>
              <p:cNvSpPr/>
              <p:nvPr/>
            </p:nvSpPr>
            <p:spPr>
              <a:xfrm>
                <a:off x="4242295" y="1685754"/>
                <a:ext cx="3701002" cy="3743106"/>
              </a:xfrm>
              <a:custGeom>
                <a:avLst/>
                <a:gdLst>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0346 w 3701002"/>
                  <a:gd name="connsiteY11" fmla="*/ 3114359 h 3743106"/>
                  <a:gd name="connsiteX12" fmla="*/ 2659635 w 3701002"/>
                  <a:gd name="connsiteY12" fmla="*/ 3107286 h 3743106"/>
                  <a:gd name="connsiteX13" fmla="*/ 3122601 w 3701002"/>
                  <a:gd name="connsiteY13" fmla="*/ 2107732 h 3743106"/>
                  <a:gd name="connsiteX14" fmla="*/ 1850392 w 3701002"/>
                  <a:gd name="connsiteY14" fmla="*/ 812383 h 3743106"/>
                  <a:gd name="connsiteX15" fmla="*/ 578183 w 3701002"/>
                  <a:gd name="connsiteY15" fmla="*/ 2107732 h 3743106"/>
                  <a:gd name="connsiteX16" fmla="*/ 950805 w 3701002"/>
                  <a:gd name="connsiteY16" fmla="*/ 3023682 h 3743106"/>
                  <a:gd name="connsiteX17" fmla="*/ 1028685 w 3701002"/>
                  <a:gd name="connsiteY17" fmla="*/ 3095752 h 3743106"/>
                  <a:gd name="connsiteX18" fmla="*/ 1145044 w 3701002"/>
                  <a:gd name="connsiteY18" fmla="*/ 3252006 h 3743106"/>
                  <a:gd name="connsiteX19" fmla="*/ 1289824 w 3701002"/>
                  <a:gd name="connsiteY19" fmla="*/ 3549186 h 3743106"/>
                  <a:gd name="connsiteX20" fmla="*/ 1131709 w 3701002"/>
                  <a:gd name="connsiteY20" fmla="*/ 3739686 h 3743106"/>
                  <a:gd name="connsiteX21" fmla="*/ 881519 w 3701002"/>
                  <a:gd name="connsiteY21" fmla="*/ 3637451 h 3743106"/>
                  <a:gd name="connsiteX22" fmla="*/ 771664 w 3701002"/>
                  <a:gd name="connsiteY22" fmla="*/ 3290106 h 3743106"/>
                  <a:gd name="connsiteX23" fmla="*/ 377329 w 3701002"/>
                  <a:gd name="connsiteY23" fmla="*/ 3103416 h 3743106"/>
                  <a:gd name="connsiteX24" fmla="*/ 344944 w 3701002"/>
                  <a:gd name="connsiteY24" fmla="*/ 2482386 h 3743106"/>
                  <a:gd name="connsiteX25" fmla="*/ 139 w 3701002"/>
                  <a:gd name="connsiteY25" fmla="*/ 1970576 h 3743106"/>
                  <a:gd name="connsiteX26" fmla="*/ 451624 w 3701002"/>
                  <a:gd name="connsiteY26" fmla="*/ 1403521 h 3743106"/>
                  <a:gd name="connsiteX27" fmla="*/ 496709 w 3701002"/>
                  <a:gd name="connsiteY27" fmla="*/ 659301 h 3743106"/>
                  <a:gd name="connsiteX28" fmla="*/ 1199019 w 3701002"/>
                  <a:gd name="connsiteY28" fmla="*/ 517061 h 3743106"/>
                  <a:gd name="connsiteX29" fmla="*/ 1831479 w 3701002"/>
                  <a:gd name="connsiteY29"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028685 w 3701002"/>
                  <a:gd name="connsiteY16" fmla="*/ 3095752 h 3743106"/>
                  <a:gd name="connsiteX17" fmla="*/ 1145044 w 3701002"/>
                  <a:gd name="connsiteY17" fmla="*/ 3252006 h 3743106"/>
                  <a:gd name="connsiteX18" fmla="*/ 1289824 w 3701002"/>
                  <a:gd name="connsiteY18" fmla="*/ 3549186 h 3743106"/>
                  <a:gd name="connsiteX19" fmla="*/ 1131709 w 3701002"/>
                  <a:gd name="connsiteY19" fmla="*/ 3739686 h 3743106"/>
                  <a:gd name="connsiteX20" fmla="*/ 881519 w 3701002"/>
                  <a:gd name="connsiteY20" fmla="*/ 3637451 h 3743106"/>
                  <a:gd name="connsiteX21" fmla="*/ 771664 w 3701002"/>
                  <a:gd name="connsiteY21" fmla="*/ 3290106 h 3743106"/>
                  <a:gd name="connsiteX22" fmla="*/ 377329 w 3701002"/>
                  <a:gd name="connsiteY22" fmla="*/ 3103416 h 3743106"/>
                  <a:gd name="connsiteX23" fmla="*/ 344944 w 3701002"/>
                  <a:gd name="connsiteY23" fmla="*/ 2482386 h 3743106"/>
                  <a:gd name="connsiteX24" fmla="*/ 139 w 3701002"/>
                  <a:gd name="connsiteY24" fmla="*/ 1970576 h 3743106"/>
                  <a:gd name="connsiteX25" fmla="*/ 451624 w 3701002"/>
                  <a:gd name="connsiteY25" fmla="*/ 1403521 h 3743106"/>
                  <a:gd name="connsiteX26" fmla="*/ 496709 w 3701002"/>
                  <a:gd name="connsiteY26" fmla="*/ 659301 h 3743106"/>
                  <a:gd name="connsiteX27" fmla="*/ 1199019 w 3701002"/>
                  <a:gd name="connsiteY27" fmla="*/ 517061 h 3743106"/>
                  <a:gd name="connsiteX28" fmla="*/ 1831479 w 3701002"/>
                  <a:gd name="connsiteY28"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145044 w 3701002"/>
                  <a:gd name="connsiteY16" fmla="*/ 3252006 h 3743106"/>
                  <a:gd name="connsiteX17" fmla="*/ 1289824 w 3701002"/>
                  <a:gd name="connsiteY17" fmla="*/ 3549186 h 3743106"/>
                  <a:gd name="connsiteX18" fmla="*/ 1131709 w 3701002"/>
                  <a:gd name="connsiteY18" fmla="*/ 3739686 h 3743106"/>
                  <a:gd name="connsiteX19" fmla="*/ 881519 w 3701002"/>
                  <a:gd name="connsiteY19" fmla="*/ 3637451 h 3743106"/>
                  <a:gd name="connsiteX20" fmla="*/ 771664 w 3701002"/>
                  <a:gd name="connsiteY20" fmla="*/ 3290106 h 3743106"/>
                  <a:gd name="connsiteX21" fmla="*/ 377329 w 3701002"/>
                  <a:gd name="connsiteY21" fmla="*/ 3103416 h 3743106"/>
                  <a:gd name="connsiteX22" fmla="*/ 344944 w 3701002"/>
                  <a:gd name="connsiteY22" fmla="*/ 2482386 h 3743106"/>
                  <a:gd name="connsiteX23" fmla="*/ 139 w 3701002"/>
                  <a:gd name="connsiteY23" fmla="*/ 1970576 h 3743106"/>
                  <a:gd name="connsiteX24" fmla="*/ 451624 w 3701002"/>
                  <a:gd name="connsiteY24" fmla="*/ 1403521 h 3743106"/>
                  <a:gd name="connsiteX25" fmla="*/ 496709 w 3701002"/>
                  <a:gd name="connsiteY25" fmla="*/ 659301 h 3743106"/>
                  <a:gd name="connsiteX26" fmla="*/ 1199019 w 3701002"/>
                  <a:gd name="connsiteY26" fmla="*/ 517061 h 3743106"/>
                  <a:gd name="connsiteX27" fmla="*/ 1831479 w 3701002"/>
                  <a:gd name="connsiteY27"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145044 w 3701002"/>
                  <a:gd name="connsiteY16" fmla="*/ 3252006 h 3743106"/>
                  <a:gd name="connsiteX17" fmla="*/ 1289824 w 3701002"/>
                  <a:gd name="connsiteY17" fmla="*/ 3549186 h 3743106"/>
                  <a:gd name="connsiteX18" fmla="*/ 1131709 w 3701002"/>
                  <a:gd name="connsiteY18" fmla="*/ 3739686 h 3743106"/>
                  <a:gd name="connsiteX19" fmla="*/ 881519 w 3701002"/>
                  <a:gd name="connsiteY19" fmla="*/ 3637451 h 3743106"/>
                  <a:gd name="connsiteX20" fmla="*/ 771664 w 3701002"/>
                  <a:gd name="connsiteY20" fmla="*/ 3290106 h 3743106"/>
                  <a:gd name="connsiteX21" fmla="*/ 377329 w 3701002"/>
                  <a:gd name="connsiteY21" fmla="*/ 3103416 h 3743106"/>
                  <a:gd name="connsiteX22" fmla="*/ 344944 w 3701002"/>
                  <a:gd name="connsiteY22" fmla="*/ 2482386 h 3743106"/>
                  <a:gd name="connsiteX23" fmla="*/ 139 w 3701002"/>
                  <a:gd name="connsiteY23" fmla="*/ 1970576 h 3743106"/>
                  <a:gd name="connsiteX24" fmla="*/ 451624 w 3701002"/>
                  <a:gd name="connsiteY24" fmla="*/ 1403521 h 3743106"/>
                  <a:gd name="connsiteX25" fmla="*/ 496709 w 3701002"/>
                  <a:gd name="connsiteY25" fmla="*/ 659301 h 3743106"/>
                  <a:gd name="connsiteX26" fmla="*/ 1199019 w 3701002"/>
                  <a:gd name="connsiteY26" fmla="*/ 517061 h 3743106"/>
                  <a:gd name="connsiteX27" fmla="*/ 1831479 w 3701002"/>
                  <a:gd name="connsiteY27" fmla="*/ 171 h 3743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701002" h="3743106">
                    <a:moveTo>
                      <a:pt x="1831479" y="171"/>
                    </a:moveTo>
                    <a:cubicBezTo>
                      <a:pt x="2193958" y="-9460"/>
                      <a:pt x="2228989" y="388262"/>
                      <a:pt x="2478544" y="516426"/>
                    </a:cubicBezTo>
                    <a:cubicBezTo>
                      <a:pt x="2724924" y="638240"/>
                      <a:pt x="3031735" y="420753"/>
                      <a:pt x="3214509" y="673906"/>
                    </a:cubicBezTo>
                    <a:cubicBezTo>
                      <a:pt x="3397283" y="927059"/>
                      <a:pt x="3125874" y="1106394"/>
                      <a:pt x="3270389" y="1425746"/>
                    </a:cubicBezTo>
                    <a:cubicBezTo>
                      <a:pt x="3414904" y="1745098"/>
                      <a:pt x="3685678" y="1679112"/>
                      <a:pt x="3700601" y="1942319"/>
                    </a:cubicBezTo>
                    <a:cubicBezTo>
                      <a:pt x="3712349" y="2221401"/>
                      <a:pt x="3463112" y="2181714"/>
                      <a:pt x="3354844" y="2512866"/>
                    </a:cubicBezTo>
                    <a:cubicBezTo>
                      <a:pt x="3238639" y="2836081"/>
                      <a:pt x="3476765" y="2888309"/>
                      <a:pt x="3320872" y="3113258"/>
                    </a:cubicBezTo>
                    <a:cubicBezTo>
                      <a:pt x="3231655" y="3262007"/>
                      <a:pt x="3076132" y="3153476"/>
                      <a:pt x="2933839" y="3291059"/>
                    </a:cubicBezTo>
                    <a:cubicBezTo>
                      <a:pt x="2791546" y="3428642"/>
                      <a:pt x="2888756" y="3603161"/>
                      <a:pt x="2771914" y="3691109"/>
                    </a:cubicBezTo>
                    <a:cubicBezTo>
                      <a:pt x="2688410" y="3783819"/>
                      <a:pt x="2499817" y="3735717"/>
                      <a:pt x="2440444" y="3640626"/>
                    </a:cubicBezTo>
                    <a:cubicBezTo>
                      <a:pt x="2381071" y="3545535"/>
                      <a:pt x="2441714" y="3442506"/>
                      <a:pt x="2501404" y="3320586"/>
                    </a:cubicBezTo>
                    <a:lnTo>
                      <a:pt x="2659635" y="3107286"/>
                    </a:lnTo>
                    <a:cubicBezTo>
                      <a:pt x="2942380" y="2869700"/>
                      <a:pt x="3122601" y="2510145"/>
                      <a:pt x="3122601" y="2107732"/>
                    </a:cubicBezTo>
                    <a:cubicBezTo>
                      <a:pt x="3122601" y="1392331"/>
                      <a:pt x="2553014" y="812383"/>
                      <a:pt x="1850392" y="812383"/>
                    </a:cubicBezTo>
                    <a:cubicBezTo>
                      <a:pt x="1147770" y="812383"/>
                      <a:pt x="578183" y="1392331"/>
                      <a:pt x="578183" y="2107732"/>
                    </a:cubicBezTo>
                    <a:cubicBezTo>
                      <a:pt x="578183" y="2465433"/>
                      <a:pt x="720580" y="2789270"/>
                      <a:pt x="950805" y="3023682"/>
                    </a:cubicBezTo>
                    <a:cubicBezTo>
                      <a:pt x="1039364" y="3104553"/>
                      <a:pt x="1080298" y="3175898"/>
                      <a:pt x="1145044" y="3252006"/>
                    </a:cubicBezTo>
                    <a:cubicBezTo>
                      <a:pt x="1213624" y="3361226"/>
                      <a:pt x="1292047" y="3467906"/>
                      <a:pt x="1289824" y="3549186"/>
                    </a:cubicBezTo>
                    <a:cubicBezTo>
                      <a:pt x="1287602" y="3630466"/>
                      <a:pt x="1199760" y="3724975"/>
                      <a:pt x="1131709" y="3739686"/>
                    </a:cubicBezTo>
                    <a:cubicBezTo>
                      <a:pt x="1063658" y="3754397"/>
                      <a:pt x="935176" y="3721906"/>
                      <a:pt x="881519" y="3637451"/>
                    </a:cubicBezTo>
                    <a:cubicBezTo>
                      <a:pt x="827862" y="3552996"/>
                      <a:pt x="922371" y="3429912"/>
                      <a:pt x="771664" y="3290106"/>
                    </a:cubicBezTo>
                    <a:cubicBezTo>
                      <a:pt x="620957" y="3150300"/>
                      <a:pt x="489724" y="3259626"/>
                      <a:pt x="377329" y="3103416"/>
                    </a:cubicBezTo>
                    <a:cubicBezTo>
                      <a:pt x="245884" y="2847193"/>
                      <a:pt x="472103" y="2764062"/>
                      <a:pt x="344944" y="2482386"/>
                    </a:cubicBezTo>
                    <a:cubicBezTo>
                      <a:pt x="189211" y="2141178"/>
                      <a:pt x="8552" y="2246432"/>
                      <a:pt x="139" y="1970576"/>
                    </a:cubicBezTo>
                    <a:cubicBezTo>
                      <a:pt x="-7481" y="1701865"/>
                      <a:pt x="299012" y="1730017"/>
                      <a:pt x="451624" y="1403521"/>
                    </a:cubicBezTo>
                    <a:cubicBezTo>
                      <a:pt x="528036" y="943675"/>
                      <a:pt x="318168" y="908644"/>
                      <a:pt x="496709" y="659301"/>
                    </a:cubicBezTo>
                    <a:cubicBezTo>
                      <a:pt x="675250" y="409958"/>
                      <a:pt x="956978" y="650728"/>
                      <a:pt x="1199019" y="517061"/>
                    </a:cubicBezTo>
                    <a:cubicBezTo>
                      <a:pt x="1485510" y="418319"/>
                      <a:pt x="1469000" y="9802"/>
                      <a:pt x="1831479" y="171"/>
                    </a:cubicBez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grpSp>
      </p:grpSp>
      <p:sp>
        <p:nvSpPr>
          <p:cNvPr id="171" name="TextBox 170"/>
          <p:cNvSpPr txBox="1"/>
          <p:nvPr/>
        </p:nvSpPr>
        <p:spPr>
          <a:xfrm>
            <a:off x="766522" y="4923333"/>
            <a:ext cx="776175" cy="461665"/>
          </a:xfrm>
          <a:prstGeom prst="rect">
            <a:avLst/>
          </a:prstGeom>
          <a:solidFill>
            <a:schemeClr val="bg1"/>
          </a:solidFill>
        </p:spPr>
        <p:txBody>
          <a:bodyPr wrap="none" rtlCol="0">
            <a:spAutoFit/>
          </a:bodyPr>
          <a:lstStyle>
            <a:defPPr>
              <a:defRPr lang="fr-FR"/>
            </a:defPPr>
            <a:lvl1pPr marR="0" lvl="0" indent="0" defTabSz="914377" fontAlgn="base">
              <a:lnSpc>
                <a:spcPct val="100000"/>
              </a:lnSpc>
              <a:spcBef>
                <a:spcPct val="0"/>
              </a:spcBef>
              <a:spcAft>
                <a:spcPct val="0"/>
              </a:spcAft>
              <a:buClrTx/>
              <a:buSzTx/>
              <a:buFontTx/>
              <a:buNone/>
              <a:tabLst/>
              <a:defRPr kumimoji="0" sz="2400" b="1" i="0" u="none" strike="noStrike" kern="0" cap="none" spc="0" normalizeH="0" baseline="0">
                <a:ln>
                  <a:noFill/>
                </a:ln>
                <a:solidFill>
                  <a:srgbClr val="0066A1"/>
                </a:solidFill>
                <a:effectLst/>
                <a:uLnTx/>
                <a:uFillTx/>
                <a:latin typeface="Verdana"/>
                <a:cs typeface="Arial" charset="0"/>
              </a:defRPr>
            </a:lvl1pPr>
          </a:lstStyle>
          <a:p>
            <a:r>
              <a:rPr lang="en-US">
                <a:latin typeface="+mj-lt"/>
              </a:rPr>
              <a:t>70%</a:t>
            </a:r>
          </a:p>
        </p:txBody>
      </p:sp>
      <p:sp>
        <p:nvSpPr>
          <p:cNvPr id="172" name="Rectangle 171"/>
          <p:cNvSpPr/>
          <p:nvPr/>
        </p:nvSpPr>
        <p:spPr>
          <a:xfrm>
            <a:off x="2070405" y="5384310"/>
            <a:ext cx="3646076" cy="738664"/>
          </a:xfrm>
          <a:prstGeom prst="rect">
            <a:avLst/>
          </a:prstGeom>
        </p:spPr>
        <p:txBody>
          <a:bodyPr wrap="square">
            <a:spAutoFit/>
          </a:bodyPr>
          <a:lstStyle/>
          <a:p>
            <a:pPr algn="ctr" defTabSz="914377" fontAlgn="base">
              <a:spcBef>
                <a:spcPct val="0"/>
              </a:spcBef>
              <a:spcAft>
                <a:spcPct val="0"/>
              </a:spcAft>
            </a:pPr>
            <a:r>
              <a:rPr lang="en-US" sz="1400" kern="0">
                <a:solidFill>
                  <a:prstClr val="black"/>
                </a:solidFill>
                <a:latin typeface="+mj-lt"/>
                <a:cs typeface="Segoe UI Semilight" panose="020B0402040204020203" pitchFamily="34" charset="0"/>
              </a:rPr>
              <a:t>P</a:t>
            </a:r>
            <a:r>
              <a:rPr lang="en-GB" sz="1400" kern="0" err="1">
                <a:solidFill>
                  <a:prstClr val="black"/>
                </a:solidFill>
                <a:latin typeface="+mj-lt"/>
                <a:cs typeface="Segoe UI Semilight" panose="020B0402040204020203" pitchFamily="34" charset="0"/>
              </a:rPr>
              <a:t>latform</a:t>
            </a:r>
            <a:r>
              <a:rPr lang="en-GB" sz="1400" kern="0">
                <a:solidFill>
                  <a:prstClr val="black"/>
                </a:solidFill>
                <a:latin typeface="+mj-lt"/>
                <a:cs typeface="Segoe UI Semilight" panose="020B0402040204020203" pitchFamily="34" charset="0"/>
              </a:rPr>
              <a:t> &amp; infra design, App, data &amp; report migration, </a:t>
            </a:r>
            <a:r>
              <a:rPr lang="en-US" sz="1400" kern="0">
                <a:solidFill>
                  <a:prstClr val="black"/>
                </a:solidFill>
                <a:latin typeface="+mj-lt"/>
                <a:cs typeface="Segoe UI Semilight" panose="020B0402040204020203" pitchFamily="34" charset="0"/>
              </a:rPr>
              <a:t>testing, warranty</a:t>
            </a:r>
            <a:r>
              <a:rPr lang="en-GB" sz="1400" kern="0">
                <a:solidFill>
                  <a:prstClr val="black"/>
                </a:solidFill>
                <a:latin typeface="+mj-lt"/>
                <a:cs typeface="Segoe UI Semilight" panose="020B0402040204020203" pitchFamily="34" charset="0"/>
              </a:rPr>
              <a:t>  </a:t>
            </a:r>
            <a:endParaRPr lang="en-US" sz="1400" kern="0">
              <a:solidFill>
                <a:prstClr val="black"/>
              </a:solidFill>
              <a:latin typeface="+mj-lt"/>
              <a:cs typeface="Segoe UI Semilight" panose="020B0402040204020203" pitchFamily="34" charset="0"/>
              <a:sym typeface="Helvetica Neue Light"/>
            </a:endParaRPr>
          </a:p>
          <a:p>
            <a:pPr algn="ctr" defTabSz="914377" fontAlgn="base">
              <a:spcBef>
                <a:spcPct val="0"/>
              </a:spcBef>
              <a:spcAft>
                <a:spcPct val="0"/>
              </a:spcAft>
            </a:pPr>
            <a:endParaRPr lang="en-US" sz="1400" kern="0">
              <a:solidFill>
                <a:prstClr val="black"/>
              </a:solidFill>
              <a:latin typeface="+mj-lt"/>
              <a:cs typeface="Segoe UI Semilight" panose="020B0402040204020203" pitchFamily="34" charset="0"/>
            </a:endParaRPr>
          </a:p>
        </p:txBody>
      </p:sp>
      <p:sp>
        <p:nvSpPr>
          <p:cNvPr id="173" name="TextBox 172"/>
          <p:cNvSpPr txBox="1"/>
          <p:nvPr/>
        </p:nvSpPr>
        <p:spPr>
          <a:xfrm>
            <a:off x="2896740" y="4950038"/>
            <a:ext cx="1946367" cy="461665"/>
          </a:xfrm>
          <a:prstGeom prst="rect">
            <a:avLst/>
          </a:prstGeom>
          <a:solidFill>
            <a:schemeClr val="bg1"/>
          </a:solidFill>
        </p:spPr>
        <p:txBody>
          <a:bodyPr wrap="none" rtlCol="0">
            <a:spAutoFit/>
          </a:bodyPr>
          <a:lstStyle>
            <a:defPPr>
              <a:defRPr lang="fr-FR"/>
            </a:defPPr>
            <a:lvl1pPr marR="0" lvl="0" indent="0" defTabSz="914377" fontAlgn="base">
              <a:lnSpc>
                <a:spcPct val="100000"/>
              </a:lnSpc>
              <a:spcBef>
                <a:spcPct val="0"/>
              </a:spcBef>
              <a:spcAft>
                <a:spcPct val="0"/>
              </a:spcAft>
              <a:buClrTx/>
              <a:buSzTx/>
              <a:buFontTx/>
              <a:buNone/>
              <a:tabLst/>
              <a:defRPr kumimoji="0" sz="2400" b="1" i="0" u="none" strike="noStrike" kern="0" cap="none" spc="0" normalizeH="0" baseline="0">
                <a:ln>
                  <a:noFill/>
                </a:ln>
                <a:solidFill>
                  <a:srgbClr val="0066A1"/>
                </a:solidFill>
                <a:effectLst/>
                <a:uLnTx/>
                <a:uFillTx/>
                <a:latin typeface="Verdana"/>
                <a:cs typeface="Arial" charset="0"/>
              </a:defRPr>
            </a:lvl1pPr>
          </a:lstStyle>
          <a:p>
            <a:r>
              <a:rPr lang="en-US">
                <a:latin typeface="+mj-lt"/>
              </a:rPr>
              <a:t>End-to-end </a:t>
            </a:r>
          </a:p>
        </p:txBody>
      </p:sp>
      <p:sp>
        <p:nvSpPr>
          <p:cNvPr id="174" name="Rectangle 173">
            <a:extLst>
              <a:ext uri="{FF2B5EF4-FFF2-40B4-BE49-F238E27FC236}">
                <a16:creationId xmlns:a16="http://schemas.microsoft.com/office/drawing/2014/main" id="{DEA3F0F7-1F24-4CD4-B1C3-B5D3064A10E0}"/>
              </a:ext>
            </a:extLst>
          </p:cNvPr>
          <p:cNvSpPr/>
          <p:nvPr/>
        </p:nvSpPr>
        <p:spPr bwMode="auto">
          <a:xfrm>
            <a:off x="6398204" y="3489669"/>
            <a:ext cx="5341439" cy="457200"/>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123" fontAlgn="base">
              <a:spcBef>
                <a:spcPct val="0"/>
              </a:spcBef>
              <a:spcAft>
                <a:spcPct val="0"/>
              </a:spcAft>
              <a:defRPr/>
            </a:pPr>
            <a:r>
              <a:rPr lang="en-US" sz="1400" kern="0">
                <a:solidFill>
                  <a:prstClr val="black"/>
                </a:solidFill>
                <a:cs typeface="Arial" panose="020B0604020202020204" pitchFamily="34" charset="0"/>
              </a:rPr>
              <a:t>Re-platforming of the customer’s mainframe applications, data, reports and environment on </a:t>
            </a:r>
            <a:r>
              <a:rPr lang="en-US" sz="1400" kern="0" err="1">
                <a:solidFill>
                  <a:prstClr val="black"/>
                </a:solidFill>
                <a:cs typeface="Arial" panose="020B0604020202020204" pitchFamily="34" charset="0"/>
              </a:rPr>
              <a:t>MicroFocus</a:t>
            </a:r>
            <a:r>
              <a:rPr lang="en-US" sz="1400" kern="0">
                <a:solidFill>
                  <a:prstClr val="black"/>
                </a:solidFill>
                <a:cs typeface="Arial" panose="020B0604020202020204" pitchFamily="34" charset="0"/>
              </a:rPr>
              <a:t> Enterprise Server 5.0 deployed on </a:t>
            </a:r>
            <a:r>
              <a:rPr lang="en-US" sz="1400" kern="0" err="1">
                <a:solidFill>
                  <a:prstClr val="black"/>
                </a:solidFill>
                <a:cs typeface="Arial" panose="020B0604020202020204" pitchFamily="34" charset="0"/>
              </a:rPr>
              <a:t>Redhat</a:t>
            </a:r>
            <a:r>
              <a:rPr lang="en-US" sz="1400" kern="0">
                <a:solidFill>
                  <a:prstClr val="black"/>
                </a:solidFill>
                <a:cs typeface="Arial" panose="020B0604020202020204" pitchFamily="34" charset="0"/>
              </a:rPr>
              <a:t> Linux operating system</a:t>
            </a:r>
          </a:p>
        </p:txBody>
      </p:sp>
      <p:grpSp>
        <p:nvGrpSpPr>
          <p:cNvPr id="175" name="Group 174">
            <a:extLst>
              <a:ext uri="{FF2B5EF4-FFF2-40B4-BE49-F238E27FC236}">
                <a16:creationId xmlns:a16="http://schemas.microsoft.com/office/drawing/2014/main" id="{5B27CF8D-17DA-4906-ADAC-DFDBF593C872}"/>
              </a:ext>
            </a:extLst>
          </p:cNvPr>
          <p:cNvGrpSpPr/>
          <p:nvPr/>
        </p:nvGrpSpPr>
        <p:grpSpPr>
          <a:xfrm>
            <a:off x="5840168" y="3475044"/>
            <a:ext cx="474070" cy="474070"/>
            <a:chOff x="6447430" y="2675492"/>
            <a:chExt cx="474070" cy="474070"/>
          </a:xfrm>
        </p:grpSpPr>
        <p:sp>
          <p:nvSpPr>
            <p:cNvPr id="176" name="Oval 175">
              <a:extLst>
                <a:ext uri="{FF2B5EF4-FFF2-40B4-BE49-F238E27FC236}">
                  <a16:creationId xmlns:a16="http://schemas.microsoft.com/office/drawing/2014/main" id="{C1906004-8552-457C-BC3B-BFD16942623D}"/>
                </a:ext>
              </a:extLst>
            </p:cNvPr>
            <p:cNvSpPr/>
            <p:nvPr/>
          </p:nvSpPr>
          <p:spPr>
            <a:xfrm>
              <a:off x="6447430" y="2675492"/>
              <a:ext cx="474070" cy="474070"/>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white"/>
                </a:solidFill>
                <a:effectLst/>
                <a:uLnTx/>
                <a:uFillTx/>
                <a:latin typeface="+mj-lt"/>
                <a:ea typeface="+mn-ea"/>
                <a:cs typeface="+mn-cs"/>
              </a:endParaRPr>
            </a:p>
          </p:txBody>
        </p:sp>
        <p:grpSp>
          <p:nvGrpSpPr>
            <p:cNvPr id="177" name="Group 176">
              <a:extLst>
                <a:ext uri="{FF2B5EF4-FFF2-40B4-BE49-F238E27FC236}">
                  <a16:creationId xmlns:a16="http://schemas.microsoft.com/office/drawing/2014/main" id="{49D975FC-F0E2-43E3-A95F-7DAEC58DD37B}"/>
                </a:ext>
              </a:extLst>
            </p:cNvPr>
            <p:cNvGrpSpPr/>
            <p:nvPr/>
          </p:nvGrpSpPr>
          <p:grpSpPr>
            <a:xfrm>
              <a:off x="6518177" y="2715380"/>
              <a:ext cx="333474" cy="369626"/>
              <a:chOff x="3114466" y="105602"/>
              <a:chExt cx="5971657" cy="6619048"/>
            </a:xfrm>
            <a:solidFill>
              <a:schemeClr val="accent5"/>
            </a:solidFill>
          </p:grpSpPr>
          <p:sp>
            <p:nvSpPr>
              <p:cNvPr id="178" name="Oval 177">
                <a:extLst>
                  <a:ext uri="{FF2B5EF4-FFF2-40B4-BE49-F238E27FC236}">
                    <a16:creationId xmlns:a16="http://schemas.microsoft.com/office/drawing/2014/main" id="{582C2A49-0A25-430A-8421-569C4BA0014F}"/>
                  </a:ext>
                </a:extLst>
              </p:cNvPr>
              <p:cNvSpPr/>
              <p:nvPr/>
            </p:nvSpPr>
            <p:spPr>
              <a:xfrm>
                <a:off x="5744819" y="745435"/>
                <a:ext cx="695738" cy="695738"/>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79" name="Oval 178">
                <a:extLst>
                  <a:ext uri="{FF2B5EF4-FFF2-40B4-BE49-F238E27FC236}">
                    <a16:creationId xmlns:a16="http://schemas.microsoft.com/office/drawing/2014/main" id="{BB7AE4C9-E13B-4327-9A4C-10CE943F49FE}"/>
                  </a:ext>
                </a:extLst>
              </p:cNvPr>
              <p:cNvSpPr/>
              <p:nvPr/>
            </p:nvSpPr>
            <p:spPr>
              <a:xfrm>
                <a:off x="6626711" y="1319213"/>
                <a:ext cx="628234" cy="62823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80" name="Oval 179">
                <a:extLst>
                  <a:ext uri="{FF2B5EF4-FFF2-40B4-BE49-F238E27FC236}">
                    <a16:creationId xmlns:a16="http://schemas.microsoft.com/office/drawing/2014/main" id="{A76F60AB-6CC9-48DA-B413-9A39C0684C4E}"/>
                  </a:ext>
                </a:extLst>
              </p:cNvPr>
              <p:cNvSpPr/>
              <p:nvPr/>
            </p:nvSpPr>
            <p:spPr>
              <a:xfrm>
                <a:off x="4921736" y="1319213"/>
                <a:ext cx="628234" cy="62823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81" name="Oval 180">
                <a:extLst>
                  <a:ext uri="{FF2B5EF4-FFF2-40B4-BE49-F238E27FC236}">
                    <a16:creationId xmlns:a16="http://schemas.microsoft.com/office/drawing/2014/main" id="{AA772459-D704-4E28-AA19-E8839F2BA4F4}"/>
                  </a:ext>
                </a:extLst>
              </p:cNvPr>
              <p:cNvSpPr/>
              <p:nvPr/>
            </p:nvSpPr>
            <p:spPr>
              <a:xfrm>
                <a:off x="4140684" y="1766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82" name="Oval 181">
                <a:extLst>
                  <a:ext uri="{FF2B5EF4-FFF2-40B4-BE49-F238E27FC236}">
                    <a16:creationId xmlns:a16="http://schemas.microsoft.com/office/drawing/2014/main" id="{DC9496F0-90F0-460F-BA03-7F13902E58FD}"/>
                  </a:ext>
                </a:extLst>
              </p:cNvPr>
              <p:cNvSpPr/>
              <p:nvPr/>
            </p:nvSpPr>
            <p:spPr>
              <a:xfrm>
                <a:off x="7510049" y="1766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83" name="Oval 182">
                <a:extLst>
                  <a:ext uri="{FF2B5EF4-FFF2-40B4-BE49-F238E27FC236}">
                    <a16:creationId xmlns:a16="http://schemas.microsoft.com/office/drawing/2014/main" id="{381A935A-494B-4BA0-B643-514EB13F2ADC}"/>
                  </a:ext>
                </a:extLst>
              </p:cNvPr>
              <p:cNvSpPr/>
              <p:nvPr/>
            </p:nvSpPr>
            <p:spPr>
              <a:xfrm>
                <a:off x="7716285" y="2579410"/>
                <a:ext cx="612706" cy="61270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84" name="Oval 183">
                <a:extLst>
                  <a:ext uri="{FF2B5EF4-FFF2-40B4-BE49-F238E27FC236}">
                    <a16:creationId xmlns:a16="http://schemas.microsoft.com/office/drawing/2014/main" id="{AAA7D455-0A4E-4C6D-803D-B31A6ACCA836}"/>
                  </a:ext>
                </a:extLst>
              </p:cNvPr>
              <p:cNvSpPr/>
              <p:nvPr/>
            </p:nvSpPr>
            <p:spPr>
              <a:xfrm>
                <a:off x="3849963" y="2569471"/>
                <a:ext cx="612706" cy="61270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85" name="Oval 184">
                <a:extLst>
                  <a:ext uri="{FF2B5EF4-FFF2-40B4-BE49-F238E27FC236}">
                    <a16:creationId xmlns:a16="http://schemas.microsoft.com/office/drawing/2014/main" id="{C4F72A79-19A9-4399-B42D-BBD925F27468}"/>
                  </a:ext>
                </a:extLst>
              </p:cNvPr>
              <p:cNvSpPr/>
              <p:nvPr/>
            </p:nvSpPr>
            <p:spPr>
              <a:xfrm>
                <a:off x="3740632" y="1416532"/>
                <a:ext cx="394046" cy="39404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86" name="Oval 185">
                <a:extLst>
                  <a:ext uri="{FF2B5EF4-FFF2-40B4-BE49-F238E27FC236}">
                    <a16:creationId xmlns:a16="http://schemas.microsoft.com/office/drawing/2014/main" id="{88B290DE-5F8C-413E-A56C-5AF4924A1E03}"/>
                  </a:ext>
                </a:extLst>
              </p:cNvPr>
              <p:cNvSpPr/>
              <p:nvPr/>
            </p:nvSpPr>
            <p:spPr>
              <a:xfrm>
                <a:off x="8054215" y="1416532"/>
                <a:ext cx="394046" cy="39404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87" name="Oval 186">
                <a:extLst>
                  <a:ext uri="{FF2B5EF4-FFF2-40B4-BE49-F238E27FC236}">
                    <a16:creationId xmlns:a16="http://schemas.microsoft.com/office/drawing/2014/main" id="{7C53C2D2-4A6F-4129-A358-125E7C3D89DC}"/>
                  </a:ext>
                </a:extLst>
              </p:cNvPr>
              <p:cNvSpPr/>
              <p:nvPr/>
            </p:nvSpPr>
            <p:spPr>
              <a:xfrm>
                <a:off x="5878581" y="105602"/>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88" name="Oval 187">
                <a:extLst>
                  <a:ext uri="{FF2B5EF4-FFF2-40B4-BE49-F238E27FC236}">
                    <a16:creationId xmlns:a16="http://schemas.microsoft.com/office/drawing/2014/main" id="{DC91EE25-2F45-4A2F-A6E5-56F5D725D10C}"/>
                  </a:ext>
                </a:extLst>
              </p:cNvPr>
              <p:cNvSpPr/>
              <p:nvPr/>
            </p:nvSpPr>
            <p:spPr>
              <a:xfrm>
                <a:off x="3114466" y="3419473"/>
                <a:ext cx="319296" cy="31929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89" name="Oval 188">
                <a:extLst>
                  <a:ext uri="{FF2B5EF4-FFF2-40B4-BE49-F238E27FC236}">
                    <a16:creationId xmlns:a16="http://schemas.microsoft.com/office/drawing/2014/main" id="{B7FEB5AA-D415-48A7-9EB2-66E506E305CC}"/>
                  </a:ext>
                </a:extLst>
              </p:cNvPr>
              <p:cNvSpPr/>
              <p:nvPr/>
            </p:nvSpPr>
            <p:spPr>
              <a:xfrm>
                <a:off x="3794675" y="5116270"/>
                <a:ext cx="282026" cy="28202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90" name="Oval 189">
                <a:extLst>
                  <a:ext uri="{FF2B5EF4-FFF2-40B4-BE49-F238E27FC236}">
                    <a16:creationId xmlns:a16="http://schemas.microsoft.com/office/drawing/2014/main" id="{3E932A8C-F7F2-47E7-B1C8-08783227DE91}"/>
                  </a:ext>
                </a:extLst>
              </p:cNvPr>
              <p:cNvSpPr/>
              <p:nvPr/>
            </p:nvSpPr>
            <p:spPr>
              <a:xfrm>
                <a:off x="4640020" y="5060156"/>
                <a:ext cx="342902" cy="3429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91" name="Oval 190">
                <a:extLst>
                  <a:ext uri="{FF2B5EF4-FFF2-40B4-BE49-F238E27FC236}">
                    <a16:creationId xmlns:a16="http://schemas.microsoft.com/office/drawing/2014/main" id="{3BD5891B-7257-4382-ACE6-C890403935B8}"/>
                  </a:ext>
                </a:extLst>
              </p:cNvPr>
              <p:cNvSpPr/>
              <p:nvPr/>
            </p:nvSpPr>
            <p:spPr>
              <a:xfrm>
                <a:off x="4155592" y="4790040"/>
                <a:ext cx="373546" cy="37354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92" name="Oval 191">
                <a:extLst>
                  <a:ext uri="{FF2B5EF4-FFF2-40B4-BE49-F238E27FC236}">
                    <a16:creationId xmlns:a16="http://schemas.microsoft.com/office/drawing/2014/main" id="{CCF119B0-5515-4C3B-90C9-0268BB6C7D80}"/>
                  </a:ext>
                </a:extLst>
              </p:cNvPr>
              <p:cNvSpPr/>
              <p:nvPr/>
            </p:nvSpPr>
            <p:spPr>
              <a:xfrm>
                <a:off x="3892206" y="4042948"/>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93" name="Oval 192">
                <a:extLst>
                  <a:ext uri="{FF2B5EF4-FFF2-40B4-BE49-F238E27FC236}">
                    <a16:creationId xmlns:a16="http://schemas.microsoft.com/office/drawing/2014/main" id="{60CB4473-FCE3-49F4-B06F-90A4F040D5B4}"/>
                  </a:ext>
                </a:extLst>
              </p:cNvPr>
              <p:cNvSpPr/>
              <p:nvPr/>
            </p:nvSpPr>
            <p:spPr>
              <a:xfrm>
                <a:off x="7758528" y="4052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94" name="Oval 193">
                <a:extLst>
                  <a:ext uri="{FF2B5EF4-FFF2-40B4-BE49-F238E27FC236}">
                    <a16:creationId xmlns:a16="http://schemas.microsoft.com/office/drawing/2014/main" id="{F161FB60-86B9-46B0-8247-D6B041C9B10E}"/>
                  </a:ext>
                </a:extLst>
              </p:cNvPr>
              <p:cNvSpPr/>
              <p:nvPr/>
            </p:nvSpPr>
            <p:spPr>
              <a:xfrm>
                <a:off x="3632338" y="3395454"/>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95" name="Oval 194">
                <a:extLst>
                  <a:ext uri="{FF2B5EF4-FFF2-40B4-BE49-F238E27FC236}">
                    <a16:creationId xmlns:a16="http://schemas.microsoft.com/office/drawing/2014/main" id="{A8F2BCFE-CC21-4BAB-8086-9AB2FF27FA3B}"/>
                  </a:ext>
                </a:extLst>
              </p:cNvPr>
              <p:cNvSpPr/>
              <p:nvPr/>
            </p:nvSpPr>
            <p:spPr>
              <a:xfrm>
                <a:off x="8122650" y="3395454"/>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96" name="Oval 195">
                <a:extLst>
                  <a:ext uri="{FF2B5EF4-FFF2-40B4-BE49-F238E27FC236}">
                    <a16:creationId xmlns:a16="http://schemas.microsoft.com/office/drawing/2014/main" id="{828106C5-2060-4629-ACF1-C765635601CB}"/>
                  </a:ext>
                </a:extLst>
              </p:cNvPr>
              <p:cNvSpPr/>
              <p:nvPr/>
            </p:nvSpPr>
            <p:spPr>
              <a:xfrm>
                <a:off x="8747366" y="3412330"/>
                <a:ext cx="338757" cy="338757"/>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97" name="Oval 196">
                <a:extLst>
                  <a:ext uri="{FF2B5EF4-FFF2-40B4-BE49-F238E27FC236}">
                    <a16:creationId xmlns:a16="http://schemas.microsoft.com/office/drawing/2014/main" id="{2665A624-591B-4E6B-A601-375B727027BE}"/>
                  </a:ext>
                </a:extLst>
              </p:cNvPr>
              <p:cNvSpPr/>
              <p:nvPr/>
            </p:nvSpPr>
            <p:spPr>
              <a:xfrm>
                <a:off x="7659444" y="4792108"/>
                <a:ext cx="372514" cy="37251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98" name="Oval 197">
                <a:extLst>
                  <a:ext uri="{FF2B5EF4-FFF2-40B4-BE49-F238E27FC236}">
                    <a16:creationId xmlns:a16="http://schemas.microsoft.com/office/drawing/2014/main" id="{41AAB086-87B8-4222-8C43-0DF599D84272}"/>
                  </a:ext>
                </a:extLst>
              </p:cNvPr>
              <p:cNvSpPr/>
              <p:nvPr/>
            </p:nvSpPr>
            <p:spPr>
              <a:xfrm>
                <a:off x="7208355" y="5062538"/>
                <a:ext cx="341242" cy="34124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99" name="Oval 198">
                <a:extLst>
                  <a:ext uri="{FF2B5EF4-FFF2-40B4-BE49-F238E27FC236}">
                    <a16:creationId xmlns:a16="http://schemas.microsoft.com/office/drawing/2014/main" id="{F9AF36BB-DC08-4CFF-915B-317FC9A8E5CE}"/>
                  </a:ext>
                </a:extLst>
              </p:cNvPr>
              <p:cNvSpPr/>
              <p:nvPr/>
            </p:nvSpPr>
            <p:spPr>
              <a:xfrm>
                <a:off x="8113230" y="5122069"/>
                <a:ext cx="274566" cy="27456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200" name="Freeform 87">
                <a:extLst>
                  <a:ext uri="{FF2B5EF4-FFF2-40B4-BE49-F238E27FC236}">
                    <a16:creationId xmlns:a16="http://schemas.microsoft.com/office/drawing/2014/main" id="{D547286C-0FEB-4FD5-BB1D-70D97E3447AE}"/>
                  </a:ext>
                </a:extLst>
              </p:cNvPr>
              <p:cNvSpPr/>
              <p:nvPr/>
            </p:nvSpPr>
            <p:spPr>
              <a:xfrm>
                <a:off x="5507831" y="5678142"/>
                <a:ext cx="1200744" cy="1046508"/>
              </a:xfrm>
              <a:custGeom>
                <a:avLst/>
                <a:gdLst>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58806 w 1200744"/>
                  <a:gd name="connsiteY19" fmla="*/ 0 h 1046508"/>
                  <a:gd name="connsiteX20" fmla="*/ 692944 w 1200744"/>
                  <a:gd name="connsiteY20" fmla="*/ 0 h 1046508"/>
                  <a:gd name="connsiteX21" fmla="*/ 692944 w 1200744"/>
                  <a:gd name="connsiteY21" fmla="*/ 102530 h 1046508"/>
                  <a:gd name="connsiteX22" fmla="*/ 418176 w 1200744"/>
                  <a:gd name="connsiteY22" fmla="*/ 135174 h 1046508"/>
                  <a:gd name="connsiteX23" fmla="*/ 392350 w 1200744"/>
                  <a:gd name="connsiteY23" fmla="*/ 149653 h 1046508"/>
                  <a:gd name="connsiteX24" fmla="*/ 384326 w 1200744"/>
                  <a:gd name="connsiteY24" fmla="*/ 178152 h 1046508"/>
                  <a:gd name="connsiteX25" fmla="*/ 398804 w 1200744"/>
                  <a:gd name="connsiteY25" fmla="*/ 203977 h 1046508"/>
                  <a:gd name="connsiteX26" fmla="*/ 427304 w 1200744"/>
                  <a:gd name="connsiteY26" fmla="*/ 212001 h 1046508"/>
                  <a:gd name="connsiteX27" fmla="*/ 1104900 w 1200744"/>
                  <a:gd name="connsiteY27" fmla="*/ 131498 h 1046508"/>
                  <a:gd name="connsiteX28" fmla="*/ 1104900 w 1200744"/>
                  <a:gd name="connsiteY28" fmla="*/ 134851 h 1046508"/>
                  <a:gd name="connsiteX29" fmla="*/ 1157493 w 1200744"/>
                  <a:gd name="connsiteY29" fmla="*/ 128603 h 1046508"/>
                  <a:gd name="connsiteX30" fmla="*/ 1200471 w 1200744"/>
                  <a:gd name="connsiteY30" fmla="*/ 162453 h 1046508"/>
                  <a:gd name="connsiteX31" fmla="*/ 1200470 w 1200744"/>
                  <a:gd name="connsiteY31" fmla="*/ 162453 h 1046508"/>
                  <a:gd name="connsiteX32" fmla="*/ 1166620 w 1200744"/>
                  <a:gd name="connsiteY32" fmla="*/ 205431 h 1046508"/>
                  <a:gd name="connsiteX33" fmla="*/ 892471 w 1200744"/>
                  <a:gd name="connsiteY33" fmla="*/ 238001 h 1046508"/>
                  <a:gd name="connsiteX34" fmla="*/ 883444 w 1200744"/>
                  <a:gd name="connsiteY34" fmla="*/ 235459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688181 w 1200744"/>
                  <a:gd name="connsiteY45" fmla="*/ 400083 h 1046508"/>
                  <a:gd name="connsiteX46" fmla="*/ 688181 w 1200744"/>
                  <a:gd name="connsiteY46" fmla="*/ 403433 h 1046508"/>
                  <a:gd name="connsiteX47" fmla="*/ 792956 w 1200744"/>
                  <a:gd name="connsiteY47" fmla="*/ 390985 h 1046508"/>
                  <a:gd name="connsiteX48" fmla="*/ 792956 w 1200744"/>
                  <a:gd name="connsiteY48" fmla="*/ 387635 h 1046508"/>
                  <a:gd name="connsiteX49" fmla="*/ 883444 w 1200744"/>
                  <a:gd name="connsiteY49" fmla="*/ 376884 h 1046508"/>
                  <a:gd name="connsiteX50" fmla="*/ 883444 w 1200744"/>
                  <a:gd name="connsiteY50" fmla="*/ 380235 h 1046508"/>
                  <a:gd name="connsiteX51" fmla="*/ 1157493 w 1200744"/>
                  <a:gd name="connsiteY51" fmla="*/ 347675 h 1046508"/>
                  <a:gd name="connsiteX52" fmla="*/ 1200471 w 1200744"/>
                  <a:gd name="connsiteY52" fmla="*/ 381525 h 1046508"/>
                  <a:gd name="connsiteX53" fmla="*/ 1200470 w 1200744"/>
                  <a:gd name="connsiteY53" fmla="*/ 381526 h 1046508"/>
                  <a:gd name="connsiteX54" fmla="*/ 1166620 w 1200744"/>
                  <a:gd name="connsiteY54" fmla="*/ 424503 h 1046508"/>
                  <a:gd name="connsiteX55" fmla="*/ 883444 w 1200744"/>
                  <a:gd name="connsiteY55" fmla="*/ 458146 h 1046508"/>
                  <a:gd name="connsiteX56" fmla="*/ 883444 w 1200744"/>
                  <a:gd name="connsiteY56" fmla="*/ 506141 h 1046508"/>
                  <a:gd name="connsiteX57" fmla="*/ 792956 w 1200744"/>
                  <a:gd name="connsiteY57" fmla="*/ 516892 h 1046508"/>
                  <a:gd name="connsiteX58" fmla="*/ 792956 w 1200744"/>
                  <a:gd name="connsiteY58" fmla="*/ 468897 h 1046508"/>
                  <a:gd name="connsiteX59" fmla="*/ 688181 w 1200744"/>
                  <a:gd name="connsiteY59" fmla="*/ 481345 h 1046508"/>
                  <a:gd name="connsiteX60" fmla="*/ 688181 w 1200744"/>
                  <a:gd name="connsiteY60" fmla="*/ 529340 h 1046508"/>
                  <a:gd name="connsiteX61" fmla="*/ 418176 w 1200744"/>
                  <a:gd name="connsiteY61" fmla="*/ 561418 h 1046508"/>
                  <a:gd name="connsiteX62" fmla="*/ 392350 w 1200744"/>
                  <a:gd name="connsiteY62" fmla="*/ 575897 h 1046508"/>
                  <a:gd name="connsiteX63" fmla="*/ 384326 w 1200744"/>
                  <a:gd name="connsiteY63" fmla="*/ 604396 h 1046508"/>
                  <a:gd name="connsiteX64" fmla="*/ 398804 w 1200744"/>
                  <a:gd name="connsiteY64" fmla="*/ 630221 h 1046508"/>
                  <a:gd name="connsiteX65" fmla="*/ 427304 w 1200744"/>
                  <a:gd name="connsiteY65" fmla="*/ 638245 h 1046508"/>
                  <a:gd name="connsiteX66" fmla="*/ 1104900 w 1200744"/>
                  <a:gd name="connsiteY66" fmla="*/ 557742 h 1046508"/>
                  <a:gd name="connsiteX67" fmla="*/ 1104900 w 1200744"/>
                  <a:gd name="connsiteY67" fmla="*/ 558713 h 1046508"/>
                  <a:gd name="connsiteX68" fmla="*/ 1157491 w 1200744"/>
                  <a:gd name="connsiteY68" fmla="*/ 552464 h 1046508"/>
                  <a:gd name="connsiteX69" fmla="*/ 1200469 w 1200744"/>
                  <a:gd name="connsiteY69" fmla="*/ 586314 h 1046508"/>
                  <a:gd name="connsiteX70" fmla="*/ 1200468 w 1200744"/>
                  <a:gd name="connsiteY70" fmla="*/ 586314 h 1046508"/>
                  <a:gd name="connsiteX71" fmla="*/ 1166618 w 1200744"/>
                  <a:gd name="connsiteY71" fmla="*/ 629292 h 1046508"/>
                  <a:gd name="connsiteX72" fmla="*/ 1104900 w 1200744"/>
                  <a:gd name="connsiteY72" fmla="*/ 636624 h 1046508"/>
                  <a:gd name="connsiteX73" fmla="*/ 1104900 w 1200744"/>
                  <a:gd name="connsiteY73" fmla="*/ 817908 h 1046508"/>
                  <a:gd name="connsiteX74" fmla="*/ 971550 w 1200744"/>
                  <a:gd name="connsiteY74" fmla="*/ 946496 h 1046508"/>
                  <a:gd name="connsiteX75" fmla="*/ 752889 w 1200744"/>
                  <a:gd name="connsiteY75" fmla="*/ 946496 h 1046508"/>
                  <a:gd name="connsiteX76" fmla="*/ 749140 w 1200744"/>
                  <a:gd name="connsiteY76" fmla="*/ 965065 h 1046508"/>
                  <a:gd name="connsiteX77" fmla="*/ 626271 w 1200744"/>
                  <a:gd name="connsiteY77" fmla="*/ 1046508 h 1046508"/>
                  <a:gd name="connsiteX78" fmla="*/ 533770 w 1200744"/>
                  <a:gd name="connsiteY78" fmla="*/ 1046508 h 1046508"/>
                  <a:gd name="connsiteX79" fmla="*/ 410901 w 1200744"/>
                  <a:gd name="connsiteY79" fmla="*/ 965065 h 1046508"/>
                  <a:gd name="connsiteX80" fmla="*/ 407153 w 1200744"/>
                  <a:gd name="connsiteY80" fmla="*/ 946496 h 1046508"/>
                  <a:gd name="connsiteX81" fmla="*/ 190500 w 1200744"/>
                  <a:gd name="connsiteY81" fmla="*/ 946496 h 1046508"/>
                  <a:gd name="connsiteX82" fmla="*/ 59532 w 1200744"/>
                  <a:gd name="connsiteY82" fmla="*/ 825052 h 1046508"/>
                  <a:gd name="connsiteX83" fmla="*/ 59432 w 1200744"/>
                  <a:gd name="connsiteY83" fmla="*/ 710643 h 1046508"/>
                  <a:gd name="connsiteX84" fmla="*/ 48816 w 1200744"/>
                  <a:gd name="connsiteY84" fmla="*/ 710643 h 1046508"/>
                  <a:gd name="connsiteX85" fmla="*/ 14298 w 1200744"/>
                  <a:gd name="connsiteY85" fmla="*/ 696345 h 1046508"/>
                  <a:gd name="connsiteX86" fmla="*/ 0 w 1200744"/>
                  <a:gd name="connsiteY86" fmla="*/ 661828 h 1046508"/>
                  <a:gd name="connsiteX87" fmla="*/ 14298 w 1200744"/>
                  <a:gd name="connsiteY87" fmla="*/ 627310 h 1046508"/>
                  <a:gd name="connsiteX88" fmla="*/ 48816 w 1200744"/>
                  <a:gd name="connsiteY88" fmla="*/ 613012 h 1046508"/>
                  <a:gd name="connsiteX89" fmla="*/ 59346 w 1200744"/>
                  <a:gd name="connsiteY89" fmla="*/ 613012 h 1046508"/>
                  <a:gd name="connsiteX90" fmla="*/ 59247 w 1200744"/>
                  <a:gd name="connsiteY90" fmla="*/ 501147 h 1046508"/>
                  <a:gd name="connsiteX91" fmla="*/ 48816 w 1200744"/>
                  <a:gd name="connsiteY91" fmla="*/ 501147 h 1046508"/>
                  <a:gd name="connsiteX92" fmla="*/ 14298 w 1200744"/>
                  <a:gd name="connsiteY92" fmla="*/ 486849 h 1046508"/>
                  <a:gd name="connsiteX93" fmla="*/ 0 w 1200744"/>
                  <a:gd name="connsiteY93" fmla="*/ 452332 h 1046508"/>
                  <a:gd name="connsiteX94" fmla="*/ 14298 w 1200744"/>
                  <a:gd name="connsiteY94" fmla="*/ 417814 h 1046508"/>
                  <a:gd name="connsiteX95" fmla="*/ 48816 w 1200744"/>
                  <a:gd name="connsiteY95" fmla="*/ 403516 h 1046508"/>
                  <a:gd name="connsiteX96" fmla="*/ 59161 w 1200744"/>
                  <a:gd name="connsiteY96" fmla="*/ 403516 h 1046508"/>
                  <a:gd name="connsiteX97" fmla="*/ 59063 w 1200744"/>
                  <a:gd name="connsiteY97" fmla="*/ 291651 h 1046508"/>
                  <a:gd name="connsiteX98" fmla="*/ 48816 w 1200744"/>
                  <a:gd name="connsiteY98" fmla="*/ 291651 h 1046508"/>
                  <a:gd name="connsiteX99" fmla="*/ 14298 w 1200744"/>
                  <a:gd name="connsiteY99" fmla="*/ 277353 h 1046508"/>
                  <a:gd name="connsiteX100" fmla="*/ 0 w 1200744"/>
                  <a:gd name="connsiteY100" fmla="*/ 242836 h 1046508"/>
                  <a:gd name="connsiteX101" fmla="*/ 14298 w 1200744"/>
                  <a:gd name="connsiteY101" fmla="*/ 208318 h 1046508"/>
                  <a:gd name="connsiteX102" fmla="*/ 48816 w 1200744"/>
                  <a:gd name="connsiteY102" fmla="*/ 194020 h 1046508"/>
                  <a:gd name="connsiteX103" fmla="*/ 58977 w 1200744"/>
                  <a:gd name="connsiteY103" fmla="*/ 19402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792956 w 1200744"/>
                  <a:gd name="connsiteY49" fmla="*/ 387635 h 1046508"/>
                  <a:gd name="connsiteX50" fmla="*/ 883444 w 1200744"/>
                  <a:gd name="connsiteY50" fmla="*/ 376884 h 1046508"/>
                  <a:gd name="connsiteX51" fmla="*/ 1157493 w 1200744"/>
                  <a:gd name="connsiteY51" fmla="*/ 347675 h 1046508"/>
                  <a:gd name="connsiteX52" fmla="*/ 1200471 w 1200744"/>
                  <a:gd name="connsiteY52" fmla="*/ 381525 h 1046508"/>
                  <a:gd name="connsiteX53" fmla="*/ 1200470 w 1200744"/>
                  <a:gd name="connsiteY53" fmla="*/ 381526 h 1046508"/>
                  <a:gd name="connsiteX54" fmla="*/ 1166620 w 1200744"/>
                  <a:gd name="connsiteY54" fmla="*/ 424503 h 1046508"/>
                  <a:gd name="connsiteX55" fmla="*/ 883444 w 1200744"/>
                  <a:gd name="connsiteY55" fmla="*/ 458146 h 1046508"/>
                  <a:gd name="connsiteX56" fmla="*/ 883444 w 1200744"/>
                  <a:gd name="connsiteY56" fmla="*/ 506141 h 1046508"/>
                  <a:gd name="connsiteX57" fmla="*/ 792956 w 1200744"/>
                  <a:gd name="connsiteY57" fmla="*/ 516892 h 1046508"/>
                  <a:gd name="connsiteX58" fmla="*/ 792956 w 1200744"/>
                  <a:gd name="connsiteY58" fmla="*/ 468897 h 1046508"/>
                  <a:gd name="connsiteX59" fmla="*/ 688181 w 1200744"/>
                  <a:gd name="connsiteY59" fmla="*/ 481345 h 1046508"/>
                  <a:gd name="connsiteX60" fmla="*/ 688181 w 1200744"/>
                  <a:gd name="connsiteY60" fmla="*/ 529340 h 1046508"/>
                  <a:gd name="connsiteX61" fmla="*/ 418176 w 1200744"/>
                  <a:gd name="connsiteY61" fmla="*/ 561418 h 1046508"/>
                  <a:gd name="connsiteX62" fmla="*/ 392350 w 1200744"/>
                  <a:gd name="connsiteY62" fmla="*/ 575897 h 1046508"/>
                  <a:gd name="connsiteX63" fmla="*/ 384326 w 1200744"/>
                  <a:gd name="connsiteY63" fmla="*/ 604396 h 1046508"/>
                  <a:gd name="connsiteX64" fmla="*/ 398804 w 1200744"/>
                  <a:gd name="connsiteY64" fmla="*/ 630221 h 1046508"/>
                  <a:gd name="connsiteX65" fmla="*/ 427304 w 1200744"/>
                  <a:gd name="connsiteY65" fmla="*/ 638245 h 1046508"/>
                  <a:gd name="connsiteX66" fmla="*/ 1104900 w 1200744"/>
                  <a:gd name="connsiteY66" fmla="*/ 557742 h 1046508"/>
                  <a:gd name="connsiteX67" fmla="*/ 1104900 w 1200744"/>
                  <a:gd name="connsiteY67" fmla="*/ 558713 h 1046508"/>
                  <a:gd name="connsiteX68" fmla="*/ 1157491 w 1200744"/>
                  <a:gd name="connsiteY68" fmla="*/ 552464 h 1046508"/>
                  <a:gd name="connsiteX69" fmla="*/ 1200469 w 1200744"/>
                  <a:gd name="connsiteY69" fmla="*/ 586314 h 1046508"/>
                  <a:gd name="connsiteX70" fmla="*/ 1200468 w 1200744"/>
                  <a:gd name="connsiteY70" fmla="*/ 586314 h 1046508"/>
                  <a:gd name="connsiteX71" fmla="*/ 1166618 w 1200744"/>
                  <a:gd name="connsiteY71" fmla="*/ 629292 h 1046508"/>
                  <a:gd name="connsiteX72" fmla="*/ 1104900 w 1200744"/>
                  <a:gd name="connsiteY72" fmla="*/ 636624 h 1046508"/>
                  <a:gd name="connsiteX73" fmla="*/ 1104900 w 1200744"/>
                  <a:gd name="connsiteY73" fmla="*/ 817908 h 1046508"/>
                  <a:gd name="connsiteX74" fmla="*/ 971550 w 1200744"/>
                  <a:gd name="connsiteY74" fmla="*/ 946496 h 1046508"/>
                  <a:gd name="connsiteX75" fmla="*/ 752889 w 1200744"/>
                  <a:gd name="connsiteY75" fmla="*/ 946496 h 1046508"/>
                  <a:gd name="connsiteX76" fmla="*/ 749140 w 1200744"/>
                  <a:gd name="connsiteY76" fmla="*/ 965065 h 1046508"/>
                  <a:gd name="connsiteX77" fmla="*/ 626271 w 1200744"/>
                  <a:gd name="connsiteY77" fmla="*/ 1046508 h 1046508"/>
                  <a:gd name="connsiteX78" fmla="*/ 533770 w 1200744"/>
                  <a:gd name="connsiteY78" fmla="*/ 1046508 h 1046508"/>
                  <a:gd name="connsiteX79" fmla="*/ 410901 w 1200744"/>
                  <a:gd name="connsiteY79" fmla="*/ 965065 h 1046508"/>
                  <a:gd name="connsiteX80" fmla="*/ 407153 w 1200744"/>
                  <a:gd name="connsiteY80" fmla="*/ 946496 h 1046508"/>
                  <a:gd name="connsiteX81" fmla="*/ 190500 w 1200744"/>
                  <a:gd name="connsiteY81" fmla="*/ 946496 h 1046508"/>
                  <a:gd name="connsiteX82" fmla="*/ 59532 w 1200744"/>
                  <a:gd name="connsiteY82" fmla="*/ 825052 h 1046508"/>
                  <a:gd name="connsiteX83" fmla="*/ 59432 w 1200744"/>
                  <a:gd name="connsiteY83" fmla="*/ 710643 h 1046508"/>
                  <a:gd name="connsiteX84" fmla="*/ 48816 w 1200744"/>
                  <a:gd name="connsiteY84" fmla="*/ 710643 h 1046508"/>
                  <a:gd name="connsiteX85" fmla="*/ 14298 w 1200744"/>
                  <a:gd name="connsiteY85" fmla="*/ 696345 h 1046508"/>
                  <a:gd name="connsiteX86" fmla="*/ 0 w 1200744"/>
                  <a:gd name="connsiteY86" fmla="*/ 661828 h 1046508"/>
                  <a:gd name="connsiteX87" fmla="*/ 14298 w 1200744"/>
                  <a:gd name="connsiteY87" fmla="*/ 627310 h 1046508"/>
                  <a:gd name="connsiteX88" fmla="*/ 48816 w 1200744"/>
                  <a:gd name="connsiteY88" fmla="*/ 613012 h 1046508"/>
                  <a:gd name="connsiteX89" fmla="*/ 59346 w 1200744"/>
                  <a:gd name="connsiteY89" fmla="*/ 613012 h 1046508"/>
                  <a:gd name="connsiteX90" fmla="*/ 59247 w 1200744"/>
                  <a:gd name="connsiteY90" fmla="*/ 501147 h 1046508"/>
                  <a:gd name="connsiteX91" fmla="*/ 48816 w 1200744"/>
                  <a:gd name="connsiteY91" fmla="*/ 501147 h 1046508"/>
                  <a:gd name="connsiteX92" fmla="*/ 14298 w 1200744"/>
                  <a:gd name="connsiteY92" fmla="*/ 486849 h 1046508"/>
                  <a:gd name="connsiteX93" fmla="*/ 0 w 1200744"/>
                  <a:gd name="connsiteY93" fmla="*/ 452332 h 1046508"/>
                  <a:gd name="connsiteX94" fmla="*/ 14298 w 1200744"/>
                  <a:gd name="connsiteY94" fmla="*/ 417814 h 1046508"/>
                  <a:gd name="connsiteX95" fmla="*/ 48816 w 1200744"/>
                  <a:gd name="connsiteY95" fmla="*/ 403516 h 1046508"/>
                  <a:gd name="connsiteX96" fmla="*/ 59161 w 1200744"/>
                  <a:gd name="connsiteY96" fmla="*/ 403516 h 1046508"/>
                  <a:gd name="connsiteX97" fmla="*/ 59063 w 1200744"/>
                  <a:gd name="connsiteY97" fmla="*/ 291651 h 1046508"/>
                  <a:gd name="connsiteX98" fmla="*/ 48816 w 1200744"/>
                  <a:gd name="connsiteY98" fmla="*/ 291651 h 1046508"/>
                  <a:gd name="connsiteX99" fmla="*/ 14298 w 1200744"/>
                  <a:gd name="connsiteY99" fmla="*/ 277353 h 1046508"/>
                  <a:gd name="connsiteX100" fmla="*/ 0 w 1200744"/>
                  <a:gd name="connsiteY100" fmla="*/ 242836 h 1046508"/>
                  <a:gd name="connsiteX101" fmla="*/ 14298 w 1200744"/>
                  <a:gd name="connsiteY101" fmla="*/ 208318 h 1046508"/>
                  <a:gd name="connsiteX102" fmla="*/ 48816 w 1200744"/>
                  <a:gd name="connsiteY102" fmla="*/ 194020 h 1046508"/>
                  <a:gd name="connsiteX103" fmla="*/ 58977 w 1200744"/>
                  <a:gd name="connsiteY103" fmla="*/ 194020 h 1046508"/>
                  <a:gd name="connsiteX104" fmla="*/ 58806 w 1200744"/>
                  <a:gd name="connsiteY104"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792956 w 1200744"/>
                  <a:gd name="connsiteY49" fmla="*/ 387635 h 1046508"/>
                  <a:gd name="connsiteX50" fmla="*/ 1157493 w 1200744"/>
                  <a:gd name="connsiteY50" fmla="*/ 347675 h 1046508"/>
                  <a:gd name="connsiteX51" fmla="*/ 1200471 w 1200744"/>
                  <a:gd name="connsiteY51" fmla="*/ 381525 h 1046508"/>
                  <a:gd name="connsiteX52" fmla="*/ 1200470 w 1200744"/>
                  <a:gd name="connsiteY52" fmla="*/ 381526 h 1046508"/>
                  <a:gd name="connsiteX53" fmla="*/ 1166620 w 1200744"/>
                  <a:gd name="connsiteY53" fmla="*/ 424503 h 1046508"/>
                  <a:gd name="connsiteX54" fmla="*/ 883444 w 1200744"/>
                  <a:gd name="connsiteY54" fmla="*/ 458146 h 1046508"/>
                  <a:gd name="connsiteX55" fmla="*/ 883444 w 1200744"/>
                  <a:gd name="connsiteY55" fmla="*/ 506141 h 1046508"/>
                  <a:gd name="connsiteX56" fmla="*/ 792956 w 1200744"/>
                  <a:gd name="connsiteY56" fmla="*/ 516892 h 1046508"/>
                  <a:gd name="connsiteX57" fmla="*/ 792956 w 1200744"/>
                  <a:gd name="connsiteY57" fmla="*/ 468897 h 1046508"/>
                  <a:gd name="connsiteX58" fmla="*/ 688181 w 1200744"/>
                  <a:gd name="connsiteY58" fmla="*/ 481345 h 1046508"/>
                  <a:gd name="connsiteX59" fmla="*/ 688181 w 1200744"/>
                  <a:gd name="connsiteY59" fmla="*/ 529340 h 1046508"/>
                  <a:gd name="connsiteX60" fmla="*/ 418176 w 1200744"/>
                  <a:gd name="connsiteY60" fmla="*/ 561418 h 1046508"/>
                  <a:gd name="connsiteX61" fmla="*/ 392350 w 1200744"/>
                  <a:gd name="connsiteY61" fmla="*/ 575897 h 1046508"/>
                  <a:gd name="connsiteX62" fmla="*/ 384326 w 1200744"/>
                  <a:gd name="connsiteY62" fmla="*/ 604396 h 1046508"/>
                  <a:gd name="connsiteX63" fmla="*/ 398804 w 1200744"/>
                  <a:gd name="connsiteY63" fmla="*/ 630221 h 1046508"/>
                  <a:gd name="connsiteX64" fmla="*/ 427304 w 1200744"/>
                  <a:gd name="connsiteY64" fmla="*/ 638245 h 1046508"/>
                  <a:gd name="connsiteX65" fmla="*/ 1104900 w 1200744"/>
                  <a:gd name="connsiteY65" fmla="*/ 557742 h 1046508"/>
                  <a:gd name="connsiteX66" fmla="*/ 1104900 w 1200744"/>
                  <a:gd name="connsiteY66" fmla="*/ 558713 h 1046508"/>
                  <a:gd name="connsiteX67" fmla="*/ 1157491 w 1200744"/>
                  <a:gd name="connsiteY67" fmla="*/ 552464 h 1046508"/>
                  <a:gd name="connsiteX68" fmla="*/ 1200469 w 1200744"/>
                  <a:gd name="connsiteY68" fmla="*/ 586314 h 1046508"/>
                  <a:gd name="connsiteX69" fmla="*/ 1200468 w 1200744"/>
                  <a:gd name="connsiteY69" fmla="*/ 586314 h 1046508"/>
                  <a:gd name="connsiteX70" fmla="*/ 1166618 w 1200744"/>
                  <a:gd name="connsiteY70" fmla="*/ 629292 h 1046508"/>
                  <a:gd name="connsiteX71" fmla="*/ 1104900 w 1200744"/>
                  <a:gd name="connsiteY71" fmla="*/ 636624 h 1046508"/>
                  <a:gd name="connsiteX72" fmla="*/ 1104900 w 1200744"/>
                  <a:gd name="connsiteY72" fmla="*/ 817908 h 1046508"/>
                  <a:gd name="connsiteX73" fmla="*/ 971550 w 1200744"/>
                  <a:gd name="connsiteY73" fmla="*/ 946496 h 1046508"/>
                  <a:gd name="connsiteX74" fmla="*/ 752889 w 1200744"/>
                  <a:gd name="connsiteY74" fmla="*/ 946496 h 1046508"/>
                  <a:gd name="connsiteX75" fmla="*/ 749140 w 1200744"/>
                  <a:gd name="connsiteY75" fmla="*/ 965065 h 1046508"/>
                  <a:gd name="connsiteX76" fmla="*/ 626271 w 1200744"/>
                  <a:gd name="connsiteY76" fmla="*/ 1046508 h 1046508"/>
                  <a:gd name="connsiteX77" fmla="*/ 533770 w 1200744"/>
                  <a:gd name="connsiteY77" fmla="*/ 1046508 h 1046508"/>
                  <a:gd name="connsiteX78" fmla="*/ 410901 w 1200744"/>
                  <a:gd name="connsiteY78" fmla="*/ 965065 h 1046508"/>
                  <a:gd name="connsiteX79" fmla="*/ 407153 w 1200744"/>
                  <a:gd name="connsiteY79" fmla="*/ 946496 h 1046508"/>
                  <a:gd name="connsiteX80" fmla="*/ 190500 w 1200744"/>
                  <a:gd name="connsiteY80" fmla="*/ 946496 h 1046508"/>
                  <a:gd name="connsiteX81" fmla="*/ 59532 w 1200744"/>
                  <a:gd name="connsiteY81" fmla="*/ 825052 h 1046508"/>
                  <a:gd name="connsiteX82" fmla="*/ 59432 w 1200744"/>
                  <a:gd name="connsiteY82" fmla="*/ 710643 h 1046508"/>
                  <a:gd name="connsiteX83" fmla="*/ 48816 w 1200744"/>
                  <a:gd name="connsiteY83" fmla="*/ 710643 h 1046508"/>
                  <a:gd name="connsiteX84" fmla="*/ 14298 w 1200744"/>
                  <a:gd name="connsiteY84" fmla="*/ 696345 h 1046508"/>
                  <a:gd name="connsiteX85" fmla="*/ 0 w 1200744"/>
                  <a:gd name="connsiteY85" fmla="*/ 661828 h 1046508"/>
                  <a:gd name="connsiteX86" fmla="*/ 14298 w 1200744"/>
                  <a:gd name="connsiteY86" fmla="*/ 627310 h 1046508"/>
                  <a:gd name="connsiteX87" fmla="*/ 48816 w 1200744"/>
                  <a:gd name="connsiteY87" fmla="*/ 613012 h 1046508"/>
                  <a:gd name="connsiteX88" fmla="*/ 59346 w 1200744"/>
                  <a:gd name="connsiteY88" fmla="*/ 613012 h 1046508"/>
                  <a:gd name="connsiteX89" fmla="*/ 59247 w 1200744"/>
                  <a:gd name="connsiteY89" fmla="*/ 501147 h 1046508"/>
                  <a:gd name="connsiteX90" fmla="*/ 48816 w 1200744"/>
                  <a:gd name="connsiteY90" fmla="*/ 501147 h 1046508"/>
                  <a:gd name="connsiteX91" fmla="*/ 14298 w 1200744"/>
                  <a:gd name="connsiteY91" fmla="*/ 486849 h 1046508"/>
                  <a:gd name="connsiteX92" fmla="*/ 0 w 1200744"/>
                  <a:gd name="connsiteY92" fmla="*/ 452332 h 1046508"/>
                  <a:gd name="connsiteX93" fmla="*/ 14298 w 1200744"/>
                  <a:gd name="connsiteY93" fmla="*/ 417814 h 1046508"/>
                  <a:gd name="connsiteX94" fmla="*/ 48816 w 1200744"/>
                  <a:gd name="connsiteY94" fmla="*/ 403516 h 1046508"/>
                  <a:gd name="connsiteX95" fmla="*/ 59161 w 1200744"/>
                  <a:gd name="connsiteY95" fmla="*/ 403516 h 1046508"/>
                  <a:gd name="connsiteX96" fmla="*/ 59063 w 1200744"/>
                  <a:gd name="connsiteY96" fmla="*/ 291651 h 1046508"/>
                  <a:gd name="connsiteX97" fmla="*/ 48816 w 1200744"/>
                  <a:gd name="connsiteY97" fmla="*/ 291651 h 1046508"/>
                  <a:gd name="connsiteX98" fmla="*/ 14298 w 1200744"/>
                  <a:gd name="connsiteY98" fmla="*/ 277353 h 1046508"/>
                  <a:gd name="connsiteX99" fmla="*/ 0 w 1200744"/>
                  <a:gd name="connsiteY99" fmla="*/ 242836 h 1046508"/>
                  <a:gd name="connsiteX100" fmla="*/ 14298 w 1200744"/>
                  <a:gd name="connsiteY100" fmla="*/ 208318 h 1046508"/>
                  <a:gd name="connsiteX101" fmla="*/ 48816 w 1200744"/>
                  <a:gd name="connsiteY101" fmla="*/ 194020 h 1046508"/>
                  <a:gd name="connsiteX102" fmla="*/ 58977 w 1200744"/>
                  <a:gd name="connsiteY102" fmla="*/ 194020 h 1046508"/>
                  <a:gd name="connsiteX103" fmla="*/ 58806 w 1200744"/>
                  <a:gd name="connsiteY103"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1157493 w 1200744"/>
                  <a:gd name="connsiteY49" fmla="*/ 347675 h 1046508"/>
                  <a:gd name="connsiteX50" fmla="*/ 1200471 w 1200744"/>
                  <a:gd name="connsiteY50" fmla="*/ 381525 h 1046508"/>
                  <a:gd name="connsiteX51" fmla="*/ 1200470 w 1200744"/>
                  <a:gd name="connsiteY51" fmla="*/ 381526 h 1046508"/>
                  <a:gd name="connsiteX52" fmla="*/ 1166620 w 1200744"/>
                  <a:gd name="connsiteY52" fmla="*/ 424503 h 1046508"/>
                  <a:gd name="connsiteX53" fmla="*/ 883444 w 1200744"/>
                  <a:gd name="connsiteY53" fmla="*/ 458146 h 1046508"/>
                  <a:gd name="connsiteX54" fmla="*/ 883444 w 1200744"/>
                  <a:gd name="connsiteY54" fmla="*/ 506141 h 1046508"/>
                  <a:gd name="connsiteX55" fmla="*/ 792956 w 1200744"/>
                  <a:gd name="connsiteY55" fmla="*/ 516892 h 1046508"/>
                  <a:gd name="connsiteX56" fmla="*/ 792956 w 1200744"/>
                  <a:gd name="connsiteY56" fmla="*/ 468897 h 1046508"/>
                  <a:gd name="connsiteX57" fmla="*/ 688181 w 1200744"/>
                  <a:gd name="connsiteY57" fmla="*/ 481345 h 1046508"/>
                  <a:gd name="connsiteX58" fmla="*/ 688181 w 1200744"/>
                  <a:gd name="connsiteY58" fmla="*/ 529340 h 1046508"/>
                  <a:gd name="connsiteX59" fmla="*/ 418176 w 1200744"/>
                  <a:gd name="connsiteY59" fmla="*/ 561418 h 1046508"/>
                  <a:gd name="connsiteX60" fmla="*/ 392350 w 1200744"/>
                  <a:gd name="connsiteY60" fmla="*/ 575897 h 1046508"/>
                  <a:gd name="connsiteX61" fmla="*/ 384326 w 1200744"/>
                  <a:gd name="connsiteY61" fmla="*/ 604396 h 1046508"/>
                  <a:gd name="connsiteX62" fmla="*/ 398804 w 1200744"/>
                  <a:gd name="connsiteY62" fmla="*/ 630221 h 1046508"/>
                  <a:gd name="connsiteX63" fmla="*/ 427304 w 1200744"/>
                  <a:gd name="connsiteY63" fmla="*/ 638245 h 1046508"/>
                  <a:gd name="connsiteX64" fmla="*/ 1104900 w 1200744"/>
                  <a:gd name="connsiteY64" fmla="*/ 557742 h 1046508"/>
                  <a:gd name="connsiteX65" fmla="*/ 1104900 w 1200744"/>
                  <a:gd name="connsiteY65" fmla="*/ 558713 h 1046508"/>
                  <a:gd name="connsiteX66" fmla="*/ 1157491 w 1200744"/>
                  <a:gd name="connsiteY66" fmla="*/ 552464 h 1046508"/>
                  <a:gd name="connsiteX67" fmla="*/ 1200469 w 1200744"/>
                  <a:gd name="connsiteY67" fmla="*/ 586314 h 1046508"/>
                  <a:gd name="connsiteX68" fmla="*/ 1200468 w 1200744"/>
                  <a:gd name="connsiteY68" fmla="*/ 586314 h 1046508"/>
                  <a:gd name="connsiteX69" fmla="*/ 1166618 w 1200744"/>
                  <a:gd name="connsiteY69" fmla="*/ 629292 h 1046508"/>
                  <a:gd name="connsiteX70" fmla="*/ 1104900 w 1200744"/>
                  <a:gd name="connsiteY70" fmla="*/ 636624 h 1046508"/>
                  <a:gd name="connsiteX71" fmla="*/ 1104900 w 1200744"/>
                  <a:gd name="connsiteY71" fmla="*/ 817908 h 1046508"/>
                  <a:gd name="connsiteX72" fmla="*/ 971550 w 1200744"/>
                  <a:gd name="connsiteY72" fmla="*/ 946496 h 1046508"/>
                  <a:gd name="connsiteX73" fmla="*/ 752889 w 1200744"/>
                  <a:gd name="connsiteY73" fmla="*/ 946496 h 1046508"/>
                  <a:gd name="connsiteX74" fmla="*/ 749140 w 1200744"/>
                  <a:gd name="connsiteY74" fmla="*/ 965065 h 1046508"/>
                  <a:gd name="connsiteX75" fmla="*/ 626271 w 1200744"/>
                  <a:gd name="connsiteY75" fmla="*/ 1046508 h 1046508"/>
                  <a:gd name="connsiteX76" fmla="*/ 533770 w 1200744"/>
                  <a:gd name="connsiteY76" fmla="*/ 1046508 h 1046508"/>
                  <a:gd name="connsiteX77" fmla="*/ 410901 w 1200744"/>
                  <a:gd name="connsiteY77" fmla="*/ 965065 h 1046508"/>
                  <a:gd name="connsiteX78" fmla="*/ 407153 w 1200744"/>
                  <a:gd name="connsiteY78" fmla="*/ 946496 h 1046508"/>
                  <a:gd name="connsiteX79" fmla="*/ 190500 w 1200744"/>
                  <a:gd name="connsiteY79" fmla="*/ 946496 h 1046508"/>
                  <a:gd name="connsiteX80" fmla="*/ 59532 w 1200744"/>
                  <a:gd name="connsiteY80" fmla="*/ 825052 h 1046508"/>
                  <a:gd name="connsiteX81" fmla="*/ 59432 w 1200744"/>
                  <a:gd name="connsiteY81" fmla="*/ 710643 h 1046508"/>
                  <a:gd name="connsiteX82" fmla="*/ 48816 w 1200744"/>
                  <a:gd name="connsiteY82" fmla="*/ 710643 h 1046508"/>
                  <a:gd name="connsiteX83" fmla="*/ 14298 w 1200744"/>
                  <a:gd name="connsiteY83" fmla="*/ 696345 h 1046508"/>
                  <a:gd name="connsiteX84" fmla="*/ 0 w 1200744"/>
                  <a:gd name="connsiteY84" fmla="*/ 661828 h 1046508"/>
                  <a:gd name="connsiteX85" fmla="*/ 14298 w 1200744"/>
                  <a:gd name="connsiteY85" fmla="*/ 627310 h 1046508"/>
                  <a:gd name="connsiteX86" fmla="*/ 48816 w 1200744"/>
                  <a:gd name="connsiteY86" fmla="*/ 613012 h 1046508"/>
                  <a:gd name="connsiteX87" fmla="*/ 59346 w 1200744"/>
                  <a:gd name="connsiteY87" fmla="*/ 613012 h 1046508"/>
                  <a:gd name="connsiteX88" fmla="*/ 59247 w 1200744"/>
                  <a:gd name="connsiteY88" fmla="*/ 501147 h 1046508"/>
                  <a:gd name="connsiteX89" fmla="*/ 48816 w 1200744"/>
                  <a:gd name="connsiteY89" fmla="*/ 501147 h 1046508"/>
                  <a:gd name="connsiteX90" fmla="*/ 14298 w 1200744"/>
                  <a:gd name="connsiteY90" fmla="*/ 486849 h 1046508"/>
                  <a:gd name="connsiteX91" fmla="*/ 0 w 1200744"/>
                  <a:gd name="connsiteY91" fmla="*/ 452332 h 1046508"/>
                  <a:gd name="connsiteX92" fmla="*/ 14298 w 1200744"/>
                  <a:gd name="connsiteY92" fmla="*/ 417814 h 1046508"/>
                  <a:gd name="connsiteX93" fmla="*/ 48816 w 1200744"/>
                  <a:gd name="connsiteY93" fmla="*/ 403516 h 1046508"/>
                  <a:gd name="connsiteX94" fmla="*/ 59161 w 1200744"/>
                  <a:gd name="connsiteY94" fmla="*/ 403516 h 1046508"/>
                  <a:gd name="connsiteX95" fmla="*/ 59063 w 1200744"/>
                  <a:gd name="connsiteY95" fmla="*/ 291651 h 1046508"/>
                  <a:gd name="connsiteX96" fmla="*/ 48816 w 1200744"/>
                  <a:gd name="connsiteY96" fmla="*/ 291651 h 1046508"/>
                  <a:gd name="connsiteX97" fmla="*/ 14298 w 1200744"/>
                  <a:gd name="connsiteY97" fmla="*/ 277353 h 1046508"/>
                  <a:gd name="connsiteX98" fmla="*/ 0 w 1200744"/>
                  <a:gd name="connsiteY98" fmla="*/ 242836 h 1046508"/>
                  <a:gd name="connsiteX99" fmla="*/ 14298 w 1200744"/>
                  <a:gd name="connsiteY99" fmla="*/ 208318 h 1046508"/>
                  <a:gd name="connsiteX100" fmla="*/ 48816 w 1200744"/>
                  <a:gd name="connsiteY100" fmla="*/ 194020 h 1046508"/>
                  <a:gd name="connsiteX101" fmla="*/ 58977 w 1200744"/>
                  <a:gd name="connsiteY101" fmla="*/ 194020 h 1046508"/>
                  <a:gd name="connsiteX102" fmla="*/ 58806 w 1200744"/>
                  <a:gd name="connsiteY102"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1157493 w 1200744"/>
                  <a:gd name="connsiteY48" fmla="*/ 347675 h 1046508"/>
                  <a:gd name="connsiteX49" fmla="*/ 1200471 w 1200744"/>
                  <a:gd name="connsiteY49" fmla="*/ 381525 h 1046508"/>
                  <a:gd name="connsiteX50" fmla="*/ 1200470 w 1200744"/>
                  <a:gd name="connsiteY50" fmla="*/ 381526 h 1046508"/>
                  <a:gd name="connsiteX51" fmla="*/ 1166620 w 1200744"/>
                  <a:gd name="connsiteY51" fmla="*/ 424503 h 1046508"/>
                  <a:gd name="connsiteX52" fmla="*/ 883444 w 1200744"/>
                  <a:gd name="connsiteY52" fmla="*/ 458146 h 1046508"/>
                  <a:gd name="connsiteX53" fmla="*/ 883444 w 1200744"/>
                  <a:gd name="connsiteY53" fmla="*/ 506141 h 1046508"/>
                  <a:gd name="connsiteX54" fmla="*/ 792956 w 1200744"/>
                  <a:gd name="connsiteY54" fmla="*/ 516892 h 1046508"/>
                  <a:gd name="connsiteX55" fmla="*/ 792956 w 1200744"/>
                  <a:gd name="connsiteY55" fmla="*/ 468897 h 1046508"/>
                  <a:gd name="connsiteX56" fmla="*/ 688181 w 1200744"/>
                  <a:gd name="connsiteY56" fmla="*/ 481345 h 1046508"/>
                  <a:gd name="connsiteX57" fmla="*/ 688181 w 1200744"/>
                  <a:gd name="connsiteY57" fmla="*/ 529340 h 1046508"/>
                  <a:gd name="connsiteX58" fmla="*/ 418176 w 1200744"/>
                  <a:gd name="connsiteY58" fmla="*/ 561418 h 1046508"/>
                  <a:gd name="connsiteX59" fmla="*/ 392350 w 1200744"/>
                  <a:gd name="connsiteY59" fmla="*/ 575897 h 1046508"/>
                  <a:gd name="connsiteX60" fmla="*/ 384326 w 1200744"/>
                  <a:gd name="connsiteY60" fmla="*/ 604396 h 1046508"/>
                  <a:gd name="connsiteX61" fmla="*/ 398804 w 1200744"/>
                  <a:gd name="connsiteY61" fmla="*/ 630221 h 1046508"/>
                  <a:gd name="connsiteX62" fmla="*/ 427304 w 1200744"/>
                  <a:gd name="connsiteY62" fmla="*/ 638245 h 1046508"/>
                  <a:gd name="connsiteX63" fmla="*/ 1104900 w 1200744"/>
                  <a:gd name="connsiteY63" fmla="*/ 557742 h 1046508"/>
                  <a:gd name="connsiteX64" fmla="*/ 1104900 w 1200744"/>
                  <a:gd name="connsiteY64" fmla="*/ 558713 h 1046508"/>
                  <a:gd name="connsiteX65" fmla="*/ 1157491 w 1200744"/>
                  <a:gd name="connsiteY65" fmla="*/ 552464 h 1046508"/>
                  <a:gd name="connsiteX66" fmla="*/ 1200469 w 1200744"/>
                  <a:gd name="connsiteY66" fmla="*/ 586314 h 1046508"/>
                  <a:gd name="connsiteX67" fmla="*/ 1200468 w 1200744"/>
                  <a:gd name="connsiteY67" fmla="*/ 586314 h 1046508"/>
                  <a:gd name="connsiteX68" fmla="*/ 1166618 w 1200744"/>
                  <a:gd name="connsiteY68" fmla="*/ 629292 h 1046508"/>
                  <a:gd name="connsiteX69" fmla="*/ 1104900 w 1200744"/>
                  <a:gd name="connsiteY69" fmla="*/ 636624 h 1046508"/>
                  <a:gd name="connsiteX70" fmla="*/ 1104900 w 1200744"/>
                  <a:gd name="connsiteY70" fmla="*/ 817908 h 1046508"/>
                  <a:gd name="connsiteX71" fmla="*/ 971550 w 1200744"/>
                  <a:gd name="connsiteY71" fmla="*/ 946496 h 1046508"/>
                  <a:gd name="connsiteX72" fmla="*/ 752889 w 1200744"/>
                  <a:gd name="connsiteY72" fmla="*/ 946496 h 1046508"/>
                  <a:gd name="connsiteX73" fmla="*/ 749140 w 1200744"/>
                  <a:gd name="connsiteY73" fmla="*/ 965065 h 1046508"/>
                  <a:gd name="connsiteX74" fmla="*/ 626271 w 1200744"/>
                  <a:gd name="connsiteY74" fmla="*/ 1046508 h 1046508"/>
                  <a:gd name="connsiteX75" fmla="*/ 533770 w 1200744"/>
                  <a:gd name="connsiteY75" fmla="*/ 1046508 h 1046508"/>
                  <a:gd name="connsiteX76" fmla="*/ 410901 w 1200744"/>
                  <a:gd name="connsiteY76" fmla="*/ 965065 h 1046508"/>
                  <a:gd name="connsiteX77" fmla="*/ 407153 w 1200744"/>
                  <a:gd name="connsiteY77" fmla="*/ 946496 h 1046508"/>
                  <a:gd name="connsiteX78" fmla="*/ 190500 w 1200744"/>
                  <a:gd name="connsiteY78" fmla="*/ 946496 h 1046508"/>
                  <a:gd name="connsiteX79" fmla="*/ 59532 w 1200744"/>
                  <a:gd name="connsiteY79" fmla="*/ 825052 h 1046508"/>
                  <a:gd name="connsiteX80" fmla="*/ 59432 w 1200744"/>
                  <a:gd name="connsiteY80" fmla="*/ 710643 h 1046508"/>
                  <a:gd name="connsiteX81" fmla="*/ 48816 w 1200744"/>
                  <a:gd name="connsiteY81" fmla="*/ 710643 h 1046508"/>
                  <a:gd name="connsiteX82" fmla="*/ 14298 w 1200744"/>
                  <a:gd name="connsiteY82" fmla="*/ 696345 h 1046508"/>
                  <a:gd name="connsiteX83" fmla="*/ 0 w 1200744"/>
                  <a:gd name="connsiteY83" fmla="*/ 661828 h 1046508"/>
                  <a:gd name="connsiteX84" fmla="*/ 14298 w 1200744"/>
                  <a:gd name="connsiteY84" fmla="*/ 627310 h 1046508"/>
                  <a:gd name="connsiteX85" fmla="*/ 48816 w 1200744"/>
                  <a:gd name="connsiteY85" fmla="*/ 613012 h 1046508"/>
                  <a:gd name="connsiteX86" fmla="*/ 59346 w 1200744"/>
                  <a:gd name="connsiteY86" fmla="*/ 613012 h 1046508"/>
                  <a:gd name="connsiteX87" fmla="*/ 59247 w 1200744"/>
                  <a:gd name="connsiteY87" fmla="*/ 501147 h 1046508"/>
                  <a:gd name="connsiteX88" fmla="*/ 48816 w 1200744"/>
                  <a:gd name="connsiteY88" fmla="*/ 501147 h 1046508"/>
                  <a:gd name="connsiteX89" fmla="*/ 14298 w 1200744"/>
                  <a:gd name="connsiteY89" fmla="*/ 486849 h 1046508"/>
                  <a:gd name="connsiteX90" fmla="*/ 0 w 1200744"/>
                  <a:gd name="connsiteY90" fmla="*/ 452332 h 1046508"/>
                  <a:gd name="connsiteX91" fmla="*/ 14298 w 1200744"/>
                  <a:gd name="connsiteY91" fmla="*/ 417814 h 1046508"/>
                  <a:gd name="connsiteX92" fmla="*/ 48816 w 1200744"/>
                  <a:gd name="connsiteY92" fmla="*/ 403516 h 1046508"/>
                  <a:gd name="connsiteX93" fmla="*/ 59161 w 1200744"/>
                  <a:gd name="connsiteY93" fmla="*/ 403516 h 1046508"/>
                  <a:gd name="connsiteX94" fmla="*/ 59063 w 1200744"/>
                  <a:gd name="connsiteY94" fmla="*/ 291651 h 1046508"/>
                  <a:gd name="connsiteX95" fmla="*/ 48816 w 1200744"/>
                  <a:gd name="connsiteY95" fmla="*/ 291651 h 1046508"/>
                  <a:gd name="connsiteX96" fmla="*/ 14298 w 1200744"/>
                  <a:gd name="connsiteY96" fmla="*/ 277353 h 1046508"/>
                  <a:gd name="connsiteX97" fmla="*/ 0 w 1200744"/>
                  <a:gd name="connsiteY97" fmla="*/ 242836 h 1046508"/>
                  <a:gd name="connsiteX98" fmla="*/ 14298 w 1200744"/>
                  <a:gd name="connsiteY98" fmla="*/ 208318 h 1046508"/>
                  <a:gd name="connsiteX99" fmla="*/ 48816 w 1200744"/>
                  <a:gd name="connsiteY99" fmla="*/ 194020 h 1046508"/>
                  <a:gd name="connsiteX100" fmla="*/ 58977 w 1200744"/>
                  <a:gd name="connsiteY100" fmla="*/ 194020 h 1046508"/>
                  <a:gd name="connsiteX101" fmla="*/ 58806 w 1200744"/>
                  <a:gd name="connsiteY101"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1157493 w 1200744"/>
                  <a:gd name="connsiteY47" fmla="*/ 347675 h 1046508"/>
                  <a:gd name="connsiteX48" fmla="*/ 1200471 w 1200744"/>
                  <a:gd name="connsiteY48" fmla="*/ 381525 h 1046508"/>
                  <a:gd name="connsiteX49" fmla="*/ 1200470 w 1200744"/>
                  <a:gd name="connsiteY49" fmla="*/ 381526 h 1046508"/>
                  <a:gd name="connsiteX50" fmla="*/ 1166620 w 1200744"/>
                  <a:gd name="connsiteY50" fmla="*/ 424503 h 1046508"/>
                  <a:gd name="connsiteX51" fmla="*/ 883444 w 1200744"/>
                  <a:gd name="connsiteY51" fmla="*/ 458146 h 1046508"/>
                  <a:gd name="connsiteX52" fmla="*/ 883444 w 1200744"/>
                  <a:gd name="connsiteY52" fmla="*/ 506141 h 1046508"/>
                  <a:gd name="connsiteX53" fmla="*/ 792956 w 1200744"/>
                  <a:gd name="connsiteY53" fmla="*/ 516892 h 1046508"/>
                  <a:gd name="connsiteX54" fmla="*/ 792956 w 1200744"/>
                  <a:gd name="connsiteY54" fmla="*/ 468897 h 1046508"/>
                  <a:gd name="connsiteX55" fmla="*/ 688181 w 1200744"/>
                  <a:gd name="connsiteY55" fmla="*/ 481345 h 1046508"/>
                  <a:gd name="connsiteX56" fmla="*/ 688181 w 1200744"/>
                  <a:gd name="connsiteY56" fmla="*/ 529340 h 1046508"/>
                  <a:gd name="connsiteX57" fmla="*/ 418176 w 1200744"/>
                  <a:gd name="connsiteY57" fmla="*/ 561418 h 1046508"/>
                  <a:gd name="connsiteX58" fmla="*/ 392350 w 1200744"/>
                  <a:gd name="connsiteY58" fmla="*/ 575897 h 1046508"/>
                  <a:gd name="connsiteX59" fmla="*/ 384326 w 1200744"/>
                  <a:gd name="connsiteY59" fmla="*/ 604396 h 1046508"/>
                  <a:gd name="connsiteX60" fmla="*/ 398804 w 1200744"/>
                  <a:gd name="connsiteY60" fmla="*/ 630221 h 1046508"/>
                  <a:gd name="connsiteX61" fmla="*/ 427304 w 1200744"/>
                  <a:gd name="connsiteY61" fmla="*/ 638245 h 1046508"/>
                  <a:gd name="connsiteX62" fmla="*/ 1104900 w 1200744"/>
                  <a:gd name="connsiteY62" fmla="*/ 557742 h 1046508"/>
                  <a:gd name="connsiteX63" fmla="*/ 1104900 w 1200744"/>
                  <a:gd name="connsiteY63" fmla="*/ 558713 h 1046508"/>
                  <a:gd name="connsiteX64" fmla="*/ 1157491 w 1200744"/>
                  <a:gd name="connsiteY64" fmla="*/ 552464 h 1046508"/>
                  <a:gd name="connsiteX65" fmla="*/ 1200469 w 1200744"/>
                  <a:gd name="connsiteY65" fmla="*/ 586314 h 1046508"/>
                  <a:gd name="connsiteX66" fmla="*/ 1200468 w 1200744"/>
                  <a:gd name="connsiteY66" fmla="*/ 586314 h 1046508"/>
                  <a:gd name="connsiteX67" fmla="*/ 1166618 w 1200744"/>
                  <a:gd name="connsiteY67" fmla="*/ 629292 h 1046508"/>
                  <a:gd name="connsiteX68" fmla="*/ 1104900 w 1200744"/>
                  <a:gd name="connsiteY68" fmla="*/ 636624 h 1046508"/>
                  <a:gd name="connsiteX69" fmla="*/ 1104900 w 1200744"/>
                  <a:gd name="connsiteY69" fmla="*/ 817908 h 1046508"/>
                  <a:gd name="connsiteX70" fmla="*/ 971550 w 1200744"/>
                  <a:gd name="connsiteY70" fmla="*/ 946496 h 1046508"/>
                  <a:gd name="connsiteX71" fmla="*/ 752889 w 1200744"/>
                  <a:gd name="connsiteY71" fmla="*/ 946496 h 1046508"/>
                  <a:gd name="connsiteX72" fmla="*/ 749140 w 1200744"/>
                  <a:gd name="connsiteY72" fmla="*/ 965065 h 1046508"/>
                  <a:gd name="connsiteX73" fmla="*/ 626271 w 1200744"/>
                  <a:gd name="connsiteY73" fmla="*/ 1046508 h 1046508"/>
                  <a:gd name="connsiteX74" fmla="*/ 533770 w 1200744"/>
                  <a:gd name="connsiteY74" fmla="*/ 1046508 h 1046508"/>
                  <a:gd name="connsiteX75" fmla="*/ 410901 w 1200744"/>
                  <a:gd name="connsiteY75" fmla="*/ 965065 h 1046508"/>
                  <a:gd name="connsiteX76" fmla="*/ 407153 w 1200744"/>
                  <a:gd name="connsiteY76" fmla="*/ 946496 h 1046508"/>
                  <a:gd name="connsiteX77" fmla="*/ 190500 w 1200744"/>
                  <a:gd name="connsiteY77" fmla="*/ 946496 h 1046508"/>
                  <a:gd name="connsiteX78" fmla="*/ 59532 w 1200744"/>
                  <a:gd name="connsiteY78" fmla="*/ 825052 h 1046508"/>
                  <a:gd name="connsiteX79" fmla="*/ 59432 w 1200744"/>
                  <a:gd name="connsiteY79" fmla="*/ 710643 h 1046508"/>
                  <a:gd name="connsiteX80" fmla="*/ 48816 w 1200744"/>
                  <a:gd name="connsiteY80" fmla="*/ 710643 h 1046508"/>
                  <a:gd name="connsiteX81" fmla="*/ 14298 w 1200744"/>
                  <a:gd name="connsiteY81" fmla="*/ 696345 h 1046508"/>
                  <a:gd name="connsiteX82" fmla="*/ 0 w 1200744"/>
                  <a:gd name="connsiteY82" fmla="*/ 661828 h 1046508"/>
                  <a:gd name="connsiteX83" fmla="*/ 14298 w 1200744"/>
                  <a:gd name="connsiteY83" fmla="*/ 627310 h 1046508"/>
                  <a:gd name="connsiteX84" fmla="*/ 48816 w 1200744"/>
                  <a:gd name="connsiteY84" fmla="*/ 613012 h 1046508"/>
                  <a:gd name="connsiteX85" fmla="*/ 59346 w 1200744"/>
                  <a:gd name="connsiteY85" fmla="*/ 613012 h 1046508"/>
                  <a:gd name="connsiteX86" fmla="*/ 59247 w 1200744"/>
                  <a:gd name="connsiteY86" fmla="*/ 501147 h 1046508"/>
                  <a:gd name="connsiteX87" fmla="*/ 48816 w 1200744"/>
                  <a:gd name="connsiteY87" fmla="*/ 501147 h 1046508"/>
                  <a:gd name="connsiteX88" fmla="*/ 14298 w 1200744"/>
                  <a:gd name="connsiteY88" fmla="*/ 486849 h 1046508"/>
                  <a:gd name="connsiteX89" fmla="*/ 0 w 1200744"/>
                  <a:gd name="connsiteY89" fmla="*/ 452332 h 1046508"/>
                  <a:gd name="connsiteX90" fmla="*/ 14298 w 1200744"/>
                  <a:gd name="connsiteY90" fmla="*/ 417814 h 1046508"/>
                  <a:gd name="connsiteX91" fmla="*/ 48816 w 1200744"/>
                  <a:gd name="connsiteY91" fmla="*/ 403516 h 1046508"/>
                  <a:gd name="connsiteX92" fmla="*/ 59161 w 1200744"/>
                  <a:gd name="connsiteY92" fmla="*/ 403516 h 1046508"/>
                  <a:gd name="connsiteX93" fmla="*/ 59063 w 1200744"/>
                  <a:gd name="connsiteY93" fmla="*/ 291651 h 1046508"/>
                  <a:gd name="connsiteX94" fmla="*/ 48816 w 1200744"/>
                  <a:gd name="connsiteY94" fmla="*/ 291651 h 1046508"/>
                  <a:gd name="connsiteX95" fmla="*/ 14298 w 1200744"/>
                  <a:gd name="connsiteY95" fmla="*/ 277353 h 1046508"/>
                  <a:gd name="connsiteX96" fmla="*/ 0 w 1200744"/>
                  <a:gd name="connsiteY96" fmla="*/ 242836 h 1046508"/>
                  <a:gd name="connsiteX97" fmla="*/ 14298 w 1200744"/>
                  <a:gd name="connsiteY97" fmla="*/ 208318 h 1046508"/>
                  <a:gd name="connsiteX98" fmla="*/ 48816 w 1200744"/>
                  <a:gd name="connsiteY98" fmla="*/ 194020 h 1046508"/>
                  <a:gd name="connsiteX99" fmla="*/ 58977 w 1200744"/>
                  <a:gd name="connsiteY99" fmla="*/ 194020 h 1046508"/>
                  <a:gd name="connsiteX100" fmla="*/ 58806 w 1200744"/>
                  <a:gd name="connsiteY100"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1157493 w 1200744"/>
                  <a:gd name="connsiteY46" fmla="*/ 347675 h 1046508"/>
                  <a:gd name="connsiteX47" fmla="*/ 1200471 w 1200744"/>
                  <a:gd name="connsiteY47" fmla="*/ 381525 h 1046508"/>
                  <a:gd name="connsiteX48" fmla="*/ 1200470 w 1200744"/>
                  <a:gd name="connsiteY48" fmla="*/ 381526 h 1046508"/>
                  <a:gd name="connsiteX49" fmla="*/ 1166620 w 1200744"/>
                  <a:gd name="connsiteY49" fmla="*/ 424503 h 1046508"/>
                  <a:gd name="connsiteX50" fmla="*/ 883444 w 1200744"/>
                  <a:gd name="connsiteY50" fmla="*/ 458146 h 1046508"/>
                  <a:gd name="connsiteX51" fmla="*/ 883444 w 1200744"/>
                  <a:gd name="connsiteY51" fmla="*/ 506141 h 1046508"/>
                  <a:gd name="connsiteX52" fmla="*/ 792956 w 1200744"/>
                  <a:gd name="connsiteY52" fmla="*/ 516892 h 1046508"/>
                  <a:gd name="connsiteX53" fmla="*/ 792956 w 1200744"/>
                  <a:gd name="connsiteY53" fmla="*/ 468897 h 1046508"/>
                  <a:gd name="connsiteX54" fmla="*/ 688181 w 1200744"/>
                  <a:gd name="connsiteY54" fmla="*/ 481345 h 1046508"/>
                  <a:gd name="connsiteX55" fmla="*/ 688181 w 1200744"/>
                  <a:gd name="connsiteY55" fmla="*/ 529340 h 1046508"/>
                  <a:gd name="connsiteX56" fmla="*/ 418176 w 1200744"/>
                  <a:gd name="connsiteY56" fmla="*/ 561418 h 1046508"/>
                  <a:gd name="connsiteX57" fmla="*/ 392350 w 1200744"/>
                  <a:gd name="connsiteY57" fmla="*/ 575897 h 1046508"/>
                  <a:gd name="connsiteX58" fmla="*/ 384326 w 1200744"/>
                  <a:gd name="connsiteY58" fmla="*/ 604396 h 1046508"/>
                  <a:gd name="connsiteX59" fmla="*/ 398804 w 1200744"/>
                  <a:gd name="connsiteY59" fmla="*/ 630221 h 1046508"/>
                  <a:gd name="connsiteX60" fmla="*/ 427304 w 1200744"/>
                  <a:gd name="connsiteY60" fmla="*/ 638245 h 1046508"/>
                  <a:gd name="connsiteX61" fmla="*/ 1104900 w 1200744"/>
                  <a:gd name="connsiteY61" fmla="*/ 557742 h 1046508"/>
                  <a:gd name="connsiteX62" fmla="*/ 1104900 w 1200744"/>
                  <a:gd name="connsiteY62" fmla="*/ 558713 h 1046508"/>
                  <a:gd name="connsiteX63" fmla="*/ 1157491 w 1200744"/>
                  <a:gd name="connsiteY63" fmla="*/ 552464 h 1046508"/>
                  <a:gd name="connsiteX64" fmla="*/ 1200469 w 1200744"/>
                  <a:gd name="connsiteY64" fmla="*/ 586314 h 1046508"/>
                  <a:gd name="connsiteX65" fmla="*/ 1200468 w 1200744"/>
                  <a:gd name="connsiteY65" fmla="*/ 586314 h 1046508"/>
                  <a:gd name="connsiteX66" fmla="*/ 1166618 w 1200744"/>
                  <a:gd name="connsiteY66" fmla="*/ 629292 h 1046508"/>
                  <a:gd name="connsiteX67" fmla="*/ 1104900 w 1200744"/>
                  <a:gd name="connsiteY67" fmla="*/ 636624 h 1046508"/>
                  <a:gd name="connsiteX68" fmla="*/ 1104900 w 1200744"/>
                  <a:gd name="connsiteY68" fmla="*/ 817908 h 1046508"/>
                  <a:gd name="connsiteX69" fmla="*/ 971550 w 1200744"/>
                  <a:gd name="connsiteY69" fmla="*/ 946496 h 1046508"/>
                  <a:gd name="connsiteX70" fmla="*/ 752889 w 1200744"/>
                  <a:gd name="connsiteY70" fmla="*/ 946496 h 1046508"/>
                  <a:gd name="connsiteX71" fmla="*/ 749140 w 1200744"/>
                  <a:gd name="connsiteY71" fmla="*/ 965065 h 1046508"/>
                  <a:gd name="connsiteX72" fmla="*/ 626271 w 1200744"/>
                  <a:gd name="connsiteY72" fmla="*/ 1046508 h 1046508"/>
                  <a:gd name="connsiteX73" fmla="*/ 533770 w 1200744"/>
                  <a:gd name="connsiteY73" fmla="*/ 1046508 h 1046508"/>
                  <a:gd name="connsiteX74" fmla="*/ 410901 w 1200744"/>
                  <a:gd name="connsiteY74" fmla="*/ 965065 h 1046508"/>
                  <a:gd name="connsiteX75" fmla="*/ 407153 w 1200744"/>
                  <a:gd name="connsiteY75" fmla="*/ 946496 h 1046508"/>
                  <a:gd name="connsiteX76" fmla="*/ 190500 w 1200744"/>
                  <a:gd name="connsiteY76" fmla="*/ 946496 h 1046508"/>
                  <a:gd name="connsiteX77" fmla="*/ 59532 w 1200744"/>
                  <a:gd name="connsiteY77" fmla="*/ 825052 h 1046508"/>
                  <a:gd name="connsiteX78" fmla="*/ 59432 w 1200744"/>
                  <a:gd name="connsiteY78" fmla="*/ 710643 h 1046508"/>
                  <a:gd name="connsiteX79" fmla="*/ 48816 w 1200744"/>
                  <a:gd name="connsiteY79" fmla="*/ 710643 h 1046508"/>
                  <a:gd name="connsiteX80" fmla="*/ 14298 w 1200744"/>
                  <a:gd name="connsiteY80" fmla="*/ 696345 h 1046508"/>
                  <a:gd name="connsiteX81" fmla="*/ 0 w 1200744"/>
                  <a:gd name="connsiteY81" fmla="*/ 661828 h 1046508"/>
                  <a:gd name="connsiteX82" fmla="*/ 14298 w 1200744"/>
                  <a:gd name="connsiteY82" fmla="*/ 627310 h 1046508"/>
                  <a:gd name="connsiteX83" fmla="*/ 48816 w 1200744"/>
                  <a:gd name="connsiteY83" fmla="*/ 613012 h 1046508"/>
                  <a:gd name="connsiteX84" fmla="*/ 59346 w 1200744"/>
                  <a:gd name="connsiteY84" fmla="*/ 613012 h 1046508"/>
                  <a:gd name="connsiteX85" fmla="*/ 59247 w 1200744"/>
                  <a:gd name="connsiteY85" fmla="*/ 501147 h 1046508"/>
                  <a:gd name="connsiteX86" fmla="*/ 48816 w 1200744"/>
                  <a:gd name="connsiteY86" fmla="*/ 501147 h 1046508"/>
                  <a:gd name="connsiteX87" fmla="*/ 14298 w 1200744"/>
                  <a:gd name="connsiteY87" fmla="*/ 486849 h 1046508"/>
                  <a:gd name="connsiteX88" fmla="*/ 0 w 1200744"/>
                  <a:gd name="connsiteY88" fmla="*/ 452332 h 1046508"/>
                  <a:gd name="connsiteX89" fmla="*/ 14298 w 1200744"/>
                  <a:gd name="connsiteY89" fmla="*/ 417814 h 1046508"/>
                  <a:gd name="connsiteX90" fmla="*/ 48816 w 1200744"/>
                  <a:gd name="connsiteY90" fmla="*/ 403516 h 1046508"/>
                  <a:gd name="connsiteX91" fmla="*/ 59161 w 1200744"/>
                  <a:gd name="connsiteY91" fmla="*/ 403516 h 1046508"/>
                  <a:gd name="connsiteX92" fmla="*/ 59063 w 1200744"/>
                  <a:gd name="connsiteY92" fmla="*/ 291651 h 1046508"/>
                  <a:gd name="connsiteX93" fmla="*/ 48816 w 1200744"/>
                  <a:gd name="connsiteY93" fmla="*/ 291651 h 1046508"/>
                  <a:gd name="connsiteX94" fmla="*/ 14298 w 1200744"/>
                  <a:gd name="connsiteY94" fmla="*/ 277353 h 1046508"/>
                  <a:gd name="connsiteX95" fmla="*/ 0 w 1200744"/>
                  <a:gd name="connsiteY95" fmla="*/ 242836 h 1046508"/>
                  <a:gd name="connsiteX96" fmla="*/ 14298 w 1200744"/>
                  <a:gd name="connsiteY96" fmla="*/ 208318 h 1046508"/>
                  <a:gd name="connsiteX97" fmla="*/ 48816 w 1200744"/>
                  <a:gd name="connsiteY97" fmla="*/ 194020 h 1046508"/>
                  <a:gd name="connsiteX98" fmla="*/ 58977 w 1200744"/>
                  <a:gd name="connsiteY98" fmla="*/ 194020 h 1046508"/>
                  <a:gd name="connsiteX99" fmla="*/ 58806 w 1200744"/>
                  <a:gd name="connsiteY99"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83444 w 1200744"/>
                  <a:gd name="connsiteY34" fmla="*/ 235459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1157493 w 1200744"/>
                  <a:gd name="connsiteY45" fmla="*/ 347675 h 1046508"/>
                  <a:gd name="connsiteX46" fmla="*/ 1200471 w 1200744"/>
                  <a:gd name="connsiteY46" fmla="*/ 381525 h 1046508"/>
                  <a:gd name="connsiteX47" fmla="*/ 1200470 w 1200744"/>
                  <a:gd name="connsiteY47" fmla="*/ 381526 h 1046508"/>
                  <a:gd name="connsiteX48" fmla="*/ 1166620 w 1200744"/>
                  <a:gd name="connsiteY48" fmla="*/ 424503 h 1046508"/>
                  <a:gd name="connsiteX49" fmla="*/ 883444 w 1200744"/>
                  <a:gd name="connsiteY49" fmla="*/ 458146 h 1046508"/>
                  <a:gd name="connsiteX50" fmla="*/ 883444 w 1200744"/>
                  <a:gd name="connsiteY50" fmla="*/ 506141 h 1046508"/>
                  <a:gd name="connsiteX51" fmla="*/ 792956 w 1200744"/>
                  <a:gd name="connsiteY51" fmla="*/ 516892 h 1046508"/>
                  <a:gd name="connsiteX52" fmla="*/ 792956 w 1200744"/>
                  <a:gd name="connsiteY52" fmla="*/ 468897 h 1046508"/>
                  <a:gd name="connsiteX53" fmla="*/ 688181 w 1200744"/>
                  <a:gd name="connsiteY53" fmla="*/ 481345 h 1046508"/>
                  <a:gd name="connsiteX54" fmla="*/ 688181 w 1200744"/>
                  <a:gd name="connsiteY54" fmla="*/ 529340 h 1046508"/>
                  <a:gd name="connsiteX55" fmla="*/ 418176 w 1200744"/>
                  <a:gd name="connsiteY55" fmla="*/ 561418 h 1046508"/>
                  <a:gd name="connsiteX56" fmla="*/ 392350 w 1200744"/>
                  <a:gd name="connsiteY56" fmla="*/ 575897 h 1046508"/>
                  <a:gd name="connsiteX57" fmla="*/ 384326 w 1200744"/>
                  <a:gd name="connsiteY57" fmla="*/ 604396 h 1046508"/>
                  <a:gd name="connsiteX58" fmla="*/ 398804 w 1200744"/>
                  <a:gd name="connsiteY58" fmla="*/ 630221 h 1046508"/>
                  <a:gd name="connsiteX59" fmla="*/ 427304 w 1200744"/>
                  <a:gd name="connsiteY59" fmla="*/ 638245 h 1046508"/>
                  <a:gd name="connsiteX60" fmla="*/ 1104900 w 1200744"/>
                  <a:gd name="connsiteY60" fmla="*/ 557742 h 1046508"/>
                  <a:gd name="connsiteX61" fmla="*/ 1104900 w 1200744"/>
                  <a:gd name="connsiteY61" fmla="*/ 558713 h 1046508"/>
                  <a:gd name="connsiteX62" fmla="*/ 1157491 w 1200744"/>
                  <a:gd name="connsiteY62" fmla="*/ 552464 h 1046508"/>
                  <a:gd name="connsiteX63" fmla="*/ 1200469 w 1200744"/>
                  <a:gd name="connsiteY63" fmla="*/ 586314 h 1046508"/>
                  <a:gd name="connsiteX64" fmla="*/ 1200468 w 1200744"/>
                  <a:gd name="connsiteY64" fmla="*/ 586314 h 1046508"/>
                  <a:gd name="connsiteX65" fmla="*/ 1166618 w 1200744"/>
                  <a:gd name="connsiteY65" fmla="*/ 629292 h 1046508"/>
                  <a:gd name="connsiteX66" fmla="*/ 1104900 w 1200744"/>
                  <a:gd name="connsiteY66" fmla="*/ 636624 h 1046508"/>
                  <a:gd name="connsiteX67" fmla="*/ 1104900 w 1200744"/>
                  <a:gd name="connsiteY67" fmla="*/ 817908 h 1046508"/>
                  <a:gd name="connsiteX68" fmla="*/ 971550 w 1200744"/>
                  <a:gd name="connsiteY68" fmla="*/ 946496 h 1046508"/>
                  <a:gd name="connsiteX69" fmla="*/ 752889 w 1200744"/>
                  <a:gd name="connsiteY69" fmla="*/ 946496 h 1046508"/>
                  <a:gd name="connsiteX70" fmla="*/ 749140 w 1200744"/>
                  <a:gd name="connsiteY70" fmla="*/ 965065 h 1046508"/>
                  <a:gd name="connsiteX71" fmla="*/ 626271 w 1200744"/>
                  <a:gd name="connsiteY71" fmla="*/ 1046508 h 1046508"/>
                  <a:gd name="connsiteX72" fmla="*/ 533770 w 1200744"/>
                  <a:gd name="connsiteY72" fmla="*/ 1046508 h 1046508"/>
                  <a:gd name="connsiteX73" fmla="*/ 410901 w 1200744"/>
                  <a:gd name="connsiteY73" fmla="*/ 965065 h 1046508"/>
                  <a:gd name="connsiteX74" fmla="*/ 407153 w 1200744"/>
                  <a:gd name="connsiteY74" fmla="*/ 946496 h 1046508"/>
                  <a:gd name="connsiteX75" fmla="*/ 190500 w 1200744"/>
                  <a:gd name="connsiteY75" fmla="*/ 946496 h 1046508"/>
                  <a:gd name="connsiteX76" fmla="*/ 59532 w 1200744"/>
                  <a:gd name="connsiteY76" fmla="*/ 825052 h 1046508"/>
                  <a:gd name="connsiteX77" fmla="*/ 59432 w 1200744"/>
                  <a:gd name="connsiteY77" fmla="*/ 710643 h 1046508"/>
                  <a:gd name="connsiteX78" fmla="*/ 48816 w 1200744"/>
                  <a:gd name="connsiteY78" fmla="*/ 710643 h 1046508"/>
                  <a:gd name="connsiteX79" fmla="*/ 14298 w 1200744"/>
                  <a:gd name="connsiteY79" fmla="*/ 696345 h 1046508"/>
                  <a:gd name="connsiteX80" fmla="*/ 0 w 1200744"/>
                  <a:gd name="connsiteY80" fmla="*/ 661828 h 1046508"/>
                  <a:gd name="connsiteX81" fmla="*/ 14298 w 1200744"/>
                  <a:gd name="connsiteY81" fmla="*/ 627310 h 1046508"/>
                  <a:gd name="connsiteX82" fmla="*/ 48816 w 1200744"/>
                  <a:gd name="connsiteY82" fmla="*/ 613012 h 1046508"/>
                  <a:gd name="connsiteX83" fmla="*/ 59346 w 1200744"/>
                  <a:gd name="connsiteY83" fmla="*/ 613012 h 1046508"/>
                  <a:gd name="connsiteX84" fmla="*/ 59247 w 1200744"/>
                  <a:gd name="connsiteY84" fmla="*/ 501147 h 1046508"/>
                  <a:gd name="connsiteX85" fmla="*/ 48816 w 1200744"/>
                  <a:gd name="connsiteY85" fmla="*/ 501147 h 1046508"/>
                  <a:gd name="connsiteX86" fmla="*/ 14298 w 1200744"/>
                  <a:gd name="connsiteY86" fmla="*/ 486849 h 1046508"/>
                  <a:gd name="connsiteX87" fmla="*/ 0 w 1200744"/>
                  <a:gd name="connsiteY87" fmla="*/ 452332 h 1046508"/>
                  <a:gd name="connsiteX88" fmla="*/ 14298 w 1200744"/>
                  <a:gd name="connsiteY88" fmla="*/ 417814 h 1046508"/>
                  <a:gd name="connsiteX89" fmla="*/ 48816 w 1200744"/>
                  <a:gd name="connsiteY89" fmla="*/ 403516 h 1046508"/>
                  <a:gd name="connsiteX90" fmla="*/ 59161 w 1200744"/>
                  <a:gd name="connsiteY90" fmla="*/ 403516 h 1046508"/>
                  <a:gd name="connsiteX91" fmla="*/ 59063 w 1200744"/>
                  <a:gd name="connsiteY91" fmla="*/ 291651 h 1046508"/>
                  <a:gd name="connsiteX92" fmla="*/ 48816 w 1200744"/>
                  <a:gd name="connsiteY92" fmla="*/ 291651 h 1046508"/>
                  <a:gd name="connsiteX93" fmla="*/ 14298 w 1200744"/>
                  <a:gd name="connsiteY93" fmla="*/ 277353 h 1046508"/>
                  <a:gd name="connsiteX94" fmla="*/ 0 w 1200744"/>
                  <a:gd name="connsiteY94" fmla="*/ 242836 h 1046508"/>
                  <a:gd name="connsiteX95" fmla="*/ 14298 w 1200744"/>
                  <a:gd name="connsiteY95" fmla="*/ 208318 h 1046508"/>
                  <a:gd name="connsiteX96" fmla="*/ 48816 w 1200744"/>
                  <a:gd name="connsiteY96" fmla="*/ 194020 h 1046508"/>
                  <a:gd name="connsiteX97" fmla="*/ 58977 w 1200744"/>
                  <a:gd name="connsiteY97" fmla="*/ 194020 h 1046508"/>
                  <a:gd name="connsiteX98" fmla="*/ 58806 w 1200744"/>
                  <a:gd name="connsiteY98"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78682 w 1200744"/>
                  <a:gd name="connsiteY34" fmla="*/ 240221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1157493 w 1200744"/>
                  <a:gd name="connsiteY45" fmla="*/ 347675 h 1046508"/>
                  <a:gd name="connsiteX46" fmla="*/ 1200471 w 1200744"/>
                  <a:gd name="connsiteY46" fmla="*/ 381525 h 1046508"/>
                  <a:gd name="connsiteX47" fmla="*/ 1200470 w 1200744"/>
                  <a:gd name="connsiteY47" fmla="*/ 381526 h 1046508"/>
                  <a:gd name="connsiteX48" fmla="*/ 1166620 w 1200744"/>
                  <a:gd name="connsiteY48" fmla="*/ 424503 h 1046508"/>
                  <a:gd name="connsiteX49" fmla="*/ 883444 w 1200744"/>
                  <a:gd name="connsiteY49" fmla="*/ 458146 h 1046508"/>
                  <a:gd name="connsiteX50" fmla="*/ 883444 w 1200744"/>
                  <a:gd name="connsiteY50" fmla="*/ 506141 h 1046508"/>
                  <a:gd name="connsiteX51" fmla="*/ 792956 w 1200744"/>
                  <a:gd name="connsiteY51" fmla="*/ 516892 h 1046508"/>
                  <a:gd name="connsiteX52" fmla="*/ 792956 w 1200744"/>
                  <a:gd name="connsiteY52" fmla="*/ 468897 h 1046508"/>
                  <a:gd name="connsiteX53" fmla="*/ 688181 w 1200744"/>
                  <a:gd name="connsiteY53" fmla="*/ 481345 h 1046508"/>
                  <a:gd name="connsiteX54" fmla="*/ 688181 w 1200744"/>
                  <a:gd name="connsiteY54" fmla="*/ 529340 h 1046508"/>
                  <a:gd name="connsiteX55" fmla="*/ 418176 w 1200744"/>
                  <a:gd name="connsiteY55" fmla="*/ 561418 h 1046508"/>
                  <a:gd name="connsiteX56" fmla="*/ 392350 w 1200744"/>
                  <a:gd name="connsiteY56" fmla="*/ 575897 h 1046508"/>
                  <a:gd name="connsiteX57" fmla="*/ 384326 w 1200744"/>
                  <a:gd name="connsiteY57" fmla="*/ 604396 h 1046508"/>
                  <a:gd name="connsiteX58" fmla="*/ 398804 w 1200744"/>
                  <a:gd name="connsiteY58" fmla="*/ 630221 h 1046508"/>
                  <a:gd name="connsiteX59" fmla="*/ 427304 w 1200744"/>
                  <a:gd name="connsiteY59" fmla="*/ 638245 h 1046508"/>
                  <a:gd name="connsiteX60" fmla="*/ 1104900 w 1200744"/>
                  <a:gd name="connsiteY60" fmla="*/ 557742 h 1046508"/>
                  <a:gd name="connsiteX61" fmla="*/ 1104900 w 1200744"/>
                  <a:gd name="connsiteY61" fmla="*/ 558713 h 1046508"/>
                  <a:gd name="connsiteX62" fmla="*/ 1157491 w 1200744"/>
                  <a:gd name="connsiteY62" fmla="*/ 552464 h 1046508"/>
                  <a:gd name="connsiteX63" fmla="*/ 1200469 w 1200744"/>
                  <a:gd name="connsiteY63" fmla="*/ 586314 h 1046508"/>
                  <a:gd name="connsiteX64" fmla="*/ 1200468 w 1200744"/>
                  <a:gd name="connsiteY64" fmla="*/ 586314 h 1046508"/>
                  <a:gd name="connsiteX65" fmla="*/ 1166618 w 1200744"/>
                  <a:gd name="connsiteY65" fmla="*/ 629292 h 1046508"/>
                  <a:gd name="connsiteX66" fmla="*/ 1104900 w 1200744"/>
                  <a:gd name="connsiteY66" fmla="*/ 636624 h 1046508"/>
                  <a:gd name="connsiteX67" fmla="*/ 1104900 w 1200744"/>
                  <a:gd name="connsiteY67" fmla="*/ 817908 h 1046508"/>
                  <a:gd name="connsiteX68" fmla="*/ 971550 w 1200744"/>
                  <a:gd name="connsiteY68" fmla="*/ 946496 h 1046508"/>
                  <a:gd name="connsiteX69" fmla="*/ 752889 w 1200744"/>
                  <a:gd name="connsiteY69" fmla="*/ 946496 h 1046508"/>
                  <a:gd name="connsiteX70" fmla="*/ 749140 w 1200744"/>
                  <a:gd name="connsiteY70" fmla="*/ 965065 h 1046508"/>
                  <a:gd name="connsiteX71" fmla="*/ 626271 w 1200744"/>
                  <a:gd name="connsiteY71" fmla="*/ 1046508 h 1046508"/>
                  <a:gd name="connsiteX72" fmla="*/ 533770 w 1200744"/>
                  <a:gd name="connsiteY72" fmla="*/ 1046508 h 1046508"/>
                  <a:gd name="connsiteX73" fmla="*/ 410901 w 1200744"/>
                  <a:gd name="connsiteY73" fmla="*/ 965065 h 1046508"/>
                  <a:gd name="connsiteX74" fmla="*/ 407153 w 1200744"/>
                  <a:gd name="connsiteY74" fmla="*/ 946496 h 1046508"/>
                  <a:gd name="connsiteX75" fmla="*/ 190500 w 1200744"/>
                  <a:gd name="connsiteY75" fmla="*/ 946496 h 1046508"/>
                  <a:gd name="connsiteX76" fmla="*/ 59532 w 1200744"/>
                  <a:gd name="connsiteY76" fmla="*/ 825052 h 1046508"/>
                  <a:gd name="connsiteX77" fmla="*/ 59432 w 1200744"/>
                  <a:gd name="connsiteY77" fmla="*/ 710643 h 1046508"/>
                  <a:gd name="connsiteX78" fmla="*/ 48816 w 1200744"/>
                  <a:gd name="connsiteY78" fmla="*/ 710643 h 1046508"/>
                  <a:gd name="connsiteX79" fmla="*/ 14298 w 1200744"/>
                  <a:gd name="connsiteY79" fmla="*/ 696345 h 1046508"/>
                  <a:gd name="connsiteX80" fmla="*/ 0 w 1200744"/>
                  <a:gd name="connsiteY80" fmla="*/ 661828 h 1046508"/>
                  <a:gd name="connsiteX81" fmla="*/ 14298 w 1200744"/>
                  <a:gd name="connsiteY81" fmla="*/ 627310 h 1046508"/>
                  <a:gd name="connsiteX82" fmla="*/ 48816 w 1200744"/>
                  <a:gd name="connsiteY82" fmla="*/ 613012 h 1046508"/>
                  <a:gd name="connsiteX83" fmla="*/ 59346 w 1200744"/>
                  <a:gd name="connsiteY83" fmla="*/ 613012 h 1046508"/>
                  <a:gd name="connsiteX84" fmla="*/ 59247 w 1200744"/>
                  <a:gd name="connsiteY84" fmla="*/ 501147 h 1046508"/>
                  <a:gd name="connsiteX85" fmla="*/ 48816 w 1200744"/>
                  <a:gd name="connsiteY85" fmla="*/ 501147 h 1046508"/>
                  <a:gd name="connsiteX86" fmla="*/ 14298 w 1200744"/>
                  <a:gd name="connsiteY86" fmla="*/ 486849 h 1046508"/>
                  <a:gd name="connsiteX87" fmla="*/ 0 w 1200744"/>
                  <a:gd name="connsiteY87" fmla="*/ 452332 h 1046508"/>
                  <a:gd name="connsiteX88" fmla="*/ 14298 w 1200744"/>
                  <a:gd name="connsiteY88" fmla="*/ 417814 h 1046508"/>
                  <a:gd name="connsiteX89" fmla="*/ 48816 w 1200744"/>
                  <a:gd name="connsiteY89" fmla="*/ 403516 h 1046508"/>
                  <a:gd name="connsiteX90" fmla="*/ 59161 w 1200744"/>
                  <a:gd name="connsiteY90" fmla="*/ 403516 h 1046508"/>
                  <a:gd name="connsiteX91" fmla="*/ 59063 w 1200744"/>
                  <a:gd name="connsiteY91" fmla="*/ 291651 h 1046508"/>
                  <a:gd name="connsiteX92" fmla="*/ 48816 w 1200744"/>
                  <a:gd name="connsiteY92" fmla="*/ 291651 h 1046508"/>
                  <a:gd name="connsiteX93" fmla="*/ 14298 w 1200744"/>
                  <a:gd name="connsiteY93" fmla="*/ 277353 h 1046508"/>
                  <a:gd name="connsiteX94" fmla="*/ 0 w 1200744"/>
                  <a:gd name="connsiteY94" fmla="*/ 242836 h 1046508"/>
                  <a:gd name="connsiteX95" fmla="*/ 14298 w 1200744"/>
                  <a:gd name="connsiteY95" fmla="*/ 208318 h 1046508"/>
                  <a:gd name="connsiteX96" fmla="*/ 48816 w 1200744"/>
                  <a:gd name="connsiteY96" fmla="*/ 194020 h 1046508"/>
                  <a:gd name="connsiteX97" fmla="*/ 58977 w 1200744"/>
                  <a:gd name="connsiteY97" fmla="*/ 194020 h 1046508"/>
                  <a:gd name="connsiteX98" fmla="*/ 58806 w 1200744"/>
                  <a:gd name="connsiteY98" fmla="*/ 0 h 1046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200744" h="1046508">
                    <a:moveTo>
                      <a:pt x="269392" y="583922"/>
                    </a:moveTo>
                    <a:cubicBezTo>
                      <a:pt x="247034" y="583922"/>
                      <a:pt x="228910" y="602046"/>
                      <a:pt x="228910" y="624404"/>
                    </a:cubicBezTo>
                    <a:cubicBezTo>
                      <a:pt x="228910" y="646762"/>
                      <a:pt x="247034" y="664886"/>
                      <a:pt x="269392" y="664886"/>
                    </a:cubicBezTo>
                    <a:cubicBezTo>
                      <a:pt x="291750" y="664886"/>
                      <a:pt x="309874" y="646762"/>
                      <a:pt x="309874" y="624404"/>
                    </a:cubicBezTo>
                    <a:cubicBezTo>
                      <a:pt x="309874" y="602046"/>
                      <a:pt x="291750" y="583922"/>
                      <a:pt x="269392" y="583922"/>
                    </a:cubicBezTo>
                    <a:close/>
                    <a:moveTo>
                      <a:pt x="269392" y="373750"/>
                    </a:moveTo>
                    <a:cubicBezTo>
                      <a:pt x="247034" y="373750"/>
                      <a:pt x="228910" y="391874"/>
                      <a:pt x="228910" y="414232"/>
                    </a:cubicBezTo>
                    <a:cubicBezTo>
                      <a:pt x="228910" y="436590"/>
                      <a:pt x="247034" y="454714"/>
                      <a:pt x="269392" y="454714"/>
                    </a:cubicBezTo>
                    <a:cubicBezTo>
                      <a:pt x="291750" y="454714"/>
                      <a:pt x="309874" y="436590"/>
                      <a:pt x="309874" y="414232"/>
                    </a:cubicBezTo>
                    <a:cubicBezTo>
                      <a:pt x="309874" y="391874"/>
                      <a:pt x="291750" y="373750"/>
                      <a:pt x="269392" y="373750"/>
                    </a:cubicBezTo>
                    <a:close/>
                    <a:moveTo>
                      <a:pt x="269392" y="163063"/>
                    </a:moveTo>
                    <a:cubicBezTo>
                      <a:pt x="247034" y="163063"/>
                      <a:pt x="228910" y="181187"/>
                      <a:pt x="228910" y="203545"/>
                    </a:cubicBezTo>
                    <a:cubicBezTo>
                      <a:pt x="228910" y="225903"/>
                      <a:pt x="247034" y="244027"/>
                      <a:pt x="269392" y="244027"/>
                    </a:cubicBezTo>
                    <a:cubicBezTo>
                      <a:pt x="291750" y="244027"/>
                      <a:pt x="309874" y="225903"/>
                      <a:pt x="309874" y="203545"/>
                    </a:cubicBezTo>
                    <a:cubicBezTo>
                      <a:pt x="309874" y="181187"/>
                      <a:pt x="291750" y="163063"/>
                      <a:pt x="269392" y="163063"/>
                    </a:cubicBezTo>
                    <a:close/>
                    <a:moveTo>
                      <a:pt x="797719" y="0"/>
                    </a:moveTo>
                    <a:lnTo>
                      <a:pt x="883444" y="0"/>
                    </a:lnTo>
                    <a:lnTo>
                      <a:pt x="883444" y="79897"/>
                    </a:lnTo>
                    <a:lnTo>
                      <a:pt x="797719" y="90082"/>
                    </a:lnTo>
                    <a:lnTo>
                      <a:pt x="797719" y="0"/>
                    </a:lnTo>
                    <a:close/>
                    <a:moveTo>
                      <a:pt x="58806" y="0"/>
                    </a:moveTo>
                    <a:lnTo>
                      <a:pt x="692944" y="0"/>
                    </a:lnTo>
                    <a:lnTo>
                      <a:pt x="692944" y="102530"/>
                    </a:lnTo>
                    <a:lnTo>
                      <a:pt x="418176" y="135174"/>
                    </a:lnTo>
                    <a:cubicBezTo>
                      <a:pt x="407569" y="136435"/>
                      <a:pt x="398476" y="141875"/>
                      <a:pt x="392350" y="149653"/>
                    </a:cubicBezTo>
                    <a:lnTo>
                      <a:pt x="384326" y="178152"/>
                    </a:lnTo>
                    <a:lnTo>
                      <a:pt x="398804" y="203977"/>
                    </a:lnTo>
                    <a:cubicBezTo>
                      <a:pt x="406582" y="210103"/>
                      <a:pt x="416696" y="213262"/>
                      <a:pt x="427304" y="212001"/>
                    </a:cubicBezTo>
                    <a:lnTo>
                      <a:pt x="1104900" y="131498"/>
                    </a:lnTo>
                    <a:lnTo>
                      <a:pt x="1104900" y="134851"/>
                    </a:lnTo>
                    <a:lnTo>
                      <a:pt x="1157493" y="128603"/>
                    </a:lnTo>
                    <a:cubicBezTo>
                      <a:pt x="1178709" y="126082"/>
                      <a:pt x="1197951" y="141237"/>
                      <a:pt x="1200471" y="162453"/>
                    </a:cubicBezTo>
                    <a:lnTo>
                      <a:pt x="1200470" y="162453"/>
                    </a:lnTo>
                    <a:cubicBezTo>
                      <a:pt x="1202991" y="183669"/>
                      <a:pt x="1187836" y="202910"/>
                      <a:pt x="1166620" y="205431"/>
                    </a:cubicBezTo>
                    <a:lnTo>
                      <a:pt x="878682" y="240221"/>
                    </a:lnTo>
                    <a:lnTo>
                      <a:pt x="883444" y="298972"/>
                    </a:lnTo>
                    <a:lnTo>
                      <a:pt x="792956" y="309723"/>
                    </a:lnTo>
                    <a:lnTo>
                      <a:pt x="792956" y="265459"/>
                    </a:lnTo>
                    <a:lnTo>
                      <a:pt x="688181" y="265459"/>
                    </a:lnTo>
                    <a:lnTo>
                      <a:pt x="688181" y="322171"/>
                    </a:lnTo>
                    <a:lnTo>
                      <a:pt x="418176" y="354249"/>
                    </a:lnTo>
                    <a:cubicBezTo>
                      <a:pt x="407569" y="355510"/>
                      <a:pt x="398476" y="360950"/>
                      <a:pt x="392350" y="368728"/>
                    </a:cubicBezTo>
                    <a:lnTo>
                      <a:pt x="384326" y="397227"/>
                    </a:lnTo>
                    <a:lnTo>
                      <a:pt x="398804" y="423052"/>
                    </a:lnTo>
                    <a:cubicBezTo>
                      <a:pt x="406582" y="429178"/>
                      <a:pt x="416696" y="432337"/>
                      <a:pt x="427304" y="431076"/>
                    </a:cubicBezTo>
                    <a:lnTo>
                      <a:pt x="1157493" y="347675"/>
                    </a:lnTo>
                    <a:cubicBezTo>
                      <a:pt x="1178709" y="345155"/>
                      <a:pt x="1197950" y="360310"/>
                      <a:pt x="1200471" y="381525"/>
                    </a:cubicBezTo>
                    <a:lnTo>
                      <a:pt x="1200470" y="381526"/>
                    </a:lnTo>
                    <a:cubicBezTo>
                      <a:pt x="1202991" y="402741"/>
                      <a:pt x="1187836" y="421983"/>
                      <a:pt x="1166620" y="424503"/>
                    </a:cubicBezTo>
                    <a:lnTo>
                      <a:pt x="883444" y="458146"/>
                    </a:lnTo>
                    <a:lnTo>
                      <a:pt x="883444" y="506141"/>
                    </a:lnTo>
                    <a:lnTo>
                      <a:pt x="792956" y="516892"/>
                    </a:lnTo>
                    <a:lnTo>
                      <a:pt x="792956" y="468897"/>
                    </a:lnTo>
                    <a:lnTo>
                      <a:pt x="688181" y="481345"/>
                    </a:lnTo>
                    <a:lnTo>
                      <a:pt x="688181" y="529340"/>
                    </a:lnTo>
                    <a:lnTo>
                      <a:pt x="418176" y="561418"/>
                    </a:lnTo>
                    <a:cubicBezTo>
                      <a:pt x="407569" y="562679"/>
                      <a:pt x="398476" y="568119"/>
                      <a:pt x="392350" y="575897"/>
                    </a:cubicBezTo>
                    <a:lnTo>
                      <a:pt x="384326" y="604396"/>
                    </a:lnTo>
                    <a:lnTo>
                      <a:pt x="398804" y="630221"/>
                    </a:lnTo>
                    <a:cubicBezTo>
                      <a:pt x="406582" y="636347"/>
                      <a:pt x="416696" y="639506"/>
                      <a:pt x="427304" y="638245"/>
                    </a:cubicBezTo>
                    <a:lnTo>
                      <a:pt x="1104900" y="557742"/>
                    </a:lnTo>
                    <a:lnTo>
                      <a:pt x="1104900" y="558713"/>
                    </a:lnTo>
                    <a:lnTo>
                      <a:pt x="1157491" y="552464"/>
                    </a:lnTo>
                    <a:cubicBezTo>
                      <a:pt x="1178707" y="549944"/>
                      <a:pt x="1197948" y="565099"/>
                      <a:pt x="1200469" y="586314"/>
                    </a:cubicBezTo>
                    <a:lnTo>
                      <a:pt x="1200468" y="586314"/>
                    </a:lnTo>
                    <a:cubicBezTo>
                      <a:pt x="1202989" y="607530"/>
                      <a:pt x="1187834" y="626772"/>
                      <a:pt x="1166618" y="629292"/>
                    </a:cubicBezTo>
                    <a:lnTo>
                      <a:pt x="1104900" y="636624"/>
                    </a:lnTo>
                    <a:lnTo>
                      <a:pt x="1104900" y="817908"/>
                    </a:lnTo>
                    <a:lnTo>
                      <a:pt x="971550" y="946496"/>
                    </a:lnTo>
                    <a:lnTo>
                      <a:pt x="752889" y="946496"/>
                    </a:lnTo>
                    <a:lnTo>
                      <a:pt x="749140" y="965065"/>
                    </a:lnTo>
                    <a:cubicBezTo>
                      <a:pt x="728897" y="1012926"/>
                      <a:pt x="681506" y="1046508"/>
                      <a:pt x="626271" y="1046508"/>
                    </a:cubicBezTo>
                    <a:lnTo>
                      <a:pt x="533770" y="1046508"/>
                    </a:lnTo>
                    <a:cubicBezTo>
                      <a:pt x="478536" y="1046508"/>
                      <a:pt x="431145" y="1012926"/>
                      <a:pt x="410901" y="965065"/>
                    </a:cubicBezTo>
                    <a:lnTo>
                      <a:pt x="407153" y="946496"/>
                    </a:lnTo>
                    <a:lnTo>
                      <a:pt x="190500" y="946496"/>
                    </a:lnTo>
                    <a:lnTo>
                      <a:pt x="59532" y="825052"/>
                    </a:lnTo>
                    <a:cubicBezTo>
                      <a:pt x="59499" y="786916"/>
                      <a:pt x="59465" y="748779"/>
                      <a:pt x="59432" y="710643"/>
                    </a:cubicBezTo>
                    <a:lnTo>
                      <a:pt x="48816" y="710643"/>
                    </a:lnTo>
                    <a:cubicBezTo>
                      <a:pt x="35336" y="710643"/>
                      <a:pt x="23132" y="705179"/>
                      <a:pt x="14298" y="696345"/>
                    </a:cubicBezTo>
                    <a:lnTo>
                      <a:pt x="0" y="661828"/>
                    </a:lnTo>
                    <a:lnTo>
                      <a:pt x="14298" y="627310"/>
                    </a:lnTo>
                    <a:cubicBezTo>
                      <a:pt x="23132" y="618476"/>
                      <a:pt x="35336" y="613012"/>
                      <a:pt x="48816" y="613012"/>
                    </a:cubicBezTo>
                    <a:lnTo>
                      <a:pt x="59346" y="613012"/>
                    </a:lnTo>
                    <a:cubicBezTo>
                      <a:pt x="59313" y="575724"/>
                      <a:pt x="59280" y="538435"/>
                      <a:pt x="59247" y="501147"/>
                    </a:cubicBezTo>
                    <a:lnTo>
                      <a:pt x="48816" y="501147"/>
                    </a:lnTo>
                    <a:cubicBezTo>
                      <a:pt x="35336" y="501147"/>
                      <a:pt x="23132" y="495683"/>
                      <a:pt x="14298" y="486849"/>
                    </a:cubicBezTo>
                    <a:lnTo>
                      <a:pt x="0" y="452332"/>
                    </a:lnTo>
                    <a:lnTo>
                      <a:pt x="14298" y="417814"/>
                    </a:lnTo>
                    <a:cubicBezTo>
                      <a:pt x="23132" y="408980"/>
                      <a:pt x="35336" y="403516"/>
                      <a:pt x="48816" y="403516"/>
                    </a:cubicBezTo>
                    <a:lnTo>
                      <a:pt x="59161" y="403516"/>
                    </a:lnTo>
                    <a:cubicBezTo>
                      <a:pt x="59128" y="366228"/>
                      <a:pt x="59096" y="328939"/>
                      <a:pt x="59063" y="291651"/>
                    </a:cubicBezTo>
                    <a:lnTo>
                      <a:pt x="48816" y="291651"/>
                    </a:lnTo>
                    <a:cubicBezTo>
                      <a:pt x="35336" y="291651"/>
                      <a:pt x="23132" y="286187"/>
                      <a:pt x="14298" y="277353"/>
                    </a:cubicBezTo>
                    <a:lnTo>
                      <a:pt x="0" y="242836"/>
                    </a:lnTo>
                    <a:lnTo>
                      <a:pt x="14298" y="208318"/>
                    </a:lnTo>
                    <a:cubicBezTo>
                      <a:pt x="23132" y="199484"/>
                      <a:pt x="35336" y="194020"/>
                      <a:pt x="48816" y="194020"/>
                    </a:cubicBezTo>
                    <a:lnTo>
                      <a:pt x="58977" y="194020"/>
                    </a:lnTo>
                    <a:lnTo>
                      <a:pt x="58806"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201" name="Freeform 88">
                <a:extLst>
                  <a:ext uri="{FF2B5EF4-FFF2-40B4-BE49-F238E27FC236}">
                    <a16:creationId xmlns:a16="http://schemas.microsoft.com/office/drawing/2014/main" id="{71638FA9-4216-4778-814E-991C7DCA2553}"/>
                  </a:ext>
                </a:extLst>
              </p:cNvPr>
              <p:cNvSpPr/>
              <p:nvPr/>
            </p:nvSpPr>
            <p:spPr>
              <a:xfrm>
                <a:off x="4242295" y="1685754"/>
                <a:ext cx="3701002" cy="3743106"/>
              </a:xfrm>
              <a:custGeom>
                <a:avLst/>
                <a:gdLst>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0346 w 3701002"/>
                  <a:gd name="connsiteY11" fmla="*/ 3114359 h 3743106"/>
                  <a:gd name="connsiteX12" fmla="*/ 2659635 w 3701002"/>
                  <a:gd name="connsiteY12" fmla="*/ 3107286 h 3743106"/>
                  <a:gd name="connsiteX13" fmla="*/ 3122601 w 3701002"/>
                  <a:gd name="connsiteY13" fmla="*/ 2107732 h 3743106"/>
                  <a:gd name="connsiteX14" fmla="*/ 1850392 w 3701002"/>
                  <a:gd name="connsiteY14" fmla="*/ 812383 h 3743106"/>
                  <a:gd name="connsiteX15" fmla="*/ 578183 w 3701002"/>
                  <a:gd name="connsiteY15" fmla="*/ 2107732 h 3743106"/>
                  <a:gd name="connsiteX16" fmla="*/ 950805 w 3701002"/>
                  <a:gd name="connsiteY16" fmla="*/ 3023682 h 3743106"/>
                  <a:gd name="connsiteX17" fmla="*/ 1028685 w 3701002"/>
                  <a:gd name="connsiteY17" fmla="*/ 3095752 h 3743106"/>
                  <a:gd name="connsiteX18" fmla="*/ 1145044 w 3701002"/>
                  <a:gd name="connsiteY18" fmla="*/ 3252006 h 3743106"/>
                  <a:gd name="connsiteX19" fmla="*/ 1289824 w 3701002"/>
                  <a:gd name="connsiteY19" fmla="*/ 3549186 h 3743106"/>
                  <a:gd name="connsiteX20" fmla="*/ 1131709 w 3701002"/>
                  <a:gd name="connsiteY20" fmla="*/ 3739686 h 3743106"/>
                  <a:gd name="connsiteX21" fmla="*/ 881519 w 3701002"/>
                  <a:gd name="connsiteY21" fmla="*/ 3637451 h 3743106"/>
                  <a:gd name="connsiteX22" fmla="*/ 771664 w 3701002"/>
                  <a:gd name="connsiteY22" fmla="*/ 3290106 h 3743106"/>
                  <a:gd name="connsiteX23" fmla="*/ 377329 w 3701002"/>
                  <a:gd name="connsiteY23" fmla="*/ 3103416 h 3743106"/>
                  <a:gd name="connsiteX24" fmla="*/ 344944 w 3701002"/>
                  <a:gd name="connsiteY24" fmla="*/ 2482386 h 3743106"/>
                  <a:gd name="connsiteX25" fmla="*/ 139 w 3701002"/>
                  <a:gd name="connsiteY25" fmla="*/ 1970576 h 3743106"/>
                  <a:gd name="connsiteX26" fmla="*/ 451624 w 3701002"/>
                  <a:gd name="connsiteY26" fmla="*/ 1403521 h 3743106"/>
                  <a:gd name="connsiteX27" fmla="*/ 496709 w 3701002"/>
                  <a:gd name="connsiteY27" fmla="*/ 659301 h 3743106"/>
                  <a:gd name="connsiteX28" fmla="*/ 1199019 w 3701002"/>
                  <a:gd name="connsiteY28" fmla="*/ 517061 h 3743106"/>
                  <a:gd name="connsiteX29" fmla="*/ 1831479 w 3701002"/>
                  <a:gd name="connsiteY29"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028685 w 3701002"/>
                  <a:gd name="connsiteY16" fmla="*/ 3095752 h 3743106"/>
                  <a:gd name="connsiteX17" fmla="*/ 1145044 w 3701002"/>
                  <a:gd name="connsiteY17" fmla="*/ 3252006 h 3743106"/>
                  <a:gd name="connsiteX18" fmla="*/ 1289824 w 3701002"/>
                  <a:gd name="connsiteY18" fmla="*/ 3549186 h 3743106"/>
                  <a:gd name="connsiteX19" fmla="*/ 1131709 w 3701002"/>
                  <a:gd name="connsiteY19" fmla="*/ 3739686 h 3743106"/>
                  <a:gd name="connsiteX20" fmla="*/ 881519 w 3701002"/>
                  <a:gd name="connsiteY20" fmla="*/ 3637451 h 3743106"/>
                  <a:gd name="connsiteX21" fmla="*/ 771664 w 3701002"/>
                  <a:gd name="connsiteY21" fmla="*/ 3290106 h 3743106"/>
                  <a:gd name="connsiteX22" fmla="*/ 377329 w 3701002"/>
                  <a:gd name="connsiteY22" fmla="*/ 3103416 h 3743106"/>
                  <a:gd name="connsiteX23" fmla="*/ 344944 w 3701002"/>
                  <a:gd name="connsiteY23" fmla="*/ 2482386 h 3743106"/>
                  <a:gd name="connsiteX24" fmla="*/ 139 w 3701002"/>
                  <a:gd name="connsiteY24" fmla="*/ 1970576 h 3743106"/>
                  <a:gd name="connsiteX25" fmla="*/ 451624 w 3701002"/>
                  <a:gd name="connsiteY25" fmla="*/ 1403521 h 3743106"/>
                  <a:gd name="connsiteX26" fmla="*/ 496709 w 3701002"/>
                  <a:gd name="connsiteY26" fmla="*/ 659301 h 3743106"/>
                  <a:gd name="connsiteX27" fmla="*/ 1199019 w 3701002"/>
                  <a:gd name="connsiteY27" fmla="*/ 517061 h 3743106"/>
                  <a:gd name="connsiteX28" fmla="*/ 1831479 w 3701002"/>
                  <a:gd name="connsiteY28"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145044 w 3701002"/>
                  <a:gd name="connsiteY16" fmla="*/ 3252006 h 3743106"/>
                  <a:gd name="connsiteX17" fmla="*/ 1289824 w 3701002"/>
                  <a:gd name="connsiteY17" fmla="*/ 3549186 h 3743106"/>
                  <a:gd name="connsiteX18" fmla="*/ 1131709 w 3701002"/>
                  <a:gd name="connsiteY18" fmla="*/ 3739686 h 3743106"/>
                  <a:gd name="connsiteX19" fmla="*/ 881519 w 3701002"/>
                  <a:gd name="connsiteY19" fmla="*/ 3637451 h 3743106"/>
                  <a:gd name="connsiteX20" fmla="*/ 771664 w 3701002"/>
                  <a:gd name="connsiteY20" fmla="*/ 3290106 h 3743106"/>
                  <a:gd name="connsiteX21" fmla="*/ 377329 w 3701002"/>
                  <a:gd name="connsiteY21" fmla="*/ 3103416 h 3743106"/>
                  <a:gd name="connsiteX22" fmla="*/ 344944 w 3701002"/>
                  <a:gd name="connsiteY22" fmla="*/ 2482386 h 3743106"/>
                  <a:gd name="connsiteX23" fmla="*/ 139 w 3701002"/>
                  <a:gd name="connsiteY23" fmla="*/ 1970576 h 3743106"/>
                  <a:gd name="connsiteX24" fmla="*/ 451624 w 3701002"/>
                  <a:gd name="connsiteY24" fmla="*/ 1403521 h 3743106"/>
                  <a:gd name="connsiteX25" fmla="*/ 496709 w 3701002"/>
                  <a:gd name="connsiteY25" fmla="*/ 659301 h 3743106"/>
                  <a:gd name="connsiteX26" fmla="*/ 1199019 w 3701002"/>
                  <a:gd name="connsiteY26" fmla="*/ 517061 h 3743106"/>
                  <a:gd name="connsiteX27" fmla="*/ 1831479 w 3701002"/>
                  <a:gd name="connsiteY27"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145044 w 3701002"/>
                  <a:gd name="connsiteY16" fmla="*/ 3252006 h 3743106"/>
                  <a:gd name="connsiteX17" fmla="*/ 1289824 w 3701002"/>
                  <a:gd name="connsiteY17" fmla="*/ 3549186 h 3743106"/>
                  <a:gd name="connsiteX18" fmla="*/ 1131709 w 3701002"/>
                  <a:gd name="connsiteY18" fmla="*/ 3739686 h 3743106"/>
                  <a:gd name="connsiteX19" fmla="*/ 881519 w 3701002"/>
                  <a:gd name="connsiteY19" fmla="*/ 3637451 h 3743106"/>
                  <a:gd name="connsiteX20" fmla="*/ 771664 w 3701002"/>
                  <a:gd name="connsiteY20" fmla="*/ 3290106 h 3743106"/>
                  <a:gd name="connsiteX21" fmla="*/ 377329 w 3701002"/>
                  <a:gd name="connsiteY21" fmla="*/ 3103416 h 3743106"/>
                  <a:gd name="connsiteX22" fmla="*/ 344944 w 3701002"/>
                  <a:gd name="connsiteY22" fmla="*/ 2482386 h 3743106"/>
                  <a:gd name="connsiteX23" fmla="*/ 139 w 3701002"/>
                  <a:gd name="connsiteY23" fmla="*/ 1970576 h 3743106"/>
                  <a:gd name="connsiteX24" fmla="*/ 451624 w 3701002"/>
                  <a:gd name="connsiteY24" fmla="*/ 1403521 h 3743106"/>
                  <a:gd name="connsiteX25" fmla="*/ 496709 w 3701002"/>
                  <a:gd name="connsiteY25" fmla="*/ 659301 h 3743106"/>
                  <a:gd name="connsiteX26" fmla="*/ 1199019 w 3701002"/>
                  <a:gd name="connsiteY26" fmla="*/ 517061 h 3743106"/>
                  <a:gd name="connsiteX27" fmla="*/ 1831479 w 3701002"/>
                  <a:gd name="connsiteY27" fmla="*/ 171 h 3743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701002" h="3743106">
                    <a:moveTo>
                      <a:pt x="1831479" y="171"/>
                    </a:moveTo>
                    <a:cubicBezTo>
                      <a:pt x="2193958" y="-9460"/>
                      <a:pt x="2228989" y="388262"/>
                      <a:pt x="2478544" y="516426"/>
                    </a:cubicBezTo>
                    <a:cubicBezTo>
                      <a:pt x="2724924" y="638240"/>
                      <a:pt x="3031735" y="420753"/>
                      <a:pt x="3214509" y="673906"/>
                    </a:cubicBezTo>
                    <a:cubicBezTo>
                      <a:pt x="3397283" y="927059"/>
                      <a:pt x="3125874" y="1106394"/>
                      <a:pt x="3270389" y="1425746"/>
                    </a:cubicBezTo>
                    <a:cubicBezTo>
                      <a:pt x="3414904" y="1745098"/>
                      <a:pt x="3685678" y="1679112"/>
                      <a:pt x="3700601" y="1942319"/>
                    </a:cubicBezTo>
                    <a:cubicBezTo>
                      <a:pt x="3712349" y="2221401"/>
                      <a:pt x="3463112" y="2181714"/>
                      <a:pt x="3354844" y="2512866"/>
                    </a:cubicBezTo>
                    <a:cubicBezTo>
                      <a:pt x="3238639" y="2836081"/>
                      <a:pt x="3476765" y="2888309"/>
                      <a:pt x="3320872" y="3113258"/>
                    </a:cubicBezTo>
                    <a:cubicBezTo>
                      <a:pt x="3231655" y="3262007"/>
                      <a:pt x="3076132" y="3153476"/>
                      <a:pt x="2933839" y="3291059"/>
                    </a:cubicBezTo>
                    <a:cubicBezTo>
                      <a:pt x="2791546" y="3428642"/>
                      <a:pt x="2888756" y="3603161"/>
                      <a:pt x="2771914" y="3691109"/>
                    </a:cubicBezTo>
                    <a:cubicBezTo>
                      <a:pt x="2688410" y="3783819"/>
                      <a:pt x="2499817" y="3735717"/>
                      <a:pt x="2440444" y="3640626"/>
                    </a:cubicBezTo>
                    <a:cubicBezTo>
                      <a:pt x="2381071" y="3545535"/>
                      <a:pt x="2441714" y="3442506"/>
                      <a:pt x="2501404" y="3320586"/>
                    </a:cubicBezTo>
                    <a:lnTo>
                      <a:pt x="2659635" y="3107286"/>
                    </a:lnTo>
                    <a:cubicBezTo>
                      <a:pt x="2942380" y="2869700"/>
                      <a:pt x="3122601" y="2510145"/>
                      <a:pt x="3122601" y="2107732"/>
                    </a:cubicBezTo>
                    <a:cubicBezTo>
                      <a:pt x="3122601" y="1392331"/>
                      <a:pt x="2553014" y="812383"/>
                      <a:pt x="1850392" y="812383"/>
                    </a:cubicBezTo>
                    <a:cubicBezTo>
                      <a:pt x="1147770" y="812383"/>
                      <a:pt x="578183" y="1392331"/>
                      <a:pt x="578183" y="2107732"/>
                    </a:cubicBezTo>
                    <a:cubicBezTo>
                      <a:pt x="578183" y="2465433"/>
                      <a:pt x="720580" y="2789270"/>
                      <a:pt x="950805" y="3023682"/>
                    </a:cubicBezTo>
                    <a:cubicBezTo>
                      <a:pt x="1039364" y="3104553"/>
                      <a:pt x="1080298" y="3175898"/>
                      <a:pt x="1145044" y="3252006"/>
                    </a:cubicBezTo>
                    <a:cubicBezTo>
                      <a:pt x="1213624" y="3361226"/>
                      <a:pt x="1292047" y="3467906"/>
                      <a:pt x="1289824" y="3549186"/>
                    </a:cubicBezTo>
                    <a:cubicBezTo>
                      <a:pt x="1287602" y="3630466"/>
                      <a:pt x="1199760" y="3724975"/>
                      <a:pt x="1131709" y="3739686"/>
                    </a:cubicBezTo>
                    <a:cubicBezTo>
                      <a:pt x="1063658" y="3754397"/>
                      <a:pt x="935176" y="3721906"/>
                      <a:pt x="881519" y="3637451"/>
                    </a:cubicBezTo>
                    <a:cubicBezTo>
                      <a:pt x="827862" y="3552996"/>
                      <a:pt x="922371" y="3429912"/>
                      <a:pt x="771664" y="3290106"/>
                    </a:cubicBezTo>
                    <a:cubicBezTo>
                      <a:pt x="620957" y="3150300"/>
                      <a:pt x="489724" y="3259626"/>
                      <a:pt x="377329" y="3103416"/>
                    </a:cubicBezTo>
                    <a:cubicBezTo>
                      <a:pt x="245884" y="2847193"/>
                      <a:pt x="472103" y="2764062"/>
                      <a:pt x="344944" y="2482386"/>
                    </a:cubicBezTo>
                    <a:cubicBezTo>
                      <a:pt x="189211" y="2141178"/>
                      <a:pt x="8552" y="2246432"/>
                      <a:pt x="139" y="1970576"/>
                    </a:cubicBezTo>
                    <a:cubicBezTo>
                      <a:pt x="-7481" y="1701865"/>
                      <a:pt x="299012" y="1730017"/>
                      <a:pt x="451624" y="1403521"/>
                    </a:cubicBezTo>
                    <a:cubicBezTo>
                      <a:pt x="528036" y="943675"/>
                      <a:pt x="318168" y="908644"/>
                      <a:pt x="496709" y="659301"/>
                    </a:cubicBezTo>
                    <a:cubicBezTo>
                      <a:pt x="675250" y="409958"/>
                      <a:pt x="956978" y="650728"/>
                      <a:pt x="1199019" y="517061"/>
                    </a:cubicBezTo>
                    <a:cubicBezTo>
                      <a:pt x="1485510" y="418319"/>
                      <a:pt x="1469000" y="9802"/>
                      <a:pt x="1831479" y="171"/>
                    </a:cubicBez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grpSp>
      </p:grpSp>
    </p:spTree>
    <p:extLst>
      <p:ext uri="{BB962C8B-B14F-4D97-AF65-F5344CB8AC3E}">
        <p14:creationId xmlns:p14="http://schemas.microsoft.com/office/powerpoint/2010/main" val="346603860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273122" y="3935621"/>
            <a:ext cx="5413179" cy="902234"/>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white"/>
              </a:solidFill>
              <a:effectLst/>
              <a:uLnTx/>
              <a:uFillTx/>
              <a:latin typeface="+mj-lt"/>
              <a:ea typeface="+mn-ea"/>
              <a:cs typeface="+mn-cs"/>
            </a:endParaRPr>
          </a:p>
        </p:txBody>
      </p:sp>
      <p:cxnSp>
        <p:nvCxnSpPr>
          <p:cNvPr id="4" name="Straight Connector 3"/>
          <p:cNvCxnSpPr/>
          <p:nvPr/>
        </p:nvCxnSpPr>
        <p:spPr>
          <a:xfrm>
            <a:off x="6082488" y="2050697"/>
            <a:ext cx="0" cy="3607272"/>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5FAE8C00-A2DA-4B9A-9B23-A22B63D5FD1A}"/>
              </a:ext>
            </a:extLst>
          </p:cNvPr>
          <p:cNvSpPr>
            <a:spLocks noGrp="1"/>
          </p:cNvSpPr>
          <p:nvPr>
            <p:ph type="title"/>
          </p:nvPr>
        </p:nvSpPr>
        <p:spPr/>
        <p:txBody>
          <a:bodyPr/>
          <a:lstStyle/>
          <a:p>
            <a:r>
              <a:rPr lang="en-US" sz="2400"/>
              <a:t>Modernization of Legacy Print Policy System @ NY based Mutual Insurer</a:t>
            </a:r>
            <a:endParaRPr lang="en-GB"/>
          </a:p>
        </p:txBody>
      </p:sp>
      <p:sp>
        <p:nvSpPr>
          <p:cNvPr id="20" name="Rectangle 19"/>
          <p:cNvSpPr/>
          <p:nvPr/>
        </p:nvSpPr>
        <p:spPr>
          <a:xfrm>
            <a:off x="0" y="1020611"/>
            <a:ext cx="12191999" cy="458772"/>
          </a:xfrm>
          <a:prstGeom prst="rect">
            <a:avLst/>
          </a:prstGeom>
          <a:solidFill>
            <a:srgbClr val="0070C0"/>
          </a:solidFill>
          <a:ln>
            <a:noFill/>
            <a:headEnd type="none" w="med" len="med"/>
            <a:tailEnd type="none" w="med" len="med"/>
          </a:ln>
          <a:effectLst/>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274320" tIns="91440" rIns="91440" bIns="91440" numCol="1" spcCol="0" rtlCol="0" fromWordArt="0" anchor="ctr" anchorCtr="0" forceAA="0" compatLnSpc="1">
            <a:prstTxWarp prst="textNoShape">
              <a:avLst/>
            </a:prstTxWarp>
            <a:noAutofit/>
          </a:bodyPr>
          <a:lstStyle/>
          <a:p>
            <a:pPr marL="0" lvl="2" algn="ctr"/>
            <a:r>
              <a:rPr lang="en-US" sz="2000" b="1" kern="0">
                <a:solidFill>
                  <a:prstClr val="white"/>
                </a:solidFill>
                <a:latin typeface="+mj-lt"/>
              </a:rPr>
              <a:t>Automated Re-architecture – Leveraging Exit Legacy</a:t>
            </a:r>
          </a:p>
        </p:txBody>
      </p:sp>
      <p:sp>
        <p:nvSpPr>
          <p:cNvPr id="21" name="Rectangle 20"/>
          <p:cNvSpPr/>
          <p:nvPr/>
        </p:nvSpPr>
        <p:spPr>
          <a:xfrm>
            <a:off x="50812" y="5043804"/>
            <a:ext cx="1722161" cy="523220"/>
          </a:xfrm>
          <a:prstGeom prst="rect">
            <a:avLst/>
          </a:prstGeom>
        </p:spPr>
        <p:txBody>
          <a:bodyPr wrap="square">
            <a:sp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prstClr val="black"/>
                </a:solidFill>
                <a:effectLst/>
                <a:uLnTx/>
                <a:uFillTx/>
                <a:latin typeface="+mj-lt"/>
                <a:ea typeface="+mn-ea"/>
                <a:cs typeface="Segoe UI Semilight" panose="020B0402040204020203" pitchFamily="34" charset="0"/>
              </a:rPr>
              <a:t>Automated Conversion</a:t>
            </a:r>
          </a:p>
        </p:txBody>
      </p:sp>
      <p:sp>
        <p:nvSpPr>
          <p:cNvPr id="22" name="TextBox 21"/>
          <p:cNvSpPr txBox="1"/>
          <p:nvPr/>
        </p:nvSpPr>
        <p:spPr>
          <a:xfrm>
            <a:off x="452622" y="3767774"/>
            <a:ext cx="2435282" cy="400110"/>
          </a:xfrm>
          <a:prstGeom prst="rect">
            <a:avLst/>
          </a:prstGeom>
          <a:solidFill>
            <a:schemeClr val="bg1"/>
          </a:solidFill>
        </p:spPr>
        <p:txBody>
          <a:bodyPr wrap="none" rtlCol="0">
            <a:spAutoFit/>
          </a:bodyPr>
          <a:lstStyle>
            <a:defPPr>
              <a:defRPr lang="en-US"/>
            </a:defPPr>
            <a:lvl1pPr defTabSz="914377" fontAlgn="base">
              <a:spcBef>
                <a:spcPct val="0"/>
              </a:spcBef>
              <a:spcAft>
                <a:spcPct val="0"/>
              </a:spcAft>
              <a:defRPr sz="2000" b="1" kern="0">
                <a:solidFill>
                  <a:schemeClr val="accent1"/>
                </a:solidFill>
                <a:cs typeface="Arial" charset="0"/>
              </a:defRPr>
            </a:lvl1pPr>
          </a:lstStyle>
          <a:p>
            <a:pPr lvl="0">
              <a:defRPr/>
            </a:pPr>
            <a:r>
              <a:rPr lang="en-US">
                <a:solidFill>
                  <a:srgbClr val="0066A1"/>
                </a:solidFill>
                <a:latin typeface="+mj-lt"/>
              </a:rPr>
              <a:t>Benefits Delivered</a:t>
            </a:r>
            <a:endParaRPr kumimoji="0" lang="en-US" sz="2000" b="1" i="0" u="none" strike="noStrike" kern="0" cap="none" spc="0" normalizeH="0" baseline="0" noProof="0">
              <a:ln>
                <a:noFill/>
              </a:ln>
              <a:solidFill>
                <a:srgbClr val="0066A1"/>
              </a:solidFill>
              <a:effectLst/>
              <a:uLnTx/>
              <a:uFillTx/>
              <a:latin typeface="+mj-lt"/>
              <a:ea typeface="+mn-ea"/>
              <a:cs typeface="Arial" charset="0"/>
            </a:endParaRPr>
          </a:p>
        </p:txBody>
      </p:sp>
      <p:sp>
        <p:nvSpPr>
          <p:cNvPr id="23" name="TextBox 22"/>
          <p:cNvSpPr txBox="1"/>
          <p:nvPr/>
        </p:nvSpPr>
        <p:spPr>
          <a:xfrm>
            <a:off x="8388939" y="1581494"/>
            <a:ext cx="1192955" cy="400110"/>
          </a:xfrm>
          <a:prstGeom prst="rect">
            <a:avLst/>
          </a:prstGeom>
          <a:noFill/>
        </p:spPr>
        <p:txBody>
          <a:bodyPr wrap="none" rtlCol="0">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a:ln>
                  <a:noFill/>
                </a:ln>
                <a:solidFill>
                  <a:srgbClr val="A626AA"/>
                </a:solidFill>
                <a:effectLst/>
                <a:uLnTx/>
                <a:uFillTx/>
                <a:latin typeface="+mj-lt"/>
                <a:ea typeface="+mn-ea"/>
                <a:cs typeface="Arial" charset="0"/>
              </a:rPr>
              <a:t>Solution</a:t>
            </a:r>
          </a:p>
        </p:txBody>
      </p:sp>
      <p:sp>
        <p:nvSpPr>
          <p:cNvPr id="24" name="Rectangle 23"/>
          <p:cNvSpPr/>
          <p:nvPr/>
        </p:nvSpPr>
        <p:spPr bwMode="auto">
          <a:xfrm>
            <a:off x="351850" y="1718052"/>
            <a:ext cx="5368332" cy="1800570"/>
          </a:xfrm>
          <a:prstGeom prst="rect">
            <a:avLst/>
          </a:prstGeom>
          <a:noFill/>
          <a:ln>
            <a:noFill/>
            <a:headEnd type="none" w="med" len="med"/>
            <a:tailEnd type="none" w="med" len="med"/>
          </a:ln>
          <a:effectLst/>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225425" indent="-225425" defTabSz="932123" fontAlgn="base">
              <a:spcBef>
                <a:spcPts val="600"/>
              </a:spcBef>
              <a:spcAft>
                <a:spcPts val="600"/>
              </a:spcAft>
              <a:buClr>
                <a:srgbClr val="0066A1"/>
              </a:buClr>
              <a:buSzPct val="80000"/>
              <a:buFont typeface="Lucida Sans Unicode" panose="020B0602030504020204" pitchFamily="34" charset="0"/>
              <a:buChar char="▶"/>
              <a:defRPr/>
            </a:pPr>
            <a:r>
              <a:rPr lang="en-US" sz="1400" kern="0">
                <a:solidFill>
                  <a:prstClr val="black"/>
                </a:solidFill>
                <a:cs typeface="Arial" panose="020B0604020202020204" pitchFamily="34" charset="0"/>
              </a:rPr>
              <a:t>Digitization of Policies, Electronic Delivery of Policy booklets</a:t>
            </a:r>
          </a:p>
          <a:p>
            <a:pPr marL="225425" indent="-225425" defTabSz="932123" fontAlgn="base">
              <a:spcBef>
                <a:spcPts val="600"/>
              </a:spcBef>
              <a:spcAft>
                <a:spcPts val="600"/>
              </a:spcAft>
              <a:buClr>
                <a:srgbClr val="0066A1"/>
              </a:buClr>
              <a:buSzPct val="80000"/>
              <a:buFont typeface="Lucida Sans Unicode" panose="020B0602030504020204" pitchFamily="34" charset="0"/>
              <a:buChar char="▶"/>
              <a:defRPr/>
            </a:pPr>
            <a:r>
              <a:rPr lang="en-US" sz="1400" kern="0">
                <a:solidFill>
                  <a:prstClr val="black"/>
                </a:solidFill>
                <a:cs typeface="Arial" panose="020B0604020202020204" pitchFamily="34" charset="0"/>
              </a:rPr>
              <a:t>~1 Million LOC Mainframe Monolithic Cobol code and 55,000 forms to be migrated </a:t>
            </a:r>
          </a:p>
          <a:p>
            <a:pPr marL="225425" indent="-225425" defTabSz="932123" fontAlgn="base">
              <a:spcBef>
                <a:spcPts val="600"/>
              </a:spcBef>
              <a:spcAft>
                <a:spcPts val="600"/>
              </a:spcAft>
              <a:buClr>
                <a:srgbClr val="0066A1"/>
              </a:buClr>
              <a:buSzPct val="80000"/>
              <a:buFont typeface="Lucida Sans Unicode" panose="020B0602030504020204" pitchFamily="34" charset="0"/>
              <a:buChar char="▶"/>
              <a:defRPr/>
            </a:pPr>
            <a:r>
              <a:rPr lang="en-US" sz="1400" kern="0">
                <a:solidFill>
                  <a:prstClr val="black"/>
                </a:solidFill>
                <a:cs typeface="Arial" panose="020B0604020202020204" pitchFamily="34" charset="0"/>
              </a:rPr>
              <a:t>End of life transition from </a:t>
            </a:r>
            <a:r>
              <a:rPr lang="en-US" sz="1400" kern="0" err="1">
                <a:solidFill>
                  <a:prstClr val="black"/>
                </a:solidFill>
                <a:cs typeface="Arial" panose="020B0604020202020204" pitchFamily="34" charset="0"/>
              </a:rPr>
              <a:t>DocuMerge</a:t>
            </a:r>
            <a:r>
              <a:rPr lang="en-US" sz="1400" kern="0">
                <a:solidFill>
                  <a:prstClr val="black"/>
                </a:solidFill>
                <a:cs typeface="Arial" panose="020B0604020202020204" pitchFamily="34" charset="0"/>
              </a:rPr>
              <a:t> to </a:t>
            </a:r>
            <a:r>
              <a:rPr lang="en-US" sz="1400" kern="0" err="1">
                <a:solidFill>
                  <a:prstClr val="black"/>
                </a:solidFill>
                <a:cs typeface="Arial" panose="020B0604020202020204" pitchFamily="34" charset="0"/>
              </a:rPr>
              <a:t>Extream</a:t>
            </a:r>
            <a:r>
              <a:rPr lang="en-US" sz="1400" kern="0">
                <a:solidFill>
                  <a:prstClr val="black"/>
                </a:solidFill>
                <a:cs typeface="Arial" panose="020B0604020202020204" pitchFamily="34" charset="0"/>
              </a:rPr>
              <a:t> </a:t>
            </a:r>
          </a:p>
        </p:txBody>
      </p:sp>
      <p:sp>
        <p:nvSpPr>
          <p:cNvPr id="26" name="Rectangle 25"/>
          <p:cNvSpPr/>
          <p:nvPr/>
        </p:nvSpPr>
        <p:spPr bwMode="auto">
          <a:xfrm>
            <a:off x="6400552" y="2040400"/>
            <a:ext cx="5341440" cy="457200"/>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123" fontAlgn="base">
              <a:spcBef>
                <a:spcPct val="0"/>
              </a:spcBef>
              <a:spcAft>
                <a:spcPct val="0"/>
              </a:spcAft>
              <a:defRPr/>
            </a:pPr>
            <a:r>
              <a:rPr lang="en-US" sz="1400" kern="0">
                <a:solidFill>
                  <a:prstClr val="black"/>
                </a:solidFill>
                <a:cs typeface="Arial" panose="020B0604020202020204" pitchFamily="34" charset="0"/>
              </a:rPr>
              <a:t>Automated re-architecture to Java using Atos Syntel’s Exit Legacy toolkit</a:t>
            </a:r>
          </a:p>
        </p:txBody>
      </p:sp>
      <p:sp>
        <p:nvSpPr>
          <p:cNvPr id="29" name="Rectangle 28"/>
          <p:cNvSpPr/>
          <p:nvPr/>
        </p:nvSpPr>
        <p:spPr bwMode="auto">
          <a:xfrm>
            <a:off x="6400552" y="3994276"/>
            <a:ext cx="5341440" cy="457200"/>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932123" fontAlgn="base">
              <a:spcBef>
                <a:spcPct val="0"/>
              </a:spcBef>
              <a:spcAft>
                <a:spcPct val="0"/>
              </a:spcAft>
              <a:defRPr/>
            </a:pPr>
            <a:endParaRPr lang="en-US" sz="1400" kern="0">
              <a:solidFill>
                <a:prstClr val="black"/>
              </a:solidFill>
              <a:latin typeface="+mj-lt"/>
              <a:cs typeface="Arial" panose="020B0604020202020204" pitchFamily="34" charset="0"/>
            </a:endParaRPr>
          </a:p>
          <a:p>
            <a:pPr defTabSz="932123" fontAlgn="base">
              <a:spcBef>
                <a:spcPct val="0"/>
              </a:spcBef>
              <a:spcAft>
                <a:spcPct val="0"/>
              </a:spcAft>
              <a:defRPr/>
            </a:pPr>
            <a:r>
              <a:rPr lang="en-US" sz="1400" kern="0">
                <a:solidFill>
                  <a:prstClr val="black"/>
                </a:solidFill>
                <a:cs typeface="Arial" panose="020B0604020202020204" pitchFamily="34" charset="0"/>
              </a:rPr>
              <a:t>Automated comparison of policy packages and enabled e-delivery channels leading to reduced delivery time and improved performance</a:t>
            </a:r>
          </a:p>
        </p:txBody>
      </p:sp>
      <p:sp>
        <p:nvSpPr>
          <p:cNvPr id="32" name="Rectangle 31"/>
          <p:cNvSpPr/>
          <p:nvPr/>
        </p:nvSpPr>
        <p:spPr bwMode="auto">
          <a:xfrm>
            <a:off x="6372431" y="5236390"/>
            <a:ext cx="5367213" cy="457200"/>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123" fontAlgn="base">
              <a:spcBef>
                <a:spcPct val="0"/>
              </a:spcBef>
              <a:spcAft>
                <a:spcPct val="0"/>
              </a:spcAft>
              <a:defRPr/>
            </a:pPr>
            <a:r>
              <a:rPr lang="en-US" sz="1400" kern="0">
                <a:solidFill>
                  <a:prstClr val="black"/>
                </a:solidFill>
                <a:cs typeface="Arial" panose="020B0604020202020204" pitchFamily="34" charset="0"/>
              </a:rPr>
              <a:t>Faster Implemented  -  Completed in  10 months – Less than half the estimated time of manual rewrite</a:t>
            </a:r>
          </a:p>
        </p:txBody>
      </p:sp>
      <p:grpSp>
        <p:nvGrpSpPr>
          <p:cNvPr id="7" name="Group 6"/>
          <p:cNvGrpSpPr/>
          <p:nvPr/>
        </p:nvGrpSpPr>
        <p:grpSpPr>
          <a:xfrm>
            <a:off x="5842516" y="2052938"/>
            <a:ext cx="474070" cy="474070"/>
            <a:chOff x="6447430" y="2675492"/>
            <a:chExt cx="474070" cy="474070"/>
          </a:xfrm>
        </p:grpSpPr>
        <p:sp>
          <p:nvSpPr>
            <p:cNvPr id="6" name="Oval 5"/>
            <p:cNvSpPr/>
            <p:nvPr/>
          </p:nvSpPr>
          <p:spPr>
            <a:xfrm>
              <a:off x="6447430" y="2675492"/>
              <a:ext cx="474070" cy="474070"/>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white"/>
                </a:solidFill>
                <a:effectLst/>
                <a:uLnTx/>
                <a:uFillTx/>
                <a:latin typeface="+mj-lt"/>
                <a:ea typeface="+mn-ea"/>
                <a:cs typeface="+mn-cs"/>
              </a:endParaRPr>
            </a:p>
          </p:txBody>
        </p:sp>
        <p:grpSp>
          <p:nvGrpSpPr>
            <p:cNvPr id="28" name="Group 27"/>
            <p:cNvGrpSpPr/>
            <p:nvPr/>
          </p:nvGrpSpPr>
          <p:grpSpPr>
            <a:xfrm>
              <a:off x="6518178" y="2715380"/>
              <a:ext cx="333474" cy="369629"/>
              <a:chOff x="3114466" y="105602"/>
              <a:chExt cx="5971657" cy="6619048"/>
            </a:xfrm>
            <a:solidFill>
              <a:schemeClr val="accent5"/>
            </a:solidFill>
          </p:grpSpPr>
          <p:sp>
            <p:nvSpPr>
              <p:cNvPr id="31" name="Oval 30"/>
              <p:cNvSpPr/>
              <p:nvPr/>
            </p:nvSpPr>
            <p:spPr>
              <a:xfrm>
                <a:off x="5744819" y="745435"/>
                <a:ext cx="695738" cy="695738"/>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34" name="Oval 33"/>
              <p:cNvSpPr/>
              <p:nvPr/>
            </p:nvSpPr>
            <p:spPr>
              <a:xfrm>
                <a:off x="6626711" y="1319213"/>
                <a:ext cx="628234" cy="62823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41" name="Oval 40"/>
              <p:cNvSpPr/>
              <p:nvPr/>
            </p:nvSpPr>
            <p:spPr>
              <a:xfrm>
                <a:off x="4921736" y="1319213"/>
                <a:ext cx="628234" cy="62823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42" name="Oval 41"/>
              <p:cNvSpPr/>
              <p:nvPr/>
            </p:nvSpPr>
            <p:spPr>
              <a:xfrm>
                <a:off x="4140684" y="1766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43" name="Oval 42"/>
              <p:cNvSpPr/>
              <p:nvPr/>
            </p:nvSpPr>
            <p:spPr>
              <a:xfrm>
                <a:off x="7510049" y="1766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44" name="Oval 43"/>
              <p:cNvSpPr/>
              <p:nvPr/>
            </p:nvSpPr>
            <p:spPr>
              <a:xfrm>
                <a:off x="7716285" y="2579410"/>
                <a:ext cx="612706" cy="61270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45" name="Oval 44"/>
              <p:cNvSpPr/>
              <p:nvPr/>
            </p:nvSpPr>
            <p:spPr>
              <a:xfrm>
                <a:off x="3849963" y="2569471"/>
                <a:ext cx="612706" cy="61270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46" name="Oval 45"/>
              <p:cNvSpPr/>
              <p:nvPr/>
            </p:nvSpPr>
            <p:spPr>
              <a:xfrm>
                <a:off x="3740632" y="1416532"/>
                <a:ext cx="394046" cy="39404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47" name="Oval 46"/>
              <p:cNvSpPr/>
              <p:nvPr/>
            </p:nvSpPr>
            <p:spPr>
              <a:xfrm>
                <a:off x="8054215" y="1416532"/>
                <a:ext cx="394046" cy="39404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48" name="Oval 47"/>
              <p:cNvSpPr/>
              <p:nvPr/>
            </p:nvSpPr>
            <p:spPr>
              <a:xfrm>
                <a:off x="5878581" y="105602"/>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49" name="Oval 48"/>
              <p:cNvSpPr/>
              <p:nvPr/>
            </p:nvSpPr>
            <p:spPr>
              <a:xfrm>
                <a:off x="3114466" y="3419473"/>
                <a:ext cx="319296" cy="31929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50" name="Oval 49"/>
              <p:cNvSpPr/>
              <p:nvPr/>
            </p:nvSpPr>
            <p:spPr>
              <a:xfrm>
                <a:off x="3794675" y="5116270"/>
                <a:ext cx="282026" cy="28202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51" name="Oval 50"/>
              <p:cNvSpPr/>
              <p:nvPr/>
            </p:nvSpPr>
            <p:spPr>
              <a:xfrm>
                <a:off x="4640020" y="5060156"/>
                <a:ext cx="342902" cy="3429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52" name="Oval 51"/>
              <p:cNvSpPr/>
              <p:nvPr/>
            </p:nvSpPr>
            <p:spPr>
              <a:xfrm>
                <a:off x="4155592" y="4790040"/>
                <a:ext cx="373546" cy="37354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53" name="Oval 52"/>
              <p:cNvSpPr/>
              <p:nvPr/>
            </p:nvSpPr>
            <p:spPr>
              <a:xfrm>
                <a:off x="3892206" y="4042948"/>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54" name="Oval 53"/>
              <p:cNvSpPr/>
              <p:nvPr/>
            </p:nvSpPr>
            <p:spPr>
              <a:xfrm>
                <a:off x="7758528" y="4052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55" name="Oval 54"/>
              <p:cNvSpPr/>
              <p:nvPr/>
            </p:nvSpPr>
            <p:spPr>
              <a:xfrm>
                <a:off x="3632338" y="3395454"/>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56" name="Oval 55"/>
              <p:cNvSpPr/>
              <p:nvPr/>
            </p:nvSpPr>
            <p:spPr>
              <a:xfrm>
                <a:off x="8122650" y="3395454"/>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57" name="Oval 56"/>
              <p:cNvSpPr/>
              <p:nvPr/>
            </p:nvSpPr>
            <p:spPr>
              <a:xfrm>
                <a:off x="8747366" y="3412330"/>
                <a:ext cx="338757" cy="338757"/>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58" name="Oval 57"/>
              <p:cNvSpPr/>
              <p:nvPr/>
            </p:nvSpPr>
            <p:spPr>
              <a:xfrm>
                <a:off x="7659444" y="4792108"/>
                <a:ext cx="372514" cy="37251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59" name="Oval 58"/>
              <p:cNvSpPr/>
              <p:nvPr/>
            </p:nvSpPr>
            <p:spPr>
              <a:xfrm>
                <a:off x="7208355" y="5062538"/>
                <a:ext cx="341242" cy="34124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60" name="Oval 59"/>
              <p:cNvSpPr/>
              <p:nvPr/>
            </p:nvSpPr>
            <p:spPr>
              <a:xfrm>
                <a:off x="8113230" y="5122069"/>
                <a:ext cx="274566" cy="27456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61" name="Freeform 60"/>
              <p:cNvSpPr/>
              <p:nvPr/>
            </p:nvSpPr>
            <p:spPr>
              <a:xfrm>
                <a:off x="5507831" y="5678142"/>
                <a:ext cx="1200744" cy="1046508"/>
              </a:xfrm>
              <a:custGeom>
                <a:avLst/>
                <a:gdLst>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58806 w 1200744"/>
                  <a:gd name="connsiteY19" fmla="*/ 0 h 1046508"/>
                  <a:gd name="connsiteX20" fmla="*/ 692944 w 1200744"/>
                  <a:gd name="connsiteY20" fmla="*/ 0 h 1046508"/>
                  <a:gd name="connsiteX21" fmla="*/ 692944 w 1200744"/>
                  <a:gd name="connsiteY21" fmla="*/ 102530 h 1046508"/>
                  <a:gd name="connsiteX22" fmla="*/ 418176 w 1200744"/>
                  <a:gd name="connsiteY22" fmla="*/ 135174 h 1046508"/>
                  <a:gd name="connsiteX23" fmla="*/ 392350 w 1200744"/>
                  <a:gd name="connsiteY23" fmla="*/ 149653 h 1046508"/>
                  <a:gd name="connsiteX24" fmla="*/ 384326 w 1200744"/>
                  <a:gd name="connsiteY24" fmla="*/ 178152 h 1046508"/>
                  <a:gd name="connsiteX25" fmla="*/ 398804 w 1200744"/>
                  <a:gd name="connsiteY25" fmla="*/ 203977 h 1046508"/>
                  <a:gd name="connsiteX26" fmla="*/ 427304 w 1200744"/>
                  <a:gd name="connsiteY26" fmla="*/ 212001 h 1046508"/>
                  <a:gd name="connsiteX27" fmla="*/ 1104900 w 1200744"/>
                  <a:gd name="connsiteY27" fmla="*/ 131498 h 1046508"/>
                  <a:gd name="connsiteX28" fmla="*/ 1104900 w 1200744"/>
                  <a:gd name="connsiteY28" fmla="*/ 134851 h 1046508"/>
                  <a:gd name="connsiteX29" fmla="*/ 1157493 w 1200744"/>
                  <a:gd name="connsiteY29" fmla="*/ 128603 h 1046508"/>
                  <a:gd name="connsiteX30" fmla="*/ 1200471 w 1200744"/>
                  <a:gd name="connsiteY30" fmla="*/ 162453 h 1046508"/>
                  <a:gd name="connsiteX31" fmla="*/ 1200470 w 1200744"/>
                  <a:gd name="connsiteY31" fmla="*/ 162453 h 1046508"/>
                  <a:gd name="connsiteX32" fmla="*/ 1166620 w 1200744"/>
                  <a:gd name="connsiteY32" fmla="*/ 205431 h 1046508"/>
                  <a:gd name="connsiteX33" fmla="*/ 892471 w 1200744"/>
                  <a:gd name="connsiteY33" fmla="*/ 238001 h 1046508"/>
                  <a:gd name="connsiteX34" fmla="*/ 883444 w 1200744"/>
                  <a:gd name="connsiteY34" fmla="*/ 235459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688181 w 1200744"/>
                  <a:gd name="connsiteY45" fmla="*/ 400083 h 1046508"/>
                  <a:gd name="connsiteX46" fmla="*/ 688181 w 1200744"/>
                  <a:gd name="connsiteY46" fmla="*/ 403433 h 1046508"/>
                  <a:gd name="connsiteX47" fmla="*/ 792956 w 1200744"/>
                  <a:gd name="connsiteY47" fmla="*/ 390985 h 1046508"/>
                  <a:gd name="connsiteX48" fmla="*/ 792956 w 1200744"/>
                  <a:gd name="connsiteY48" fmla="*/ 387635 h 1046508"/>
                  <a:gd name="connsiteX49" fmla="*/ 883444 w 1200744"/>
                  <a:gd name="connsiteY49" fmla="*/ 376884 h 1046508"/>
                  <a:gd name="connsiteX50" fmla="*/ 883444 w 1200744"/>
                  <a:gd name="connsiteY50" fmla="*/ 380235 h 1046508"/>
                  <a:gd name="connsiteX51" fmla="*/ 1157493 w 1200744"/>
                  <a:gd name="connsiteY51" fmla="*/ 347675 h 1046508"/>
                  <a:gd name="connsiteX52" fmla="*/ 1200471 w 1200744"/>
                  <a:gd name="connsiteY52" fmla="*/ 381525 h 1046508"/>
                  <a:gd name="connsiteX53" fmla="*/ 1200470 w 1200744"/>
                  <a:gd name="connsiteY53" fmla="*/ 381526 h 1046508"/>
                  <a:gd name="connsiteX54" fmla="*/ 1166620 w 1200744"/>
                  <a:gd name="connsiteY54" fmla="*/ 424503 h 1046508"/>
                  <a:gd name="connsiteX55" fmla="*/ 883444 w 1200744"/>
                  <a:gd name="connsiteY55" fmla="*/ 458146 h 1046508"/>
                  <a:gd name="connsiteX56" fmla="*/ 883444 w 1200744"/>
                  <a:gd name="connsiteY56" fmla="*/ 506141 h 1046508"/>
                  <a:gd name="connsiteX57" fmla="*/ 792956 w 1200744"/>
                  <a:gd name="connsiteY57" fmla="*/ 516892 h 1046508"/>
                  <a:gd name="connsiteX58" fmla="*/ 792956 w 1200744"/>
                  <a:gd name="connsiteY58" fmla="*/ 468897 h 1046508"/>
                  <a:gd name="connsiteX59" fmla="*/ 688181 w 1200744"/>
                  <a:gd name="connsiteY59" fmla="*/ 481345 h 1046508"/>
                  <a:gd name="connsiteX60" fmla="*/ 688181 w 1200744"/>
                  <a:gd name="connsiteY60" fmla="*/ 529340 h 1046508"/>
                  <a:gd name="connsiteX61" fmla="*/ 418176 w 1200744"/>
                  <a:gd name="connsiteY61" fmla="*/ 561418 h 1046508"/>
                  <a:gd name="connsiteX62" fmla="*/ 392350 w 1200744"/>
                  <a:gd name="connsiteY62" fmla="*/ 575897 h 1046508"/>
                  <a:gd name="connsiteX63" fmla="*/ 384326 w 1200744"/>
                  <a:gd name="connsiteY63" fmla="*/ 604396 h 1046508"/>
                  <a:gd name="connsiteX64" fmla="*/ 398804 w 1200744"/>
                  <a:gd name="connsiteY64" fmla="*/ 630221 h 1046508"/>
                  <a:gd name="connsiteX65" fmla="*/ 427304 w 1200744"/>
                  <a:gd name="connsiteY65" fmla="*/ 638245 h 1046508"/>
                  <a:gd name="connsiteX66" fmla="*/ 1104900 w 1200744"/>
                  <a:gd name="connsiteY66" fmla="*/ 557742 h 1046508"/>
                  <a:gd name="connsiteX67" fmla="*/ 1104900 w 1200744"/>
                  <a:gd name="connsiteY67" fmla="*/ 558713 h 1046508"/>
                  <a:gd name="connsiteX68" fmla="*/ 1157491 w 1200744"/>
                  <a:gd name="connsiteY68" fmla="*/ 552464 h 1046508"/>
                  <a:gd name="connsiteX69" fmla="*/ 1200469 w 1200744"/>
                  <a:gd name="connsiteY69" fmla="*/ 586314 h 1046508"/>
                  <a:gd name="connsiteX70" fmla="*/ 1200468 w 1200744"/>
                  <a:gd name="connsiteY70" fmla="*/ 586314 h 1046508"/>
                  <a:gd name="connsiteX71" fmla="*/ 1166618 w 1200744"/>
                  <a:gd name="connsiteY71" fmla="*/ 629292 h 1046508"/>
                  <a:gd name="connsiteX72" fmla="*/ 1104900 w 1200744"/>
                  <a:gd name="connsiteY72" fmla="*/ 636624 h 1046508"/>
                  <a:gd name="connsiteX73" fmla="*/ 1104900 w 1200744"/>
                  <a:gd name="connsiteY73" fmla="*/ 817908 h 1046508"/>
                  <a:gd name="connsiteX74" fmla="*/ 971550 w 1200744"/>
                  <a:gd name="connsiteY74" fmla="*/ 946496 h 1046508"/>
                  <a:gd name="connsiteX75" fmla="*/ 752889 w 1200744"/>
                  <a:gd name="connsiteY75" fmla="*/ 946496 h 1046508"/>
                  <a:gd name="connsiteX76" fmla="*/ 749140 w 1200744"/>
                  <a:gd name="connsiteY76" fmla="*/ 965065 h 1046508"/>
                  <a:gd name="connsiteX77" fmla="*/ 626271 w 1200744"/>
                  <a:gd name="connsiteY77" fmla="*/ 1046508 h 1046508"/>
                  <a:gd name="connsiteX78" fmla="*/ 533770 w 1200744"/>
                  <a:gd name="connsiteY78" fmla="*/ 1046508 h 1046508"/>
                  <a:gd name="connsiteX79" fmla="*/ 410901 w 1200744"/>
                  <a:gd name="connsiteY79" fmla="*/ 965065 h 1046508"/>
                  <a:gd name="connsiteX80" fmla="*/ 407153 w 1200744"/>
                  <a:gd name="connsiteY80" fmla="*/ 946496 h 1046508"/>
                  <a:gd name="connsiteX81" fmla="*/ 190500 w 1200744"/>
                  <a:gd name="connsiteY81" fmla="*/ 946496 h 1046508"/>
                  <a:gd name="connsiteX82" fmla="*/ 59532 w 1200744"/>
                  <a:gd name="connsiteY82" fmla="*/ 825052 h 1046508"/>
                  <a:gd name="connsiteX83" fmla="*/ 59432 w 1200744"/>
                  <a:gd name="connsiteY83" fmla="*/ 710643 h 1046508"/>
                  <a:gd name="connsiteX84" fmla="*/ 48816 w 1200744"/>
                  <a:gd name="connsiteY84" fmla="*/ 710643 h 1046508"/>
                  <a:gd name="connsiteX85" fmla="*/ 14298 w 1200744"/>
                  <a:gd name="connsiteY85" fmla="*/ 696345 h 1046508"/>
                  <a:gd name="connsiteX86" fmla="*/ 0 w 1200744"/>
                  <a:gd name="connsiteY86" fmla="*/ 661828 h 1046508"/>
                  <a:gd name="connsiteX87" fmla="*/ 14298 w 1200744"/>
                  <a:gd name="connsiteY87" fmla="*/ 627310 h 1046508"/>
                  <a:gd name="connsiteX88" fmla="*/ 48816 w 1200744"/>
                  <a:gd name="connsiteY88" fmla="*/ 613012 h 1046508"/>
                  <a:gd name="connsiteX89" fmla="*/ 59346 w 1200744"/>
                  <a:gd name="connsiteY89" fmla="*/ 613012 h 1046508"/>
                  <a:gd name="connsiteX90" fmla="*/ 59247 w 1200744"/>
                  <a:gd name="connsiteY90" fmla="*/ 501147 h 1046508"/>
                  <a:gd name="connsiteX91" fmla="*/ 48816 w 1200744"/>
                  <a:gd name="connsiteY91" fmla="*/ 501147 h 1046508"/>
                  <a:gd name="connsiteX92" fmla="*/ 14298 w 1200744"/>
                  <a:gd name="connsiteY92" fmla="*/ 486849 h 1046508"/>
                  <a:gd name="connsiteX93" fmla="*/ 0 w 1200744"/>
                  <a:gd name="connsiteY93" fmla="*/ 452332 h 1046508"/>
                  <a:gd name="connsiteX94" fmla="*/ 14298 w 1200744"/>
                  <a:gd name="connsiteY94" fmla="*/ 417814 h 1046508"/>
                  <a:gd name="connsiteX95" fmla="*/ 48816 w 1200744"/>
                  <a:gd name="connsiteY95" fmla="*/ 403516 h 1046508"/>
                  <a:gd name="connsiteX96" fmla="*/ 59161 w 1200744"/>
                  <a:gd name="connsiteY96" fmla="*/ 403516 h 1046508"/>
                  <a:gd name="connsiteX97" fmla="*/ 59063 w 1200744"/>
                  <a:gd name="connsiteY97" fmla="*/ 291651 h 1046508"/>
                  <a:gd name="connsiteX98" fmla="*/ 48816 w 1200744"/>
                  <a:gd name="connsiteY98" fmla="*/ 291651 h 1046508"/>
                  <a:gd name="connsiteX99" fmla="*/ 14298 w 1200744"/>
                  <a:gd name="connsiteY99" fmla="*/ 277353 h 1046508"/>
                  <a:gd name="connsiteX100" fmla="*/ 0 w 1200744"/>
                  <a:gd name="connsiteY100" fmla="*/ 242836 h 1046508"/>
                  <a:gd name="connsiteX101" fmla="*/ 14298 w 1200744"/>
                  <a:gd name="connsiteY101" fmla="*/ 208318 h 1046508"/>
                  <a:gd name="connsiteX102" fmla="*/ 48816 w 1200744"/>
                  <a:gd name="connsiteY102" fmla="*/ 194020 h 1046508"/>
                  <a:gd name="connsiteX103" fmla="*/ 58977 w 1200744"/>
                  <a:gd name="connsiteY103" fmla="*/ 19402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792956 w 1200744"/>
                  <a:gd name="connsiteY49" fmla="*/ 387635 h 1046508"/>
                  <a:gd name="connsiteX50" fmla="*/ 883444 w 1200744"/>
                  <a:gd name="connsiteY50" fmla="*/ 376884 h 1046508"/>
                  <a:gd name="connsiteX51" fmla="*/ 1157493 w 1200744"/>
                  <a:gd name="connsiteY51" fmla="*/ 347675 h 1046508"/>
                  <a:gd name="connsiteX52" fmla="*/ 1200471 w 1200744"/>
                  <a:gd name="connsiteY52" fmla="*/ 381525 h 1046508"/>
                  <a:gd name="connsiteX53" fmla="*/ 1200470 w 1200744"/>
                  <a:gd name="connsiteY53" fmla="*/ 381526 h 1046508"/>
                  <a:gd name="connsiteX54" fmla="*/ 1166620 w 1200744"/>
                  <a:gd name="connsiteY54" fmla="*/ 424503 h 1046508"/>
                  <a:gd name="connsiteX55" fmla="*/ 883444 w 1200744"/>
                  <a:gd name="connsiteY55" fmla="*/ 458146 h 1046508"/>
                  <a:gd name="connsiteX56" fmla="*/ 883444 w 1200744"/>
                  <a:gd name="connsiteY56" fmla="*/ 506141 h 1046508"/>
                  <a:gd name="connsiteX57" fmla="*/ 792956 w 1200744"/>
                  <a:gd name="connsiteY57" fmla="*/ 516892 h 1046508"/>
                  <a:gd name="connsiteX58" fmla="*/ 792956 w 1200744"/>
                  <a:gd name="connsiteY58" fmla="*/ 468897 h 1046508"/>
                  <a:gd name="connsiteX59" fmla="*/ 688181 w 1200744"/>
                  <a:gd name="connsiteY59" fmla="*/ 481345 h 1046508"/>
                  <a:gd name="connsiteX60" fmla="*/ 688181 w 1200744"/>
                  <a:gd name="connsiteY60" fmla="*/ 529340 h 1046508"/>
                  <a:gd name="connsiteX61" fmla="*/ 418176 w 1200744"/>
                  <a:gd name="connsiteY61" fmla="*/ 561418 h 1046508"/>
                  <a:gd name="connsiteX62" fmla="*/ 392350 w 1200744"/>
                  <a:gd name="connsiteY62" fmla="*/ 575897 h 1046508"/>
                  <a:gd name="connsiteX63" fmla="*/ 384326 w 1200744"/>
                  <a:gd name="connsiteY63" fmla="*/ 604396 h 1046508"/>
                  <a:gd name="connsiteX64" fmla="*/ 398804 w 1200744"/>
                  <a:gd name="connsiteY64" fmla="*/ 630221 h 1046508"/>
                  <a:gd name="connsiteX65" fmla="*/ 427304 w 1200744"/>
                  <a:gd name="connsiteY65" fmla="*/ 638245 h 1046508"/>
                  <a:gd name="connsiteX66" fmla="*/ 1104900 w 1200744"/>
                  <a:gd name="connsiteY66" fmla="*/ 557742 h 1046508"/>
                  <a:gd name="connsiteX67" fmla="*/ 1104900 w 1200744"/>
                  <a:gd name="connsiteY67" fmla="*/ 558713 h 1046508"/>
                  <a:gd name="connsiteX68" fmla="*/ 1157491 w 1200744"/>
                  <a:gd name="connsiteY68" fmla="*/ 552464 h 1046508"/>
                  <a:gd name="connsiteX69" fmla="*/ 1200469 w 1200744"/>
                  <a:gd name="connsiteY69" fmla="*/ 586314 h 1046508"/>
                  <a:gd name="connsiteX70" fmla="*/ 1200468 w 1200744"/>
                  <a:gd name="connsiteY70" fmla="*/ 586314 h 1046508"/>
                  <a:gd name="connsiteX71" fmla="*/ 1166618 w 1200744"/>
                  <a:gd name="connsiteY71" fmla="*/ 629292 h 1046508"/>
                  <a:gd name="connsiteX72" fmla="*/ 1104900 w 1200744"/>
                  <a:gd name="connsiteY72" fmla="*/ 636624 h 1046508"/>
                  <a:gd name="connsiteX73" fmla="*/ 1104900 w 1200744"/>
                  <a:gd name="connsiteY73" fmla="*/ 817908 h 1046508"/>
                  <a:gd name="connsiteX74" fmla="*/ 971550 w 1200744"/>
                  <a:gd name="connsiteY74" fmla="*/ 946496 h 1046508"/>
                  <a:gd name="connsiteX75" fmla="*/ 752889 w 1200744"/>
                  <a:gd name="connsiteY75" fmla="*/ 946496 h 1046508"/>
                  <a:gd name="connsiteX76" fmla="*/ 749140 w 1200744"/>
                  <a:gd name="connsiteY76" fmla="*/ 965065 h 1046508"/>
                  <a:gd name="connsiteX77" fmla="*/ 626271 w 1200744"/>
                  <a:gd name="connsiteY77" fmla="*/ 1046508 h 1046508"/>
                  <a:gd name="connsiteX78" fmla="*/ 533770 w 1200744"/>
                  <a:gd name="connsiteY78" fmla="*/ 1046508 h 1046508"/>
                  <a:gd name="connsiteX79" fmla="*/ 410901 w 1200744"/>
                  <a:gd name="connsiteY79" fmla="*/ 965065 h 1046508"/>
                  <a:gd name="connsiteX80" fmla="*/ 407153 w 1200744"/>
                  <a:gd name="connsiteY80" fmla="*/ 946496 h 1046508"/>
                  <a:gd name="connsiteX81" fmla="*/ 190500 w 1200744"/>
                  <a:gd name="connsiteY81" fmla="*/ 946496 h 1046508"/>
                  <a:gd name="connsiteX82" fmla="*/ 59532 w 1200744"/>
                  <a:gd name="connsiteY82" fmla="*/ 825052 h 1046508"/>
                  <a:gd name="connsiteX83" fmla="*/ 59432 w 1200744"/>
                  <a:gd name="connsiteY83" fmla="*/ 710643 h 1046508"/>
                  <a:gd name="connsiteX84" fmla="*/ 48816 w 1200744"/>
                  <a:gd name="connsiteY84" fmla="*/ 710643 h 1046508"/>
                  <a:gd name="connsiteX85" fmla="*/ 14298 w 1200744"/>
                  <a:gd name="connsiteY85" fmla="*/ 696345 h 1046508"/>
                  <a:gd name="connsiteX86" fmla="*/ 0 w 1200744"/>
                  <a:gd name="connsiteY86" fmla="*/ 661828 h 1046508"/>
                  <a:gd name="connsiteX87" fmla="*/ 14298 w 1200744"/>
                  <a:gd name="connsiteY87" fmla="*/ 627310 h 1046508"/>
                  <a:gd name="connsiteX88" fmla="*/ 48816 w 1200744"/>
                  <a:gd name="connsiteY88" fmla="*/ 613012 h 1046508"/>
                  <a:gd name="connsiteX89" fmla="*/ 59346 w 1200744"/>
                  <a:gd name="connsiteY89" fmla="*/ 613012 h 1046508"/>
                  <a:gd name="connsiteX90" fmla="*/ 59247 w 1200744"/>
                  <a:gd name="connsiteY90" fmla="*/ 501147 h 1046508"/>
                  <a:gd name="connsiteX91" fmla="*/ 48816 w 1200744"/>
                  <a:gd name="connsiteY91" fmla="*/ 501147 h 1046508"/>
                  <a:gd name="connsiteX92" fmla="*/ 14298 w 1200744"/>
                  <a:gd name="connsiteY92" fmla="*/ 486849 h 1046508"/>
                  <a:gd name="connsiteX93" fmla="*/ 0 w 1200744"/>
                  <a:gd name="connsiteY93" fmla="*/ 452332 h 1046508"/>
                  <a:gd name="connsiteX94" fmla="*/ 14298 w 1200744"/>
                  <a:gd name="connsiteY94" fmla="*/ 417814 h 1046508"/>
                  <a:gd name="connsiteX95" fmla="*/ 48816 w 1200744"/>
                  <a:gd name="connsiteY95" fmla="*/ 403516 h 1046508"/>
                  <a:gd name="connsiteX96" fmla="*/ 59161 w 1200744"/>
                  <a:gd name="connsiteY96" fmla="*/ 403516 h 1046508"/>
                  <a:gd name="connsiteX97" fmla="*/ 59063 w 1200744"/>
                  <a:gd name="connsiteY97" fmla="*/ 291651 h 1046508"/>
                  <a:gd name="connsiteX98" fmla="*/ 48816 w 1200744"/>
                  <a:gd name="connsiteY98" fmla="*/ 291651 h 1046508"/>
                  <a:gd name="connsiteX99" fmla="*/ 14298 w 1200744"/>
                  <a:gd name="connsiteY99" fmla="*/ 277353 h 1046508"/>
                  <a:gd name="connsiteX100" fmla="*/ 0 w 1200744"/>
                  <a:gd name="connsiteY100" fmla="*/ 242836 h 1046508"/>
                  <a:gd name="connsiteX101" fmla="*/ 14298 w 1200744"/>
                  <a:gd name="connsiteY101" fmla="*/ 208318 h 1046508"/>
                  <a:gd name="connsiteX102" fmla="*/ 48816 w 1200744"/>
                  <a:gd name="connsiteY102" fmla="*/ 194020 h 1046508"/>
                  <a:gd name="connsiteX103" fmla="*/ 58977 w 1200744"/>
                  <a:gd name="connsiteY103" fmla="*/ 194020 h 1046508"/>
                  <a:gd name="connsiteX104" fmla="*/ 58806 w 1200744"/>
                  <a:gd name="connsiteY104"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792956 w 1200744"/>
                  <a:gd name="connsiteY49" fmla="*/ 387635 h 1046508"/>
                  <a:gd name="connsiteX50" fmla="*/ 1157493 w 1200744"/>
                  <a:gd name="connsiteY50" fmla="*/ 347675 h 1046508"/>
                  <a:gd name="connsiteX51" fmla="*/ 1200471 w 1200744"/>
                  <a:gd name="connsiteY51" fmla="*/ 381525 h 1046508"/>
                  <a:gd name="connsiteX52" fmla="*/ 1200470 w 1200744"/>
                  <a:gd name="connsiteY52" fmla="*/ 381526 h 1046508"/>
                  <a:gd name="connsiteX53" fmla="*/ 1166620 w 1200744"/>
                  <a:gd name="connsiteY53" fmla="*/ 424503 h 1046508"/>
                  <a:gd name="connsiteX54" fmla="*/ 883444 w 1200744"/>
                  <a:gd name="connsiteY54" fmla="*/ 458146 h 1046508"/>
                  <a:gd name="connsiteX55" fmla="*/ 883444 w 1200744"/>
                  <a:gd name="connsiteY55" fmla="*/ 506141 h 1046508"/>
                  <a:gd name="connsiteX56" fmla="*/ 792956 w 1200744"/>
                  <a:gd name="connsiteY56" fmla="*/ 516892 h 1046508"/>
                  <a:gd name="connsiteX57" fmla="*/ 792956 w 1200744"/>
                  <a:gd name="connsiteY57" fmla="*/ 468897 h 1046508"/>
                  <a:gd name="connsiteX58" fmla="*/ 688181 w 1200744"/>
                  <a:gd name="connsiteY58" fmla="*/ 481345 h 1046508"/>
                  <a:gd name="connsiteX59" fmla="*/ 688181 w 1200744"/>
                  <a:gd name="connsiteY59" fmla="*/ 529340 h 1046508"/>
                  <a:gd name="connsiteX60" fmla="*/ 418176 w 1200744"/>
                  <a:gd name="connsiteY60" fmla="*/ 561418 h 1046508"/>
                  <a:gd name="connsiteX61" fmla="*/ 392350 w 1200744"/>
                  <a:gd name="connsiteY61" fmla="*/ 575897 h 1046508"/>
                  <a:gd name="connsiteX62" fmla="*/ 384326 w 1200744"/>
                  <a:gd name="connsiteY62" fmla="*/ 604396 h 1046508"/>
                  <a:gd name="connsiteX63" fmla="*/ 398804 w 1200744"/>
                  <a:gd name="connsiteY63" fmla="*/ 630221 h 1046508"/>
                  <a:gd name="connsiteX64" fmla="*/ 427304 w 1200744"/>
                  <a:gd name="connsiteY64" fmla="*/ 638245 h 1046508"/>
                  <a:gd name="connsiteX65" fmla="*/ 1104900 w 1200744"/>
                  <a:gd name="connsiteY65" fmla="*/ 557742 h 1046508"/>
                  <a:gd name="connsiteX66" fmla="*/ 1104900 w 1200744"/>
                  <a:gd name="connsiteY66" fmla="*/ 558713 h 1046508"/>
                  <a:gd name="connsiteX67" fmla="*/ 1157491 w 1200744"/>
                  <a:gd name="connsiteY67" fmla="*/ 552464 h 1046508"/>
                  <a:gd name="connsiteX68" fmla="*/ 1200469 w 1200744"/>
                  <a:gd name="connsiteY68" fmla="*/ 586314 h 1046508"/>
                  <a:gd name="connsiteX69" fmla="*/ 1200468 w 1200744"/>
                  <a:gd name="connsiteY69" fmla="*/ 586314 h 1046508"/>
                  <a:gd name="connsiteX70" fmla="*/ 1166618 w 1200744"/>
                  <a:gd name="connsiteY70" fmla="*/ 629292 h 1046508"/>
                  <a:gd name="connsiteX71" fmla="*/ 1104900 w 1200744"/>
                  <a:gd name="connsiteY71" fmla="*/ 636624 h 1046508"/>
                  <a:gd name="connsiteX72" fmla="*/ 1104900 w 1200744"/>
                  <a:gd name="connsiteY72" fmla="*/ 817908 h 1046508"/>
                  <a:gd name="connsiteX73" fmla="*/ 971550 w 1200744"/>
                  <a:gd name="connsiteY73" fmla="*/ 946496 h 1046508"/>
                  <a:gd name="connsiteX74" fmla="*/ 752889 w 1200744"/>
                  <a:gd name="connsiteY74" fmla="*/ 946496 h 1046508"/>
                  <a:gd name="connsiteX75" fmla="*/ 749140 w 1200744"/>
                  <a:gd name="connsiteY75" fmla="*/ 965065 h 1046508"/>
                  <a:gd name="connsiteX76" fmla="*/ 626271 w 1200744"/>
                  <a:gd name="connsiteY76" fmla="*/ 1046508 h 1046508"/>
                  <a:gd name="connsiteX77" fmla="*/ 533770 w 1200744"/>
                  <a:gd name="connsiteY77" fmla="*/ 1046508 h 1046508"/>
                  <a:gd name="connsiteX78" fmla="*/ 410901 w 1200744"/>
                  <a:gd name="connsiteY78" fmla="*/ 965065 h 1046508"/>
                  <a:gd name="connsiteX79" fmla="*/ 407153 w 1200744"/>
                  <a:gd name="connsiteY79" fmla="*/ 946496 h 1046508"/>
                  <a:gd name="connsiteX80" fmla="*/ 190500 w 1200744"/>
                  <a:gd name="connsiteY80" fmla="*/ 946496 h 1046508"/>
                  <a:gd name="connsiteX81" fmla="*/ 59532 w 1200744"/>
                  <a:gd name="connsiteY81" fmla="*/ 825052 h 1046508"/>
                  <a:gd name="connsiteX82" fmla="*/ 59432 w 1200744"/>
                  <a:gd name="connsiteY82" fmla="*/ 710643 h 1046508"/>
                  <a:gd name="connsiteX83" fmla="*/ 48816 w 1200744"/>
                  <a:gd name="connsiteY83" fmla="*/ 710643 h 1046508"/>
                  <a:gd name="connsiteX84" fmla="*/ 14298 w 1200744"/>
                  <a:gd name="connsiteY84" fmla="*/ 696345 h 1046508"/>
                  <a:gd name="connsiteX85" fmla="*/ 0 w 1200744"/>
                  <a:gd name="connsiteY85" fmla="*/ 661828 h 1046508"/>
                  <a:gd name="connsiteX86" fmla="*/ 14298 w 1200744"/>
                  <a:gd name="connsiteY86" fmla="*/ 627310 h 1046508"/>
                  <a:gd name="connsiteX87" fmla="*/ 48816 w 1200744"/>
                  <a:gd name="connsiteY87" fmla="*/ 613012 h 1046508"/>
                  <a:gd name="connsiteX88" fmla="*/ 59346 w 1200744"/>
                  <a:gd name="connsiteY88" fmla="*/ 613012 h 1046508"/>
                  <a:gd name="connsiteX89" fmla="*/ 59247 w 1200744"/>
                  <a:gd name="connsiteY89" fmla="*/ 501147 h 1046508"/>
                  <a:gd name="connsiteX90" fmla="*/ 48816 w 1200744"/>
                  <a:gd name="connsiteY90" fmla="*/ 501147 h 1046508"/>
                  <a:gd name="connsiteX91" fmla="*/ 14298 w 1200744"/>
                  <a:gd name="connsiteY91" fmla="*/ 486849 h 1046508"/>
                  <a:gd name="connsiteX92" fmla="*/ 0 w 1200744"/>
                  <a:gd name="connsiteY92" fmla="*/ 452332 h 1046508"/>
                  <a:gd name="connsiteX93" fmla="*/ 14298 w 1200744"/>
                  <a:gd name="connsiteY93" fmla="*/ 417814 h 1046508"/>
                  <a:gd name="connsiteX94" fmla="*/ 48816 w 1200744"/>
                  <a:gd name="connsiteY94" fmla="*/ 403516 h 1046508"/>
                  <a:gd name="connsiteX95" fmla="*/ 59161 w 1200744"/>
                  <a:gd name="connsiteY95" fmla="*/ 403516 h 1046508"/>
                  <a:gd name="connsiteX96" fmla="*/ 59063 w 1200744"/>
                  <a:gd name="connsiteY96" fmla="*/ 291651 h 1046508"/>
                  <a:gd name="connsiteX97" fmla="*/ 48816 w 1200744"/>
                  <a:gd name="connsiteY97" fmla="*/ 291651 h 1046508"/>
                  <a:gd name="connsiteX98" fmla="*/ 14298 w 1200744"/>
                  <a:gd name="connsiteY98" fmla="*/ 277353 h 1046508"/>
                  <a:gd name="connsiteX99" fmla="*/ 0 w 1200744"/>
                  <a:gd name="connsiteY99" fmla="*/ 242836 h 1046508"/>
                  <a:gd name="connsiteX100" fmla="*/ 14298 w 1200744"/>
                  <a:gd name="connsiteY100" fmla="*/ 208318 h 1046508"/>
                  <a:gd name="connsiteX101" fmla="*/ 48816 w 1200744"/>
                  <a:gd name="connsiteY101" fmla="*/ 194020 h 1046508"/>
                  <a:gd name="connsiteX102" fmla="*/ 58977 w 1200744"/>
                  <a:gd name="connsiteY102" fmla="*/ 194020 h 1046508"/>
                  <a:gd name="connsiteX103" fmla="*/ 58806 w 1200744"/>
                  <a:gd name="connsiteY103"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1157493 w 1200744"/>
                  <a:gd name="connsiteY49" fmla="*/ 347675 h 1046508"/>
                  <a:gd name="connsiteX50" fmla="*/ 1200471 w 1200744"/>
                  <a:gd name="connsiteY50" fmla="*/ 381525 h 1046508"/>
                  <a:gd name="connsiteX51" fmla="*/ 1200470 w 1200744"/>
                  <a:gd name="connsiteY51" fmla="*/ 381526 h 1046508"/>
                  <a:gd name="connsiteX52" fmla="*/ 1166620 w 1200744"/>
                  <a:gd name="connsiteY52" fmla="*/ 424503 h 1046508"/>
                  <a:gd name="connsiteX53" fmla="*/ 883444 w 1200744"/>
                  <a:gd name="connsiteY53" fmla="*/ 458146 h 1046508"/>
                  <a:gd name="connsiteX54" fmla="*/ 883444 w 1200744"/>
                  <a:gd name="connsiteY54" fmla="*/ 506141 h 1046508"/>
                  <a:gd name="connsiteX55" fmla="*/ 792956 w 1200744"/>
                  <a:gd name="connsiteY55" fmla="*/ 516892 h 1046508"/>
                  <a:gd name="connsiteX56" fmla="*/ 792956 w 1200744"/>
                  <a:gd name="connsiteY56" fmla="*/ 468897 h 1046508"/>
                  <a:gd name="connsiteX57" fmla="*/ 688181 w 1200744"/>
                  <a:gd name="connsiteY57" fmla="*/ 481345 h 1046508"/>
                  <a:gd name="connsiteX58" fmla="*/ 688181 w 1200744"/>
                  <a:gd name="connsiteY58" fmla="*/ 529340 h 1046508"/>
                  <a:gd name="connsiteX59" fmla="*/ 418176 w 1200744"/>
                  <a:gd name="connsiteY59" fmla="*/ 561418 h 1046508"/>
                  <a:gd name="connsiteX60" fmla="*/ 392350 w 1200744"/>
                  <a:gd name="connsiteY60" fmla="*/ 575897 h 1046508"/>
                  <a:gd name="connsiteX61" fmla="*/ 384326 w 1200744"/>
                  <a:gd name="connsiteY61" fmla="*/ 604396 h 1046508"/>
                  <a:gd name="connsiteX62" fmla="*/ 398804 w 1200744"/>
                  <a:gd name="connsiteY62" fmla="*/ 630221 h 1046508"/>
                  <a:gd name="connsiteX63" fmla="*/ 427304 w 1200744"/>
                  <a:gd name="connsiteY63" fmla="*/ 638245 h 1046508"/>
                  <a:gd name="connsiteX64" fmla="*/ 1104900 w 1200744"/>
                  <a:gd name="connsiteY64" fmla="*/ 557742 h 1046508"/>
                  <a:gd name="connsiteX65" fmla="*/ 1104900 w 1200744"/>
                  <a:gd name="connsiteY65" fmla="*/ 558713 h 1046508"/>
                  <a:gd name="connsiteX66" fmla="*/ 1157491 w 1200744"/>
                  <a:gd name="connsiteY66" fmla="*/ 552464 h 1046508"/>
                  <a:gd name="connsiteX67" fmla="*/ 1200469 w 1200744"/>
                  <a:gd name="connsiteY67" fmla="*/ 586314 h 1046508"/>
                  <a:gd name="connsiteX68" fmla="*/ 1200468 w 1200744"/>
                  <a:gd name="connsiteY68" fmla="*/ 586314 h 1046508"/>
                  <a:gd name="connsiteX69" fmla="*/ 1166618 w 1200744"/>
                  <a:gd name="connsiteY69" fmla="*/ 629292 h 1046508"/>
                  <a:gd name="connsiteX70" fmla="*/ 1104900 w 1200744"/>
                  <a:gd name="connsiteY70" fmla="*/ 636624 h 1046508"/>
                  <a:gd name="connsiteX71" fmla="*/ 1104900 w 1200744"/>
                  <a:gd name="connsiteY71" fmla="*/ 817908 h 1046508"/>
                  <a:gd name="connsiteX72" fmla="*/ 971550 w 1200744"/>
                  <a:gd name="connsiteY72" fmla="*/ 946496 h 1046508"/>
                  <a:gd name="connsiteX73" fmla="*/ 752889 w 1200744"/>
                  <a:gd name="connsiteY73" fmla="*/ 946496 h 1046508"/>
                  <a:gd name="connsiteX74" fmla="*/ 749140 w 1200744"/>
                  <a:gd name="connsiteY74" fmla="*/ 965065 h 1046508"/>
                  <a:gd name="connsiteX75" fmla="*/ 626271 w 1200744"/>
                  <a:gd name="connsiteY75" fmla="*/ 1046508 h 1046508"/>
                  <a:gd name="connsiteX76" fmla="*/ 533770 w 1200744"/>
                  <a:gd name="connsiteY76" fmla="*/ 1046508 h 1046508"/>
                  <a:gd name="connsiteX77" fmla="*/ 410901 w 1200744"/>
                  <a:gd name="connsiteY77" fmla="*/ 965065 h 1046508"/>
                  <a:gd name="connsiteX78" fmla="*/ 407153 w 1200744"/>
                  <a:gd name="connsiteY78" fmla="*/ 946496 h 1046508"/>
                  <a:gd name="connsiteX79" fmla="*/ 190500 w 1200744"/>
                  <a:gd name="connsiteY79" fmla="*/ 946496 h 1046508"/>
                  <a:gd name="connsiteX80" fmla="*/ 59532 w 1200744"/>
                  <a:gd name="connsiteY80" fmla="*/ 825052 h 1046508"/>
                  <a:gd name="connsiteX81" fmla="*/ 59432 w 1200744"/>
                  <a:gd name="connsiteY81" fmla="*/ 710643 h 1046508"/>
                  <a:gd name="connsiteX82" fmla="*/ 48816 w 1200744"/>
                  <a:gd name="connsiteY82" fmla="*/ 710643 h 1046508"/>
                  <a:gd name="connsiteX83" fmla="*/ 14298 w 1200744"/>
                  <a:gd name="connsiteY83" fmla="*/ 696345 h 1046508"/>
                  <a:gd name="connsiteX84" fmla="*/ 0 w 1200744"/>
                  <a:gd name="connsiteY84" fmla="*/ 661828 h 1046508"/>
                  <a:gd name="connsiteX85" fmla="*/ 14298 w 1200744"/>
                  <a:gd name="connsiteY85" fmla="*/ 627310 h 1046508"/>
                  <a:gd name="connsiteX86" fmla="*/ 48816 w 1200744"/>
                  <a:gd name="connsiteY86" fmla="*/ 613012 h 1046508"/>
                  <a:gd name="connsiteX87" fmla="*/ 59346 w 1200744"/>
                  <a:gd name="connsiteY87" fmla="*/ 613012 h 1046508"/>
                  <a:gd name="connsiteX88" fmla="*/ 59247 w 1200744"/>
                  <a:gd name="connsiteY88" fmla="*/ 501147 h 1046508"/>
                  <a:gd name="connsiteX89" fmla="*/ 48816 w 1200744"/>
                  <a:gd name="connsiteY89" fmla="*/ 501147 h 1046508"/>
                  <a:gd name="connsiteX90" fmla="*/ 14298 w 1200744"/>
                  <a:gd name="connsiteY90" fmla="*/ 486849 h 1046508"/>
                  <a:gd name="connsiteX91" fmla="*/ 0 w 1200744"/>
                  <a:gd name="connsiteY91" fmla="*/ 452332 h 1046508"/>
                  <a:gd name="connsiteX92" fmla="*/ 14298 w 1200744"/>
                  <a:gd name="connsiteY92" fmla="*/ 417814 h 1046508"/>
                  <a:gd name="connsiteX93" fmla="*/ 48816 w 1200744"/>
                  <a:gd name="connsiteY93" fmla="*/ 403516 h 1046508"/>
                  <a:gd name="connsiteX94" fmla="*/ 59161 w 1200744"/>
                  <a:gd name="connsiteY94" fmla="*/ 403516 h 1046508"/>
                  <a:gd name="connsiteX95" fmla="*/ 59063 w 1200744"/>
                  <a:gd name="connsiteY95" fmla="*/ 291651 h 1046508"/>
                  <a:gd name="connsiteX96" fmla="*/ 48816 w 1200744"/>
                  <a:gd name="connsiteY96" fmla="*/ 291651 h 1046508"/>
                  <a:gd name="connsiteX97" fmla="*/ 14298 w 1200744"/>
                  <a:gd name="connsiteY97" fmla="*/ 277353 h 1046508"/>
                  <a:gd name="connsiteX98" fmla="*/ 0 w 1200744"/>
                  <a:gd name="connsiteY98" fmla="*/ 242836 h 1046508"/>
                  <a:gd name="connsiteX99" fmla="*/ 14298 w 1200744"/>
                  <a:gd name="connsiteY99" fmla="*/ 208318 h 1046508"/>
                  <a:gd name="connsiteX100" fmla="*/ 48816 w 1200744"/>
                  <a:gd name="connsiteY100" fmla="*/ 194020 h 1046508"/>
                  <a:gd name="connsiteX101" fmla="*/ 58977 w 1200744"/>
                  <a:gd name="connsiteY101" fmla="*/ 194020 h 1046508"/>
                  <a:gd name="connsiteX102" fmla="*/ 58806 w 1200744"/>
                  <a:gd name="connsiteY102"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1157493 w 1200744"/>
                  <a:gd name="connsiteY48" fmla="*/ 347675 h 1046508"/>
                  <a:gd name="connsiteX49" fmla="*/ 1200471 w 1200744"/>
                  <a:gd name="connsiteY49" fmla="*/ 381525 h 1046508"/>
                  <a:gd name="connsiteX50" fmla="*/ 1200470 w 1200744"/>
                  <a:gd name="connsiteY50" fmla="*/ 381526 h 1046508"/>
                  <a:gd name="connsiteX51" fmla="*/ 1166620 w 1200744"/>
                  <a:gd name="connsiteY51" fmla="*/ 424503 h 1046508"/>
                  <a:gd name="connsiteX52" fmla="*/ 883444 w 1200744"/>
                  <a:gd name="connsiteY52" fmla="*/ 458146 h 1046508"/>
                  <a:gd name="connsiteX53" fmla="*/ 883444 w 1200744"/>
                  <a:gd name="connsiteY53" fmla="*/ 506141 h 1046508"/>
                  <a:gd name="connsiteX54" fmla="*/ 792956 w 1200744"/>
                  <a:gd name="connsiteY54" fmla="*/ 516892 h 1046508"/>
                  <a:gd name="connsiteX55" fmla="*/ 792956 w 1200744"/>
                  <a:gd name="connsiteY55" fmla="*/ 468897 h 1046508"/>
                  <a:gd name="connsiteX56" fmla="*/ 688181 w 1200744"/>
                  <a:gd name="connsiteY56" fmla="*/ 481345 h 1046508"/>
                  <a:gd name="connsiteX57" fmla="*/ 688181 w 1200744"/>
                  <a:gd name="connsiteY57" fmla="*/ 529340 h 1046508"/>
                  <a:gd name="connsiteX58" fmla="*/ 418176 w 1200744"/>
                  <a:gd name="connsiteY58" fmla="*/ 561418 h 1046508"/>
                  <a:gd name="connsiteX59" fmla="*/ 392350 w 1200744"/>
                  <a:gd name="connsiteY59" fmla="*/ 575897 h 1046508"/>
                  <a:gd name="connsiteX60" fmla="*/ 384326 w 1200744"/>
                  <a:gd name="connsiteY60" fmla="*/ 604396 h 1046508"/>
                  <a:gd name="connsiteX61" fmla="*/ 398804 w 1200744"/>
                  <a:gd name="connsiteY61" fmla="*/ 630221 h 1046508"/>
                  <a:gd name="connsiteX62" fmla="*/ 427304 w 1200744"/>
                  <a:gd name="connsiteY62" fmla="*/ 638245 h 1046508"/>
                  <a:gd name="connsiteX63" fmla="*/ 1104900 w 1200744"/>
                  <a:gd name="connsiteY63" fmla="*/ 557742 h 1046508"/>
                  <a:gd name="connsiteX64" fmla="*/ 1104900 w 1200744"/>
                  <a:gd name="connsiteY64" fmla="*/ 558713 h 1046508"/>
                  <a:gd name="connsiteX65" fmla="*/ 1157491 w 1200744"/>
                  <a:gd name="connsiteY65" fmla="*/ 552464 h 1046508"/>
                  <a:gd name="connsiteX66" fmla="*/ 1200469 w 1200744"/>
                  <a:gd name="connsiteY66" fmla="*/ 586314 h 1046508"/>
                  <a:gd name="connsiteX67" fmla="*/ 1200468 w 1200744"/>
                  <a:gd name="connsiteY67" fmla="*/ 586314 h 1046508"/>
                  <a:gd name="connsiteX68" fmla="*/ 1166618 w 1200744"/>
                  <a:gd name="connsiteY68" fmla="*/ 629292 h 1046508"/>
                  <a:gd name="connsiteX69" fmla="*/ 1104900 w 1200744"/>
                  <a:gd name="connsiteY69" fmla="*/ 636624 h 1046508"/>
                  <a:gd name="connsiteX70" fmla="*/ 1104900 w 1200744"/>
                  <a:gd name="connsiteY70" fmla="*/ 817908 h 1046508"/>
                  <a:gd name="connsiteX71" fmla="*/ 971550 w 1200744"/>
                  <a:gd name="connsiteY71" fmla="*/ 946496 h 1046508"/>
                  <a:gd name="connsiteX72" fmla="*/ 752889 w 1200744"/>
                  <a:gd name="connsiteY72" fmla="*/ 946496 h 1046508"/>
                  <a:gd name="connsiteX73" fmla="*/ 749140 w 1200744"/>
                  <a:gd name="connsiteY73" fmla="*/ 965065 h 1046508"/>
                  <a:gd name="connsiteX74" fmla="*/ 626271 w 1200744"/>
                  <a:gd name="connsiteY74" fmla="*/ 1046508 h 1046508"/>
                  <a:gd name="connsiteX75" fmla="*/ 533770 w 1200744"/>
                  <a:gd name="connsiteY75" fmla="*/ 1046508 h 1046508"/>
                  <a:gd name="connsiteX76" fmla="*/ 410901 w 1200744"/>
                  <a:gd name="connsiteY76" fmla="*/ 965065 h 1046508"/>
                  <a:gd name="connsiteX77" fmla="*/ 407153 w 1200744"/>
                  <a:gd name="connsiteY77" fmla="*/ 946496 h 1046508"/>
                  <a:gd name="connsiteX78" fmla="*/ 190500 w 1200744"/>
                  <a:gd name="connsiteY78" fmla="*/ 946496 h 1046508"/>
                  <a:gd name="connsiteX79" fmla="*/ 59532 w 1200744"/>
                  <a:gd name="connsiteY79" fmla="*/ 825052 h 1046508"/>
                  <a:gd name="connsiteX80" fmla="*/ 59432 w 1200744"/>
                  <a:gd name="connsiteY80" fmla="*/ 710643 h 1046508"/>
                  <a:gd name="connsiteX81" fmla="*/ 48816 w 1200744"/>
                  <a:gd name="connsiteY81" fmla="*/ 710643 h 1046508"/>
                  <a:gd name="connsiteX82" fmla="*/ 14298 w 1200744"/>
                  <a:gd name="connsiteY82" fmla="*/ 696345 h 1046508"/>
                  <a:gd name="connsiteX83" fmla="*/ 0 w 1200744"/>
                  <a:gd name="connsiteY83" fmla="*/ 661828 h 1046508"/>
                  <a:gd name="connsiteX84" fmla="*/ 14298 w 1200744"/>
                  <a:gd name="connsiteY84" fmla="*/ 627310 h 1046508"/>
                  <a:gd name="connsiteX85" fmla="*/ 48816 w 1200744"/>
                  <a:gd name="connsiteY85" fmla="*/ 613012 h 1046508"/>
                  <a:gd name="connsiteX86" fmla="*/ 59346 w 1200744"/>
                  <a:gd name="connsiteY86" fmla="*/ 613012 h 1046508"/>
                  <a:gd name="connsiteX87" fmla="*/ 59247 w 1200744"/>
                  <a:gd name="connsiteY87" fmla="*/ 501147 h 1046508"/>
                  <a:gd name="connsiteX88" fmla="*/ 48816 w 1200744"/>
                  <a:gd name="connsiteY88" fmla="*/ 501147 h 1046508"/>
                  <a:gd name="connsiteX89" fmla="*/ 14298 w 1200744"/>
                  <a:gd name="connsiteY89" fmla="*/ 486849 h 1046508"/>
                  <a:gd name="connsiteX90" fmla="*/ 0 w 1200744"/>
                  <a:gd name="connsiteY90" fmla="*/ 452332 h 1046508"/>
                  <a:gd name="connsiteX91" fmla="*/ 14298 w 1200744"/>
                  <a:gd name="connsiteY91" fmla="*/ 417814 h 1046508"/>
                  <a:gd name="connsiteX92" fmla="*/ 48816 w 1200744"/>
                  <a:gd name="connsiteY92" fmla="*/ 403516 h 1046508"/>
                  <a:gd name="connsiteX93" fmla="*/ 59161 w 1200744"/>
                  <a:gd name="connsiteY93" fmla="*/ 403516 h 1046508"/>
                  <a:gd name="connsiteX94" fmla="*/ 59063 w 1200744"/>
                  <a:gd name="connsiteY94" fmla="*/ 291651 h 1046508"/>
                  <a:gd name="connsiteX95" fmla="*/ 48816 w 1200744"/>
                  <a:gd name="connsiteY95" fmla="*/ 291651 h 1046508"/>
                  <a:gd name="connsiteX96" fmla="*/ 14298 w 1200744"/>
                  <a:gd name="connsiteY96" fmla="*/ 277353 h 1046508"/>
                  <a:gd name="connsiteX97" fmla="*/ 0 w 1200744"/>
                  <a:gd name="connsiteY97" fmla="*/ 242836 h 1046508"/>
                  <a:gd name="connsiteX98" fmla="*/ 14298 w 1200744"/>
                  <a:gd name="connsiteY98" fmla="*/ 208318 h 1046508"/>
                  <a:gd name="connsiteX99" fmla="*/ 48816 w 1200744"/>
                  <a:gd name="connsiteY99" fmla="*/ 194020 h 1046508"/>
                  <a:gd name="connsiteX100" fmla="*/ 58977 w 1200744"/>
                  <a:gd name="connsiteY100" fmla="*/ 194020 h 1046508"/>
                  <a:gd name="connsiteX101" fmla="*/ 58806 w 1200744"/>
                  <a:gd name="connsiteY101"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1157493 w 1200744"/>
                  <a:gd name="connsiteY47" fmla="*/ 347675 h 1046508"/>
                  <a:gd name="connsiteX48" fmla="*/ 1200471 w 1200744"/>
                  <a:gd name="connsiteY48" fmla="*/ 381525 h 1046508"/>
                  <a:gd name="connsiteX49" fmla="*/ 1200470 w 1200744"/>
                  <a:gd name="connsiteY49" fmla="*/ 381526 h 1046508"/>
                  <a:gd name="connsiteX50" fmla="*/ 1166620 w 1200744"/>
                  <a:gd name="connsiteY50" fmla="*/ 424503 h 1046508"/>
                  <a:gd name="connsiteX51" fmla="*/ 883444 w 1200744"/>
                  <a:gd name="connsiteY51" fmla="*/ 458146 h 1046508"/>
                  <a:gd name="connsiteX52" fmla="*/ 883444 w 1200744"/>
                  <a:gd name="connsiteY52" fmla="*/ 506141 h 1046508"/>
                  <a:gd name="connsiteX53" fmla="*/ 792956 w 1200744"/>
                  <a:gd name="connsiteY53" fmla="*/ 516892 h 1046508"/>
                  <a:gd name="connsiteX54" fmla="*/ 792956 w 1200744"/>
                  <a:gd name="connsiteY54" fmla="*/ 468897 h 1046508"/>
                  <a:gd name="connsiteX55" fmla="*/ 688181 w 1200744"/>
                  <a:gd name="connsiteY55" fmla="*/ 481345 h 1046508"/>
                  <a:gd name="connsiteX56" fmla="*/ 688181 w 1200744"/>
                  <a:gd name="connsiteY56" fmla="*/ 529340 h 1046508"/>
                  <a:gd name="connsiteX57" fmla="*/ 418176 w 1200744"/>
                  <a:gd name="connsiteY57" fmla="*/ 561418 h 1046508"/>
                  <a:gd name="connsiteX58" fmla="*/ 392350 w 1200744"/>
                  <a:gd name="connsiteY58" fmla="*/ 575897 h 1046508"/>
                  <a:gd name="connsiteX59" fmla="*/ 384326 w 1200744"/>
                  <a:gd name="connsiteY59" fmla="*/ 604396 h 1046508"/>
                  <a:gd name="connsiteX60" fmla="*/ 398804 w 1200744"/>
                  <a:gd name="connsiteY60" fmla="*/ 630221 h 1046508"/>
                  <a:gd name="connsiteX61" fmla="*/ 427304 w 1200744"/>
                  <a:gd name="connsiteY61" fmla="*/ 638245 h 1046508"/>
                  <a:gd name="connsiteX62" fmla="*/ 1104900 w 1200744"/>
                  <a:gd name="connsiteY62" fmla="*/ 557742 h 1046508"/>
                  <a:gd name="connsiteX63" fmla="*/ 1104900 w 1200744"/>
                  <a:gd name="connsiteY63" fmla="*/ 558713 h 1046508"/>
                  <a:gd name="connsiteX64" fmla="*/ 1157491 w 1200744"/>
                  <a:gd name="connsiteY64" fmla="*/ 552464 h 1046508"/>
                  <a:gd name="connsiteX65" fmla="*/ 1200469 w 1200744"/>
                  <a:gd name="connsiteY65" fmla="*/ 586314 h 1046508"/>
                  <a:gd name="connsiteX66" fmla="*/ 1200468 w 1200744"/>
                  <a:gd name="connsiteY66" fmla="*/ 586314 h 1046508"/>
                  <a:gd name="connsiteX67" fmla="*/ 1166618 w 1200744"/>
                  <a:gd name="connsiteY67" fmla="*/ 629292 h 1046508"/>
                  <a:gd name="connsiteX68" fmla="*/ 1104900 w 1200744"/>
                  <a:gd name="connsiteY68" fmla="*/ 636624 h 1046508"/>
                  <a:gd name="connsiteX69" fmla="*/ 1104900 w 1200744"/>
                  <a:gd name="connsiteY69" fmla="*/ 817908 h 1046508"/>
                  <a:gd name="connsiteX70" fmla="*/ 971550 w 1200744"/>
                  <a:gd name="connsiteY70" fmla="*/ 946496 h 1046508"/>
                  <a:gd name="connsiteX71" fmla="*/ 752889 w 1200744"/>
                  <a:gd name="connsiteY71" fmla="*/ 946496 h 1046508"/>
                  <a:gd name="connsiteX72" fmla="*/ 749140 w 1200744"/>
                  <a:gd name="connsiteY72" fmla="*/ 965065 h 1046508"/>
                  <a:gd name="connsiteX73" fmla="*/ 626271 w 1200744"/>
                  <a:gd name="connsiteY73" fmla="*/ 1046508 h 1046508"/>
                  <a:gd name="connsiteX74" fmla="*/ 533770 w 1200744"/>
                  <a:gd name="connsiteY74" fmla="*/ 1046508 h 1046508"/>
                  <a:gd name="connsiteX75" fmla="*/ 410901 w 1200744"/>
                  <a:gd name="connsiteY75" fmla="*/ 965065 h 1046508"/>
                  <a:gd name="connsiteX76" fmla="*/ 407153 w 1200744"/>
                  <a:gd name="connsiteY76" fmla="*/ 946496 h 1046508"/>
                  <a:gd name="connsiteX77" fmla="*/ 190500 w 1200744"/>
                  <a:gd name="connsiteY77" fmla="*/ 946496 h 1046508"/>
                  <a:gd name="connsiteX78" fmla="*/ 59532 w 1200744"/>
                  <a:gd name="connsiteY78" fmla="*/ 825052 h 1046508"/>
                  <a:gd name="connsiteX79" fmla="*/ 59432 w 1200744"/>
                  <a:gd name="connsiteY79" fmla="*/ 710643 h 1046508"/>
                  <a:gd name="connsiteX80" fmla="*/ 48816 w 1200744"/>
                  <a:gd name="connsiteY80" fmla="*/ 710643 h 1046508"/>
                  <a:gd name="connsiteX81" fmla="*/ 14298 w 1200744"/>
                  <a:gd name="connsiteY81" fmla="*/ 696345 h 1046508"/>
                  <a:gd name="connsiteX82" fmla="*/ 0 w 1200744"/>
                  <a:gd name="connsiteY82" fmla="*/ 661828 h 1046508"/>
                  <a:gd name="connsiteX83" fmla="*/ 14298 w 1200744"/>
                  <a:gd name="connsiteY83" fmla="*/ 627310 h 1046508"/>
                  <a:gd name="connsiteX84" fmla="*/ 48816 w 1200744"/>
                  <a:gd name="connsiteY84" fmla="*/ 613012 h 1046508"/>
                  <a:gd name="connsiteX85" fmla="*/ 59346 w 1200744"/>
                  <a:gd name="connsiteY85" fmla="*/ 613012 h 1046508"/>
                  <a:gd name="connsiteX86" fmla="*/ 59247 w 1200744"/>
                  <a:gd name="connsiteY86" fmla="*/ 501147 h 1046508"/>
                  <a:gd name="connsiteX87" fmla="*/ 48816 w 1200744"/>
                  <a:gd name="connsiteY87" fmla="*/ 501147 h 1046508"/>
                  <a:gd name="connsiteX88" fmla="*/ 14298 w 1200744"/>
                  <a:gd name="connsiteY88" fmla="*/ 486849 h 1046508"/>
                  <a:gd name="connsiteX89" fmla="*/ 0 w 1200744"/>
                  <a:gd name="connsiteY89" fmla="*/ 452332 h 1046508"/>
                  <a:gd name="connsiteX90" fmla="*/ 14298 w 1200744"/>
                  <a:gd name="connsiteY90" fmla="*/ 417814 h 1046508"/>
                  <a:gd name="connsiteX91" fmla="*/ 48816 w 1200744"/>
                  <a:gd name="connsiteY91" fmla="*/ 403516 h 1046508"/>
                  <a:gd name="connsiteX92" fmla="*/ 59161 w 1200744"/>
                  <a:gd name="connsiteY92" fmla="*/ 403516 h 1046508"/>
                  <a:gd name="connsiteX93" fmla="*/ 59063 w 1200744"/>
                  <a:gd name="connsiteY93" fmla="*/ 291651 h 1046508"/>
                  <a:gd name="connsiteX94" fmla="*/ 48816 w 1200744"/>
                  <a:gd name="connsiteY94" fmla="*/ 291651 h 1046508"/>
                  <a:gd name="connsiteX95" fmla="*/ 14298 w 1200744"/>
                  <a:gd name="connsiteY95" fmla="*/ 277353 h 1046508"/>
                  <a:gd name="connsiteX96" fmla="*/ 0 w 1200744"/>
                  <a:gd name="connsiteY96" fmla="*/ 242836 h 1046508"/>
                  <a:gd name="connsiteX97" fmla="*/ 14298 w 1200744"/>
                  <a:gd name="connsiteY97" fmla="*/ 208318 h 1046508"/>
                  <a:gd name="connsiteX98" fmla="*/ 48816 w 1200744"/>
                  <a:gd name="connsiteY98" fmla="*/ 194020 h 1046508"/>
                  <a:gd name="connsiteX99" fmla="*/ 58977 w 1200744"/>
                  <a:gd name="connsiteY99" fmla="*/ 194020 h 1046508"/>
                  <a:gd name="connsiteX100" fmla="*/ 58806 w 1200744"/>
                  <a:gd name="connsiteY100"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1157493 w 1200744"/>
                  <a:gd name="connsiteY46" fmla="*/ 347675 h 1046508"/>
                  <a:gd name="connsiteX47" fmla="*/ 1200471 w 1200744"/>
                  <a:gd name="connsiteY47" fmla="*/ 381525 h 1046508"/>
                  <a:gd name="connsiteX48" fmla="*/ 1200470 w 1200744"/>
                  <a:gd name="connsiteY48" fmla="*/ 381526 h 1046508"/>
                  <a:gd name="connsiteX49" fmla="*/ 1166620 w 1200744"/>
                  <a:gd name="connsiteY49" fmla="*/ 424503 h 1046508"/>
                  <a:gd name="connsiteX50" fmla="*/ 883444 w 1200744"/>
                  <a:gd name="connsiteY50" fmla="*/ 458146 h 1046508"/>
                  <a:gd name="connsiteX51" fmla="*/ 883444 w 1200744"/>
                  <a:gd name="connsiteY51" fmla="*/ 506141 h 1046508"/>
                  <a:gd name="connsiteX52" fmla="*/ 792956 w 1200744"/>
                  <a:gd name="connsiteY52" fmla="*/ 516892 h 1046508"/>
                  <a:gd name="connsiteX53" fmla="*/ 792956 w 1200744"/>
                  <a:gd name="connsiteY53" fmla="*/ 468897 h 1046508"/>
                  <a:gd name="connsiteX54" fmla="*/ 688181 w 1200744"/>
                  <a:gd name="connsiteY54" fmla="*/ 481345 h 1046508"/>
                  <a:gd name="connsiteX55" fmla="*/ 688181 w 1200744"/>
                  <a:gd name="connsiteY55" fmla="*/ 529340 h 1046508"/>
                  <a:gd name="connsiteX56" fmla="*/ 418176 w 1200744"/>
                  <a:gd name="connsiteY56" fmla="*/ 561418 h 1046508"/>
                  <a:gd name="connsiteX57" fmla="*/ 392350 w 1200744"/>
                  <a:gd name="connsiteY57" fmla="*/ 575897 h 1046508"/>
                  <a:gd name="connsiteX58" fmla="*/ 384326 w 1200744"/>
                  <a:gd name="connsiteY58" fmla="*/ 604396 h 1046508"/>
                  <a:gd name="connsiteX59" fmla="*/ 398804 w 1200744"/>
                  <a:gd name="connsiteY59" fmla="*/ 630221 h 1046508"/>
                  <a:gd name="connsiteX60" fmla="*/ 427304 w 1200744"/>
                  <a:gd name="connsiteY60" fmla="*/ 638245 h 1046508"/>
                  <a:gd name="connsiteX61" fmla="*/ 1104900 w 1200744"/>
                  <a:gd name="connsiteY61" fmla="*/ 557742 h 1046508"/>
                  <a:gd name="connsiteX62" fmla="*/ 1104900 w 1200744"/>
                  <a:gd name="connsiteY62" fmla="*/ 558713 h 1046508"/>
                  <a:gd name="connsiteX63" fmla="*/ 1157491 w 1200744"/>
                  <a:gd name="connsiteY63" fmla="*/ 552464 h 1046508"/>
                  <a:gd name="connsiteX64" fmla="*/ 1200469 w 1200744"/>
                  <a:gd name="connsiteY64" fmla="*/ 586314 h 1046508"/>
                  <a:gd name="connsiteX65" fmla="*/ 1200468 w 1200744"/>
                  <a:gd name="connsiteY65" fmla="*/ 586314 h 1046508"/>
                  <a:gd name="connsiteX66" fmla="*/ 1166618 w 1200744"/>
                  <a:gd name="connsiteY66" fmla="*/ 629292 h 1046508"/>
                  <a:gd name="connsiteX67" fmla="*/ 1104900 w 1200744"/>
                  <a:gd name="connsiteY67" fmla="*/ 636624 h 1046508"/>
                  <a:gd name="connsiteX68" fmla="*/ 1104900 w 1200744"/>
                  <a:gd name="connsiteY68" fmla="*/ 817908 h 1046508"/>
                  <a:gd name="connsiteX69" fmla="*/ 971550 w 1200744"/>
                  <a:gd name="connsiteY69" fmla="*/ 946496 h 1046508"/>
                  <a:gd name="connsiteX70" fmla="*/ 752889 w 1200744"/>
                  <a:gd name="connsiteY70" fmla="*/ 946496 h 1046508"/>
                  <a:gd name="connsiteX71" fmla="*/ 749140 w 1200744"/>
                  <a:gd name="connsiteY71" fmla="*/ 965065 h 1046508"/>
                  <a:gd name="connsiteX72" fmla="*/ 626271 w 1200744"/>
                  <a:gd name="connsiteY72" fmla="*/ 1046508 h 1046508"/>
                  <a:gd name="connsiteX73" fmla="*/ 533770 w 1200744"/>
                  <a:gd name="connsiteY73" fmla="*/ 1046508 h 1046508"/>
                  <a:gd name="connsiteX74" fmla="*/ 410901 w 1200744"/>
                  <a:gd name="connsiteY74" fmla="*/ 965065 h 1046508"/>
                  <a:gd name="connsiteX75" fmla="*/ 407153 w 1200744"/>
                  <a:gd name="connsiteY75" fmla="*/ 946496 h 1046508"/>
                  <a:gd name="connsiteX76" fmla="*/ 190500 w 1200744"/>
                  <a:gd name="connsiteY76" fmla="*/ 946496 h 1046508"/>
                  <a:gd name="connsiteX77" fmla="*/ 59532 w 1200744"/>
                  <a:gd name="connsiteY77" fmla="*/ 825052 h 1046508"/>
                  <a:gd name="connsiteX78" fmla="*/ 59432 w 1200744"/>
                  <a:gd name="connsiteY78" fmla="*/ 710643 h 1046508"/>
                  <a:gd name="connsiteX79" fmla="*/ 48816 w 1200744"/>
                  <a:gd name="connsiteY79" fmla="*/ 710643 h 1046508"/>
                  <a:gd name="connsiteX80" fmla="*/ 14298 w 1200744"/>
                  <a:gd name="connsiteY80" fmla="*/ 696345 h 1046508"/>
                  <a:gd name="connsiteX81" fmla="*/ 0 w 1200744"/>
                  <a:gd name="connsiteY81" fmla="*/ 661828 h 1046508"/>
                  <a:gd name="connsiteX82" fmla="*/ 14298 w 1200744"/>
                  <a:gd name="connsiteY82" fmla="*/ 627310 h 1046508"/>
                  <a:gd name="connsiteX83" fmla="*/ 48816 w 1200744"/>
                  <a:gd name="connsiteY83" fmla="*/ 613012 h 1046508"/>
                  <a:gd name="connsiteX84" fmla="*/ 59346 w 1200744"/>
                  <a:gd name="connsiteY84" fmla="*/ 613012 h 1046508"/>
                  <a:gd name="connsiteX85" fmla="*/ 59247 w 1200744"/>
                  <a:gd name="connsiteY85" fmla="*/ 501147 h 1046508"/>
                  <a:gd name="connsiteX86" fmla="*/ 48816 w 1200744"/>
                  <a:gd name="connsiteY86" fmla="*/ 501147 h 1046508"/>
                  <a:gd name="connsiteX87" fmla="*/ 14298 w 1200744"/>
                  <a:gd name="connsiteY87" fmla="*/ 486849 h 1046508"/>
                  <a:gd name="connsiteX88" fmla="*/ 0 w 1200744"/>
                  <a:gd name="connsiteY88" fmla="*/ 452332 h 1046508"/>
                  <a:gd name="connsiteX89" fmla="*/ 14298 w 1200744"/>
                  <a:gd name="connsiteY89" fmla="*/ 417814 h 1046508"/>
                  <a:gd name="connsiteX90" fmla="*/ 48816 w 1200744"/>
                  <a:gd name="connsiteY90" fmla="*/ 403516 h 1046508"/>
                  <a:gd name="connsiteX91" fmla="*/ 59161 w 1200744"/>
                  <a:gd name="connsiteY91" fmla="*/ 403516 h 1046508"/>
                  <a:gd name="connsiteX92" fmla="*/ 59063 w 1200744"/>
                  <a:gd name="connsiteY92" fmla="*/ 291651 h 1046508"/>
                  <a:gd name="connsiteX93" fmla="*/ 48816 w 1200744"/>
                  <a:gd name="connsiteY93" fmla="*/ 291651 h 1046508"/>
                  <a:gd name="connsiteX94" fmla="*/ 14298 w 1200744"/>
                  <a:gd name="connsiteY94" fmla="*/ 277353 h 1046508"/>
                  <a:gd name="connsiteX95" fmla="*/ 0 w 1200744"/>
                  <a:gd name="connsiteY95" fmla="*/ 242836 h 1046508"/>
                  <a:gd name="connsiteX96" fmla="*/ 14298 w 1200744"/>
                  <a:gd name="connsiteY96" fmla="*/ 208318 h 1046508"/>
                  <a:gd name="connsiteX97" fmla="*/ 48816 w 1200744"/>
                  <a:gd name="connsiteY97" fmla="*/ 194020 h 1046508"/>
                  <a:gd name="connsiteX98" fmla="*/ 58977 w 1200744"/>
                  <a:gd name="connsiteY98" fmla="*/ 194020 h 1046508"/>
                  <a:gd name="connsiteX99" fmla="*/ 58806 w 1200744"/>
                  <a:gd name="connsiteY99"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83444 w 1200744"/>
                  <a:gd name="connsiteY34" fmla="*/ 235459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1157493 w 1200744"/>
                  <a:gd name="connsiteY45" fmla="*/ 347675 h 1046508"/>
                  <a:gd name="connsiteX46" fmla="*/ 1200471 w 1200744"/>
                  <a:gd name="connsiteY46" fmla="*/ 381525 h 1046508"/>
                  <a:gd name="connsiteX47" fmla="*/ 1200470 w 1200744"/>
                  <a:gd name="connsiteY47" fmla="*/ 381526 h 1046508"/>
                  <a:gd name="connsiteX48" fmla="*/ 1166620 w 1200744"/>
                  <a:gd name="connsiteY48" fmla="*/ 424503 h 1046508"/>
                  <a:gd name="connsiteX49" fmla="*/ 883444 w 1200744"/>
                  <a:gd name="connsiteY49" fmla="*/ 458146 h 1046508"/>
                  <a:gd name="connsiteX50" fmla="*/ 883444 w 1200744"/>
                  <a:gd name="connsiteY50" fmla="*/ 506141 h 1046508"/>
                  <a:gd name="connsiteX51" fmla="*/ 792956 w 1200744"/>
                  <a:gd name="connsiteY51" fmla="*/ 516892 h 1046508"/>
                  <a:gd name="connsiteX52" fmla="*/ 792956 w 1200744"/>
                  <a:gd name="connsiteY52" fmla="*/ 468897 h 1046508"/>
                  <a:gd name="connsiteX53" fmla="*/ 688181 w 1200744"/>
                  <a:gd name="connsiteY53" fmla="*/ 481345 h 1046508"/>
                  <a:gd name="connsiteX54" fmla="*/ 688181 w 1200744"/>
                  <a:gd name="connsiteY54" fmla="*/ 529340 h 1046508"/>
                  <a:gd name="connsiteX55" fmla="*/ 418176 w 1200744"/>
                  <a:gd name="connsiteY55" fmla="*/ 561418 h 1046508"/>
                  <a:gd name="connsiteX56" fmla="*/ 392350 w 1200744"/>
                  <a:gd name="connsiteY56" fmla="*/ 575897 h 1046508"/>
                  <a:gd name="connsiteX57" fmla="*/ 384326 w 1200744"/>
                  <a:gd name="connsiteY57" fmla="*/ 604396 h 1046508"/>
                  <a:gd name="connsiteX58" fmla="*/ 398804 w 1200744"/>
                  <a:gd name="connsiteY58" fmla="*/ 630221 h 1046508"/>
                  <a:gd name="connsiteX59" fmla="*/ 427304 w 1200744"/>
                  <a:gd name="connsiteY59" fmla="*/ 638245 h 1046508"/>
                  <a:gd name="connsiteX60" fmla="*/ 1104900 w 1200744"/>
                  <a:gd name="connsiteY60" fmla="*/ 557742 h 1046508"/>
                  <a:gd name="connsiteX61" fmla="*/ 1104900 w 1200744"/>
                  <a:gd name="connsiteY61" fmla="*/ 558713 h 1046508"/>
                  <a:gd name="connsiteX62" fmla="*/ 1157491 w 1200744"/>
                  <a:gd name="connsiteY62" fmla="*/ 552464 h 1046508"/>
                  <a:gd name="connsiteX63" fmla="*/ 1200469 w 1200744"/>
                  <a:gd name="connsiteY63" fmla="*/ 586314 h 1046508"/>
                  <a:gd name="connsiteX64" fmla="*/ 1200468 w 1200744"/>
                  <a:gd name="connsiteY64" fmla="*/ 586314 h 1046508"/>
                  <a:gd name="connsiteX65" fmla="*/ 1166618 w 1200744"/>
                  <a:gd name="connsiteY65" fmla="*/ 629292 h 1046508"/>
                  <a:gd name="connsiteX66" fmla="*/ 1104900 w 1200744"/>
                  <a:gd name="connsiteY66" fmla="*/ 636624 h 1046508"/>
                  <a:gd name="connsiteX67" fmla="*/ 1104900 w 1200744"/>
                  <a:gd name="connsiteY67" fmla="*/ 817908 h 1046508"/>
                  <a:gd name="connsiteX68" fmla="*/ 971550 w 1200744"/>
                  <a:gd name="connsiteY68" fmla="*/ 946496 h 1046508"/>
                  <a:gd name="connsiteX69" fmla="*/ 752889 w 1200744"/>
                  <a:gd name="connsiteY69" fmla="*/ 946496 h 1046508"/>
                  <a:gd name="connsiteX70" fmla="*/ 749140 w 1200744"/>
                  <a:gd name="connsiteY70" fmla="*/ 965065 h 1046508"/>
                  <a:gd name="connsiteX71" fmla="*/ 626271 w 1200744"/>
                  <a:gd name="connsiteY71" fmla="*/ 1046508 h 1046508"/>
                  <a:gd name="connsiteX72" fmla="*/ 533770 w 1200744"/>
                  <a:gd name="connsiteY72" fmla="*/ 1046508 h 1046508"/>
                  <a:gd name="connsiteX73" fmla="*/ 410901 w 1200744"/>
                  <a:gd name="connsiteY73" fmla="*/ 965065 h 1046508"/>
                  <a:gd name="connsiteX74" fmla="*/ 407153 w 1200744"/>
                  <a:gd name="connsiteY74" fmla="*/ 946496 h 1046508"/>
                  <a:gd name="connsiteX75" fmla="*/ 190500 w 1200744"/>
                  <a:gd name="connsiteY75" fmla="*/ 946496 h 1046508"/>
                  <a:gd name="connsiteX76" fmla="*/ 59532 w 1200744"/>
                  <a:gd name="connsiteY76" fmla="*/ 825052 h 1046508"/>
                  <a:gd name="connsiteX77" fmla="*/ 59432 w 1200744"/>
                  <a:gd name="connsiteY77" fmla="*/ 710643 h 1046508"/>
                  <a:gd name="connsiteX78" fmla="*/ 48816 w 1200744"/>
                  <a:gd name="connsiteY78" fmla="*/ 710643 h 1046508"/>
                  <a:gd name="connsiteX79" fmla="*/ 14298 w 1200744"/>
                  <a:gd name="connsiteY79" fmla="*/ 696345 h 1046508"/>
                  <a:gd name="connsiteX80" fmla="*/ 0 w 1200744"/>
                  <a:gd name="connsiteY80" fmla="*/ 661828 h 1046508"/>
                  <a:gd name="connsiteX81" fmla="*/ 14298 w 1200744"/>
                  <a:gd name="connsiteY81" fmla="*/ 627310 h 1046508"/>
                  <a:gd name="connsiteX82" fmla="*/ 48816 w 1200744"/>
                  <a:gd name="connsiteY82" fmla="*/ 613012 h 1046508"/>
                  <a:gd name="connsiteX83" fmla="*/ 59346 w 1200744"/>
                  <a:gd name="connsiteY83" fmla="*/ 613012 h 1046508"/>
                  <a:gd name="connsiteX84" fmla="*/ 59247 w 1200744"/>
                  <a:gd name="connsiteY84" fmla="*/ 501147 h 1046508"/>
                  <a:gd name="connsiteX85" fmla="*/ 48816 w 1200744"/>
                  <a:gd name="connsiteY85" fmla="*/ 501147 h 1046508"/>
                  <a:gd name="connsiteX86" fmla="*/ 14298 w 1200744"/>
                  <a:gd name="connsiteY86" fmla="*/ 486849 h 1046508"/>
                  <a:gd name="connsiteX87" fmla="*/ 0 w 1200744"/>
                  <a:gd name="connsiteY87" fmla="*/ 452332 h 1046508"/>
                  <a:gd name="connsiteX88" fmla="*/ 14298 w 1200744"/>
                  <a:gd name="connsiteY88" fmla="*/ 417814 h 1046508"/>
                  <a:gd name="connsiteX89" fmla="*/ 48816 w 1200744"/>
                  <a:gd name="connsiteY89" fmla="*/ 403516 h 1046508"/>
                  <a:gd name="connsiteX90" fmla="*/ 59161 w 1200744"/>
                  <a:gd name="connsiteY90" fmla="*/ 403516 h 1046508"/>
                  <a:gd name="connsiteX91" fmla="*/ 59063 w 1200744"/>
                  <a:gd name="connsiteY91" fmla="*/ 291651 h 1046508"/>
                  <a:gd name="connsiteX92" fmla="*/ 48816 w 1200744"/>
                  <a:gd name="connsiteY92" fmla="*/ 291651 h 1046508"/>
                  <a:gd name="connsiteX93" fmla="*/ 14298 w 1200744"/>
                  <a:gd name="connsiteY93" fmla="*/ 277353 h 1046508"/>
                  <a:gd name="connsiteX94" fmla="*/ 0 w 1200744"/>
                  <a:gd name="connsiteY94" fmla="*/ 242836 h 1046508"/>
                  <a:gd name="connsiteX95" fmla="*/ 14298 w 1200744"/>
                  <a:gd name="connsiteY95" fmla="*/ 208318 h 1046508"/>
                  <a:gd name="connsiteX96" fmla="*/ 48816 w 1200744"/>
                  <a:gd name="connsiteY96" fmla="*/ 194020 h 1046508"/>
                  <a:gd name="connsiteX97" fmla="*/ 58977 w 1200744"/>
                  <a:gd name="connsiteY97" fmla="*/ 194020 h 1046508"/>
                  <a:gd name="connsiteX98" fmla="*/ 58806 w 1200744"/>
                  <a:gd name="connsiteY98"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78682 w 1200744"/>
                  <a:gd name="connsiteY34" fmla="*/ 240221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1157493 w 1200744"/>
                  <a:gd name="connsiteY45" fmla="*/ 347675 h 1046508"/>
                  <a:gd name="connsiteX46" fmla="*/ 1200471 w 1200744"/>
                  <a:gd name="connsiteY46" fmla="*/ 381525 h 1046508"/>
                  <a:gd name="connsiteX47" fmla="*/ 1200470 w 1200744"/>
                  <a:gd name="connsiteY47" fmla="*/ 381526 h 1046508"/>
                  <a:gd name="connsiteX48" fmla="*/ 1166620 w 1200744"/>
                  <a:gd name="connsiteY48" fmla="*/ 424503 h 1046508"/>
                  <a:gd name="connsiteX49" fmla="*/ 883444 w 1200744"/>
                  <a:gd name="connsiteY49" fmla="*/ 458146 h 1046508"/>
                  <a:gd name="connsiteX50" fmla="*/ 883444 w 1200744"/>
                  <a:gd name="connsiteY50" fmla="*/ 506141 h 1046508"/>
                  <a:gd name="connsiteX51" fmla="*/ 792956 w 1200744"/>
                  <a:gd name="connsiteY51" fmla="*/ 516892 h 1046508"/>
                  <a:gd name="connsiteX52" fmla="*/ 792956 w 1200744"/>
                  <a:gd name="connsiteY52" fmla="*/ 468897 h 1046508"/>
                  <a:gd name="connsiteX53" fmla="*/ 688181 w 1200744"/>
                  <a:gd name="connsiteY53" fmla="*/ 481345 h 1046508"/>
                  <a:gd name="connsiteX54" fmla="*/ 688181 w 1200744"/>
                  <a:gd name="connsiteY54" fmla="*/ 529340 h 1046508"/>
                  <a:gd name="connsiteX55" fmla="*/ 418176 w 1200744"/>
                  <a:gd name="connsiteY55" fmla="*/ 561418 h 1046508"/>
                  <a:gd name="connsiteX56" fmla="*/ 392350 w 1200744"/>
                  <a:gd name="connsiteY56" fmla="*/ 575897 h 1046508"/>
                  <a:gd name="connsiteX57" fmla="*/ 384326 w 1200744"/>
                  <a:gd name="connsiteY57" fmla="*/ 604396 h 1046508"/>
                  <a:gd name="connsiteX58" fmla="*/ 398804 w 1200744"/>
                  <a:gd name="connsiteY58" fmla="*/ 630221 h 1046508"/>
                  <a:gd name="connsiteX59" fmla="*/ 427304 w 1200744"/>
                  <a:gd name="connsiteY59" fmla="*/ 638245 h 1046508"/>
                  <a:gd name="connsiteX60" fmla="*/ 1104900 w 1200744"/>
                  <a:gd name="connsiteY60" fmla="*/ 557742 h 1046508"/>
                  <a:gd name="connsiteX61" fmla="*/ 1104900 w 1200744"/>
                  <a:gd name="connsiteY61" fmla="*/ 558713 h 1046508"/>
                  <a:gd name="connsiteX62" fmla="*/ 1157491 w 1200744"/>
                  <a:gd name="connsiteY62" fmla="*/ 552464 h 1046508"/>
                  <a:gd name="connsiteX63" fmla="*/ 1200469 w 1200744"/>
                  <a:gd name="connsiteY63" fmla="*/ 586314 h 1046508"/>
                  <a:gd name="connsiteX64" fmla="*/ 1200468 w 1200744"/>
                  <a:gd name="connsiteY64" fmla="*/ 586314 h 1046508"/>
                  <a:gd name="connsiteX65" fmla="*/ 1166618 w 1200744"/>
                  <a:gd name="connsiteY65" fmla="*/ 629292 h 1046508"/>
                  <a:gd name="connsiteX66" fmla="*/ 1104900 w 1200744"/>
                  <a:gd name="connsiteY66" fmla="*/ 636624 h 1046508"/>
                  <a:gd name="connsiteX67" fmla="*/ 1104900 w 1200744"/>
                  <a:gd name="connsiteY67" fmla="*/ 817908 h 1046508"/>
                  <a:gd name="connsiteX68" fmla="*/ 971550 w 1200744"/>
                  <a:gd name="connsiteY68" fmla="*/ 946496 h 1046508"/>
                  <a:gd name="connsiteX69" fmla="*/ 752889 w 1200744"/>
                  <a:gd name="connsiteY69" fmla="*/ 946496 h 1046508"/>
                  <a:gd name="connsiteX70" fmla="*/ 749140 w 1200744"/>
                  <a:gd name="connsiteY70" fmla="*/ 965065 h 1046508"/>
                  <a:gd name="connsiteX71" fmla="*/ 626271 w 1200744"/>
                  <a:gd name="connsiteY71" fmla="*/ 1046508 h 1046508"/>
                  <a:gd name="connsiteX72" fmla="*/ 533770 w 1200744"/>
                  <a:gd name="connsiteY72" fmla="*/ 1046508 h 1046508"/>
                  <a:gd name="connsiteX73" fmla="*/ 410901 w 1200744"/>
                  <a:gd name="connsiteY73" fmla="*/ 965065 h 1046508"/>
                  <a:gd name="connsiteX74" fmla="*/ 407153 w 1200744"/>
                  <a:gd name="connsiteY74" fmla="*/ 946496 h 1046508"/>
                  <a:gd name="connsiteX75" fmla="*/ 190500 w 1200744"/>
                  <a:gd name="connsiteY75" fmla="*/ 946496 h 1046508"/>
                  <a:gd name="connsiteX76" fmla="*/ 59532 w 1200744"/>
                  <a:gd name="connsiteY76" fmla="*/ 825052 h 1046508"/>
                  <a:gd name="connsiteX77" fmla="*/ 59432 w 1200744"/>
                  <a:gd name="connsiteY77" fmla="*/ 710643 h 1046508"/>
                  <a:gd name="connsiteX78" fmla="*/ 48816 w 1200744"/>
                  <a:gd name="connsiteY78" fmla="*/ 710643 h 1046508"/>
                  <a:gd name="connsiteX79" fmla="*/ 14298 w 1200744"/>
                  <a:gd name="connsiteY79" fmla="*/ 696345 h 1046508"/>
                  <a:gd name="connsiteX80" fmla="*/ 0 w 1200744"/>
                  <a:gd name="connsiteY80" fmla="*/ 661828 h 1046508"/>
                  <a:gd name="connsiteX81" fmla="*/ 14298 w 1200744"/>
                  <a:gd name="connsiteY81" fmla="*/ 627310 h 1046508"/>
                  <a:gd name="connsiteX82" fmla="*/ 48816 w 1200744"/>
                  <a:gd name="connsiteY82" fmla="*/ 613012 h 1046508"/>
                  <a:gd name="connsiteX83" fmla="*/ 59346 w 1200744"/>
                  <a:gd name="connsiteY83" fmla="*/ 613012 h 1046508"/>
                  <a:gd name="connsiteX84" fmla="*/ 59247 w 1200744"/>
                  <a:gd name="connsiteY84" fmla="*/ 501147 h 1046508"/>
                  <a:gd name="connsiteX85" fmla="*/ 48816 w 1200744"/>
                  <a:gd name="connsiteY85" fmla="*/ 501147 h 1046508"/>
                  <a:gd name="connsiteX86" fmla="*/ 14298 w 1200744"/>
                  <a:gd name="connsiteY86" fmla="*/ 486849 h 1046508"/>
                  <a:gd name="connsiteX87" fmla="*/ 0 w 1200744"/>
                  <a:gd name="connsiteY87" fmla="*/ 452332 h 1046508"/>
                  <a:gd name="connsiteX88" fmla="*/ 14298 w 1200744"/>
                  <a:gd name="connsiteY88" fmla="*/ 417814 h 1046508"/>
                  <a:gd name="connsiteX89" fmla="*/ 48816 w 1200744"/>
                  <a:gd name="connsiteY89" fmla="*/ 403516 h 1046508"/>
                  <a:gd name="connsiteX90" fmla="*/ 59161 w 1200744"/>
                  <a:gd name="connsiteY90" fmla="*/ 403516 h 1046508"/>
                  <a:gd name="connsiteX91" fmla="*/ 59063 w 1200744"/>
                  <a:gd name="connsiteY91" fmla="*/ 291651 h 1046508"/>
                  <a:gd name="connsiteX92" fmla="*/ 48816 w 1200744"/>
                  <a:gd name="connsiteY92" fmla="*/ 291651 h 1046508"/>
                  <a:gd name="connsiteX93" fmla="*/ 14298 w 1200744"/>
                  <a:gd name="connsiteY93" fmla="*/ 277353 h 1046508"/>
                  <a:gd name="connsiteX94" fmla="*/ 0 w 1200744"/>
                  <a:gd name="connsiteY94" fmla="*/ 242836 h 1046508"/>
                  <a:gd name="connsiteX95" fmla="*/ 14298 w 1200744"/>
                  <a:gd name="connsiteY95" fmla="*/ 208318 h 1046508"/>
                  <a:gd name="connsiteX96" fmla="*/ 48816 w 1200744"/>
                  <a:gd name="connsiteY96" fmla="*/ 194020 h 1046508"/>
                  <a:gd name="connsiteX97" fmla="*/ 58977 w 1200744"/>
                  <a:gd name="connsiteY97" fmla="*/ 194020 h 1046508"/>
                  <a:gd name="connsiteX98" fmla="*/ 58806 w 1200744"/>
                  <a:gd name="connsiteY98" fmla="*/ 0 h 1046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200744" h="1046508">
                    <a:moveTo>
                      <a:pt x="269392" y="583922"/>
                    </a:moveTo>
                    <a:cubicBezTo>
                      <a:pt x="247034" y="583922"/>
                      <a:pt x="228910" y="602046"/>
                      <a:pt x="228910" y="624404"/>
                    </a:cubicBezTo>
                    <a:cubicBezTo>
                      <a:pt x="228910" y="646762"/>
                      <a:pt x="247034" y="664886"/>
                      <a:pt x="269392" y="664886"/>
                    </a:cubicBezTo>
                    <a:cubicBezTo>
                      <a:pt x="291750" y="664886"/>
                      <a:pt x="309874" y="646762"/>
                      <a:pt x="309874" y="624404"/>
                    </a:cubicBezTo>
                    <a:cubicBezTo>
                      <a:pt x="309874" y="602046"/>
                      <a:pt x="291750" y="583922"/>
                      <a:pt x="269392" y="583922"/>
                    </a:cubicBezTo>
                    <a:close/>
                    <a:moveTo>
                      <a:pt x="269392" y="373750"/>
                    </a:moveTo>
                    <a:cubicBezTo>
                      <a:pt x="247034" y="373750"/>
                      <a:pt x="228910" y="391874"/>
                      <a:pt x="228910" y="414232"/>
                    </a:cubicBezTo>
                    <a:cubicBezTo>
                      <a:pt x="228910" y="436590"/>
                      <a:pt x="247034" y="454714"/>
                      <a:pt x="269392" y="454714"/>
                    </a:cubicBezTo>
                    <a:cubicBezTo>
                      <a:pt x="291750" y="454714"/>
                      <a:pt x="309874" y="436590"/>
                      <a:pt x="309874" y="414232"/>
                    </a:cubicBezTo>
                    <a:cubicBezTo>
                      <a:pt x="309874" y="391874"/>
                      <a:pt x="291750" y="373750"/>
                      <a:pt x="269392" y="373750"/>
                    </a:cubicBezTo>
                    <a:close/>
                    <a:moveTo>
                      <a:pt x="269392" y="163063"/>
                    </a:moveTo>
                    <a:cubicBezTo>
                      <a:pt x="247034" y="163063"/>
                      <a:pt x="228910" y="181187"/>
                      <a:pt x="228910" y="203545"/>
                    </a:cubicBezTo>
                    <a:cubicBezTo>
                      <a:pt x="228910" y="225903"/>
                      <a:pt x="247034" y="244027"/>
                      <a:pt x="269392" y="244027"/>
                    </a:cubicBezTo>
                    <a:cubicBezTo>
                      <a:pt x="291750" y="244027"/>
                      <a:pt x="309874" y="225903"/>
                      <a:pt x="309874" y="203545"/>
                    </a:cubicBezTo>
                    <a:cubicBezTo>
                      <a:pt x="309874" y="181187"/>
                      <a:pt x="291750" y="163063"/>
                      <a:pt x="269392" y="163063"/>
                    </a:cubicBezTo>
                    <a:close/>
                    <a:moveTo>
                      <a:pt x="797719" y="0"/>
                    </a:moveTo>
                    <a:lnTo>
                      <a:pt x="883444" y="0"/>
                    </a:lnTo>
                    <a:lnTo>
                      <a:pt x="883444" y="79897"/>
                    </a:lnTo>
                    <a:lnTo>
                      <a:pt x="797719" y="90082"/>
                    </a:lnTo>
                    <a:lnTo>
                      <a:pt x="797719" y="0"/>
                    </a:lnTo>
                    <a:close/>
                    <a:moveTo>
                      <a:pt x="58806" y="0"/>
                    </a:moveTo>
                    <a:lnTo>
                      <a:pt x="692944" y="0"/>
                    </a:lnTo>
                    <a:lnTo>
                      <a:pt x="692944" y="102530"/>
                    </a:lnTo>
                    <a:lnTo>
                      <a:pt x="418176" y="135174"/>
                    </a:lnTo>
                    <a:cubicBezTo>
                      <a:pt x="407569" y="136435"/>
                      <a:pt x="398476" y="141875"/>
                      <a:pt x="392350" y="149653"/>
                    </a:cubicBezTo>
                    <a:lnTo>
                      <a:pt x="384326" y="178152"/>
                    </a:lnTo>
                    <a:lnTo>
                      <a:pt x="398804" y="203977"/>
                    </a:lnTo>
                    <a:cubicBezTo>
                      <a:pt x="406582" y="210103"/>
                      <a:pt x="416696" y="213262"/>
                      <a:pt x="427304" y="212001"/>
                    </a:cubicBezTo>
                    <a:lnTo>
                      <a:pt x="1104900" y="131498"/>
                    </a:lnTo>
                    <a:lnTo>
                      <a:pt x="1104900" y="134851"/>
                    </a:lnTo>
                    <a:lnTo>
                      <a:pt x="1157493" y="128603"/>
                    </a:lnTo>
                    <a:cubicBezTo>
                      <a:pt x="1178709" y="126082"/>
                      <a:pt x="1197951" y="141237"/>
                      <a:pt x="1200471" y="162453"/>
                    </a:cubicBezTo>
                    <a:lnTo>
                      <a:pt x="1200470" y="162453"/>
                    </a:lnTo>
                    <a:cubicBezTo>
                      <a:pt x="1202991" y="183669"/>
                      <a:pt x="1187836" y="202910"/>
                      <a:pt x="1166620" y="205431"/>
                    </a:cubicBezTo>
                    <a:lnTo>
                      <a:pt x="878682" y="240221"/>
                    </a:lnTo>
                    <a:lnTo>
                      <a:pt x="883444" y="298972"/>
                    </a:lnTo>
                    <a:lnTo>
                      <a:pt x="792956" y="309723"/>
                    </a:lnTo>
                    <a:lnTo>
                      <a:pt x="792956" y="265459"/>
                    </a:lnTo>
                    <a:lnTo>
                      <a:pt x="688181" y="265459"/>
                    </a:lnTo>
                    <a:lnTo>
                      <a:pt x="688181" y="322171"/>
                    </a:lnTo>
                    <a:lnTo>
                      <a:pt x="418176" y="354249"/>
                    </a:lnTo>
                    <a:cubicBezTo>
                      <a:pt x="407569" y="355510"/>
                      <a:pt x="398476" y="360950"/>
                      <a:pt x="392350" y="368728"/>
                    </a:cubicBezTo>
                    <a:lnTo>
                      <a:pt x="384326" y="397227"/>
                    </a:lnTo>
                    <a:lnTo>
                      <a:pt x="398804" y="423052"/>
                    </a:lnTo>
                    <a:cubicBezTo>
                      <a:pt x="406582" y="429178"/>
                      <a:pt x="416696" y="432337"/>
                      <a:pt x="427304" y="431076"/>
                    </a:cubicBezTo>
                    <a:lnTo>
                      <a:pt x="1157493" y="347675"/>
                    </a:lnTo>
                    <a:cubicBezTo>
                      <a:pt x="1178709" y="345155"/>
                      <a:pt x="1197950" y="360310"/>
                      <a:pt x="1200471" y="381525"/>
                    </a:cubicBezTo>
                    <a:lnTo>
                      <a:pt x="1200470" y="381526"/>
                    </a:lnTo>
                    <a:cubicBezTo>
                      <a:pt x="1202991" y="402741"/>
                      <a:pt x="1187836" y="421983"/>
                      <a:pt x="1166620" y="424503"/>
                    </a:cubicBezTo>
                    <a:lnTo>
                      <a:pt x="883444" y="458146"/>
                    </a:lnTo>
                    <a:lnTo>
                      <a:pt x="883444" y="506141"/>
                    </a:lnTo>
                    <a:lnTo>
                      <a:pt x="792956" y="516892"/>
                    </a:lnTo>
                    <a:lnTo>
                      <a:pt x="792956" y="468897"/>
                    </a:lnTo>
                    <a:lnTo>
                      <a:pt x="688181" y="481345"/>
                    </a:lnTo>
                    <a:lnTo>
                      <a:pt x="688181" y="529340"/>
                    </a:lnTo>
                    <a:lnTo>
                      <a:pt x="418176" y="561418"/>
                    </a:lnTo>
                    <a:cubicBezTo>
                      <a:pt x="407569" y="562679"/>
                      <a:pt x="398476" y="568119"/>
                      <a:pt x="392350" y="575897"/>
                    </a:cubicBezTo>
                    <a:lnTo>
                      <a:pt x="384326" y="604396"/>
                    </a:lnTo>
                    <a:lnTo>
                      <a:pt x="398804" y="630221"/>
                    </a:lnTo>
                    <a:cubicBezTo>
                      <a:pt x="406582" y="636347"/>
                      <a:pt x="416696" y="639506"/>
                      <a:pt x="427304" y="638245"/>
                    </a:cubicBezTo>
                    <a:lnTo>
                      <a:pt x="1104900" y="557742"/>
                    </a:lnTo>
                    <a:lnTo>
                      <a:pt x="1104900" y="558713"/>
                    </a:lnTo>
                    <a:lnTo>
                      <a:pt x="1157491" y="552464"/>
                    </a:lnTo>
                    <a:cubicBezTo>
                      <a:pt x="1178707" y="549944"/>
                      <a:pt x="1197948" y="565099"/>
                      <a:pt x="1200469" y="586314"/>
                    </a:cubicBezTo>
                    <a:lnTo>
                      <a:pt x="1200468" y="586314"/>
                    </a:lnTo>
                    <a:cubicBezTo>
                      <a:pt x="1202989" y="607530"/>
                      <a:pt x="1187834" y="626772"/>
                      <a:pt x="1166618" y="629292"/>
                    </a:cubicBezTo>
                    <a:lnTo>
                      <a:pt x="1104900" y="636624"/>
                    </a:lnTo>
                    <a:lnTo>
                      <a:pt x="1104900" y="817908"/>
                    </a:lnTo>
                    <a:lnTo>
                      <a:pt x="971550" y="946496"/>
                    </a:lnTo>
                    <a:lnTo>
                      <a:pt x="752889" y="946496"/>
                    </a:lnTo>
                    <a:lnTo>
                      <a:pt x="749140" y="965065"/>
                    </a:lnTo>
                    <a:cubicBezTo>
                      <a:pt x="728897" y="1012926"/>
                      <a:pt x="681506" y="1046508"/>
                      <a:pt x="626271" y="1046508"/>
                    </a:cubicBezTo>
                    <a:lnTo>
                      <a:pt x="533770" y="1046508"/>
                    </a:lnTo>
                    <a:cubicBezTo>
                      <a:pt x="478536" y="1046508"/>
                      <a:pt x="431145" y="1012926"/>
                      <a:pt x="410901" y="965065"/>
                    </a:cubicBezTo>
                    <a:lnTo>
                      <a:pt x="407153" y="946496"/>
                    </a:lnTo>
                    <a:lnTo>
                      <a:pt x="190500" y="946496"/>
                    </a:lnTo>
                    <a:lnTo>
                      <a:pt x="59532" y="825052"/>
                    </a:lnTo>
                    <a:cubicBezTo>
                      <a:pt x="59499" y="786916"/>
                      <a:pt x="59465" y="748779"/>
                      <a:pt x="59432" y="710643"/>
                    </a:cubicBezTo>
                    <a:lnTo>
                      <a:pt x="48816" y="710643"/>
                    </a:lnTo>
                    <a:cubicBezTo>
                      <a:pt x="35336" y="710643"/>
                      <a:pt x="23132" y="705179"/>
                      <a:pt x="14298" y="696345"/>
                    </a:cubicBezTo>
                    <a:lnTo>
                      <a:pt x="0" y="661828"/>
                    </a:lnTo>
                    <a:lnTo>
                      <a:pt x="14298" y="627310"/>
                    </a:lnTo>
                    <a:cubicBezTo>
                      <a:pt x="23132" y="618476"/>
                      <a:pt x="35336" y="613012"/>
                      <a:pt x="48816" y="613012"/>
                    </a:cubicBezTo>
                    <a:lnTo>
                      <a:pt x="59346" y="613012"/>
                    </a:lnTo>
                    <a:cubicBezTo>
                      <a:pt x="59313" y="575724"/>
                      <a:pt x="59280" y="538435"/>
                      <a:pt x="59247" y="501147"/>
                    </a:cubicBezTo>
                    <a:lnTo>
                      <a:pt x="48816" y="501147"/>
                    </a:lnTo>
                    <a:cubicBezTo>
                      <a:pt x="35336" y="501147"/>
                      <a:pt x="23132" y="495683"/>
                      <a:pt x="14298" y="486849"/>
                    </a:cubicBezTo>
                    <a:lnTo>
                      <a:pt x="0" y="452332"/>
                    </a:lnTo>
                    <a:lnTo>
                      <a:pt x="14298" y="417814"/>
                    </a:lnTo>
                    <a:cubicBezTo>
                      <a:pt x="23132" y="408980"/>
                      <a:pt x="35336" y="403516"/>
                      <a:pt x="48816" y="403516"/>
                    </a:cubicBezTo>
                    <a:lnTo>
                      <a:pt x="59161" y="403516"/>
                    </a:lnTo>
                    <a:cubicBezTo>
                      <a:pt x="59128" y="366228"/>
                      <a:pt x="59096" y="328939"/>
                      <a:pt x="59063" y="291651"/>
                    </a:cubicBezTo>
                    <a:lnTo>
                      <a:pt x="48816" y="291651"/>
                    </a:lnTo>
                    <a:cubicBezTo>
                      <a:pt x="35336" y="291651"/>
                      <a:pt x="23132" y="286187"/>
                      <a:pt x="14298" y="277353"/>
                    </a:cubicBezTo>
                    <a:lnTo>
                      <a:pt x="0" y="242836"/>
                    </a:lnTo>
                    <a:lnTo>
                      <a:pt x="14298" y="208318"/>
                    </a:lnTo>
                    <a:cubicBezTo>
                      <a:pt x="23132" y="199484"/>
                      <a:pt x="35336" y="194020"/>
                      <a:pt x="48816" y="194020"/>
                    </a:cubicBezTo>
                    <a:lnTo>
                      <a:pt x="58977" y="194020"/>
                    </a:lnTo>
                    <a:lnTo>
                      <a:pt x="58806"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62" name="Freeform 61"/>
              <p:cNvSpPr/>
              <p:nvPr/>
            </p:nvSpPr>
            <p:spPr>
              <a:xfrm>
                <a:off x="4242295" y="1685754"/>
                <a:ext cx="3701002" cy="3743106"/>
              </a:xfrm>
              <a:custGeom>
                <a:avLst/>
                <a:gdLst>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0346 w 3701002"/>
                  <a:gd name="connsiteY11" fmla="*/ 3114359 h 3743106"/>
                  <a:gd name="connsiteX12" fmla="*/ 2659635 w 3701002"/>
                  <a:gd name="connsiteY12" fmla="*/ 3107286 h 3743106"/>
                  <a:gd name="connsiteX13" fmla="*/ 3122601 w 3701002"/>
                  <a:gd name="connsiteY13" fmla="*/ 2107732 h 3743106"/>
                  <a:gd name="connsiteX14" fmla="*/ 1850392 w 3701002"/>
                  <a:gd name="connsiteY14" fmla="*/ 812383 h 3743106"/>
                  <a:gd name="connsiteX15" fmla="*/ 578183 w 3701002"/>
                  <a:gd name="connsiteY15" fmla="*/ 2107732 h 3743106"/>
                  <a:gd name="connsiteX16" fmla="*/ 950805 w 3701002"/>
                  <a:gd name="connsiteY16" fmla="*/ 3023682 h 3743106"/>
                  <a:gd name="connsiteX17" fmla="*/ 1028685 w 3701002"/>
                  <a:gd name="connsiteY17" fmla="*/ 3095752 h 3743106"/>
                  <a:gd name="connsiteX18" fmla="*/ 1145044 w 3701002"/>
                  <a:gd name="connsiteY18" fmla="*/ 3252006 h 3743106"/>
                  <a:gd name="connsiteX19" fmla="*/ 1289824 w 3701002"/>
                  <a:gd name="connsiteY19" fmla="*/ 3549186 h 3743106"/>
                  <a:gd name="connsiteX20" fmla="*/ 1131709 w 3701002"/>
                  <a:gd name="connsiteY20" fmla="*/ 3739686 h 3743106"/>
                  <a:gd name="connsiteX21" fmla="*/ 881519 w 3701002"/>
                  <a:gd name="connsiteY21" fmla="*/ 3637451 h 3743106"/>
                  <a:gd name="connsiteX22" fmla="*/ 771664 w 3701002"/>
                  <a:gd name="connsiteY22" fmla="*/ 3290106 h 3743106"/>
                  <a:gd name="connsiteX23" fmla="*/ 377329 w 3701002"/>
                  <a:gd name="connsiteY23" fmla="*/ 3103416 h 3743106"/>
                  <a:gd name="connsiteX24" fmla="*/ 344944 w 3701002"/>
                  <a:gd name="connsiteY24" fmla="*/ 2482386 h 3743106"/>
                  <a:gd name="connsiteX25" fmla="*/ 139 w 3701002"/>
                  <a:gd name="connsiteY25" fmla="*/ 1970576 h 3743106"/>
                  <a:gd name="connsiteX26" fmla="*/ 451624 w 3701002"/>
                  <a:gd name="connsiteY26" fmla="*/ 1403521 h 3743106"/>
                  <a:gd name="connsiteX27" fmla="*/ 496709 w 3701002"/>
                  <a:gd name="connsiteY27" fmla="*/ 659301 h 3743106"/>
                  <a:gd name="connsiteX28" fmla="*/ 1199019 w 3701002"/>
                  <a:gd name="connsiteY28" fmla="*/ 517061 h 3743106"/>
                  <a:gd name="connsiteX29" fmla="*/ 1831479 w 3701002"/>
                  <a:gd name="connsiteY29"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028685 w 3701002"/>
                  <a:gd name="connsiteY16" fmla="*/ 3095752 h 3743106"/>
                  <a:gd name="connsiteX17" fmla="*/ 1145044 w 3701002"/>
                  <a:gd name="connsiteY17" fmla="*/ 3252006 h 3743106"/>
                  <a:gd name="connsiteX18" fmla="*/ 1289824 w 3701002"/>
                  <a:gd name="connsiteY18" fmla="*/ 3549186 h 3743106"/>
                  <a:gd name="connsiteX19" fmla="*/ 1131709 w 3701002"/>
                  <a:gd name="connsiteY19" fmla="*/ 3739686 h 3743106"/>
                  <a:gd name="connsiteX20" fmla="*/ 881519 w 3701002"/>
                  <a:gd name="connsiteY20" fmla="*/ 3637451 h 3743106"/>
                  <a:gd name="connsiteX21" fmla="*/ 771664 w 3701002"/>
                  <a:gd name="connsiteY21" fmla="*/ 3290106 h 3743106"/>
                  <a:gd name="connsiteX22" fmla="*/ 377329 w 3701002"/>
                  <a:gd name="connsiteY22" fmla="*/ 3103416 h 3743106"/>
                  <a:gd name="connsiteX23" fmla="*/ 344944 w 3701002"/>
                  <a:gd name="connsiteY23" fmla="*/ 2482386 h 3743106"/>
                  <a:gd name="connsiteX24" fmla="*/ 139 w 3701002"/>
                  <a:gd name="connsiteY24" fmla="*/ 1970576 h 3743106"/>
                  <a:gd name="connsiteX25" fmla="*/ 451624 w 3701002"/>
                  <a:gd name="connsiteY25" fmla="*/ 1403521 h 3743106"/>
                  <a:gd name="connsiteX26" fmla="*/ 496709 w 3701002"/>
                  <a:gd name="connsiteY26" fmla="*/ 659301 h 3743106"/>
                  <a:gd name="connsiteX27" fmla="*/ 1199019 w 3701002"/>
                  <a:gd name="connsiteY27" fmla="*/ 517061 h 3743106"/>
                  <a:gd name="connsiteX28" fmla="*/ 1831479 w 3701002"/>
                  <a:gd name="connsiteY28"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145044 w 3701002"/>
                  <a:gd name="connsiteY16" fmla="*/ 3252006 h 3743106"/>
                  <a:gd name="connsiteX17" fmla="*/ 1289824 w 3701002"/>
                  <a:gd name="connsiteY17" fmla="*/ 3549186 h 3743106"/>
                  <a:gd name="connsiteX18" fmla="*/ 1131709 w 3701002"/>
                  <a:gd name="connsiteY18" fmla="*/ 3739686 h 3743106"/>
                  <a:gd name="connsiteX19" fmla="*/ 881519 w 3701002"/>
                  <a:gd name="connsiteY19" fmla="*/ 3637451 h 3743106"/>
                  <a:gd name="connsiteX20" fmla="*/ 771664 w 3701002"/>
                  <a:gd name="connsiteY20" fmla="*/ 3290106 h 3743106"/>
                  <a:gd name="connsiteX21" fmla="*/ 377329 w 3701002"/>
                  <a:gd name="connsiteY21" fmla="*/ 3103416 h 3743106"/>
                  <a:gd name="connsiteX22" fmla="*/ 344944 w 3701002"/>
                  <a:gd name="connsiteY22" fmla="*/ 2482386 h 3743106"/>
                  <a:gd name="connsiteX23" fmla="*/ 139 w 3701002"/>
                  <a:gd name="connsiteY23" fmla="*/ 1970576 h 3743106"/>
                  <a:gd name="connsiteX24" fmla="*/ 451624 w 3701002"/>
                  <a:gd name="connsiteY24" fmla="*/ 1403521 h 3743106"/>
                  <a:gd name="connsiteX25" fmla="*/ 496709 w 3701002"/>
                  <a:gd name="connsiteY25" fmla="*/ 659301 h 3743106"/>
                  <a:gd name="connsiteX26" fmla="*/ 1199019 w 3701002"/>
                  <a:gd name="connsiteY26" fmla="*/ 517061 h 3743106"/>
                  <a:gd name="connsiteX27" fmla="*/ 1831479 w 3701002"/>
                  <a:gd name="connsiteY27"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145044 w 3701002"/>
                  <a:gd name="connsiteY16" fmla="*/ 3252006 h 3743106"/>
                  <a:gd name="connsiteX17" fmla="*/ 1289824 w 3701002"/>
                  <a:gd name="connsiteY17" fmla="*/ 3549186 h 3743106"/>
                  <a:gd name="connsiteX18" fmla="*/ 1131709 w 3701002"/>
                  <a:gd name="connsiteY18" fmla="*/ 3739686 h 3743106"/>
                  <a:gd name="connsiteX19" fmla="*/ 881519 w 3701002"/>
                  <a:gd name="connsiteY19" fmla="*/ 3637451 h 3743106"/>
                  <a:gd name="connsiteX20" fmla="*/ 771664 w 3701002"/>
                  <a:gd name="connsiteY20" fmla="*/ 3290106 h 3743106"/>
                  <a:gd name="connsiteX21" fmla="*/ 377329 w 3701002"/>
                  <a:gd name="connsiteY21" fmla="*/ 3103416 h 3743106"/>
                  <a:gd name="connsiteX22" fmla="*/ 344944 w 3701002"/>
                  <a:gd name="connsiteY22" fmla="*/ 2482386 h 3743106"/>
                  <a:gd name="connsiteX23" fmla="*/ 139 w 3701002"/>
                  <a:gd name="connsiteY23" fmla="*/ 1970576 h 3743106"/>
                  <a:gd name="connsiteX24" fmla="*/ 451624 w 3701002"/>
                  <a:gd name="connsiteY24" fmla="*/ 1403521 h 3743106"/>
                  <a:gd name="connsiteX25" fmla="*/ 496709 w 3701002"/>
                  <a:gd name="connsiteY25" fmla="*/ 659301 h 3743106"/>
                  <a:gd name="connsiteX26" fmla="*/ 1199019 w 3701002"/>
                  <a:gd name="connsiteY26" fmla="*/ 517061 h 3743106"/>
                  <a:gd name="connsiteX27" fmla="*/ 1831479 w 3701002"/>
                  <a:gd name="connsiteY27" fmla="*/ 171 h 3743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701002" h="3743106">
                    <a:moveTo>
                      <a:pt x="1831479" y="171"/>
                    </a:moveTo>
                    <a:cubicBezTo>
                      <a:pt x="2193958" y="-9460"/>
                      <a:pt x="2228989" y="388262"/>
                      <a:pt x="2478544" y="516426"/>
                    </a:cubicBezTo>
                    <a:cubicBezTo>
                      <a:pt x="2724924" y="638240"/>
                      <a:pt x="3031735" y="420753"/>
                      <a:pt x="3214509" y="673906"/>
                    </a:cubicBezTo>
                    <a:cubicBezTo>
                      <a:pt x="3397283" y="927059"/>
                      <a:pt x="3125874" y="1106394"/>
                      <a:pt x="3270389" y="1425746"/>
                    </a:cubicBezTo>
                    <a:cubicBezTo>
                      <a:pt x="3414904" y="1745098"/>
                      <a:pt x="3685678" y="1679112"/>
                      <a:pt x="3700601" y="1942319"/>
                    </a:cubicBezTo>
                    <a:cubicBezTo>
                      <a:pt x="3712349" y="2221401"/>
                      <a:pt x="3463112" y="2181714"/>
                      <a:pt x="3354844" y="2512866"/>
                    </a:cubicBezTo>
                    <a:cubicBezTo>
                      <a:pt x="3238639" y="2836081"/>
                      <a:pt x="3476765" y="2888309"/>
                      <a:pt x="3320872" y="3113258"/>
                    </a:cubicBezTo>
                    <a:cubicBezTo>
                      <a:pt x="3231655" y="3262007"/>
                      <a:pt x="3076132" y="3153476"/>
                      <a:pt x="2933839" y="3291059"/>
                    </a:cubicBezTo>
                    <a:cubicBezTo>
                      <a:pt x="2791546" y="3428642"/>
                      <a:pt x="2888756" y="3603161"/>
                      <a:pt x="2771914" y="3691109"/>
                    </a:cubicBezTo>
                    <a:cubicBezTo>
                      <a:pt x="2688410" y="3783819"/>
                      <a:pt x="2499817" y="3735717"/>
                      <a:pt x="2440444" y="3640626"/>
                    </a:cubicBezTo>
                    <a:cubicBezTo>
                      <a:pt x="2381071" y="3545535"/>
                      <a:pt x="2441714" y="3442506"/>
                      <a:pt x="2501404" y="3320586"/>
                    </a:cubicBezTo>
                    <a:lnTo>
                      <a:pt x="2659635" y="3107286"/>
                    </a:lnTo>
                    <a:cubicBezTo>
                      <a:pt x="2942380" y="2869700"/>
                      <a:pt x="3122601" y="2510145"/>
                      <a:pt x="3122601" y="2107732"/>
                    </a:cubicBezTo>
                    <a:cubicBezTo>
                      <a:pt x="3122601" y="1392331"/>
                      <a:pt x="2553014" y="812383"/>
                      <a:pt x="1850392" y="812383"/>
                    </a:cubicBezTo>
                    <a:cubicBezTo>
                      <a:pt x="1147770" y="812383"/>
                      <a:pt x="578183" y="1392331"/>
                      <a:pt x="578183" y="2107732"/>
                    </a:cubicBezTo>
                    <a:cubicBezTo>
                      <a:pt x="578183" y="2465433"/>
                      <a:pt x="720580" y="2789270"/>
                      <a:pt x="950805" y="3023682"/>
                    </a:cubicBezTo>
                    <a:cubicBezTo>
                      <a:pt x="1039364" y="3104553"/>
                      <a:pt x="1080298" y="3175898"/>
                      <a:pt x="1145044" y="3252006"/>
                    </a:cubicBezTo>
                    <a:cubicBezTo>
                      <a:pt x="1213624" y="3361226"/>
                      <a:pt x="1292047" y="3467906"/>
                      <a:pt x="1289824" y="3549186"/>
                    </a:cubicBezTo>
                    <a:cubicBezTo>
                      <a:pt x="1287602" y="3630466"/>
                      <a:pt x="1199760" y="3724975"/>
                      <a:pt x="1131709" y="3739686"/>
                    </a:cubicBezTo>
                    <a:cubicBezTo>
                      <a:pt x="1063658" y="3754397"/>
                      <a:pt x="935176" y="3721906"/>
                      <a:pt x="881519" y="3637451"/>
                    </a:cubicBezTo>
                    <a:cubicBezTo>
                      <a:pt x="827862" y="3552996"/>
                      <a:pt x="922371" y="3429912"/>
                      <a:pt x="771664" y="3290106"/>
                    </a:cubicBezTo>
                    <a:cubicBezTo>
                      <a:pt x="620957" y="3150300"/>
                      <a:pt x="489724" y="3259626"/>
                      <a:pt x="377329" y="3103416"/>
                    </a:cubicBezTo>
                    <a:cubicBezTo>
                      <a:pt x="245884" y="2847193"/>
                      <a:pt x="472103" y="2764062"/>
                      <a:pt x="344944" y="2482386"/>
                    </a:cubicBezTo>
                    <a:cubicBezTo>
                      <a:pt x="189211" y="2141178"/>
                      <a:pt x="8552" y="2246432"/>
                      <a:pt x="139" y="1970576"/>
                    </a:cubicBezTo>
                    <a:cubicBezTo>
                      <a:pt x="-7481" y="1701865"/>
                      <a:pt x="299012" y="1730017"/>
                      <a:pt x="451624" y="1403521"/>
                    </a:cubicBezTo>
                    <a:cubicBezTo>
                      <a:pt x="528036" y="943675"/>
                      <a:pt x="318168" y="908644"/>
                      <a:pt x="496709" y="659301"/>
                    </a:cubicBezTo>
                    <a:cubicBezTo>
                      <a:pt x="675250" y="409958"/>
                      <a:pt x="956978" y="650728"/>
                      <a:pt x="1199019" y="517061"/>
                    </a:cubicBezTo>
                    <a:cubicBezTo>
                      <a:pt x="1485510" y="418319"/>
                      <a:pt x="1469000" y="9802"/>
                      <a:pt x="1831479" y="171"/>
                    </a:cubicBez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grpSp>
      </p:grpSp>
      <p:grpSp>
        <p:nvGrpSpPr>
          <p:cNvPr id="63" name="Group 62"/>
          <p:cNvGrpSpPr/>
          <p:nvPr/>
        </p:nvGrpSpPr>
        <p:grpSpPr>
          <a:xfrm>
            <a:off x="5842516" y="3989482"/>
            <a:ext cx="474070" cy="474070"/>
            <a:chOff x="6447430" y="2675492"/>
            <a:chExt cx="474070" cy="474070"/>
          </a:xfrm>
        </p:grpSpPr>
        <p:sp>
          <p:nvSpPr>
            <p:cNvPr id="64" name="Oval 63"/>
            <p:cNvSpPr/>
            <p:nvPr/>
          </p:nvSpPr>
          <p:spPr>
            <a:xfrm>
              <a:off x="6447430" y="2675492"/>
              <a:ext cx="474070" cy="474070"/>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white"/>
                </a:solidFill>
                <a:effectLst/>
                <a:uLnTx/>
                <a:uFillTx/>
                <a:latin typeface="+mj-lt"/>
                <a:ea typeface="+mn-ea"/>
                <a:cs typeface="+mn-cs"/>
              </a:endParaRPr>
            </a:p>
          </p:txBody>
        </p:sp>
        <p:grpSp>
          <p:nvGrpSpPr>
            <p:cNvPr id="65" name="Group 64"/>
            <p:cNvGrpSpPr/>
            <p:nvPr/>
          </p:nvGrpSpPr>
          <p:grpSpPr>
            <a:xfrm>
              <a:off x="6518178" y="2715380"/>
              <a:ext cx="333474" cy="369629"/>
              <a:chOff x="3114466" y="105602"/>
              <a:chExt cx="5971657" cy="6619048"/>
            </a:xfrm>
            <a:solidFill>
              <a:schemeClr val="accent5"/>
            </a:solidFill>
          </p:grpSpPr>
          <p:sp>
            <p:nvSpPr>
              <p:cNvPr id="66" name="Oval 65"/>
              <p:cNvSpPr/>
              <p:nvPr/>
            </p:nvSpPr>
            <p:spPr>
              <a:xfrm>
                <a:off x="5744819" y="745435"/>
                <a:ext cx="695738" cy="695738"/>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67" name="Oval 66"/>
              <p:cNvSpPr/>
              <p:nvPr/>
            </p:nvSpPr>
            <p:spPr>
              <a:xfrm>
                <a:off x="6626711" y="1319213"/>
                <a:ext cx="628234" cy="62823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68" name="Oval 67"/>
              <p:cNvSpPr/>
              <p:nvPr/>
            </p:nvSpPr>
            <p:spPr>
              <a:xfrm>
                <a:off x="4921736" y="1319213"/>
                <a:ext cx="628234" cy="62823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69" name="Oval 68"/>
              <p:cNvSpPr/>
              <p:nvPr/>
            </p:nvSpPr>
            <p:spPr>
              <a:xfrm>
                <a:off x="4140684" y="1766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70" name="Oval 69"/>
              <p:cNvSpPr/>
              <p:nvPr/>
            </p:nvSpPr>
            <p:spPr>
              <a:xfrm>
                <a:off x="7510049" y="1766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71" name="Oval 70"/>
              <p:cNvSpPr/>
              <p:nvPr/>
            </p:nvSpPr>
            <p:spPr>
              <a:xfrm>
                <a:off x="7716285" y="2579410"/>
                <a:ext cx="612706" cy="61270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72" name="Oval 71"/>
              <p:cNvSpPr/>
              <p:nvPr/>
            </p:nvSpPr>
            <p:spPr>
              <a:xfrm>
                <a:off x="3849963" y="2569471"/>
                <a:ext cx="612706" cy="61270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73" name="Oval 72"/>
              <p:cNvSpPr/>
              <p:nvPr/>
            </p:nvSpPr>
            <p:spPr>
              <a:xfrm>
                <a:off x="3740632" y="1416532"/>
                <a:ext cx="394046" cy="39404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74" name="Oval 73"/>
              <p:cNvSpPr/>
              <p:nvPr/>
            </p:nvSpPr>
            <p:spPr>
              <a:xfrm>
                <a:off x="8054215" y="1416532"/>
                <a:ext cx="394046" cy="39404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75" name="Oval 74"/>
              <p:cNvSpPr/>
              <p:nvPr/>
            </p:nvSpPr>
            <p:spPr>
              <a:xfrm>
                <a:off x="5878581" y="105602"/>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76" name="Oval 75"/>
              <p:cNvSpPr/>
              <p:nvPr/>
            </p:nvSpPr>
            <p:spPr>
              <a:xfrm>
                <a:off x="3114466" y="3419473"/>
                <a:ext cx="319296" cy="31929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77" name="Oval 76"/>
              <p:cNvSpPr/>
              <p:nvPr/>
            </p:nvSpPr>
            <p:spPr>
              <a:xfrm>
                <a:off x="3794675" y="5116270"/>
                <a:ext cx="282026" cy="28202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78" name="Oval 77"/>
              <p:cNvSpPr/>
              <p:nvPr/>
            </p:nvSpPr>
            <p:spPr>
              <a:xfrm>
                <a:off x="4640020" y="5060156"/>
                <a:ext cx="342902" cy="3429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79" name="Oval 78"/>
              <p:cNvSpPr/>
              <p:nvPr/>
            </p:nvSpPr>
            <p:spPr>
              <a:xfrm>
                <a:off x="4155592" y="4790040"/>
                <a:ext cx="373546" cy="37354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80" name="Oval 79"/>
              <p:cNvSpPr/>
              <p:nvPr/>
            </p:nvSpPr>
            <p:spPr>
              <a:xfrm>
                <a:off x="3892206" y="4042948"/>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81" name="Oval 80"/>
              <p:cNvSpPr/>
              <p:nvPr/>
            </p:nvSpPr>
            <p:spPr>
              <a:xfrm>
                <a:off x="7758528" y="4052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82" name="Oval 81"/>
              <p:cNvSpPr/>
              <p:nvPr/>
            </p:nvSpPr>
            <p:spPr>
              <a:xfrm>
                <a:off x="3632338" y="3395454"/>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83" name="Oval 82"/>
              <p:cNvSpPr/>
              <p:nvPr/>
            </p:nvSpPr>
            <p:spPr>
              <a:xfrm>
                <a:off x="8122650" y="3395454"/>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84" name="Oval 83"/>
              <p:cNvSpPr/>
              <p:nvPr/>
            </p:nvSpPr>
            <p:spPr>
              <a:xfrm>
                <a:off x="8747366" y="3412330"/>
                <a:ext cx="338757" cy="338757"/>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85" name="Oval 84"/>
              <p:cNvSpPr/>
              <p:nvPr/>
            </p:nvSpPr>
            <p:spPr>
              <a:xfrm>
                <a:off x="7659444" y="4792108"/>
                <a:ext cx="372514" cy="37251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86" name="Oval 85"/>
              <p:cNvSpPr/>
              <p:nvPr/>
            </p:nvSpPr>
            <p:spPr>
              <a:xfrm>
                <a:off x="7208355" y="5062538"/>
                <a:ext cx="341242" cy="34124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87" name="Oval 86"/>
              <p:cNvSpPr/>
              <p:nvPr/>
            </p:nvSpPr>
            <p:spPr>
              <a:xfrm>
                <a:off x="8113230" y="5122069"/>
                <a:ext cx="274566" cy="27456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88" name="Freeform 87"/>
              <p:cNvSpPr/>
              <p:nvPr/>
            </p:nvSpPr>
            <p:spPr>
              <a:xfrm>
                <a:off x="5507831" y="5678142"/>
                <a:ext cx="1200744" cy="1046508"/>
              </a:xfrm>
              <a:custGeom>
                <a:avLst/>
                <a:gdLst>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58806 w 1200744"/>
                  <a:gd name="connsiteY19" fmla="*/ 0 h 1046508"/>
                  <a:gd name="connsiteX20" fmla="*/ 692944 w 1200744"/>
                  <a:gd name="connsiteY20" fmla="*/ 0 h 1046508"/>
                  <a:gd name="connsiteX21" fmla="*/ 692944 w 1200744"/>
                  <a:gd name="connsiteY21" fmla="*/ 102530 h 1046508"/>
                  <a:gd name="connsiteX22" fmla="*/ 418176 w 1200744"/>
                  <a:gd name="connsiteY22" fmla="*/ 135174 h 1046508"/>
                  <a:gd name="connsiteX23" fmla="*/ 392350 w 1200744"/>
                  <a:gd name="connsiteY23" fmla="*/ 149653 h 1046508"/>
                  <a:gd name="connsiteX24" fmla="*/ 384326 w 1200744"/>
                  <a:gd name="connsiteY24" fmla="*/ 178152 h 1046508"/>
                  <a:gd name="connsiteX25" fmla="*/ 398804 w 1200744"/>
                  <a:gd name="connsiteY25" fmla="*/ 203977 h 1046508"/>
                  <a:gd name="connsiteX26" fmla="*/ 427304 w 1200744"/>
                  <a:gd name="connsiteY26" fmla="*/ 212001 h 1046508"/>
                  <a:gd name="connsiteX27" fmla="*/ 1104900 w 1200744"/>
                  <a:gd name="connsiteY27" fmla="*/ 131498 h 1046508"/>
                  <a:gd name="connsiteX28" fmla="*/ 1104900 w 1200744"/>
                  <a:gd name="connsiteY28" fmla="*/ 134851 h 1046508"/>
                  <a:gd name="connsiteX29" fmla="*/ 1157493 w 1200744"/>
                  <a:gd name="connsiteY29" fmla="*/ 128603 h 1046508"/>
                  <a:gd name="connsiteX30" fmla="*/ 1200471 w 1200744"/>
                  <a:gd name="connsiteY30" fmla="*/ 162453 h 1046508"/>
                  <a:gd name="connsiteX31" fmla="*/ 1200470 w 1200744"/>
                  <a:gd name="connsiteY31" fmla="*/ 162453 h 1046508"/>
                  <a:gd name="connsiteX32" fmla="*/ 1166620 w 1200744"/>
                  <a:gd name="connsiteY32" fmla="*/ 205431 h 1046508"/>
                  <a:gd name="connsiteX33" fmla="*/ 892471 w 1200744"/>
                  <a:gd name="connsiteY33" fmla="*/ 238001 h 1046508"/>
                  <a:gd name="connsiteX34" fmla="*/ 883444 w 1200744"/>
                  <a:gd name="connsiteY34" fmla="*/ 235459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688181 w 1200744"/>
                  <a:gd name="connsiteY45" fmla="*/ 400083 h 1046508"/>
                  <a:gd name="connsiteX46" fmla="*/ 688181 w 1200744"/>
                  <a:gd name="connsiteY46" fmla="*/ 403433 h 1046508"/>
                  <a:gd name="connsiteX47" fmla="*/ 792956 w 1200744"/>
                  <a:gd name="connsiteY47" fmla="*/ 390985 h 1046508"/>
                  <a:gd name="connsiteX48" fmla="*/ 792956 w 1200744"/>
                  <a:gd name="connsiteY48" fmla="*/ 387635 h 1046508"/>
                  <a:gd name="connsiteX49" fmla="*/ 883444 w 1200744"/>
                  <a:gd name="connsiteY49" fmla="*/ 376884 h 1046508"/>
                  <a:gd name="connsiteX50" fmla="*/ 883444 w 1200744"/>
                  <a:gd name="connsiteY50" fmla="*/ 380235 h 1046508"/>
                  <a:gd name="connsiteX51" fmla="*/ 1157493 w 1200744"/>
                  <a:gd name="connsiteY51" fmla="*/ 347675 h 1046508"/>
                  <a:gd name="connsiteX52" fmla="*/ 1200471 w 1200744"/>
                  <a:gd name="connsiteY52" fmla="*/ 381525 h 1046508"/>
                  <a:gd name="connsiteX53" fmla="*/ 1200470 w 1200744"/>
                  <a:gd name="connsiteY53" fmla="*/ 381526 h 1046508"/>
                  <a:gd name="connsiteX54" fmla="*/ 1166620 w 1200744"/>
                  <a:gd name="connsiteY54" fmla="*/ 424503 h 1046508"/>
                  <a:gd name="connsiteX55" fmla="*/ 883444 w 1200744"/>
                  <a:gd name="connsiteY55" fmla="*/ 458146 h 1046508"/>
                  <a:gd name="connsiteX56" fmla="*/ 883444 w 1200744"/>
                  <a:gd name="connsiteY56" fmla="*/ 506141 h 1046508"/>
                  <a:gd name="connsiteX57" fmla="*/ 792956 w 1200744"/>
                  <a:gd name="connsiteY57" fmla="*/ 516892 h 1046508"/>
                  <a:gd name="connsiteX58" fmla="*/ 792956 w 1200744"/>
                  <a:gd name="connsiteY58" fmla="*/ 468897 h 1046508"/>
                  <a:gd name="connsiteX59" fmla="*/ 688181 w 1200744"/>
                  <a:gd name="connsiteY59" fmla="*/ 481345 h 1046508"/>
                  <a:gd name="connsiteX60" fmla="*/ 688181 w 1200744"/>
                  <a:gd name="connsiteY60" fmla="*/ 529340 h 1046508"/>
                  <a:gd name="connsiteX61" fmla="*/ 418176 w 1200744"/>
                  <a:gd name="connsiteY61" fmla="*/ 561418 h 1046508"/>
                  <a:gd name="connsiteX62" fmla="*/ 392350 w 1200744"/>
                  <a:gd name="connsiteY62" fmla="*/ 575897 h 1046508"/>
                  <a:gd name="connsiteX63" fmla="*/ 384326 w 1200744"/>
                  <a:gd name="connsiteY63" fmla="*/ 604396 h 1046508"/>
                  <a:gd name="connsiteX64" fmla="*/ 398804 w 1200744"/>
                  <a:gd name="connsiteY64" fmla="*/ 630221 h 1046508"/>
                  <a:gd name="connsiteX65" fmla="*/ 427304 w 1200744"/>
                  <a:gd name="connsiteY65" fmla="*/ 638245 h 1046508"/>
                  <a:gd name="connsiteX66" fmla="*/ 1104900 w 1200744"/>
                  <a:gd name="connsiteY66" fmla="*/ 557742 h 1046508"/>
                  <a:gd name="connsiteX67" fmla="*/ 1104900 w 1200744"/>
                  <a:gd name="connsiteY67" fmla="*/ 558713 h 1046508"/>
                  <a:gd name="connsiteX68" fmla="*/ 1157491 w 1200744"/>
                  <a:gd name="connsiteY68" fmla="*/ 552464 h 1046508"/>
                  <a:gd name="connsiteX69" fmla="*/ 1200469 w 1200744"/>
                  <a:gd name="connsiteY69" fmla="*/ 586314 h 1046508"/>
                  <a:gd name="connsiteX70" fmla="*/ 1200468 w 1200744"/>
                  <a:gd name="connsiteY70" fmla="*/ 586314 h 1046508"/>
                  <a:gd name="connsiteX71" fmla="*/ 1166618 w 1200744"/>
                  <a:gd name="connsiteY71" fmla="*/ 629292 h 1046508"/>
                  <a:gd name="connsiteX72" fmla="*/ 1104900 w 1200744"/>
                  <a:gd name="connsiteY72" fmla="*/ 636624 h 1046508"/>
                  <a:gd name="connsiteX73" fmla="*/ 1104900 w 1200744"/>
                  <a:gd name="connsiteY73" fmla="*/ 817908 h 1046508"/>
                  <a:gd name="connsiteX74" fmla="*/ 971550 w 1200744"/>
                  <a:gd name="connsiteY74" fmla="*/ 946496 h 1046508"/>
                  <a:gd name="connsiteX75" fmla="*/ 752889 w 1200744"/>
                  <a:gd name="connsiteY75" fmla="*/ 946496 h 1046508"/>
                  <a:gd name="connsiteX76" fmla="*/ 749140 w 1200744"/>
                  <a:gd name="connsiteY76" fmla="*/ 965065 h 1046508"/>
                  <a:gd name="connsiteX77" fmla="*/ 626271 w 1200744"/>
                  <a:gd name="connsiteY77" fmla="*/ 1046508 h 1046508"/>
                  <a:gd name="connsiteX78" fmla="*/ 533770 w 1200744"/>
                  <a:gd name="connsiteY78" fmla="*/ 1046508 h 1046508"/>
                  <a:gd name="connsiteX79" fmla="*/ 410901 w 1200744"/>
                  <a:gd name="connsiteY79" fmla="*/ 965065 h 1046508"/>
                  <a:gd name="connsiteX80" fmla="*/ 407153 w 1200744"/>
                  <a:gd name="connsiteY80" fmla="*/ 946496 h 1046508"/>
                  <a:gd name="connsiteX81" fmla="*/ 190500 w 1200744"/>
                  <a:gd name="connsiteY81" fmla="*/ 946496 h 1046508"/>
                  <a:gd name="connsiteX82" fmla="*/ 59532 w 1200744"/>
                  <a:gd name="connsiteY82" fmla="*/ 825052 h 1046508"/>
                  <a:gd name="connsiteX83" fmla="*/ 59432 w 1200744"/>
                  <a:gd name="connsiteY83" fmla="*/ 710643 h 1046508"/>
                  <a:gd name="connsiteX84" fmla="*/ 48816 w 1200744"/>
                  <a:gd name="connsiteY84" fmla="*/ 710643 h 1046508"/>
                  <a:gd name="connsiteX85" fmla="*/ 14298 w 1200744"/>
                  <a:gd name="connsiteY85" fmla="*/ 696345 h 1046508"/>
                  <a:gd name="connsiteX86" fmla="*/ 0 w 1200744"/>
                  <a:gd name="connsiteY86" fmla="*/ 661828 h 1046508"/>
                  <a:gd name="connsiteX87" fmla="*/ 14298 w 1200744"/>
                  <a:gd name="connsiteY87" fmla="*/ 627310 h 1046508"/>
                  <a:gd name="connsiteX88" fmla="*/ 48816 w 1200744"/>
                  <a:gd name="connsiteY88" fmla="*/ 613012 h 1046508"/>
                  <a:gd name="connsiteX89" fmla="*/ 59346 w 1200744"/>
                  <a:gd name="connsiteY89" fmla="*/ 613012 h 1046508"/>
                  <a:gd name="connsiteX90" fmla="*/ 59247 w 1200744"/>
                  <a:gd name="connsiteY90" fmla="*/ 501147 h 1046508"/>
                  <a:gd name="connsiteX91" fmla="*/ 48816 w 1200744"/>
                  <a:gd name="connsiteY91" fmla="*/ 501147 h 1046508"/>
                  <a:gd name="connsiteX92" fmla="*/ 14298 w 1200744"/>
                  <a:gd name="connsiteY92" fmla="*/ 486849 h 1046508"/>
                  <a:gd name="connsiteX93" fmla="*/ 0 w 1200744"/>
                  <a:gd name="connsiteY93" fmla="*/ 452332 h 1046508"/>
                  <a:gd name="connsiteX94" fmla="*/ 14298 w 1200744"/>
                  <a:gd name="connsiteY94" fmla="*/ 417814 h 1046508"/>
                  <a:gd name="connsiteX95" fmla="*/ 48816 w 1200744"/>
                  <a:gd name="connsiteY95" fmla="*/ 403516 h 1046508"/>
                  <a:gd name="connsiteX96" fmla="*/ 59161 w 1200744"/>
                  <a:gd name="connsiteY96" fmla="*/ 403516 h 1046508"/>
                  <a:gd name="connsiteX97" fmla="*/ 59063 w 1200744"/>
                  <a:gd name="connsiteY97" fmla="*/ 291651 h 1046508"/>
                  <a:gd name="connsiteX98" fmla="*/ 48816 w 1200744"/>
                  <a:gd name="connsiteY98" fmla="*/ 291651 h 1046508"/>
                  <a:gd name="connsiteX99" fmla="*/ 14298 w 1200744"/>
                  <a:gd name="connsiteY99" fmla="*/ 277353 h 1046508"/>
                  <a:gd name="connsiteX100" fmla="*/ 0 w 1200744"/>
                  <a:gd name="connsiteY100" fmla="*/ 242836 h 1046508"/>
                  <a:gd name="connsiteX101" fmla="*/ 14298 w 1200744"/>
                  <a:gd name="connsiteY101" fmla="*/ 208318 h 1046508"/>
                  <a:gd name="connsiteX102" fmla="*/ 48816 w 1200744"/>
                  <a:gd name="connsiteY102" fmla="*/ 194020 h 1046508"/>
                  <a:gd name="connsiteX103" fmla="*/ 58977 w 1200744"/>
                  <a:gd name="connsiteY103" fmla="*/ 19402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792956 w 1200744"/>
                  <a:gd name="connsiteY49" fmla="*/ 387635 h 1046508"/>
                  <a:gd name="connsiteX50" fmla="*/ 883444 w 1200744"/>
                  <a:gd name="connsiteY50" fmla="*/ 376884 h 1046508"/>
                  <a:gd name="connsiteX51" fmla="*/ 1157493 w 1200744"/>
                  <a:gd name="connsiteY51" fmla="*/ 347675 h 1046508"/>
                  <a:gd name="connsiteX52" fmla="*/ 1200471 w 1200744"/>
                  <a:gd name="connsiteY52" fmla="*/ 381525 h 1046508"/>
                  <a:gd name="connsiteX53" fmla="*/ 1200470 w 1200744"/>
                  <a:gd name="connsiteY53" fmla="*/ 381526 h 1046508"/>
                  <a:gd name="connsiteX54" fmla="*/ 1166620 w 1200744"/>
                  <a:gd name="connsiteY54" fmla="*/ 424503 h 1046508"/>
                  <a:gd name="connsiteX55" fmla="*/ 883444 w 1200744"/>
                  <a:gd name="connsiteY55" fmla="*/ 458146 h 1046508"/>
                  <a:gd name="connsiteX56" fmla="*/ 883444 w 1200744"/>
                  <a:gd name="connsiteY56" fmla="*/ 506141 h 1046508"/>
                  <a:gd name="connsiteX57" fmla="*/ 792956 w 1200744"/>
                  <a:gd name="connsiteY57" fmla="*/ 516892 h 1046508"/>
                  <a:gd name="connsiteX58" fmla="*/ 792956 w 1200744"/>
                  <a:gd name="connsiteY58" fmla="*/ 468897 h 1046508"/>
                  <a:gd name="connsiteX59" fmla="*/ 688181 w 1200744"/>
                  <a:gd name="connsiteY59" fmla="*/ 481345 h 1046508"/>
                  <a:gd name="connsiteX60" fmla="*/ 688181 w 1200744"/>
                  <a:gd name="connsiteY60" fmla="*/ 529340 h 1046508"/>
                  <a:gd name="connsiteX61" fmla="*/ 418176 w 1200744"/>
                  <a:gd name="connsiteY61" fmla="*/ 561418 h 1046508"/>
                  <a:gd name="connsiteX62" fmla="*/ 392350 w 1200744"/>
                  <a:gd name="connsiteY62" fmla="*/ 575897 h 1046508"/>
                  <a:gd name="connsiteX63" fmla="*/ 384326 w 1200744"/>
                  <a:gd name="connsiteY63" fmla="*/ 604396 h 1046508"/>
                  <a:gd name="connsiteX64" fmla="*/ 398804 w 1200744"/>
                  <a:gd name="connsiteY64" fmla="*/ 630221 h 1046508"/>
                  <a:gd name="connsiteX65" fmla="*/ 427304 w 1200744"/>
                  <a:gd name="connsiteY65" fmla="*/ 638245 h 1046508"/>
                  <a:gd name="connsiteX66" fmla="*/ 1104900 w 1200744"/>
                  <a:gd name="connsiteY66" fmla="*/ 557742 h 1046508"/>
                  <a:gd name="connsiteX67" fmla="*/ 1104900 w 1200744"/>
                  <a:gd name="connsiteY67" fmla="*/ 558713 h 1046508"/>
                  <a:gd name="connsiteX68" fmla="*/ 1157491 w 1200744"/>
                  <a:gd name="connsiteY68" fmla="*/ 552464 h 1046508"/>
                  <a:gd name="connsiteX69" fmla="*/ 1200469 w 1200744"/>
                  <a:gd name="connsiteY69" fmla="*/ 586314 h 1046508"/>
                  <a:gd name="connsiteX70" fmla="*/ 1200468 w 1200744"/>
                  <a:gd name="connsiteY70" fmla="*/ 586314 h 1046508"/>
                  <a:gd name="connsiteX71" fmla="*/ 1166618 w 1200744"/>
                  <a:gd name="connsiteY71" fmla="*/ 629292 h 1046508"/>
                  <a:gd name="connsiteX72" fmla="*/ 1104900 w 1200744"/>
                  <a:gd name="connsiteY72" fmla="*/ 636624 h 1046508"/>
                  <a:gd name="connsiteX73" fmla="*/ 1104900 w 1200744"/>
                  <a:gd name="connsiteY73" fmla="*/ 817908 h 1046508"/>
                  <a:gd name="connsiteX74" fmla="*/ 971550 w 1200744"/>
                  <a:gd name="connsiteY74" fmla="*/ 946496 h 1046508"/>
                  <a:gd name="connsiteX75" fmla="*/ 752889 w 1200744"/>
                  <a:gd name="connsiteY75" fmla="*/ 946496 h 1046508"/>
                  <a:gd name="connsiteX76" fmla="*/ 749140 w 1200744"/>
                  <a:gd name="connsiteY76" fmla="*/ 965065 h 1046508"/>
                  <a:gd name="connsiteX77" fmla="*/ 626271 w 1200744"/>
                  <a:gd name="connsiteY77" fmla="*/ 1046508 h 1046508"/>
                  <a:gd name="connsiteX78" fmla="*/ 533770 w 1200744"/>
                  <a:gd name="connsiteY78" fmla="*/ 1046508 h 1046508"/>
                  <a:gd name="connsiteX79" fmla="*/ 410901 w 1200744"/>
                  <a:gd name="connsiteY79" fmla="*/ 965065 h 1046508"/>
                  <a:gd name="connsiteX80" fmla="*/ 407153 w 1200744"/>
                  <a:gd name="connsiteY80" fmla="*/ 946496 h 1046508"/>
                  <a:gd name="connsiteX81" fmla="*/ 190500 w 1200744"/>
                  <a:gd name="connsiteY81" fmla="*/ 946496 h 1046508"/>
                  <a:gd name="connsiteX82" fmla="*/ 59532 w 1200744"/>
                  <a:gd name="connsiteY82" fmla="*/ 825052 h 1046508"/>
                  <a:gd name="connsiteX83" fmla="*/ 59432 w 1200744"/>
                  <a:gd name="connsiteY83" fmla="*/ 710643 h 1046508"/>
                  <a:gd name="connsiteX84" fmla="*/ 48816 w 1200744"/>
                  <a:gd name="connsiteY84" fmla="*/ 710643 h 1046508"/>
                  <a:gd name="connsiteX85" fmla="*/ 14298 w 1200744"/>
                  <a:gd name="connsiteY85" fmla="*/ 696345 h 1046508"/>
                  <a:gd name="connsiteX86" fmla="*/ 0 w 1200744"/>
                  <a:gd name="connsiteY86" fmla="*/ 661828 h 1046508"/>
                  <a:gd name="connsiteX87" fmla="*/ 14298 w 1200744"/>
                  <a:gd name="connsiteY87" fmla="*/ 627310 h 1046508"/>
                  <a:gd name="connsiteX88" fmla="*/ 48816 w 1200744"/>
                  <a:gd name="connsiteY88" fmla="*/ 613012 h 1046508"/>
                  <a:gd name="connsiteX89" fmla="*/ 59346 w 1200744"/>
                  <a:gd name="connsiteY89" fmla="*/ 613012 h 1046508"/>
                  <a:gd name="connsiteX90" fmla="*/ 59247 w 1200744"/>
                  <a:gd name="connsiteY90" fmla="*/ 501147 h 1046508"/>
                  <a:gd name="connsiteX91" fmla="*/ 48816 w 1200744"/>
                  <a:gd name="connsiteY91" fmla="*/ 501147 h 1046508"/>
                  <a:gd name="connsiteX92" fmla="*/ 14298 w 1200744"/>
                  <a:gd name="connsiteY92" fmla="*/ 486849 h 1046508"/>
                  <a:gd name="connsiteX93" fmla="*/ 0 w 1200744"/>
                  <a:gd name="connsiteY93" fmla="*/ 452332 h 1046508"/>
                  <a:gd name="connsiteX94" fmla="*/ 14298 w 1200744"/>
                  <a:gd name="connsiteY94" fmla="*/ 417814 h 1046508"/>
                  <a:gd name="connsiteX95" fmla="*/ 48816 w 1200744"/>
                  <a:gd name="connsiteY95" fmla="*/ 403516 h 1046508"/>
                  <a:gd name="connsiteX96" fmla="*/ 59161 w 1200744"/>
                  <a:gd name="connsiteY96" fmla="*/ 403516 h 1046508"/>
                  <a:gd name="connsiteX97" fmla="*/ 59063 w 1200744"/>
                  <a:gd name="connsiteY97" fmla="*/ 291651 h 1046508"/>
                  <a:gd name="connsiteX98" fmla="*/ 48816 w 1200744"/>
                  <a:gd name="connsiteY98" fmla="*/ 291651 h 1046508"/>
                  <a:gd name="connsiteX99" fmla="*/ 14298 w 1200744"/>
                  <a:gd name="connsiteY99" fmla="*/ 277353 h 1046508"/>
                  <a:gd name="connsiteX100" fmla="*/ 0 w 1200744"/>
                  <a:gd name="connsiteY100" fmla="*/ 242836 h 1046508"/>
                  <a:gd name="connsiteX101" fmla="*/ 14298 w 1200744"/>
                  <a:gd name="connsiteY101" fmla="*/ 208318 h 1046508"/>
                  <a:gd name="connsiteX102" fmla="*/ 48816 w 1200744"/>
                  <a:gd name="connsiteY102" fmla="*/ 194020 h 1046508"/>
                  <a:gd name="connsiteX103" fmla="*/ 58977 w 1200744"/>
                  <a:gd name="connsiteY103" fmla="*/ 194020 h 1046508"/>
                  <a:gd name="connsiteX104" fmla="*/ 58806 w 1200744"/>
                  <a:gd name="connsiteY104"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792956 w 1200744"/>
                  <a:gd name="connsiteY49" fmla="*/ 387635 h 1046508"/>
                  <a:gd name="connsiteX50" fmla="*/ 1157493 w 1200744"/>
                  <a:gd name="connsiteY50" fmla="*/ 347675 h 1046508"/>
                  <a:gd name="connsiteX51" fmla="*/ 1200471 w 1200744"/>
                  <a:gd name="connsiteY51" fmla="*/ 381525 h 1046508"/>
                  <a:gd name="connsiteX52" fmla="*/ 1200470 w 1200744"/>
                  <a:gd name="connsiteY52" fmla="*/ 381526 h 1046508"/>
                  <a:gd name="connsiteX53" fmla="*/ 1166620 w 1200744"/>
                  <a:gd name="connsiteY53" fmla="*/ 424503 h 1046508"/>
                  <a:gd name="connsiteX54" fmla="*/ 883444 w 1200744"/>
                  <a:gd name="connsiteY54" fmla="*/ 458146 h 1046508"/>
                  <a:gd name="connsiteX55" fmla="*/ 883444 w 1200744"/>
                  <a:gd name="connsiteY55" fmla="*/ 506141 h 1046508"/>
                  <a:gd name="connsiteX56" fmla="*/ 792956 w 1200744"/>
                  <a:gd name="connsiteY56" fmla="*/ 516892 h 1046508"/>
                  <a:gd name="connsiteX57" fmla="*/ 792956 w 1200744"/>
                  <a:gd name="connsiteY57" fmla="*/ 468897 h 1046508"/>
                  <a:gd name="connsiteX58" fmla="*/ 688181 w 1200744"/>
                  <a:gd name="connsiteY58" fmla="*/ 481345 h 1046508"/>
                  <a:gd name="connsiteX59" fmla="*/ 688181 w 1200744"/>
                  <a:gd name="connsiteY59" fmla="*/ 529340 h 1046508"/>
                  <a:gd name="connsiteX60" fmla="*/ 418176 w 1200744"/>
                  <a:gd name="connsiteY60" fmla="*/ 561418 h 1046508"/>
                  <a:gd name="connsiteX61" fmla="*/ 392350 w 1200744"/>
                  <a:gd name="connsiteY61" fmla="*/ 575897 h 1046508"/>
                  <a:gd name="connsiteX62" fmla="*/ 384326 w 1200744"/>
                  <a:gd name="connsiteY62" fmla="*/ 604396 h 1046508"/>
                  <a:gd name="connsiteX63" fmla="*/ 398804 w 1200744"/>
                  <a:gd name="connsiteY63" fmla="*/ 630221 h 1046508"/>
                  <a:gd name="connsiteX64" fmla="*/ 427304 w 1200744"/>
                  <a:gd name="connsiteY64" fmla="*/ 638245 h 1046508"/>
                  <a:gd name="connsiteX65" fmla="*/ 1104900 w 1200744"/>
                  <a:gd name="connsiteY65" fmla="*/ 557742 h 1046508"/>
                  <a:gd name="connsiteX66" fmla="*/ 1104900 w 1200744"/>
                  <a:gd name="connsiteY66" fmla="*/ 558713 h 1046508"/>
                  <a:gd name="connsiteX67" fmla="*/ 1157491 w 1200744"/>
                  <a:gd name="connsiteY67" fmla="*/ 552464 h 1046508"/>
                  <a:gd name="connsiteX68" fmla="*/ 1200469 w 1200744"/>
                  <a:gd name="connsiteY68" fmla="*/ 586314 h 1046508"/>
                  <a:gd name="connsiteX69" fmla="*/ 1200468 w 1200744"/>
                  <a:gd name="connsiteY69" fmla="*/ 586314 h 1046508"/>
                  <a:gd name="connsiteX70" fmla="*/ 1166618 w 1200744"/>
                  <a:gd name="connsiteY70" fmla="*/ 629292 h 1046508"/>
                  <a:gd name="connsiteX71" fmla="*/ 1104900 w 1200744"/>
                  <a:gd name="connsiteY71" fmla="*/ 636624 h 1046508"/>
                  <a:gd name="connsiteX72" fmla="*/ 1104900 w 1200744"/>
                  <a:gd name="connsiteY72" fmla="*/ 817908 h 1046508"/>
                  <a:gd name="connsiteX73" fmla="*/ 971550 w 1200744"/>
                  <a:gd name="connsiteY73" fmla="*/ 946496 h 1046508"/>
                  <a:gd name="connsiteX74" fmla="*/ 752889 w 1200744"/>
                  <a:gd name="connsiteY74" fmla="*/ 946496 h 1046508"/>
                  <a:gd name="connsiteX75" fmla="*/ 749140 w 1200744"/>
                  <a:gd name="connsiteY75" fmla="*/ 965065 h 1046508"/>
                  <a:gd name="connsiteX76" fmla="*/ 626271 w 1200744"/>
                  <a:gd name="connsiteY76" fmla="*/ 1046508 h 1046508"/>
                  <a:gd name="connsiteX77" fmla="*/ 533770 w 1200744"/>
                  <a:gd name="connsiteY77" fmla="*/ 1046508 h 1046508"/>
                  <a:gd name="connsiteX78" fmla="*/ 410901 w 1200744"/>
                  <a:gd name="connsiteY78" fmla="*/ 965065 h 1046508"/>
                  <a:gd name="connsiteX79" fmla="*/ 407153 w 1200744"/>
                  <a:gd name="connsiteY79" fmla="*/ 946496 h 1046508"/>
                  <a:gd name="connsiteX80" fmla="*/ 190500 w 1200744"/>
                  <a:gd name="connsiteY80" fmla="*/ 946496 h 1046508"/>
                  <a:gd name="connsiteX81" fmla="*/ 59532 w 1200744"/>
                  <a:gd name="connsiteY81" fmla="*/ 825052 h 1046508"/>
                  <a:gd name="connsiteX82" fmla="*/ 59432 w 1200744"/>
                  <a:gd name="connsiteY82" fmla="*/ 710643 h 1046508"/>
                  <a:gd name="connsiteX83" fmla="*/ 48816 w 1200744"/>
                  <a:gd name="connsiteY83" fmla="*/ 710643 h 1046508"/>
                  <a:gd name="connsiteX84" fmla="*/ 14298 w 1200744"/>
                  <a:gd name="connsiteY84" fmla="*/ 696345 h 1046508"/>
                  <a:gd name="connsiteX85" fmla="*/ 0 w 1200744"/>
                  <a:gd name="connsiteY85" fmla="*/ 661828 h 1046508"/>
                  <a:gd name="connsiteX86" fmla="*/ 14298 w 1200744"/>
                  <a:gd name="connsiteY86" fmla="*/ 627310 h 1046508"/>
                  <a:gd name="connsiteX87" fmla="*/ 48816 w 1200744"/>
                  <a:gd name="connsiteY87" fmla="*/ 613012 h 1046508"/>
                  <a:gd name="connsiteX88" fmla="*/ 59346 w 1200744"/>
                  <a:gd name="connsiteY88" fmla="*/ 613012 h 1046508"/>
                  <a:gd name="connsiteX89" fmla="*/ 59247 w 1200744"/>
                  <a:gd name="connsiteY89" fmla="*/ 501147 h 1046508"/>
                  <a:gd name="connsiteX90" fmla="*/ 48816 w 1200744"/>
                  <a:gd name="connsiteY90" fmla="*/ 501147 h 1046508"/>
                  <a:gd name="connsiteX91" fmla="*/ 14298 w 1200744"/>
                  <a:gd name="connsiteY91" fmla="*/ 486849 h 1046508"/>
                  <a:gd name="connsiteX92" fmla="*/ 0 w 1200744"/>
                  <a:gd name="connsiteY92" fmla="*/ 452332 h 1046508"/>
                  <a:gd name="connsiteX93" fmla="*/ 14298 w 1200744"/>
                  <a:gd name="connsiteY93" fmla="*/ 417814 h 1046508"/>
                  <a:gd name="connsiteX94" fmla="*/ 48816 w 1200744"/>
                  <a:gd name="connsiteY94" fmla="*/ 403516 h 1046508"/>
                  <a:gd name="connsiteX95" fmla="*/ 59161 w 1200744"/>
                  <a:gd name="connsiteY95" fmla="*/ 403516 h 1046508"/>
                  <a:gd name="connsiteX96" fmla="*/ 59063 w 1200744"/>
                  <a:gd name="connsiteY96" fmla="*/ 291651 h 1046508"/>
                  <a:gd name="connsiteX97" fmla="*/ 48816 w 1200744"/>
                  <a:gd name="connsiteY97" fmla="*/ 291651 h 1046508"/>
                  <a:gd name="connsiteX98" fmla="*/ 14298 w 1200744"/>
                  <a:gd name="connsiteY98" fmla="*/ 277353 h 1046508"/>
                  <a:gd name="connsiteX99" fmla="*/ 0 w 1200744"/>
                  <a:gd name="connsiteY99" fmla="*/ 242836 h 1046508"/>
                  <a:gd name="connsiteX100" fmla="*/ 14298 w 1200744"/>
                  <a:gd name="connsiteY100" fmla="*/ 208318 h 1046508"/>
                  <a:gd name="connsiteX101" fmla="*/ 48816 w 1200744"/>
                  <a:gd name="connsiteY101" fmla="*/ 194020 h 1046508"/>
                  <a:gd name="connsiteX102" fmla="*/ 58977 w 1200744"/>
                  <a:gd name="connsiteY102" fmla="*/ 194020 h 1046508"/>
                  <a:gd name="connsiteX103" fmla="*/ 58806 w 1200744"/>
                  <a:gd name="connsiteY103"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1157493 w 1200744"/>
                  <a:gd name="connsiteY49" fmla="*/ 347675 h 1046508"/>
                  <a:gd name="connsiteX50" fmla="*/ 1200471 w 1200744"/>
                  <a:gd name="connsiteY50" fmla="*/ 381525 h 1046508"/>
                  <a:gd name="connsiteX51" fmla="*/ 1200470 w 1200744"/>
                  <a:gd name="connsiteY51" fmla="*/ 381526 h 1046508"/>
                  <a:gd name="connsiteX52" fmla="*/ 1166620 w 1200744"/>
                  <a:gd name="connsiteY52" fmla="*/ 424503 h 1046508"/>
                  <a:gd name="connsiteX53" fmla="*/ 883444 w 1200744"/>
                  <a:gd name="connsiteY53" fmla="*/ 458146 h 1046508"/>
                  <a:gd name="connsiteX54" fmla="*/ 883444 w 1200744"/>
                  <a:gd name="connsiteY54" fmla="*/ 506141 h 1046508"/>
                  <a:gd name="connsiteX55" fmla="*/ 792956 w 1200744"/>
                  <a:gd name="connsiteY55" fmla="*/ 516892 h 1046508"/>
                  <a:gd name="connsiteX56" fmla="*/ 792956 w 1200744"/>
                  <a:gd name="connsiteY56" fmla="*/ 468897 h 1046508"/>
                  <a:gd name="connsiteX57" fmla="*/ 688181 w 1200744"/>
                  <a:gd name="connsiteY57" fmla="*/ 481345 h 1046508"/>
                  <a:gd name="connsiteX58" fmla="*/ 688181 w 1200744"/>
                  <a:gd name="connsiteY58" fmla="*/ 529340 h 1046508"/>
                  <a:gd name="connsiteX59" fmla="*/ 418176 w 1200744"/>
                  <a:gd name="connsiteY59" fmla="*/ 561418 h 1046508"/>
                  <a:gd name="connsiteX60" fmla="*/ 392350 w 1200744"/>
                  <a:gd name="connsiteY60" fmla="*/ 575897 h 1046508"/>
                  <a:gd name="connsiteX61" fmla="*/ 384326 w 1200744"/>
                  <a:gd name="connsiteY61" fmla="*/ 604396 h 1046508"/>
                  <a:gd name="connsiteX62" fmla="*/ 398804 w 1200744"/>
                  <a:gd name="connsiteY62" fmla="*/ 630221 h 1046508"/>
                  <a:gd name="connsiteX63" fmla="*/ 427304 w 1200744"/>
                  <a:gd name="connsiteY63" fmla="*/ 638245 h 1046508"/>
                  <a:gd name="connsiteX64" fmla="*/ 1104900 w 1200744"/>
                  <a:gd name="connsiteY64" fmla="*/ 557742 h 1046508"/>
                  <a:gd name="connsiteX65" fmla="*/ 1104900 w 1200744"/>
                  <a:gd name="connsiteY65" fmla="*/ 558713 h 1046508"/>
                  <a:gd name="connsiteX66" fmla="*/ 1157491 w 1200744"/>
                  <a:gd name="connsiteY66" fmla="*/ 552464 h 1046508"/>
                  <a:gd name="connsiteX67" fmla="*/ 1200469 w 1200744"/>
                  <a:gd name="connsiteY67" fmla="*/ 586314 h 1046508"/>
                  <a:gd name="connsiteX68" fmla="*/ 1200468 w 1200744"/>
                  <a:gd name="connsiteY68" fmla="*/ 586314 h 1046508"/>
                  <a:gd name="connsiteX69" fmla="*/ 1166618 w 1200744"/>
                  <a:gd name="connsiteY69" fmla="*/ 629292 h 1046508"/>
                  <a:gd name="connsiteX70" fmla="*/ 1104900 w 1200744"/>
                  <a:gd name="connsiteY70" fmla="*/ 636624 h 1046508"/>
                  <a:gd name="connsiteX71" fmla="*/ 1104900 w 1200744"/>
                  <a:gd name="connsiteY71" fmla="*/ 817908 h 1046508"/>
                  <a:gd name="connsiteX72" fmla="*/ 971550 w 1200744"/>
                  <a:gd name="connsiteY72" fmla="*/ 946496 h 1046508"/>
                  <a:gd name="connsiteX73" fmla="*/ 752889 w 1200744"/>
                  <a:gd name="connsiteY73" fmla="*/ 946496 h 1046508"/>
                  <a:gd name="connsiteX74" fmla="*/ 749140 w 1200744"/>
                  <a:gd name="connsiteY74" fmla="*/ 965065 h 1046508"/>
                  <a:gd name="connsiteX75" fmla="*/ 626271 w 1200744"/>
                  <a:gd name="connsiteY75" fmla="*/ 1046508 h 1046508"/>
                  <a:gd name="connsiteX76" fmla="*/ 533770 w 1200744"/>
                  <a:gd name="connsiteY76" fmla="*/ 1046508 h 1046508"/>
                  <a:gd name="connsiteX77" fmla="*/ 410901 w 1200744"/>
                  <a:gd name="connsiteY77" fmla="*/ 965065 h 1046508"/>
                  <a:gd name="connsiteX78" fmla="*/ 407153 w 1200744"/>
                  <a:gd name="connsiteY78" fmla="*/ 946496 h 1046508"/>
                  <a:gd name="connsiteX79" fmla="*/ 190500 w 1200744"/>
                  <a:gd name="connsiteY79" fmla="*/ 946496 h 1046508"/>
                  <a:gd name="connsiteX80" fmla="*/ 59532 w 1200744"/>
                  <a:gd name="connsiteY80" fmla="*/ 825052 h 1046508"/>
                  <a:gd name="connsiteX81" fmla="*/ 59432 w 1200744"/>
                  <a:gd name="connsiteY81" fmla="*/ 710643 h 1046508"/>
                  <a:gd name="connsiteX82" fmla="*/ 48816 w 1200744"/>
                  <a:gd name="connsiteY82" fmla="*/ 710643 h 1046508"/>
                  <a:gd name="connsiteX83" fmla="*/ 14298 w 1200744"/>
                  <a:gd name="connsiteY83" fmla="*/ 696345 h 1046508"/>
                  <a:gd name="connsiteX84" fmla="*/ 0 w 1200744"/>
                  <a:gd name="connsiteY84" fmla="*/ 661828 h 1046508"/>
                  <a:gd name="connsiteX85" fmla="*/ 14298 w 1200744"/>
                  <a:gd name="connsiteY85" fmla="*/ 627310 h 1046508"/>
                  <a:gd name="connsiteX86" fmla="*/ 48816 w 1200744"/>
                  <a:gd name="connsiteY86" fmla="*/ 613012 h 1046508"/>
                  <a:gd name="connsiteX87" fmla="*/ 59346 w 1200744"/>
                  <a:gd name="connsiteY87" fmla="*/ 613012 h 1046508"/>
                  <a:gd name="connsiteX88" fmla="*/ 59247 w 1200744"/>
                  <a:gd name="connsiteY88" fmla="*/ 501147 h 1046508"/>
                  <a:gd name="connsiteX89" fmla="*/ 48816 w 1200744"/>
                  <a:gd name="connsiteY89" fmla="*/ 501147 h 1046508"/>
                  <a:gd name="connsiteX90" fmla="*/ 14298 w 1200744"/>
                  <a:gd name="connsiteY90" fmla="*/ 486849 h 1046508"/>
                  <a:gd name="connsiteX91" fmla="*/ 0 w 1200744"/>
                  <a:gd name="connsiteY91" fmla="*/ 452332 h 1046508"/>
                  <a:gd name="connsiteX92" fmla="*/ 14298 w 1200744"/>
                  <a:gd name="connsiteY92" fmla="*/ 417814 h 1046508"/>
                  <a:gd name="connsiteX93" fmla="*/ 48816 w 1200744"/>
                  <a:gd name="connsiteY93" fmla="*/ 403516 h 1046508"/>
                  <a:gd name="connsiteX94" fmla="*/ 59161 w 1200744"/>
                  <a:gd name="connsiteY94" fmla="*/ 403516 h 1046508"/>
                  <a:gd name="connsiteX95" fmla="*/ 59063 w 1200744"/>
                  <a:gd name="connsiteY95" fmla="*/ 291651 h 1046508"/>
                  <a:gd name="connsiteX96" fmla="*/ 48816 w 1200744"/>
                  <a:gd name="connsiteY96" fmla="*/ 291651 h 1046508"/>
                  <a:gd name="connsiteX97" fmla="*/ 14298 w 1200744"/>
                  <a:gd name="connsiteY97" fmla="*/ 277353 h 1046508"/>
                  <a:gd name="connsiteX98" fmla="*/ 0 w 1200744"/>
                  <a:gd name="connsiteY98" fmla="*/ 242836 h 1046508"/>
                  <a:gd name="connsiteX99" fmla="*/ 14298 w 1200744"/>
                  <a:gd name="connsiteY99" fmla="*/ 208318 h 1046508"/>
                  <a:gd name="connsiteX100" fmla="*/ 48816 w 1200744"/>
                  <a:gd name="connsiteY100" fmla="*/ 194020 h 1046508"/>
                  <a:gd name="connsiteX101" fmla="*/ 58977 w 1200744"/>
                  <a:gd name="connsiteY101" fmla="*/ 194020 h 1046508"/>
                  <a:gd name="connsiteX102" fmla="*/ 58806 w 1200744"/>
                  <a:gd name="connsiteY102"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1157493 w 1200744"/>
                  <a:gd name="connsiteY48" fmla="*/ 347675 h 1046508"/>
                  <a:gd name="connsiteX49" fmla="*/ 1200471 w 1200744"/>
                  <a:gd name="connsiteY49" fmla="*/ 381525 h 1046508"/>
                  <a:gd name="connsiteX50" fmla="*/ 1200470 w 1200744"/>
                  <a:gd name="connsiteY50" fmla="*/ 381526 h 1046508"/>
                  <a:gd name="connsiteX51" fmla="*/ 1166620 w 1200744"/>
                  <a:gd name="connsiteY51" fmla="*/ 424503 h 1046508"/>
                  <a:gd name="connsiteX52" fmla="*/ 883444 w 1200744"/>
                  <a:gd name="connsiteY52" fmla="*/ 458146 h 1046508"/>
                  <a:gd name="connsiteX53" fmla="*/ 883444 w 1200744"/>
                  <a:gd name="connsiteY53" fmla="*/ 506141 h 1046508"/>
                  <a:gd name="connsiteX54" fmla="*/ 792956 w 1200744"/>
                  <a:gd name="connsiteY54" fmla="*/ 516892 h 1046508"/>
                  <a:gd name="connsiteX55" fmla="*/ 792956 w 1200744"/>
                  <a:gd name="connsiteY55" fmla="*/ 468897 h 1046508"/>
                  <a:gd name="connsiteX56" fmla="*/ 688181 w 1200744"/>
                  <a:gd name="connsiteY56" fmla="*/ 481345 h 1046508"/>
                  <a:gd name="connsiteX57" fmla="*/ 688181 w 1200744"/>
                  <a:gd name="connsiteY57" fmla="*/ 529340 h 1046508"/>
                  <a:gd name="connsiteX58" fmla="*/ 418176 w 1200744"/>
                  <a:gd name="connsiteY58" fmla="*/ 561418 h 1046508"/>
                  <a:gd name="connsiteX59" fmla="*/ 392350 w 1200744"/>
                  <a:gd name="connsiteY59" fmla="*/ 575897 h 1046508"/>
                  <a:gd name="connsiteX60" fmla="*/ 384326 w 1200744"/>
                  <a:gd name="connsiteY60" fmla="*/ 604396 h 1046508"/>
                  <a:gd name="connsiteX61" fmla="*/ 398804 w 1200744"/>
                  <a:gd name="connsiteY61" fmla="*/ 630221 h 1046508"/>
                  <a:gd name="connsiteX62" fmla="*/ 427304 w 1200744"/>
                  <a:gd name="connsiteY62" fmla="*/ 638245 h 1046508"/>
                  <a:gd name="connsiteX63" fmla="*/ 1104900 w 1200744"/>
                  <a:gd name="connsiteY63" fmla="*/ 557742 h 1046508"/>
                  <a:gd name="connsiteX64" fmla="*/ 1104900 w 1200744"/>
                  <a:gd name="connsiteY64" fmla="*/ 558713 h 1046508"/>
                  <a:gd name="connsiteX65" fmla="*/ 1157491 w 1200744"/>
                  <a:gd name="connsiteY65" fmla="*/ 552464 h 1046508"/>
                  <a:gd name="connsiteX66" fmla="*/ 1200469 w 1200744"/>
                  <a:gd name="connsiteY66" fmla="*/ 586314 h 1046508"/>
                  <a:gd name="connsiteX67" fmla="*/ 1200468 w 1200744"/>
                  <a:gd name="connsiteY67" fmla="*/ 586314 h 1046508"/>
                  <a:gd name="connsiteX68" fmla="*/ 1166618 w 1200744"/>
                  <a:gd name="connsiteY68" fmla="*/ 629292 h 1046508"/>
                  <a:gd name="connsiteX69" fmla="*/ 1104900 w 1200744"/>
                  <a:gd name="connsiteY69" fmla="*/ 636624 h 1046508"/>
                  <a:gd name="connsiteX70" fmla="*/ 1104900 w 1200744"/>
                  <a:gd name="connsiteY70" fmla="*/ 817908 h 1046508"/>
                  <a:gd name="connsiteX71" fmla="*/ 971550 w 1200744"/>
                  <a:gd name="connsiteY71" fmla="*/ 946496 h 1046508"/>
                  <a:gd name="connsiteX72" fmla="*/ 752889 w 1200744"/>
                  <a:gd name="connsiteY72" fmla="*/ 946496 h 1046508"/>
                  <a:gd name="connsiteX73" fmla="*/ 749140 w 1200744"/>
                  <a:gd name="connsiteY73" fmla="*/ 965065 h 1046508"/>
                  <a:gd name="connsiteX74" fmla="*/ 626271 w 1200744"/>
                  <a:gd name="connsiteY74" fmla="*/ 1046508 h 1046508"/>
                  <a:gd name="connsiteX75" fmla="*/ 533770 w 1200744"/>
                  <a:gd name="connsiteY75" fmla="*/ 1046508 h 1046508"/>
                  <a:gd name="connsiteX76" fmla="*/ 410901 w 1200744"/>
                  <a:gd name="connsiteY76" fmla="*/ 965065 h 1046508"/>
                  <a:gd name="connsiteX77" fmla="*/ 407153 w 1200744"/>
                  <a:gd name="connsiteY77" fmla="*/ 946496 h 1046508"/>
                  <a:gd name="connsiteX78" fmla="*/ 190500 w 1200744"/>
                  <a:gd name="connsiteY78" fmla="*/ 946496 h 1046508"/>
                  <a:gd name="connsiteX79" fmla="*/ 59532 w 1200744"/>
                  <a:gd name="connsiteY79" fmla="*/ 825052 h 1046508"/>
                  <a:gd name="connsiteX80" fmla="*/ 59432 w 1200744"/>
                  <a:gd name="connsiteY80" fmla="*/ 710643 h 1046508"/>
                  <a:gd name="connsiteX81" fmla="*/ 48816 w 1200744"/>
                  <a:gd name="connsiteY81" fmla="*/ 710643 h 1046508"/>
                  <a:gd name="connsiteX82" fmla="*/ 14298 w 1200744"/>
                  <a:gd name="connsiteY82" fmla="*/ 696345 h 1046508"/>
                  <a:gd name="connsiteX83" fmla="*/ 0 w 1200744"/>
                  <a:gd name="connsiteY83" fmla="*/ 661828 h 1046508"/>
                  <a:gd name="connsiteX84" fmla="*/ 14298 w 1200744"/>
                  <a:gd name="connsiteY84" fmla="*/ 627310 h 1046508"/>
                  <a:gd name="connsiteX85" fmla="*/ 48816 w 1200744"/>
                  <a:gd name="connsiteY85" fmla="*/ 613012 h 1046508"/>
                  <a:gd name="connsiteX86" fmla="*/ 59346 w 1200744"/>
                  <a:gd name="connsiteY86" fmla="*/ 613012 h 1046508"/>
                  <a:gd name="connsiteX87" fmla="*/ 59247 w 1200744"/>
                  <a:gd name="connsiteY87" fmla="*/ 501147 h 1046508"/>
                  <a:gd name="connsiteX88" fmla="*/ 48816 w 1200744"/>
                  <a:gd name="connsiteY88" fmla="*/ 501147 h 1046508"/>
                  <a:gd name="connsiteX89" fmla="*/ 14298 w 1200744"/>
                  <a:gd name="connsiteY89" fmla="*/ 486849 h 1046508"/>
                  <a:gd name="connsiteX90" fmla="*/ 0 w 1200744"/>
                  <a:gd name="connsiteY90" fmla="*/ 452332 h 1046508"/>
                  <a:gd name="connsiteX91" fmla="*/ 14298 w 1200744"/>
                  <a:gd name="connsiteY91" fmla="*/ 417814 h 1046508"/>
                  <a:gd name="connsiteX92" fmla="*/ 48816 w 1200744"/>
                  <a:gd name="connsiteY92" fmla="*/ 403516 h 1046508"/>
                  <a:gd name="connsiteX93" fmla="*/ 59161 w 1200744"/>
                  <a:gd name="connsiteY93" fmla="*/ 403516 h 1046508"/>
                  <a:gd name="connsiteX94" fmla="*/ 59063 w 1200744"/>
                  <a:gd name="connsiteY94" fmla="*/ 291651 h 1046508"/>
                  <a:gd name="connsiteX95" fmla="*/ 48816 w 1200744"/>
                  <a:gd name="connsiteY95" fmla="*/ 291651 h 1046508"/>
                  <a:gd name="connsiteX96" fmla="*/ 14298 w 1200744"/>
                  <a:gd name="connsiteY96" fmla="*/ 277353 h 1046508"/>
                  <a:gd name="connsiteX97" fmla="*/ 0 w 1200744"/>
                  <a:gd name="connsiteY97" fmla="*/ 242836 h 1046508"/>
                  <a:gd name="connsiteX98" fmla="*/ 14298 w 1200744"/>
                  <a:gd name="connsiteY98" fmla="*/ 208318 h 1046508"/>
                  <a:gd name="connsiteX99" fmla="*/ 48816 w 1200744"/>
                  <a:gd name="connsiteY99" fmla="*/ 194020 h 1046508"/>
                  <a:gd name="connsiteX100" fmla="*/ 58977 w 1200744"/>
                  <a:gd name="connsiteY100" fmla="*/ 194020 h 1046508"/>
                  <a:gd name="connsiteX101" fmla="*/ 58806 w 1200744"/>
                  <a:gd name="connsiteY101"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1157493 w 1200744"/>
                  <a:gd name="connsiteY47" fmla="*/ 347675 h 1046508"/>
                  <a:gd name="connsiteX48" fmla="*/ 1200471 w 1200744"/>
                  <a:gd name="connsiteY48" fmla="*/ 381525 h 1046508"/>
                  <a:gd name="connsiteX49" fmla="*/ 1200470 w 1200744"/>
                  <a:gd name="connsiteY49" fmla="*/ 381526 h 1046508"/>
                  <a:gd name="connsiteX50" fmla="*/ 1166620 w 1200744"/>
                  <a:gd name="connsiteY50" fmla="*/ 424503 h 1046508"/>
                  <a:gd name="connsiteX51" fmla="*/ 883444 w 1200744"/>
                  <a:gd name="connsiteY51" fmla="*/ 458146 h 1046508"/>
                  <a:gd name="connsiteX52" fmla="*/ 883444 w 1200744"/>
                  <a:gd name="connsiteY52" fmla="*/ 506141 h 1046508"/>
                  <a:gd name="connsiteX53" fmla="*/ 792956 w 1200744"/>
                  <a:gd name="connsiteY53" fmla="*/ 516892 h 1046508"/>
                  <a:gd name="connsiteX54" fmla="*/ 792956 w 1200744"/>
                  <a:gd name="connsiteY54" fmla="*/ 468897 h 1046508"/>
                  <a:gd name="connsiteX55" fmla="*/ 688181 w 1200744"/>
                  <a:gd name="connsiteY55" fmla="*/ 481345 h 1046508"/>
                  <a:gd name="connsiteX56" fmla="*/ 688181 w 1200744"/>
                  <a:gd name="connsiteY56" fmla="*/ 529340 h 1046508"/>
                  <a:gd name="connsiteX57" fmla="*/ 418176 w 1200744"/>
                  <a:gd name="connsiteY57" fmla="*/ 561418 h 1046508"/>
                  <a:gd name="connsiteX58" fmla="*/ 392350 w 1200744"/>
                  <a:gd name="connsiteY58" fmla="*/ 575897 h 1046508"/>
                  <a:gd name="connsiteX59" fmla="*/ 384326 w 1200744"/>
                  <a:gd name="connsiteY59" fmla="*/ 604396 h 1046508"/>
                  <a:gd name="connsiteX60" fmla="*/ 398804 w 1200744"/>
                  <a:gd name="connsiteY60" fmla="*/ 630221 h 1046508"/>
                  <a:gd name="connsiteX61" fmla="*/ 427304 w 1200744"/>
                  <a:gd name="connsiteY61" fmla="*/ 638245 h 1046508"/>
                  <a:gd name="connsiteX62" fmla="*/ 1104900 w 1200744"/>
                  <a:gd name="connsiteY62" fmla="*/ 557742 h 1046508"/>
                  <a:gd name="connsiteX63" fmla="*/ 1104900 w 1200744"/>
                  <a:gd name="connsiteY63" fmla="*/ 558713 h 1046508"/>
                  <a:gd name="connsiteX64" fmla="*/ 1157491 w 1200744"/>
                  <a:gd name="connsiteY64" fmla="*/ 552464 h 1046508"/>
                  <a:gd name="connsiteX65" fmla="*/ 1200469 w 1200744"/>
                  <a:gd name="connsiteY65" fmla="*/ 586314 h 1046508"/>
                  <a:gd name="connsiteX66" fmla="*/ 1200468 w 1200744"/>
                  <a:gd name="connsiteY66" fmla="*/ 586314 h 1046508"/>
                  <a:gd name="connsiteX67" fmla="*/ 1166618 w 1200744"/>
                  <a:gd name="connsiteY67" fmla="*/ 629292 h 1046508"/>
                  <a:gd name="connsiteX68" fmla="*/ 1104900 w 1200744"/>
                  <a:gd name="connsiteY68" fmla="*/ 636624 h 1046508"/>
                  <a:gd name="connsiteX69" fmla="*/ 1104900 w 1200744"/>
                  <a:gd name="connsiteY69" fmla="*/ 817908 h 1046508"/>
                  <a:gd name="connsiteX70" fmla="*/ 971550 w 1200744"/>
                  <a:gd name="connsiteY70" fmla="*/ 946496 h 1046508"/>
                  <a:gd name="connsiteX71" fmla="*/ 752889 w 1200744"/>
                  <a:gd name="connsiteY71" fmla="*/ 946496 h 1046508"/>
                  <a:gd name="connsiteX72" fmla="*/ 749140 w 1200744"/>
                  <a:gd name="connsiteY72" fmla="*/ 965065 h 1046508"/>
                  <a:gd name="connsiteX73" fmla="*/ 626271 w 1200744"/>
                  <a:gd name="connsiteY73" fmla="*/ 1046508 h 1046508"/>
                  <a:gd name="connsiteX74" fmla="*/ 533770 w 1200744"/>
                  <a:gd name="connsiteY74" fmla="*/ 1046508 h 1046508"/>
                  <a:gd name="connsiteX75" fmla="*/ 410901 w 1200744"/>
                  <a:gd name="connsiteY75" fmla="*/ 965065 h 1046508"/>
                  <a:gd name="connsiteX76" fmla="*/ 407153 w 1200744"/>
                  <a:gd name="connsiteY76" fmla="*/ 946496 h 1046508"/>
                  <a:gd name="connsiteX77" fmla="*/ 190500 w 1200744"/>
                  <a:gd name="connsiteY77" fmla="*/ 946496 h 1046508"/>
                  <a:gd name="connsiteX78" fmla="*/ 59532 w 1200744"/>
                  <a:gd name="connsiteY78" fmla="*/ 825052 h 1046508"/>
                  <a:gd name="connsiteX79" fmla="*/ 59432 w 1200744"/>
                  <a:gd name="connsiteY79" fmla="*/ 710643 h 1046508"/>
                  <a:gd name="connsiteX80" fmla="*/ 48816 w 1200744"/>
                  <a:gd name="connsiteY80" fmla="*/ 710643 h 1046508"/>
                  <a:gd name="connsiteX81" fmla="*/ 14298 w 1200744"/>
                  <a:gd name="connsiteY81" fmla="*/ 696345 h 1046508"/>
                  <a:gd name="connsiteX82" fmla="*/ 0 w 1200744"/>
                  <a:gd name="connsiteY82" fmla="*/ 661828 h 1046508"/>
                  <a:gd name="connsiteX83" fmla="*/ 14298 w 1200744"/>
                  <a:gd name="connsiteY83" fmla="*/ 627310 h 1046508"/>
                  <a:gd name="connsiteX84" fmla="*/ 48816 w 1200744"/>
                  <a:gd name="connsiteY84" fmla="*/ 613012 h 1046508"/>
                  <a:gd name="connsiteX85" fmla="*/ 59346 w 1200744"/>
                  <a:gd name="connsiteY85" fmla="*/ 613012 h 1046508"/>
                  <a:gd name="connsiteX86" fmla="*/ 59247 w 1200744"/>
                  <a:gd name="connsiteY86" fmla="*/ 501147 h 1046508"/>
                  <a:gd name="connsiteX87" fmla="*/ 48816 w 1200744"/>
                  <a:gd name="connsiteY87" fmla="*/ 501147 h 1046508"/>
                  <a:gd name="connsiteX88" fmla="*/ 14298 w 1200744"/>
                  <a:gd name="connsiteY88" fmla="*/ 486849 h 1046508"/>
                  <a:gd name="connsiteX89" fmla="*/ 0 w 1200744"/>
                  <a:gd name="connsiteY89" fmla="*/ 452332 h 1046508"/>
                  <a:gd name="connsiteX90" fmla="*/ 14298 w 1200744"/>
                  <a:gd name="connsiteY90" fmla="*/ 417814 h 1046508"/>
                  <a:gd name="connsiteX91" fmla="*/ 48816 w 1200744"/>
                  <a:gd name="connsiteY91" fmla="*/ 403516 h 1046508"/>
                  <a:gd name="connsiteX92" fmla="*/ 59161 w 1200744"/>
                  <a:gd name="connsiteY92" fmla="*/ 403516 h 1046508"/>
                  <a:gd name="connsiteX93" fmla="*/ 59063 w 1200744"/>
                  <a:gd name="connsiteY93" fmla="*/ 291651 h 1046508"/>
                  <a:gd name="connsiteX94" fmla="*/ 48816 w 1200744"/>
                  <a:gd name="connsiteY94" fmla="*/ 291651 h 1046508"/>
                  <a:gd name="connsiteX95" fmla="*/ 14298 w 1200744"/>
                  <a:gd name="connsiteY95" fmla="*/ 277353 h 1046508"/>
                  <a:gd name="connsiteX96" fmla="*/ 0 w 1200744"/>
                  <a:gd name="connsiteY96" fmla="*/ 242836 h 1046508"/>
                  <a:gd name="connsiteX97" fmla="*/ 14298 w 1200744"/>
                  <a:gd name="connsiteY97" fmla="*/ 208318 h 1046508"/>
                  <a:gd name="connsiteX98" fmla="*/ 48816 w 1200744"/>
                  <a:gd name="connsiteY98" fmla="*/ 194020 h 1046508"/>
                  <a:gd name="connsiteX99" fmla="*/ 58977 w 1200744"/>
                  <a:gd name="connsiteY99" fmla="*/ 194020 h 1046508"/>
                  <a:gd name="connsiteX100" fmla="*/ 58806 w 1200744"/>
                  <a:gd name="connsiteY100"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1157493 w 1200744"/>
                  <a:gd name="connsiteY46" fmla="*/ 347675 h 1046508"/>
                  <a:gd name="connsiteX47" fmla="*/ 1200471 w 1200744"/>
                  <a:gd name="connsiteY47" fmla="*/ 381525 h 1046508"/>
                  <a:gd name="connsiteX48" fmla="*/ 1200470 w 1200744"/>
                  <a:gd name="connsiteY48" fmla="*/ 381526 h 1046508"/>
                  <a:gd name="connsiteX49" fmla="*/ 1166620 w 1200744"/>
                  <a:gd name="connsiteY49" fmla="*/ 424503 h 1046508"/>
                  <a:gd name="connsiteX50" fmla="*/ 883444 w 1200744"/>
                  <a:gd name="connsiteY50" fmla="*/ 458146 h 1046508"/>
                  <a:gd name="connsiteX51" fmla="*/ 883444 w 1200744"/>
                  <a:gd name="connsiteY51" fmla="*/ 506141 h 1046508"/>
                  <a:gd name="connsiteX52" fmla="*/ 792956 w 1200744"/>
                  <a:gd name="connsiteY52" fmla="*/ 516892 h 1046508"/>
                  <a:gd name="connsiteX53" fmla="*/ 792956 w 1200744"/>
                  <a:gd name="connsiteY53" fmla="*/ 468897 h 1046508"/>
                  <a:gd name="connsiteX54" fmla="*/ 688181 w 1200744"/>
                  <a:gd name="connsiteY54" fmla="*/ 481345 h 1046508"/>
                  <a:gd name="connsiteX55" fmla="*/ 688181 w 1200744"/>
                  <a:gd name="connsiteY55" fmla="*/ 529340 h 1046508"/>
                  <a:gd name="connsiteX56" fmla="*/ 418176 w 1200744"/>
                  <a:gd name="connsiteY56" fmla="*/ 561418 h 1046508"/>
                  <a:gd name="connsiteX57" fmla="*/ 392350 w 1200744"/>
                  <a:gd name="connsiteY57" fmla="*/ 575897 h 1046508"/>
                  <a:gd name="connsiteX58" fmla="*/ 384326 w 1200744"/>
                  <a:gd name="connsiteY58" fmla="*/ 604396 h 1046508"/>
                  <a:gd name="connsiteX59" fmla="*/ 398804 w 1200744"/>
                  <a:gd name="connsiteY59" fmla="*/ 630221 h 1046508"/>
                  <a:gd name="connsiteX60" fmla="*/ 427304 w 1200744"/>
                  <a:gd name="connsiteY60" fmla="*/ 638245 h 1046508"/>
                  <a:gd name="connsiteX61" fmla="*/ 1104900 w 1200744"/>
                  <a:gd name="connsiteY61" fmla="*/ 557742 h 1046508"/>
                  <a:gd name="connsiteX62" fmla="*/ 1104900 w 1200744"/>
                  <a:gd name="connsiteY62" fmla="*/ 558713 h 1046508"/>
                  <a:gd name="connsiteX63" fmla="*/ 1157491 w 1200744"/>
                  <a:gd name="connsiteY63" fmla="*/ 552464 h 1046508"/>
                  <a:gd name="connsiteX64" fmla="*/ 1200469 w 1200744"/>
                  <a:gd name="connsiteY64" fmla="*/ 586314 h 1046508"/>
                  <a:gd name="connsiteX65" fmla="*/ 1200468 w 1200744"/>
                  <a:gd name="connsiteY65" fmla="*/ 586314 h 1046508"/>
                  <a:gd name="connsiteX66" fmla="*/ 1166618 w 1200744"/>
                  <a:gd name="connsiteY66" fmla="*/ 629292 h 1046508"/>
                  <a:gd name="connsiteX67" fmla="*/ 1104900 w 1200744"/>
                  <a:gd name="connsiteY67" fmla="*/ 636624 h 1046508"/>
                  <a:gd name="connsiteX68" fmla="*/ 1104900 w 1200744"/>
                  <a:gd name="connsiteY68" fmla="*/ 817908 h 1046508"/>
                  <a:gd name="connsiteX69" fmla="*/ 971550 w 1200744"/>
                  <a:gd name="connsiteY69" fmla="*/ 946496 h 1046508"/>
                  <a:gd name="connsiteX70" fmla="*/ 752889 w 1200744"/>
                  <a:gd name="connsiteY70" fmla="*/ 946496 h 1046508"/>
                  <a:gd name="connsiteX71" fmla="*/ 749140 w 1200744"/>
                  <a:gd name="connsiteY71" fmla="*/ 965065 h 1046508"/>
                  <a:gd name="connsiteX72" fmla="*/ 626271 w 1200744"/>
                  <a:gd name="connsiteY72" fmla="*/ 1046508 h 1046508"/>
                  <a:gd name="connsiteX73" fmla="*/ 533770 w 1200744"/>
                  <a:gd name="connsiteY73" fmla="*/ 1046508 h 1046508"/>
                  <a:gd name="connsiteX74" fmla="*/ 410901 w 1200744"/>
                  <a:gd name="connsiteY74" fmla="*/ 965065 h 1046508"/>
                  <a:gd name="connsiteX75" fmla="*/ 407153 w 1200744"/>
                  <a:gd name="connsiteY75" fmla="*/ 946496 h 1046508"/>
                  <a:gd name="connsiteX76" fmla="*/ 190500 w 1200744"/>
                  <a:gd name="connsiteY76" fmla="*/ 946496 h 1046508"/>
                  <a:gd name="connsiteX77" fmla="*/ 59532 w 1200744"/>
                  <a:gd name="connsiteY77" fmla="*/ 825052 h 1046508"/>
                  <a:gd name="connsiteX78" fmla="*/ 59432 w 1200744"/>
                  <a:gd name="connsiteY78" fmla="*/ 710643 h 1046508"/>
                  <a:gd name="connsiteX79" fmla="*/ 48816 w 1200744"/>
                  <a:gd name="connsiteY79" fmla="*/ 710643 h 1046508"/>
                  <a:gd name="connsiteX80" fmla="*/ 14298 w 1200744"/>
                  <a:gd name="connsiteY80" fmla="*/ 696345 h 1046508"/>
                  <a:gd name="connsiteX81" fmla="*/ 0 w 1200744"/>
                  <a:gd name="connsiteY81" fmla="*/ 661828 h 1046508"/>
                  <a:gd name="connsiteX82" fmla="*/ 14298 w 1200744"/>
                  <a:gd name="connsiteY82" fmla="*/ 627310 h 1046508"/>
                  <a:gd name="connsiteX83" fmla="*/ 48816 w 1200744"/>
                  <a:gd name="connsiteY83" fmla="*/ 613012 h 1046508"/>
                  <a:gd name="connsiteX84" fmla="*/ 59346 w 1200744"/>
                  <a:gd name="connsiteY84" fmla="*/ 613012 h 1046508"/>
                  <a:gd name="connsiteX85" fmla="*/ 59247 w 1200744"/>
                  <a:gd name="connsiteY85" fmla="*/ 501147 h 1046508"/>
                  <a:gd name="connsiteX86" fmla="*/ 48816 w 1200744"/>
                  <a:gd name="connsiteY86" fmla="*/ 501147 h 1046508"/>
                  <a:gd name="connsiteX87" fmla="*/ 14298 w 1200744"/>
                  <a:gd name="connsiteY87" fmla="*/ 486849 h 1046508"/>
                  <a:gd name="connsiteX88" fmla="*/ 0 w 1200744"/>
                  <a:gd name="connsiteY88" fmla="*/ 452332 h 1046508"/>
                  <a:gd name="connsiteX89" fmla="*/ 14298 w 1200744"/>
                  <a:gd name="connsiteY89" fmla="*/ 417814 h 1046508"/>
                  <a:gd name="connsiteX90" fmla="*/ 48816 w 1200744"/>
                  <a:gd name="connsiteY90" fmla="*/ 403516 h 1046508"/>
                  <a:gd name="connsiteX91" fmla="*/ 59161 w 1200744"/>
                  <a:gd name="connsiteY91" fmla="*/ 403516 h 1046508"/>
                  <a:gd name="connsiteX92" fmla="*/ 59063 w 1200744"/>
                  <a:gd name="connsiteY92" fmla="*/ 291651 h 1046508"/>
                  <a:gd name="connsiteX93" fmla="*/ 48816 w 1200744"/>
                  <a:gd name="connsiteY93" fmla="*/ 291651 h 1046508"/>
                  <a:gd name="connsiteX94" fmla="*/ 14298 w 1200744"/>
                  <a:gd name="connsiteY94" fmla="*/ 277353 h 1046508"/>
                  <a:gd name="connsiteX95" fmla="*/ 0 w 1200744"/>
                  <a:gd name="connsiteY95" fmla="*/ 242836 h 1046508"/>
                  <a:gd name="connsiteX96" fmla="*/ 14298 w 1200744"/>
                  <a:gd name="connsiteY96" fmla="*/ 208318 h 1046508"/>
                  <a:gd name="connsiteX97" fmla="*/ 48816 w 1200744"/>
                  <a:gd name="connsiteY97" fmla="*/ 194020 h 1046508"/>
                  <a:gd name="connsiteX98" fmla="*/ 58977 w 1200744"/>
                  <a:gd name="connsiteY98" fmla="*/ 194020 h 1046508"/>
                  <a:gd name="connsiteX99" fmla="*/ 58806 w 1200744"/>
                  <a:gd name="connsiteY99"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83444 w 1200744"/>
                  <a:gd name="connsiteY34" fmla="*/ 235459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1157493 w 1200744"/>
                  <a:gd name="connsiteY45" fmla="*/ 347675 h 1046508"/>
                  <a:gd name="connsiteX46" fmla="*/ 1200471 w 1200744"/>
                  <a:gd name="connsiteY46" fmla="*/ 381525 h 1046508"/>
                  <a:gd name="connsiteX47" fmla="*/ 1200470 w 1200744"/>
                  <a:gd name="connsiteY47" fmla="*/ 381526 h 1046508"/>
                  <a:gd name="connsiteX48" fmla="*/ 1166620 w 1200744"/>
                  <a:gd name="connsiteY48" fmla="*/ 424503 h 1046508"/>
                  <a:gd name="connsiteX49" fmla="*/ 883444 w 1200744"/>
                  <a:gd name="connsiteY49" fmla="*/ 458146 h 1046508"/>
                  <a:gd name="connsiteX50" fmla="*/ 883444 w 1200744"/>
                  <a:gd name="connsiteY50" fmla="*/ 506141 h 1046508"/>
                  <a:gd name="connsiteX51" fmla="*/ 792956 w 1200744"/>
                  <a:gd name="connsiteY51" fmla="*/ 516892 h 1046508"/>
                  <a:gd name="connsiteX52" fmla="*/ 792956 w 1200744"/>
                  <a:gd name="connsiteY52" fmla="*/ 468897 h 1046508"/>
                  <a:gd name="connsiteX53" fmla="*/ 688181 w 1200744"/>
                  <a:gd name="connsiteY53" fmla="*/ 481345 h 1046508"/>
                  <a:gd name="connsiteX54" fmla="*/ 688181 w 1200744"/>
                  <a:gd name="connsiteY54" fmla="*/ 529340 h 1046508"/>
                  <a:gd name="connsiteX55" fmla="*/ 418176 w 1200744"/>
                  <a:gd name="connsiteY55" fmla="*/ 561418 h 1046508"/>
                  <a:gd name="connsiteX56" fmla="*/ 392350 w 1200744"/>
                  <a:gd name="connsiteY56" fmla="*/ 575897 h 1046508"/>
                  <a:gd name="connsiteX57" fmla="*/ 384326 w 1200744"/>
                  <a:gd name="connsiteY57" fmla="*/ 604396 h 1046508"/>
                  <a:gd name="connsiteX58" fmla="*/ 398804 w 1200744"/>
                  <a:gd name="connsiteY58" fmla="*/ 630221 h 1046508"/>
                  <a:gd name="connsiteX59" fmla="*/ 427304 w 1200744"/>
                  <a:gd name="connsiteY59" fmla="*/ 638245 h 1046508"/>
                  <a:gd name="connsiteX60" fmla="*/ 1104900 w 1200744"/>
                  <a:gd name="connsiteY60" fmla="*/ 557742 h 1046508"/>
                  <a:gd name="connsiteX61" fmla="*/ 1104900 w 1200744"/>
                  <a:gd name="connsiteY61" fmla="*/ 558713 h 1046508"/>
                  <a:gd name="connsiteX62" fmla="*/ 1157491 w 1200744"/>
                  <a:gd name="connsiteY62" fmla="*/ 552464 h 1046508"/>
                  <a:gd name="connsiteX63" fmla="*/ 1200469 w 1200744"/>
                  <a:gd name="connsiteY63" fmla="*/ 586314 h 1046508"/>
                  <a:gd name="connsiteX64" fmla="*/ 1200468 w 1200744"/>
                  <a:gd name="connsiteY64" fmla="*/ 586314 h 1046508"/>
                  <a:gd name="connsiteX65" fmla="*/ 1166618 w 1200744"/>
                  <a:gd name="connsiteY65" fmla="*/ 629292 h 1046508"/>
                  <a:gd name="connsiteX66" fmla="*/ 1104900 w 1200744"/>
                  <a:gd name="connsiteY66" fmla="*/ 636624 h 1046508"/>
                  <a:gd name="connsiteX67" fmla="*/ 1104900 w 1200744"/>
                  <a:gd name="connsiteY67" fmla="*/ 817908 h 1046508"/>
                  <a:gd name="connsiteX68" fmla="*/ 971550 w 1200744"/>
                  <a:gd name="connsiteY68" fmla="*/ 946496 h 1046508"/>
                  <a:gd name="connsiteX69" fmla="*/ 752889 w 1200744"/>
                  <a:gd name="connsiteY69" fmla="*/ 946496 h 1046508"/>
                  <a:gd name="connsiteX70" fmla="*/ 749140 w 1200744"/>
                  <a:gd name="connsiteY70" fmla="*/ 965065 h 1046508"/>
                  <a:gd name="connsiteX71" fmla="*/ 626271 w 1200744"/>
                  <a:gd name="connsiteY71" fmla="*/ 1046508 h 1046508"/>
                  <a:gd name="connsiteX72" fmla="*/ 533770 w 1200744"/>
                  <a:gd name="connsiteY72" fmla="*/ 1046508 h 1046508"/>
                  <a:gd name="connsiteX73" fmla="*/ 410901 w 1200744"/>
                  <a:gd name="connsiteY73" fmla="*/ 965065 h 1046508"/>
                  <a:gd name="connsiteX74" fmla="*/ 407153 w 1200744"/>
                  <a:gd name="connsiteY74" fmla="*/ 946496 h 1046508"/>
                  <a:gd name="connsiteX75" fmla="*/ 190500 w 1200744"/>
                  <a:gd name="connsiteY75" fmla="*/ 946496 h 1046508"/>
                  <a:gd name="connsiteX76" fmla="*/ 59532 w 1200744"/>
                  <a:gd name="connsiteY76" fmla="*/ 825052 h 1046508"/>
                  <a:gd name="connsiteX77" fmla="*/ 59432 w 1200744"/>
                  <a:gd name="connsiteY77" fmla="*/ 710643 h 1046508"/>
                  <a:gd name="connsiteX78" fmla="*/ 48816 w 1200744"/>
                  <a:gd name="connsiteY78" fmla="*/ 710643 h 1046508"/>
                  <a:gd name="connsiteX79" fmla="*/ 14298 w 1200744"/>
                  <a:gd name="connsiteY79" fmla="*/ 696345 h 1046508"/>
                  <a:gd name="connsiteX80" fmla="*/ 0 w 1200744"/>
                  <a:gd name="connsiteY80" fmla="*/ 661828 h 1046508"/>
                  <a:gd name="connsiteX81" fmla="*/ 14298 w 1200744"/>
                  <a:gd name="connsiteY81" fmla="*/ 627310 h 1046508"/>
                  <a:gd name="connsiteX82" fmla="*/ 48816 w 1200744"/>
                  <a:gd name="connsiteY82" fmla="*/ 613012 h 1046508"/>
                  <a:gd name="connsiteX83" fmla="*/ 59346 w 1200744"/>
                  <a:gd name="connsiteY83" fmla="*/ 613012 h 1046508"/>
                  <a:gd name="connsiteX84" fmla="*/ 59247 w 1200744"/>
                  <a:gd name="connsiteY84" fmla="*/ 501147 h 1046508"/>
                  <a:gd name="connsiteX85" fmla="*/ 48816 w 1200744"/>
                  <a:gd name="connsiteY85" fmla="*/ 501147 h 1046508"/>
                  <a:gd name="connsiteX86" fmla="*/ 14298 w 1200744"/>
                  <a:gd name="connsiteY86" fmla="*/ 486849 h 1046508"/>
                  <a:gd name="connsiteX87" fmla="*/ 0 w 1200744"/>
                  <a:gd name="connsiteY87" fmla="*/ 452332 h 1046508"/>
                  <a:gd name="connsiteX88" fmla="*/ 14298 w 1200744"/>
                  <a:gd name="connsiteY88" fmla="*/ 417814 h 1046508"/>
                  <a:gd name="connsiteX89" fmla="*/ 48816 w 1200744"/>
                  <a:gd name="connsiteY89" fmla="*/ 403516 h 1046508"/>
                  <a:gd name="connsiteX90" fmla="*/ 59161 w 1200744"/>
                  <a:gd name="connsiteY90" fmla="*/ 403516 h 1046508"/>
                  <a:gd name="connsiteX91" fmla="*/ 59063 w 1200744"/>
                  <a:gd name="connsiteY91" fmla="*/ 291651 h 1046508"/>
                  <a:gd name="connsiteX92" fmla="*/ 48816 w 1200744"/>
                  <a:gd name="connsiteY92" fmla="*/ 291651 h 1046508"/>
                  <a:gd name="connsiteX93" fmla="*/ 14298 w 1200744"/>
                  <a:gd name="connsiteY93" fmla="*/ 277353 h 1046508"/>
                  <a:gd name="connsiteX94" fmla="*/ 0 w 1200744"/>
                  <a:gd name="connsiteY94" fmla="*/ 242836 h 1046508"/>
                  <a:gd name="connsiteX95" fmla="*/ 14298 w 1200744"/>
                  <a:gd name="connsiteY95" fmla="*/ 208318 h 1046508"/>
                  <a:gd name="connsiteX96" fmla="*/ 48816 w 1200744"/>
                  <a:gd name="connsiteY96" fmla="*/ 194020 h 1046508"/>
                  <a:gd name="connsiteX97" fmla="*/ 58977 w 1200744"/>
                  <a:gd name="connsiteY97" fmla="*/ 194020 h 1046508"/>
                  <a:gd name="connsiteX98" fmla="*/ 58806 w 1200744"/>
                  <a:gd name="connsiteY98"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78682 w 1200744"/>
                  <a:gd name="connsiteY34" fmla="*/ 240221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1157493 w 1200744"/>
                  <a:gd name="connsiteY45" fmla="*/ 347675 h 1046508"/>
                  <a:gd name="connsiteX46" fmla="*/ 1200471 w 1200744"/>
                  <a:gd name="connsiteY46" fmla="*/ 381525 h 1046508"/>
                  <a:gd name="connsiteX47" fmla="*/ 1200470 w 1200744"/>
                  <a:gd name="connsiteY47" fmla="*/ 381526 h 1046508"/>
                  <a:gd name="connsiteX48" fmla="*/ 1166620 w 1200744"/>
                  <a:gd name="connsiteY48" fmla="*/ 424503 h 1046508"/>
                  <a:gd name="connsiteX49" fmla="*/ 883444 w 1200744"/>
                  <a:gd name="connsiteY49" fmla="*/ 458146 h 1046508"/>
                  <a:gd name="connsiteX50" fmla="*/ 883444 w 1200744"/>
                  <a:gd name="connsiteY50" fmla="*/ 506141 h 1046508"/>
                  <a:gd name="connsiteX51" fmla="*/ 792956 w 1200744"/>
                  <a:gd name="connsiteY51" fmla="*/ 516892 h 1046508"/>
                  <a:gd name="connsiteX52" fmla="*/ 792956 w 1200744"/>
                  <a:gd name="connsiteY52" fmla="*/ 468897 h 1046508"/>
                  <a:gd name="connsiteX53" fmla="*/ 688181 w 1200744"/>
                  <a:gd name="connsiteY53" fmla="*/ 481345 h 1046508"/>
                  <a:gd name="connsiteX54" fmla="*/ 688181 w 1200744"/>
                  <a:gd name="connsiteY54" fmla="*/ 529340 h 1046508"/>
                  <a:gd name="connsiteX55" fmla="*/ 418176 w 1200744"/>
                  <a:gd name="connsiteY55" fmla="*/ 561418 h 1046508"/>
                  <a:gd name="connsiteX56" fmla="*/ 392350 w 1200744"/>
                  <a:gd name="connsiteY56" fmla="*/ 575897 h 1046508"/>
                  <a:gd name="connsiteX57" fmla="*/ 384326 w 1200744"/>
                  <a:gd name="connsiteY57" fmla="*/ 604396 h 1046508"/>
                  <a:gd name="connsiteX58" fmla="*/ 398804 w 1200744"/>
                  <a:gd name="connsiteY58" fmla="*/ 630221 h 1046508"/>
                  <a:gd name="connsiteX59" fmla="*/ 427304 w 1200744"/>
                  <a:gd name="connsiteY59" fmla="*/ 638245 h 1046508"/>
                  <a:gd name="connsiteX60" fmla="*/ 1104900 w 1200744"/>
                  <a:gd name="connsiteY60" fmla="*/ 557742 h 1046508"/>
                  <a:gd name="connsiteX61" fmla="*/ 1104900 w 1200744"/>
                  <a:gd name="connsiteY61" fmla="*/ 558713 h 1046508"/>
                  <a:gd name="connsiteX62" fmla="*/ 1157491 w 1200744"/>
                  <a:gd name="connsiteY62" fmla="*/ 552464 h 1046508"/>
                  <a:gd name="connsiteX63" fmla="*/ 1200469 w 1200744"/>
                  <a:gd name="connsiteY63" fmla="*/ 586314 h 1046508"/>
                  <a:gd name="connsiteX64" fmla="*/ 1200468 w 1200744"/>
                  <a:gd name="connsiteY64" fmla="*/ 586314 h 1046508"/>
                  <a:gd name="connsiteX65" fmla="*/ 1166618 w 1200744"/>
                  <a:gd name="connsiteY65" fmla="*/ 629292 h 1046508"/>
                  <a:gd name="connsiteX66" fmla="*/ 1104900 w 1200744"/>
                  <a:gd name="connsiteY66" fmla="*/ 636624 h 1046508"/>
                  <a:gd name="connsiteX67" fmla="*/ 1104900 w 1200744"/>
                  <a:gd name="connsiteY67" fmla="*/ 817908 h 1046508"/>
                  <a:gd name="connsiteX68" fmla="*/ 971550 w 1200744"/>
                  <a:gd name="connsiteY68" fmla="*/ 946496 h 1046508"/>
                  <a:gd name="connsiteX69" fmla="*/ 752889 w 1200744"/>
                  <a:gd name="connsiteY69" fmla="*/ 946496 h 1046508"/>
                  <a:gd name="connsiteX70" fmla="*/ 749140 w 1200744"/>
                  <a:gd name="connsiteY70" fmla="*/ 965065 h 1046508"/>
                  <a:gd name="connsiteX71" fmla="*/ 626271 w 1200744"/>
                  <a:gd name="connsiteY71" fmla="*/ 1046508 h 1046508"/>
                  <a:gd name="connsiteX72" fmla="*/ 533770 w 1200744"/>
                  <a:gd name="connsiteY72" fmla="*/ 1046508 h 1046508"/>
                  <a:gd name="connsiteX73" fmla="*/ 410901 w 1200744"/>
                  <a:gd name="connsiteY73" fmla="*/ 965065 h 1046508"/>
                  <a:gd name="connsiteX74" fmla="*/ 407153 w 1200744"/>
                  <a:gd name="connsiteY74" fmla="*/ 946496 h 1046508"/>
                  <a:gd name="connsiteX75" fmla="*/ 190500 w 1200744"/>
                  <a:gd name="connsiteY75" fmla="*/ 946496 h 1046508"/>
                  <a:gd name="connsiteX76" fmla="*/ 59532 w 1200744"/>
                  <a:gd name="connsiteY76" fmla="*/ 825052 h 1046508"/>
                  <a:gd name="connsiteX77" fmla="*/ 59432 w 1200744"/>
                  <a:gd name="connsiteY77" fmla="*/ 710643 h 1046508"/>
                  <a:gd name="connsiteX78" fmla="*/ 48816 w 1200744"/>
                  <a:gd name="connsiteY78" fmla="*/ 710643 h 1046508"/>
                  <a:gd name="connsiteX79" fmla="*/ 14298 w 1200744"/>
                  <a:gd name="connsiteY79" fmla="*/ 696345 h 1046508"/>
                  <a:gd name="connsiteX80" fmla="*/ 0 w 1200744"/>
                  <a:gd name="connsiteY80" fmla="*/ 661828 h 1046508"/>
                  <a:gd name="connsiteX81" fmla="*/ 14298 w 1200744"/>
                  <a:gd name="connsiteY81" fmla="*/ 627310 h 1046508"/>
                  <a:gd name="connsiteX82" fmla="*/ 48816 w 1200744"/>
                  <a:gd name="connsiteY82" fmla="*/ 613012 h 1046508"/>
                  <a:gd name="connsiteX83" fmla="*/ 59346 w 1200744"/>
                  <a:gd name="connsiteY83" fmla="*/ 613012 h 1046508"/>
                  <a:gd name="connsiteX84" fmla="*/ 59247 w 1200744"/>
                  <a:gd name="connsiteY84" fmla="*/ 501147 h 1046508"/>
                  <a:gd name="connsiteX85" fmla="*/ 48816 w 1200744"/>
                  <a:gd name="connsiteY85" fmla="*/ 501147 h 1046508"/>
                  <a:gd name="connsiteX86" fmla="*/ 14298 w 1200744"/>
                  <a:gd name="connsiteY86" fmla="*/ 486849 h 1046508"/>
                  <a:gd name="connsiteX87" fmla="*/ 0 w 1200744"/>
                  <a:gd name="connsiteY87" fmla="*/ 452332 h 1046508"/>
                  <a:gd name="connsiteX88" fmla="*/ 14298 w 1200744"/>
                  <a:gd name="connsiteY88" fmla="*/ 417814 h 1046508"/>
                  <a:gd name="connsiteX89" fmla="*/ 48816 w 1200744"/>
                  <a:gd name="connsiteY89" fmla="*/ 403516 h 1046508"/>
                  <a:gd name="connsiteX90" fmla="*/ 59161 w 1200744"/>
                  <a:gd name="connsiteY90" fmla="*/ 403516 h 1046508"/>
                  <a:gd name="connsiteX91" fmla="*/ 59063 w 1200744"/>
                  <a:gd name="connsiteY91" fmla="*/ 291651 h 1046508"/>
                  <a:gd name="connsiteX92" fmla="*/ 48816 w 1200744"/>
                  <a:gd name="connsiteY92" fmla="*/ 291651 h 1046508"/>
                  <a:gd name="connsiteX93" fmla="*/ 14298 w 1200744"/>
                  <a:gd name="connsiteY93" fmla="*/ 277353 h 1046508"/>
                  <a:gd name="connsiteX94" fmla="*/ 0 w 1200744"/>
                  <a:gd name="connsiteY94" fmla="*/ 242836 h 1046508"/>
                  <a:gd name="connsiteX95" fmla="*/ 14298 w 1200744"/>
                  <a:gd name="connsiteY95" fmla="*/ 208318 h 1046508"/>
                  <a:gd name="connsiteX96" fmla="*/ 48816 w 1200744"/>
                  <a:gd name="connsiteY96" fmla="*/ 194020 h 1046508"/>
                  <a:gd name="connsiteX97" fmla="*/ 58977 w 1200744"/>
                  <a:gd name="connsiteY97" fmla="*/ 194020 h 1046508"/>
                  <a:gd name="connsiteX98" fmla="*/ 58806 w 1200744"/>
                  <a:gd name="connsiteY98" fmla="*/ 0 h 1046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200744" h="1046508">
                    <a:moveTo>
                      <a:pt x="269392" y="583922"/>
                    </a:moveTo>
                    <a:cubicBezTo>
                      <a:pt x="247034" y="583922"/>
                      <a:pt x="228910" y="602046"/>
                      <a:pt x="228910" y="624404"/>
                    </a:cubicBezTo>
                    <a:cubicBezTo>
                      <a:pt x="228910" y="646762"/>
                      <a:pt x="247034" y="664886"/>
                      <a:pt x="269392" y="664886"/>
                    </a:cubicBezTo>
                    <a:cubicBezTo>
                      <a:pt x="291750" y="664886"/>
                      <a:pt x="309874" y="646762"/>
                      <a:pt x="309874" y="624404"/>
                    </a:cubicBezTo>
                    <a:cubicBezTo>
                      <a:pt x="309874" y="602046"/>
                      <a:pt x="291750" y="583922"/>
                      <a:pt x="269392" y="583922"/>
                    </a:cubicBezTo>
                    <a:close/>
                    <a:moveTo>
                      <a:pt x="269392" y="373750"/>
                    </a:moveTo>
                    <a:cubicBezTo>
                      <a:pt x="247034" y="373750"/>
                      <a:pt x="228910" y="391874"/>
                      <a:pt x="228910" y="414232"/>
                    </a:cubicBezTo>
                    <a:cubicBezTo>
                      <a:pt x="228910" y="436590"/>
                      <a:pt x="247034" y="454714"/>
                      <a:pt x="269392" y="454714"/>
                    </a:cubicBezTo>
                    <a:cubicBezTo>
                      <a:pt x="291750" y="454714"/>
                      <a:pt x="309874" y="436590"/>
                      <a:pt x="309874" y="414232"/>
                    </a:cubicBezTo>
                    <a:cubicBezTo>
                      <a:pt x="309874" y="391874"/>
                      <a:pt x="291750" y="373750"/>
                      <a:pt x="269392" y="373750"/>
                    </a:cubicBezTo>
                    <a:close/>
                    <a:moveTo>
                      <a:pt x="269392" y="163063"/>
                    </a:moveTo>
                    <a:cubicBezTo>
                      <a:pt x="247034" y="163063"/>
                      <a:pt x="228910" y="181187"/>
                      <a:pt x="228910" y="203545"/>
                    </a:cubicBezTo>
                    <a:cubicBezTo>
                      <a:pt x="228910" y="225903"/>
                      <a:pt x="247034" y="244027"/>
                      <a:pt x="269392" y="244027"/>
                    </a:cubicBezTo>
                    <a:cubicBezTo>
                      <a:pt x="291750" y="244027"/>
                      <a:pt x="309874" y="225903"/>
                      <a:pt x="309874" y="203545"/>
                    </a:cubicBezTo>
                    <a:cubicBezTo>
                      <a:pt x="309874" y="181187"/>
                      <a:pt x="291750" y="163063"/>
                      <a:pt x="269392" y="163063"/>
                    </a:cubicBezTo>
                    <a:close/>
                    <a:moveTo>
                      <a:pt x="797719" y="0"/>
                    </a:moveTo>
                    <a:lnTo>
                      <a:pt x="883444" y="0"/>
                    </a:lnTo>
                    <a:lnTo>
                      <a:pt x="883444" y="79897"/>
                    </a:lnTo>
                    <a:lnTo>
                      <a:pt x="797719" y="90082"/>
                    </a:lnTo>
                    <a:lnTo>
                      <a:pt x="797719" y="0"/>
                    </a:lnTo>
                    <a:close/>
                    <a:moveTo>
                      <a:pt x="58806" y="0"/>
                    </a:moveTo>
                    <a:lnTo>
                      <a:pt x="692944" y="0"/>
                    </a:lnTo>
                    <a:lnTo>
                      <a:pt x="692944" y="102530"/>
                    </a:lnTo>
                    <a:lnTo>
                      <a:pt x="418176" y="135174"/>
                    </a:lnTo>
                    <a:cubicBezTo>
                      <a:pt x="407569" y="136435"/>
                      <a:pt x="398476" y="141875"/>
                      <a:pt x="392350" y="149653"/>
                    </a:cubicBezTo>
                    <a:lnTo>
                      <a:pt x="384326" y="178152"/>
                    </a:lnTo>
                    <a:lnTo>
                      <a:pt x="398804" y="203977"/>
                    </a:lnTo>
                    <a:cubicBezTo>
                      <a:pt x="406582" y="210103"/>
                      <a:pt x="416696" y="213262"/>
                      <a:pt x="427304" y="212001"/>
                    </a:cubicBezTo>
                    <a:lnTo>
                      <a:pt x="1104900" y="131498"/>
                    </a:lnTo>
                    <a:lnTo>
                      <a:pt x="1104900" y="134851"/>
                    </a:lnTo>
                    <a:lnTo>
                      <a:pt x="1157493" y="128603"/>
                    </a:lnTo>
                    <a:cubicBezTo>
                      <a:pt x="1178709" y="126082"/>
                      <a:pt x="1197951" y="141237"/>
                      <a:pt x="1200471" y="162453"/>
                    </a:cubicBezTo>
                    <a:lnTo>
                      <a:pt x="1200470" y="162453"/>
                    </a:lnTo>
                    <a:cubicBezTo>
                      <a:pt x="1202991" y="183669"/>
                      <a:pt x="1187836" y="202910"/>
                      <a:pt x="1166620" y="205431"/>
                    </a:cubicBezTo>
                    <a:lnTo>
                      <a:pt x="878682" y="240221"/>
                    </a:lnTo>
                    <a:lnTo>
                      <a:pt x="883444" y="298972"/>
                    </a:lnTo>
                    <a:lnTo>
                      <a:pt x="792956" y="309723"/>
                    </a:lnTo>
                    <a:lnTo>
                      <a:pt x="792956" y="265459"/>
                    </a:lnTo>
                    <a:lnTo>
                      <a:pt x="688181" y="265459"/>
                    </a:lnTo>
                    <a:lnTo>
                      <a:pt x="688181" y="322171"/>
                    </a:lnTo>
                    <a:lnTo>
                      <a:pt x="418176" y="354249"/>
                    </a:lnTo>
                    <a:cubicBezTo>
                      <a:pt x="407569" y="355510"/>
                      <a:pt x="398476" y="360950"/>
                      <a:pt x="392350" y="368728"/>
                    </a:cubicBezTo>
                    <a:lnTo>
                      <a:pt x="384326" y="397227"/>
                    </a:lnTo>
                    <a:lnTo>
                      <a:pt x="398804" y="423052"/>
                    </a:lnTo>
                    <a:cubicBezTo>
                      <a:pt x="406582" y="429178"/>
                      <a:pt x="416696" y="432337"/>
                      <a:pt x="427304" y="431076"/>
                    </a:cubicBezTo>
                    <a:lnTo>
                      <a:pt x="1157493" y="347675"/>
                    </a:lnTo>
                    <a:cubicBezTo>
                      <a:pt x="1178709" y="345155"/>
                      <a:pt x="1197950" y="360310"/>
                      <a:pt x="1200471" y="381525"/>
                    </a:cubicBezTo>
                    <a:lnTo>
                      <a:pt x="1200470" y="381526"/>
                    </a:lnTo>
                    <a:cubicBezTo>
                      <a:pt x="1202991" y="402741"/>
                      <a:pt x="1187836" y="421983"/>
                      <a:pt x="1166620" y="424503"/>
                    </a:cubicBezTo>
                    <a:lnTo>
                      <a:pt x="883444" y="458146"/>
                    </a:lnTo>
                    <a:lnTo>
                      <a:pt x="883444" y="506141"/>
                    </a:lnTo>
                    <a:lnTo>
                      <a:pt x="792956" y="516892"/>
                    </a:lnTo>
                    <a:lnTo>
                      <a:pt x="792956" y="468897"/>
                    </a:lnTo>
                    <a:lnTo>
                      <a:pt x="688181" y="481345"/>
                    </a:lnTo>
                    <a:lnTo>
                      <a:pt x="688181" y="529340"/>
                    </a:lnTo>
                    <a:lnTo>
                      <a:pt x="418176" y="561418"/>
                    </a:lnTo>
                    <a:cubicBezTo>
                      <a:pt x="407569" y="562679"/>
                      <a:pt x="398476" y="568119"/>
                      <a:pt x="392350" y="575897"/>
                    </a:cubicBezTo>
                    <a:lnTo>
                      <a:pt x="384326" y="604396"/>
                    </a:lnTo>
                    <a:lnTo>
                      <a:pt x="398804" y="630221"/>
                    </a:lnTo>
                    <a:cubicBezTo>
                      <a:pt x="406582" y="636347"/>
                      <a:pt x="416696" y="639506"/>
                      <a:pt x="427304" y="638245"/>
                    </a:cubicBezTo>
                    <a:lnTo>
                      <a:pt x="1104900" y="557742"/>
                    </a:lnTo>
                    <a:lnTo>
                      <a:pt x="1104900" y="558713"/>
                    </a:lnTo>
                    <a:lnTo>
                      <a:pt x="1157491" y="552464"/>
                    </a:lnTo>
                    <a:cubicBezTo>
                      <a:pt x="1178707" y="549944"/>
                      <a:pt x="1197948" y="565099"/>
                      <a:pt x="1200469" y="586314"/>
                    </a:cubicBezTo>
                    <a:lnTo>
                      <a:pt x="1200468" y="586314"/>
                    </a:lnTo>
                    <a:cubicBezTo>
                      <a:pt x="1202989" y="607530"/>
                      <a:pt x="1187834" y="626772"/>
                      <a:pt x="1166618" y="629292"/>
                    </a:cubicBezTo>
                    <a:lnTo>
                      <a:pt x="1104900" y="636624"/>
                    </a:lnTo>
                    <a:lnTo>
                      <a:pt x="1104900" y="817908"/>
                    </a:lnTo>
                    <a:lnTo>
                      <a:pt x="971550" y="946496"/>
                    </a:lnTo>
                    <a:lnTo>
                      <a:pt x="752889" y="946496"/>
                    </a:lnTo>
                    <a:lnTo>
                      <a:pt x="749140" y="965065"/>
                    </a:lnTo>
                    <a:cubicBezTo>
                      <a:pt x="728897" y="1012926"/>
                      <a:pt x="681506" y="1046508"/>
                      <a:pt x="626271" y="1046508"/>
                    </a:cubicBezTo>
                    <a:lnTo>
                      <a:pt x="533770" y="1046508"/>
                    </a:lnTo>
                    <a:cubicBezTo>
                      <a:pt x="478536" y="1046508"/>
                      <a:pt x="431145" y="1012926"/>
                      <a:pt x="410901" y="965065"/>
                    </a:cubicBezTo>
                    <a:lnTo>
                      <a:pt x="407153" y="946496"/>
                    </a:lnTo>
                    <a:lnTo>
                      <a:pt x="190500" y="946496"/>
                    </a:lnTo>
                    <a:lnTo>
                      <a:pt x="59532" y="825052"/>
                    </a:lnTo>
                    <a:cubicBezTo>
                      <a:pt x="59499" y="786916"/>
                      <a:pt x="59465" y="748779"/>
                      <a:pt x="59432" y="710643"/>
                    </a:cubicBezTo>
                    <a:lnTo>
                      <a:pt x="48816" y="710643"/>
                    </a:lnTo>
                    <a:cubicBezTo>
                      <a:pt x="35336" y="710643"/>
                      <a:pt x="23132" y="705179"/>
                      <a:pt x="14298" y="696345"/>
                    </a:cubicBezTo>
                    <a:lnTo>
                      <a:pt x="0" y="661828"/>
                    </a:lnTo>
                    <a:lnTo>
                      <a:pt x="14298" y="627310"/>
                    </a:lnTo>
                    <a:cubicBezTo>
                      <a:pt x="23132" y="618476"/>
                      <a:pt x="35336" y="613012"/>
                      <a:pt x="48816" y="613012"/>
                    </a:cubicBezTo>
                    <a:lnTo>
                      <a:pt x="59346" y="613012"/>
                    </a:lnTo>
                    <a:cubicBezTo>
                      <a:pt x="59313" y="575724"/>
                      <a:pt x="59280" y="538435"/>
                      <a:pt x="59247" y="501147"/>
                    </a:cubicBezTo>
                    <a:lnTo>
                      <a:pt x="48816" y="501147"/>
                    </a:lnTo>
                    <a:cubicBezTo>
                      <a:pt x="35336" y="501147"/>
                      <a:pt x="23132" y="495683"/>
                      <a:pt x="14298" y="486849"/>
                    </a:cubicBezTo>
                    <a:lnTo>
                      <a:pt x="0" y="452332"/>
                    </a:lnTo>
                    <a:lnTo>
                      <a:pt x="14298" y="417814"/>
                    </a:lnTo>
                    <a:cubicBezTo>
                      <a:pt x="23132" y="408980"/>
                      <a:pt x="35336" y="403516"/>
                      <a:pt x="48816" y="403516"/>
                    </a:cubicBezTo>
                    <a:lnTo>
                      <a:pt x="59161" y="403516"/>
                    </a:lnTo>
                    <a:cubicBezTo>
                      <a:pt x="59128" y="366228"/>
                      <a:pt x="59096" y="328939"/>
                      <a:pt x="59063" y="291651"/>
                    </a:cubicBezTo>
                    <a:lnTo>
                      <a:pt x="48816" y="291651"/>
                    </a:lnTo>
                    <a:cubicBezTo>
                      <a:pt x="35336" y="291651"/>
                      <a:pt x="23132" y="286187"/>
                      <a:pt x="14298" y="277353"/>
                    </a:cubicBezTo>
                    <a:lnTo>
                      <a:pt x="0" y="242836"/>
                    </a:lnTo>
                    <a:lnTo>
                      <a:pt x="14298" y="208318"/>
                    </a:lnTo>
                    <a:cubicBezTo>
                      <a:pt x="23132" y="199484"/>
                      <a:pt x="35336" y="194020"/>
                      <a:pt x="48816" y="194020"/>
                    </a:cubicBezTo>
                    <a:lnTo>
                      <a:pt x="58977" y="194020"/>
                    </a:lnTo>
                    <a:lnTo>
                      <a:pt x="58806"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89" name="Freeform 88"/>
              <p:cNvSpPr/>
              <p:nvPr/>
            </p:nvSpPr>
            <p:spPr>
              <a:xfrm>
                <a:off x="4242295" y="1685754"/>
                <a:ext cx="3701002" cy="3743106"/>
              </a:xfrm>
              <a:custGeom>
                <a:avLst/>
                <a:gdLst>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0346 w 3701002"/>
                  <a:gd name="connsiteY11" fmla="*/ 3114359 h 3743106"/>
                  <a:gd name="connsiteX12" fmla="*/ 2659635 w 3701002"/>
                  <a:gd name="connsiteY12" fmla="*/ 3107286 h 3743106"/>
                  <a:gd name="connsiteX13" fmla="*/ 3122601 w 3701002"/>
                  <a:gd name="connsiteY13" fmla="*/ 2107732 h 3743106"/>
                  <a:gd name="connsiteX14" fmla="*/ 1850392 w 3701002"/>
                  <a:gd name="connsiteY14" fmla="*/ 812383 h 3743106"/>
                  <a:gd name="connsiteX15" fmla="*/ 578183 w 3701002"/>
                  <a:gd name="connsiteY15" fmla="*/ 2107732 h 3743106"/>
                  <a:gd name="connsiteX16" fmla="*/ 950805 w 3701002"/>
                  <a:gd name="connsiteY16" fmla="*/ 3023682 h 3743106"/>
                  <a:gd name="connsiteX17" fmla="*/ 1028685 w 3701002"/>
                  <a:gd name="connsiteY17" fmla="*/ 3095752 h 3743106"/>
                  <a:gd name="connsiteX18" fmla="*/ 1145044 w 3701002"/>
                  <a:gd name="connsiteY18" fmla="*/ 3252006 h 3743106"/>
                  <a:gd name="connsiteX19" fmla="*/ 1289824 w 3701002"/>
                  <a:gd name="connsiteY19" fmla="*/ 3549186 h 3743106"/>
                  <a:gd name="connsiteX20" fmla="*/ 1131709 w 3701002"/>
                  <a:gd name="connsiteY20" fmla="*/ 3739686 h 3743106"/>
                  <a:gd name="connsiteX21" fmla="*/ 881519 w 3701002"/>
                  <a:gd name="connsiteY21" fmla="*/ 3637451 h 3743106"/>
                  <a:gd name="connsiteX22" fmla="*/ 771664 w 3701002"/>
                  <a:gd name="connsiteY22" fmla="*/ 3290106 h 3743106"/>
                  <a:gd name="connsiteX23" fmla="*/ 377329 w 3701002"/>
                  <a:gd name="connsiteY23" fmla="*/ 3103416 h 3743106"/>
                  <a:gd name="connsiteX24" fmla="*/ 344944 w 3701002"/>
                  <a:gd name="connsiteY24" fmla="*/ 2482386 h 3743106"/>
                  <a:gd name="connsiteX25" fmla="*/ 139 w 3701002"/>
                  <a:gd name="connsiteY25" fmla="*/ 1970576 h 3743106"/>
                  <a:gd name="connsiteX26" fmla="*/ 451624 w 3701002"/>
                  <a:gd name="connsiteY26" fmla="*/ 1403521 h 3743106"/>
                  <a:gd name="connsiteX27" fmla="*/ 496709 w 3701002"/>
                  <a:gd name="connsiteY27" fmla="*/ 659301 h 3743106"/>
                  <a:gd name="connsiteX28" fmla="*/ 1199019 w 3701002"/>
                  <a:gd name="connsiteY28" fmla="*/ 517061 h 3743106"/>
                  <a:gd name="connsiteX29" fmla="*/ 1831479 w 3701002"/>
                  <a:gd name="connsiteY29"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028685 w 3701002"/>
                  <a:gd name="connsiteY16" fmla="*/ 3095752 h 3743106"/>
                  <a:gd name="connsiteX17" fmla="*/ 1145044 w 3701002"/>
                  <a:gd name="connsiteY17" fmla="*/ 3252006 h 3743106"/>
                  <a:gd name="connsiteX18" fmla="*/ 1289824 w 3701002"/>
                  <a:gd name="connsiteY18" fmla="*/ 3549186 h 3743106"/>
                  <a:gd name="connsiteX19" fmla="*/ 1131709 w 3701002"/>
                  <a:gd name="connsiteY19" fmla="*/ 3739686 h 3743106"/>
                  <a:gd name="connsiteX20" fmla="*/ 881519 w 3701002"/>
                  <a:gd name="connsiteY20" fmla="*/ 3637451 h 3743106"/>
                  <a:gd name="connsiteX21" fmla="*/ 771664 w 3701002"/>
                  <a:gd name="connsiteY21" fmla="*/ 3290106 h 3743106"/>
                  <a:gd name="connsiteX22" fmla="*/ 377329 w 3701002"/>
                  <a:gd name="connsiteY22" fmla="*/ 3103416 h 3743106"/>
                  <a:gd name="connsiteX23" fmla="*/ 344944 w 3701002"/>
                  <a:gd name="connsiteY23" fmla="*/ 2482386 h 3743106"/>
                  <a:gd name="connsiteX24" fmla="*/ 139 w 3701002"/>
                  <a:gd name="connsiteY24" fmla="*/ 1970576 h 3743106"/>
                  <a:gd name="connsiteX25" fmla="*/ 451624 w 3701002"/>
                  <a:gd name="connsiteY25" fmla="*/ 1403521 h 3743106"/>
                  <a:gd name="connsiteX26" fmla="*/ 496709 w 3701002"/>
                  <a:gd name="connsiteY26" fmla="*/ 659301 h 3743106"/>
                  <a:gd name="connsiteX27" fmla="*/ 1199019 w 3701002"/>
                  <a:gd name="connsiteY27" fmla="*/ 517061 h 3743106"/>
                  <a:gd name="connsiteX28" fmla="*/ 1831479 w 3701002"/>
                  <a:gd name="connsiteY28"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145044 w 3701002"/>
                  <a:gd name="connsiteY16" fmla="*/ 3252006 h 3743106"/>
                  <a:gd name="connsiteX17" fmla="*/ 1289824 w 3701002"/>
                  <a:gd name="connsiteY17" fmla="*/ 3549186 h 3743106"/>
                  <a:gd name="connsiteX18" fmla="*/ 1131709 w 3701002"/>
                  <a:gd name="connsiteY18" fmla="*/ 3739686 h 3743106"/>
                  <a:gd name="connsiteX19" fmla="*/ 881519 w 3701002"/>
                  <a:gd name="connsiteY19" fmla="*/ 3637451 h 3743106"/>
                  <a:gd name="connsiteX20" fmla="*/ 771664 w 3701002"/>
                  <a:gd name="connsiteY20" fmla="*/ 3290106 h 3743106"/>
                  <a:gd name="connsiteX21" fmla="*/ 377329 w 3701002"/>
                  <a:gd name="connsiteY21" fmla="*/ 3103416 h 3743106"/>
                  <a:gd name="connsiteX22" fmla="*/ 344944 w 3701002"/>
                  <a:gd name="connsiteY22" fmla="*/ 2482386 h 3743106"/>
                  <a:gd name="connsiteX23" fmla="*/ 139 w 3701002"/>
                  <a:gd name="connsiteY23" fmla="*/ 1970576 h 3743106"/>
                  <a:gd name="connsiteX24" fmla="*/ 451624 w 3701002"/>
                  <a:gd name="connsiteY24" fmla="*/ 1403521 h 3743106"/>
                  <a:gd name="connsiteX25" fmla="*/ 496709 w 3701002"/>
                  <a:gd name="connsiteY25" fmla="*/ 659301 h 3743106"/>
                  <a:gd name="connsiteX26" fmla="*/ 1199019 w 3701002"/>
                  <a:gd name="connsiteY26" fmla="*/ 517061 h 3743106"/>
                  <a:gd name="connsiteX27" fmla="*/ 1831479 w 3701002"/>
                  <a:gd name="connsiteY27"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145044 w 3701002"/>
                  <a:gd name="connsiteY16" fmla="*/ 3252006 h 3743106"/>
                  <a:gd name="connsiteX17" fmla="*/ 1289824 w 3701002"/>
                  <a:gd name="connsiteY17" fmla="*/ 3549186 h 3743106"/>
                  <a:gd name="connsiteX18" fmla="*/ 1131709 w 3701002"/>
                  <a:gd name="connsiteY18" fmla="*/ 3739686 h 3743106"/>
                  <a:gd name="connsiteX19" fmla="*/ 881519 w 3701002"/>
                  <a:gd name="connsiteY19" fmla="*/ 3637451 h 3743106"/>
                  <a:gd name="connsiteX20" fmla="*/ 771664 w 3701002"/>
                  <a:gd name="connsiteY20" fmla="*/ 3290106 h 3743106"/>
                  <a:gd name="connsiteX21" fmla="*/ 377329 w 3701002"/>
                  <a:gd name="connsiteY21" fmla="*/ 3103416 h 3743106"/>
                  <a:gd name="connsiteX22" fmla="*/ 344944 w 3701002"/>
                  <a:gd name="connsiteY22" fmla="*/ 2482386 h 3743106"/>
                  <a:gd name="connsiteX23" fmla="*/ 139 w 3701002"/>
                  <a:gd name="connsiteY23" fmla="*/ 1970576 h 3743106"/>
                  <a:gd name="connsiteX24" fmla="*/ 451624 w 3701002"/>
                  <a:gd name="connsiteY24" fmla="*/ 1403521 h 3743106"/>
                  <a:gd name="connsiteX25" fmla="*/ 496709 w 3701002"/>
                  <a:gd name="connsiteY25" fmla="*/ 659301 h 3743106"/>
                  <a:gd name="connsiteX26" fmla="*/ 1199019 w 3701002"/>
                  <a:gd name="connsiteY26" fmla="*/ 517061 h 3743106"/>
                  <a:gd name="connsiteX27" fmla="*/ 1831479 w 3701002"/>
                  <a:gd name="connsiteY27" fmla="*/ 171 h 3743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701002" h="3743106">
                    <a:moveTo>
                      <a:pt x="1831479" y="171"/>
                    </a:moveTo>
                    <a:cubicBezTo>
                      <a:pt x="2193958" y="-9460"/>
                      <a:pt x="2228989" y="388262"/>
                      <a:pt x="2478544" y="516426"/>
                    </a:cubicBezTo>
                    <a:cubicBezTo>
                      <a:pt x="2724924" y="638240"/>
                      <a:pt x="3031735" y="420753"/>
                      <a:pt x="3214509" y="673906"/>
                    </a:cubicBezTo>
                    <a:cubicBezTo>
                      <a:pt x="3397283" y="927059"/>
                      <a:pt x="3125874" y="1106394"/>
                      <a:pt x="3270389" y="1425746"/>
                    </a:cubicBezTo>
                    <a:cubicBezTo>
                      <a:pt x="3414904" y="1745098"/>
                      <a:pt x="3685678" y="1679112"/>
                      <a:pt x="3700601" y="1942319"/>
                    </a:cubicBezTo>
                    <a:cubicBezTo>
                      <a:pt x="3712349" y="2221401"/>
                      <a:pt x="3463112" y="2181714"/>
                      <a:pt x="3354844" y="2512866"/>
                    </a:cubicBezTo>
                    <a:cubicBezTo>
                      <a:pt x="3238639" y="2836081"/>
                      <a:pt x="3476765" y="2888309"/>
                      <a:pt x="3320872" y="3113258"/>
                    </a:cubicBezTo>
                    <a:cubicBezTo>
                      <a:pt x="3231655" y="3262007"/>
                      <a:pt x="3076132" y="3153476"/>
                      <a:pt x="2933839" y="3291059"/>
                    </a:cubicBezTo>
                    <a:cubicBezTo>
                      <a:pt x="2791546" y="3428642"/>
                      <a:pt x="2888756" y="3603161"/>
                      <a:pt x="2771914" y="3691109"/>
                    </a:cubicBezTo>
                    <a:cubicBezTo>
                      <a:pt x="2688410" y="3783819"/>
                      <a:pt x="2499817" y="3735717"/>
                      <a:pt x="2440444" y="3640626"/>
                    </a:cubicBezTo>
                    <a:cubicBezTo>
                      <a:pt x="2381071" y="3545535"/>
                      <a:pt x="2441714" y="3442506"/>
                      <a:pt x="2501404" y="3320586"/>
                    </a:cubicBezTo>
                    <a:lnTo>
                      <a:pt x="2659635" y="3107286"/>
                    </a:lnTo>
                    <a:cubicBezTo>
                      <a:pt x="2942380" y="2869700"/>
                      <a:pt x="3122601" y="2510145"/>
                      <a:pt x="3122601" y="2107732"/>
                    </a:cubicBezTo>
                    <a:cubicBezTo>
                      <a:pt x="3122601" y="1392331"/>
                      <a:pt x="2553014" y="812383"/>
                      <a:pt x="1850392" y="812383"/>
                    </a:cubicBezTo>
                    <a:cubicBezTo>
                      <a:pt x="1147770" y="812383"/>
                      <a:pt x="578183" y="1392331"/>
                      <a:pt x="578183" y="2107732"/>
                    </a:cubicBezTo>
                    <a:cubicBezTo>
                      <a:pt x="578183" y="2465433"/>
                      <a:pt x="720580" y="2789270"/>
                      <a:pt x="950805" y="3023682"/>
                    </a:cubicBezTo>
                    <a:cubicBezTo>
                      <a:pt x="1039364" y="3104553"/>
                      <a:pt x="1080298" y="3175898"/>
                      <a:pt x="1145044" y="3252006"/>
                    </a:cubicBezTo>
                    <a:cubicBezTo>
                      <a:pt x="1213624" y="3361226"/>
                      <a:pt x="1292047" y="3467906"/>
                      <a:pt x="1289824" y="3549186"/>
                    </a:cubicBezTo>
                    <a:cubicBezTo>
                      <a:pt x="1287602" y="3630466"/>
                      <a:pt x="1199760" y="3724975"/>
                      <a:pt x="1131709" y="3739686"/>
                    </a:cubicBezTo>
                    <a:cubicBezTo>
                      <a:pt x="1063658" y="3754397"/>
                      <a:pt x="935176" y="3721906"/>
                      <a:pt x="881519" y="3637451"/>
                    </a:cubicBezTo>
                    <a:cubicBezTo>
                      <a:pt x="827862" y="3552996"/>
                      <a:pt x="922371" y="3429912"/>
                      <a:pt x="771664" y="3290106"/>
                    </a:cubicBezTo>
                    <a:cubicBezTo>
                      <a:pt x="620957" y="3150300"/>
                      <a:pt x="489724" y="3259626"/>
                      <a:pt x="377329" y="3103416"/>
                    </a:cubicBezTo>
                    <a:cubicBezTo>
                      <a:pt x="245884" y="2847193"/>
                      <a:pt x="472103" y="2764062"/>
                      <a:pt x="344944" y="2482386"/>
                    </a:cubicBezTo>
                    <a:cubicBezTo>
                      <a:pt x="189211" y="2141178"/>
                      <a:pt x="8552" y="2246432"/>
                      <a:pt x="139" y="1970576"/>
                    </a:cubicBezTo>
                    <a:cubicBezTo>
                      <a:pt x="-7481" y="1701865"/>
                      <a:pt x="299012" y="1730017"/>
                      <a:pt x="451624" y="1403521"/>
                    </a:cubicBezTo>
                    <a:cubicBezTo>
                      <a:pt x="528036" y="943675"/>
                      <a:pt x="318168" y="908644"/>
                      <a:pt x="496709" y="659301"/>
                    </a:cubicBezTo>
                    <a:cubicBezTo>
                      <a:pt x="675250" y="409958"/>
                      <a:pt x="956978" y="650728"/>
                      <a:pt x="1199019" y="517061"/>
                    </a:cubicBezTo>
                    <a:cubicBezTo>
                      <a:pt x="1485510" y="418319"/>
                      <a:pt x="1469000" y="9802"/>
                      <a:pt x="1831479" y="171"/>
                    </a:cubicBez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grpSp>
      </p:grpSp>
      <p:grpSp>
        <p:nvGrpSpPr>
          <p:cNvPr id="90" name="Group 89"/>
          <p:cNvGrpSpPr/>
          <p:nvPr/>
        </p:nvGrpSpPr>
        <p:grpSpPr>
          <a:xfrm>
            <a:off x="5842516" y="5216168"/>
            <a:ext cx="474070" cy="474070"/>
            <a:chOff x="6447430" y="2675492"/>
            <a:chExt cx="474070" cy="474070"/>
          </a:xfrm>
        </p:grpSpPr>
        <p:sp>
          <p:nvSpPr>
            <p:cNvPr id="91" name="Oval 90"/>
            <p:cNvSpPr/>
            <p:nvPr/>
          </p:nvSpPr>
          <p:spPr>
            <a:xfrm>
              <a:off x="6447430" y="2675492"/>
              <a:ext cx="474070" cy="474070"/>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white"/>
                </a:solidFill>
                <a:effectLst/>
                <a:uLnTx/>
                <a:uFillTx/>
                <a:latin typeface="+mj-lt"/>
                <a:ea typeface="+mn-ea"/>
                <a:cs typeface="+mn-cs"/>
              </a:endParaRPr>
            </a:p>
          </p:txBody>
        </p:sp>
        <p:grpSp>
          <p:nvGrpSpPr>
            <p:cNvPr id="92" name="Group 91"/>
            <p:cNvGrpSpPr/>
            <p:nvPr/>
          </p:nvGrpSpPr>
          <p:grpSpPr>
            <a:xfrm>
              <a:off x="6518178" y="2715380"/>
              <a:ext cx="333474" cy="369629"/>
              <a:chOff x="3114466" y="105602"/>
              <a:chExt cx="5971657" cy="6619048"/>
            </a:xfrm>
            <a:solidFill>
              <a:schemeClr val="accent5"/>
            </a:solidFill>
          </p:grpSpPr>
          <p:sp>
            <p:nvSpPr>
              <p:cNvPr id="93" name="Oval 92"/>
              <p:cNvSpPr/>
              <p:nvPr/>
            </p:nvSpPr>
            <p:spPr>
              <a:xfrm>
                <a:off x="5744819" y="745435"/>
                <a:ext cx="695738" cy="695738"/>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94" name="Oval 93"/>
              <p:cNvSpPr/>
              <p:nvPr/>
            </p:nvSpPr>
            <p:spPr>
              <a:xfrm>
                <a:off x="6626711" y="1319213"/>
                <a:ext cx="628234" cy="62823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95" name="Oval 94"/>
              <p:cNvSpPr/>
              <p:nvPr/>
            </p:nvSpPr>
            <p:spPr>
              <a:xfrm>
                <a:off x="4921736" y="1319213"/>
                <a:ext cx="628234" cy="62823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96" name="Oval 95"/>
              <p:cNvSpPr/>
              <p:nvPr/>
            </p:nvSpPr>
            <p:spPr>
              <a:xfrm>
                <a:off x="4140684" y="1766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97" name="Oval 96"/>
              <p:cNvSpPr/>
              <p:nvPr/>
            </p:nvSpPr>
            <p:spPr>
              <a:xfrm>
                <a:off x="7510049" y="1766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98" name="Oval 97"/>
              <p:cNvSpPr/>
              <p:nvPr/>
            </p:nvSpPr>
            <p:spPr>
              <a:xfrm>
                <a:off x="7716285" y="2579410"/>
                <a:ext cx="612706" cy="61270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99" name="Oval 98"/>
              <p:cNvSpPr/>
              <p:nvPr/>
            </p:nvSpPr>
            <p:spPr>
              <a:xfrm>
                <a:off x="3849963" y="2569471"/>
                <a:ext cx="612706" cy="61270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00" name="Oval 99"/>
              <p:cNvSpPr/>
              <p:nvPr/>
            </p:nvSpPr>
            <p:spPr>
              <a:xfrm>
                <a:off x="3740632" y="1416532"/>
                <a:ext cx="394046" cy="39404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01" name="Oval 100"/>
              <p:cNvSpPr/>
              <p:nvPr/>
            </p:nvSpPr>
            <p:spPr>
              <a:xfrm>
                <a:off x="8054215" y="1416532"/>
                <a:ext cx="394046" cy="39404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02" name="Oval 101"/>
              <p:cNvSpPr/>
              <p:nvPr/>
            </p:nvSpPr>
            <p:spPr>
              <a:xfrm>
                <a:off x="5878581" y="105602"/>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03" name="Oval 102"/>
              <p:cNvSpPr/>
              <p:nvPr/>
            </p:nvSpPr>
            <p:spPr>
              <a:xfrm>
                <a:off x="3114466" y="3419473"/>
                <a:ext cx="319296" cy="31929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04" name="Oval 103"/>
              <p:cNvSpPr/>
              <p:nvPr/>
            </p:nvSpPr>
            <p:spPr>
              <a:xfrm>
                <a:off x="3794675" y="5116270"/>
                <a:ext cx="282026" cy="28202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05" name="Oval 104"/>
              <p:cNvSpPr/>
              <p:nvPr/>
            </p:nvSpPr>
            <p:spPr>
              <a:xfrm>
                <a:off x="4640020" y="5060156"/>
                <a:ext cx="342902" cy="3429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06" name="Oval 105"/>
              <p:cNvSpPr/>
              <p:nvPr/>
            </p:nvSpPr>
            <p:spPr>
              <a:xfrm>
                <a:off x="4155592" y="4790040"/>
                <a:ext cx="373546" cy="37354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07" name="Oval 106"/>
              <p:cNvSpPr/>
              <p:nvPr/>
            </p:nvSpPr>
            <p:spPr>
              <a:xfrm>
                <a:off x="3892206" y="4042948"/>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08" name="Oval 107"/>
              <p:cNvSpPr/>
              <p:nvPr/>
            </p:nvSpPr>
            <p:spPr>
              <a:xfrm>
                <a:off x="7758528" y="4052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09" name="Oval 108"/>
              <p:cNvSpPr/>
              <p:nvPr/>
            </p:nvSpPr>
            <p:spPr>
              <a:xfrm>
                <a:off x="3632338" y="3395454"/>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10" name="Oval 109"/>
              <p:cNvSpPr/>
              <p:nvPr/>
            </p:nvSpPr>
            <p:spPr>
              <a:xfrm>
                <a:off x="8122650" y="3395454"/>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11" name="Oval 110"/>
              <p:cNvSpPr/>
              <p:nvPr/>
            </p:nvSpPr>
            <p:spPr>
              <a:xfrm>
                <a:off x="8747366" y="3412330"/>
                <a:ext cx="338757" cy="338757"/>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12" name="Oval 111"/>
              <p:cNvSpPr/>
              <p:nvPr/>
            </p:nvSpPr>
            <p:spPr>
              <a:xfrm>
                <a:off x="7659444" y="4792108"/>
                <a:ext cx="372514" cy="37251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13" name="Oval 112"/>
              <p:cNvSpPr/>
              <p:nvPr/>
            </p:nvSpPr>
            <p:spPr>
              <a:xfrm>
                <a:off x="7208355" y="5062538"/>
                <a:ext cx="341242" cy="34124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14" name="Oval 113"/>
              <p:cNvSpPr/>
              <p:nvPr/>
            </p:nvSpPr>
            <p:spPr>
              <a:xfrm>
                <a:off x="8113230" y="5122069"/>
                <a:ext cx="274566" cy="27456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15" name="Freeform 114"/>
              <p:cNvSpPr/>
              <p:nvPr/>
            </p:nvSpPr>
            <p:spPr>
              <a:xfrm>
                <a:off x="5507831" y="5678142"/>
                <a:ext cx="1200744" cy="1046508"/>
              </a:xfrm>
              <a:custGeom>
                <a:avLst/>
                <a:gdLst>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58806 w 1200744"/>
                  <a:gd name="connsiteY19" fmla="*/ 0 h 1046508"/>
                  <a:gd name="connsiteX20" fmla="*/ 692944 w 1200744"/>
                  <a:gd name="connsiteY20" fmla="*/ 0 h 1046508"/>
                  <a:gd name="connsiteX21" fmla="*/ 692944 w 1200744"/>
                  <a:gd name="connsiteY21" fmla="*/ 102530 h 1046508"/>
                  <a:gd name="connsiteX22" fmla="*/ 418176 w 1200744"/>
                  <a:gd name="connsiteY22" fmla="*/ 135174 h 1046508"/>
                  <a:gd name="connsiteX23" fmla="*/ 392350 w 1200744"/>
                  <a:gd name="connsiteY23" fmla="*/ 149653 h 1046508"/>
                  <a:gd name="connsiteX24" fmla="*/ 384326 w 1200744"/>
                  <a:gd name="connsiteY24" fmla="*/ 178152 h 1046508"/>
                  <a:gd name="connsiteX25" fmla="*/ 398804 w 1200744"/>
                  <a:gd name="connsiteY25" fmla="*/ 203977 h 1046508"/>
                  <a:gd name="connsiteX26" fmla="*/ 427304 w 1200744"/>
                  <a:gd name="connsiteY26" fmla="*/ 212001 h 1046508"/>
                  <a:gd name="connsiteX27" fmla="*/ 1104900 w 1200744"/>
                  <a:gd name="connsiteY27" fmla="*/ 131498 h 1046508"/>
                  <a:gd name="connsiteX28" fmla="*/ 1104900 w 1200744"/>
                  <a:gd name="connsiteY28" fmla="*/ 134851 h 1046508"/>
                  <a:gd name="connsiteX29" fmla="*/ 1157493 w 1200744"/>
                  <a:gd name="connsiteY29" fmla="*/ 128603 h 1046508"/>
                  <a:gd name="connsiteX30" fmla="*/ 1200471 w 1200744"/>
                  <a:gd name="connsiteY30" fmla="*/ 162453 h 1046508"/>
                  <a:gd name="connsiteX31" fmla="*/ 1200470 w 1200744"/>
                  <a:gd name="connsiteY31" fmla="*/ 162453 h 1046508"/>
                  <a:gd name="connsiteX32" fmla="*/ 1166620 w 1200744"/>
                  <a:gd name="connsiteY32" fmla="*/ 205431 h 1046508"/>
                  <a:gd name="connsiteX33" fmla="*/ 892471 w 1200744"/>
                  <a:gd name="connsiteY33" fmla="*/ 238001 h 1046508"/>
                  <a:gd name="connsiteX34" fmla="*/ 883444 w 1200744"/>
                  <a:gd name="connsiteY34" fmla="*/ 235459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688181 w 1200744"/>
                  <a:gd name="connsiteY45" fmla="*/ 400083 h 1046508"/>
                  <a:gd name="connsiteX46" fmla="*/ 688181 w 1200744"/>
                  <a:gd name="connsiteY46" fmla="*/ 403433 h 1046508"/>
                  <a:gd name="connsiteX47" fmla="*/ 792956 w 1200744"/>
                  <a:gd name="connsiteY47" fmla="*/ 390985 h 1046508"/>
                  <a:gd name="connsiteX48" fmla="*/ 792956 w 1200744"/>
                  <a:gd name="connsiteY48" fmla="*/ 387635 h 1046508"/>
                  <a:gd name="connsiteX49" fmla="*/ 883444 w 1200744"/>
                  <a:gd name="connsiteY49" fmla="*/ 376884 h 1046508"/>
                  <a:gd name="connsiteX50" fmla="*/ 883444 w 1200744"/>
                  <a:gd name="connsiteY50" fmla="*/ 380235 h 1046508"/>
                  <a:gd name="connsiteX51" fmla="*/ 1157493 w 1200744"/>
                  <a:gd name="connsiteY51" fmla="*/ 347675 h 1046508"/>
                  <a:gd name="connsiteX52" fmla="*/ 1200471 w 1200744"/>
                  <a:gd name="connsiteY52" fmla="*/ 381525 h 1046508"/>
                  <a:gd name="connsiteX53" fmla="*/ 1200470 w 1200744"/>
                  <a:gd name="connsiteY53" fmla="*/ 381526 h 1046508"/>
                  <a:gd name="connsiteX54" fmla="*/ 1166620 w 1200744"/>
                  <a:gd name="connsiteY54" fmla="*/ 424503 h 1046508"/>
                  <a:gd name="connsiteX55" fmla="*/ 883444 w 1200744"/>
                  <a:gd name="connsiteY55" fmla="*/ 458146 h 1046508"/>
                  <a:gd name="connsiteX56" fmla="*/ 883444 w 1200744"/>
                  <a:gd name="connsiteY56" fmla="*/ 506141 h 1046508"/>
                  <a:gd name="connsiteX57" fmla="*/ 792956 w 1200744"/>
                  <a:gd name="connsiteY57" fmla="*/ 516892 h 1046508"/>
                  <a:gd name="connsiteX58" fmla="*/ 792956 w 1200744"/>
                  <a:gd name="connsiteY58" fmla="*/ 468897 h 1046508"/>
                  <a:gd name="connsiteX59" fmla="*/ 688181 w 1200744"/>
                  <a:gd name="connsiteY59" fmla="*/ 481345 h 1046508"/>
                  <a:gd name="connsiteX60" fmla="*/ 688181 w 1200744"/>
                  <a:gd name="connsiteY60" fmla="*/ 529340 h 1046508"/>
                  <a:gd name="connsiteX61" fmla="*/ 418176 w 1200744"/>
                  <a:gd name="connsiteY61" fmla="*/ 561418 h 1046508"/>
                  <a:gd name="connsiteX62" fmla="*/ 392350 w 1200744"/>
                  <a:gd name="connsiteY62" fmla="*/ 575897 h 1046508"/>
                  <a:gd name="connsiteX63" fmla="*/ 384326 w 1200744"/>
                  <a:gd name="connsiteY63" fmla="*/ 604396 h 1046508"/>
                  <a:gd name="connsiteX64" fmla="*/ 398804 w 1200744"/>
                  <a:gd name="connsiteY64" fmla="*/ 630221 h 1046508"/>
                  <a:gd name="connsiteX65" fmla="*/ 427304 w 1200744"/>
                  <a:gd name="connsiteY65" fmla="*/ 638245 h 1046508"/>
                  <a:gd name="connsiteX66" fmla="*/ 1104900 w 1200744"/>
                  <a:gd name="connsiteY66" fmla="*/ 557742 h 1046508"/>
                  <a:gd name="connsiteX67" fmla="*/ 1104900 w 1200744"/>
                  <a:gd name="connsiteY67" fmla="*/ 558713 h 1046508"/>
                  <a:gd name="connsiteX68" fmla="*/ 1157491 w 1200744"/>
                  <a:gd name="connsiteY68" fmla="*/ 552464 h 1046508"/>
                  <a:gd name="connsiteX69" fmla="*/ 1200469 w 1200744"/>
                  <a:gd name="connsiteY69" fmla="*/ 586314 h 1046508"/>
                  <a:gd name="connsiteX70" fmla="*/ 1200468 w 1200744"/>
                  <a:gd name="connsiteY70" fmla="*/ 586314 h 1046508"/>
                  <a:gd name="connsiteX71" fmla="*/ 1166618 w 1200744"/>
                  <a:gd name="connsiteY71" fmla="*/ 629292 h 1046508"/>
                  <a:gd name="connsiteX72" fmla="*/ 1104900 w 1200744"/>
                  <a:gd name="connsiteY72" fmla="*/ 636624 h 1046508"/>
                  <a:gd name="connsiteX73" fmla="*/ 1104900 w 1200744"/>
                  <a:gd name="connsiteY73" fmla="*/ 817908 h 1046508"/>
                  <a:gd name="connsiteX74" fmla="*/ 971550 w 1200744"/>
                  <a:gd name="connsiteY74" fmla="*/ 946496 h 1046508"/>
                  <a:gd name="connsiteX75" fmla="*/ 752889 w 1200744"/>
                  <a:gd name="connsiteY75" fmla="*/ 946496 h 1046508"/>
                  <a:gd name="connsiteX76" fmla="*/ 749140 w 1200744"/>
                  <a:gd name="connsiteY76" fmla="*/ 965065 h 1046508"/>
                  <a:gd name="connsiteX77" fmla="*/ 626271 w 1200744"/>
                  <a:gd name="connsiteY77" fmla="*/ 1046508 h 1046508"/>
                  <a:gd name="connsiteX78" fmla="*/ 533770 w 1200744"/>
                  <a:gd name="connsiteY78" fmla="*/ 1046508 h 1046508"/>
                  <a:gd name="connsiteX79" fmla="*/ 410901 w 1200744"/>
                  <a:gd name="connsiteY79" fmla="*/ 965065 h 1046508"/>
                  <a:gd name="connsiteX80" fmla="*/ 407153 w 1200744"/>
                  <a:gd name="connsiteY80" fmla="*/ 946496 h 1046508"/>
                  <a:gd name="connsiteX81" fmla="*/ 190500 w 1200744"/>
                  <a:gd name="connsiteY81" fmla="*/ 946496 h 1046508"/>
                  <a:gd name="connsiteX82" fmla="*/ 59532 w 1200744"/>
                  <a:gd name="connsiteY82" fmla="*/ 825052 h 1046508"/>
                  <a:gd name="connsiteX83" fmla="*/ 59432 w 1200744"/>
                  <a:gd name="connsiteY83" fmla="*/ 710643 h 1046508"/>
                  <a:gd name="connsiteX84" fmla="*/ 48816 w 1200744"/>
                  <a:gd name="connsiteY84" fmla="*/ 710643 h 1046508"/>
                  <a:gd name="connsiteX85" fmla="*/ 14298 w 1200744"/>
                  <a:gd name="connsiteY85" fmla="*/ 696345 h 1046508"/>
                  <a:gd name="connsiteX86" fmla="*/ 0 w 1200744"/>
                  <a:gd name="connsiteY86" fmla="*/ 661828 h 1046508"/>
                  <a:gd name="connsiteX87" fmla="*/ 14298 w 1200744"/>
                  <a:gd name="connsiteY87" fmla="*/ 627310 h 1046508"/>
                  <a:gd name="connsiteX88" fmla="*/ 48816 w 1200744"/>
                  <a:gd name="connsiteY88" fmla="*/ 613012 h 1046508"/>
                  <a:gd name="connsiteX89" fmla="*/ 59346 w 1200744"/>
                  <a:gd name="connsiteY89" fmla="*/ 613012 h 1046508"/>
                  <a:gd name="connsiteX90" fmla="*/ 59247 w 1200744"/>
                  <a:gd name="connsiteY90" fmla="*/ 501147 h 1046508"/>
                  <a:gd name="connsiteX91" fmla="*/ 48816 w 1200744"/>
                  <a:gd name="connsiteY91" fmla="*/ 501147 h 1046508"/>
                  <a:gd name="connsiteX92" fmla="*/ 14298 w 1200744"/>
                  <a:gd name="connsiteY92" fmla="*/ 486849 h 1046508"/>
                  <a:gd name="connsiteX93" fmla="*/ 0 w 1200744"/>
                  <a:gd name="connsiteY93" fmla="*/ 452332 h 1046508"/>
                  <a:gd name="connsiteX94" fmla="*/ 14298 w 1200744"/>
                  <a:gd name="connsiteY94" fmla="*/ 417814 h 1046508"/>
                  <a:gd name="connsiteX95" fmla="*/ 48816 w 1200744"/>
                  <a:gd name="connsiteY95" fmla="*/ 403516 h 1046508"/>
                  <a:gd name="connsiteX96" fmla="*/ 59161 w 1200744"/>
                  <a:gd name="connsiteY96" fmla="*/ 403516 h 1046508"/>
                  <a:gd name="connsiteX97" fmla="*/ 59063 w 1200744"/>
                  <a:gd name="connsiteY97" fmla="*/ 291651 h 1046508"/>
                  <a:gd name="connsiteX98" fmla="*/ 48816 w 1200744"/>
                  <a:gd name="connsiteY98" fmla="*/ 291651 h 1046508"/>
                  <a:gd name="connsiteX99" fmla="*/ 14298 w 1200744"/>
                  <a:gd name="connsiteY99" fmla="*/ 277353 h 1046508"/>
                  <a:gd name="connsiteX100" fmla="*/ 0 w 1200744"/>
                  <a:gd name="connsiteY100" fmla="*/ 242836 h 1046508"/>
                  <a:gd name="connsiteX101" fmla="*/ 14298 w 1200744"/>
                  <a:gd name="connsiteY101" fmla="*/ 208318 h 1046508"/>
                  <a:gd name="connsiteX102" fmla="*/ 48816 w 1200744"/>
                  <a:gd name="connsiteY102" fmla="*/ 194020 h 1046508"/>
                  <a:gd name="connsiteX103" fmla="*/ 58977 w 1200744"/>
                  <a:gd name="connsiteY103" fmla="*/ 19402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792956 w 1200744"/>
                  <a:gd name="connsiteY49" fmla="*/ 387635 h 1046508"/>
                  <a:gd name="connsiteX50" fmla="*/ 883444 w 1200744"/>
                  <a:gd name="connsiteY50" fmla="*/ 376884 h 1046508"/>
                  <a:gd name="connsiteX51" fmla="*/ 1157493 w 1200744"/>
                  <a:gd name="connsiteY51" fmla="*/ 347675 h 1046508"/>
                  <a:gd name="connsiteX52" fmla="*/ 1200471 w 1200744"/>
                  <a:gd name="connsiteY52" fmla="*/ 381525 h 1046508"/>
                  <a:gd name="connsiteX53" fmla="*/ 1200470 w 1200744"/>
                  <a:gd name="connsiteY53" fmla="*/ 381526 h 1046508"/>
                  <a:gd name="connsiteX54" fmla="*/ 1166620 w 1200744"/>
                  <a:gd name="connsiteY54" fmla="*/ 424503 h 1046508"/>
                  <a:gd name="connsiteX55" fmla="*/ 883444 w 1200744"/>
                  <a:gd name="connsiteY55" fmla="*/ 458146 h 1046508"/>
                  <a:gd name="connsiteX56" fmla="*/ 883444 w 1200744"/>
                  <a:gd name="connsiteY56" fmla="*/ 506141 h 1046508"/>
                  <a:gd name="connsiteX57" fmla="*/ 792956 w 1200744"/>
                  <a:gd name="connsiteY57" fmla="*/ 516892 h 1046508"/>
                  <a:gd name="connsiteX58" fmla="*/ 792956 w 1200744"/>
                  <a:gd name="connsiteY58" fmla="*/ 468897 h 1046508"/>
                  <a:gd name="connsiteX59" fmla="*/ 688181 w 1200744"/>
                  <a:gd name="connsiteY59" fmla="*/ 481345 h 1046508"/>
                  <a:gd name="connsiteX60" fmla="*/ 688181 w 1200744"/>
                  <a:gd name="connsiteY60" fmla="*/ 529340 h 1046508"/>
                  <a:gd name="connsiteX61" fmla="*/ 418176 w 1200744"/>
                  <a:gd name="connsiteY61" fmla="*/ 561418 h 1046508"/>
                  <a:gd name="connsiteX62" fmla="*/ 392350 w 1200744"/>
                  <a:gd name="connsiteY62" fmla="*/ 575897 h 1046508"/>
                  <a:gd name="connsiteX63" fmla="*/ 384326 w 1200744"/>
                  <a:gd name="connsiteY63" fmla="*/ 604396 h 1046508"/>
                  <a:gd name="connsiteX64" fmla="*/ 398804 w 1200744"/>
                  <a:gd name="connsiteY64" fmla="*/ 630221 h 1046508"/>
                  <a:gd name="connsiteX65" fmla="*/ 427304 w 1200744"/>
                  <a:gd name="connsiteY65" fmla="*/ 638245 h 1046508"/>
                  <a:gd name="connsiteX66" fmla="*/ 1104900 w 1200744"/>
                  <a:gd name="connsiteY66" fmla="*/ 557742 h 1046508"/>
                  <a:gd name="connsiteX67" fmla="*/ 1104900 w 1200744"/>
                  <a:gd name="connsiteY67" fmla="*/ 558713 h 1046508"/>
                  <a:gd name="connsiteX68" fmla="*/ 1157491 w 1200744"/>
                  <a:gd name="connsiteY68" fmla="*/ 552464 h 1046508"/>
                  <a:gd name="connsiteX69" fmla="*/ 1200469 w 1200744"/>
                  <a:gd name="connsiteY69" fmla="*/ 586314 h 1046508"/>
                  <a:gd name="connsiteX70" fmla="*/ 1200468 w 1200744"/>
                  <a:gd name="connsiteY70" fmla="*/ 586314 h 1046508"/>
                  <a:gd name="connsiteX71" fmla="*/ 1166618 w 1200744"/>
                  <a:gd name="connsiteY71" fmla="*/ 629292 h 1046508"/>
                  <a:gd name="connsiteX72" fmla="*/ 1104900 w 1200744"/>
                  <a:gd name="connsiteY72" fmla="*/ 636624 h 1046508"/>
                  <a:gd name="connsiteX73" fmla="*/ 1104900 w 1200744"/>
                  <a:gd name="connsiteY73" fmla="*/ 817908 h 1046508"/>
                  <a:gd name="connsiteX74" fmla="*/ 971550 w 1200744"/>
                  <a:gd name="connsiteY74" fmla="*/ 946496 h 1046508"/>
                  <a:gd name="connsiteX75" fmla="*/ 752889 w 1200744"/>
                  <a:gd name="connsiteY75" fmla="*/ 946496 h 1046508"/>
                  <a:gd name="connsiteX76" fmla="*/ 749140 w 1200744"/>
                  <a:gd name="connsiteY76" fmla="*/ 965065 h 1046508"/>
                  <a:gd name="connsiteX77" fmla="*/ 626271 w 1200744"/>
                  <a:gd name="connsiteY77" fmla="*/ 1046508 h 1046508"/>
                  <a:gd name="connsiteX78" fmla="*/ 533770 w 1200744"/>
                  <a:gd name="connsiteY78" fmla="*/ 1046508 h 1046508"/>
                  <a:gd name="connsiteX79" fmla="*/ 410901 w 1200744"/>
                  <a:gd name="connsiteY79" fmla="*/ 965065 h 1046508"/>
                  <a:gd name="connsiteX80" fmla="*/ 407153 w 1200744"/>
                  <a:gd name="connsiteY80" fmla="*/ 946496 h 1046508"/>
                  <a:gd name="connsiteX81" fmla="*/ 190500 w 1200744"/>
                  <a:gd name="connsiteY81" fmla="*/ 946496 h 1046508"/>
                  <a:gd name="connsiteX82" fmla="*/ 59532 w 1200744"/>
                  <a:gd name="connsiteY82" fmla="*/ 825052 h 1046508"/>
                  <a:gd name="connsiteX83" fmla="*/ 59432 w 1200744"/>
                  <a:gd name="connsiteY83" fmla="*/ 710643 h 1046508"/>
                  <a:gd name="connsiteX84" fmla="*/ 48816 w 1200744"/>
                  <a:gd name="connsiteY84" fmla="*/ 710643 h 1046508"/>
                  <a:gd name="connsiteX85" fmla="*/ 14298 w 1200744"/>
                  <a:gd name="connsiteY85" fmla="*/ 696345 h 1046508"/>
                  <a:gd name="connsiteX86" fmla="*/ 0 w 1200744"/>
                  <a:gd name="connsiteY86" fmla="*/ 661828 h 1046508"/>
                  <a:gd name="connsiteX87" fmla="*/ 14298 w 1200744"/>
                  <a:gd name="connsiteY87" fmla="*/ 627310 h 1046508"/>
                  <a:gd name="connsiteX88" fmla="*/ 48816 w 1200744"/>
                  <a:gd name="connsiteY88" fmla="*/ 613012 h 1046508"/>
                  <a:gd name="connsiteX89" fmla="*/ 59346 w 1200744"/>
                  <a:gd name="connsiteY89" fmla="*/ 613012 h 1046508"/>
                  <a:gd name="connsiteX90" fmla="*/ 59247 w 1200744"/>
                  <a:gd name="connsiteY90" fmla="*/ 501147 h 1046508"/>
                  <a:gd name="connsiteX91" fmla="*/ 48816 w 1200744"/>
                  <a:gd name="connsiteY91" fmla="*/ 501147 h 1046508"/>
                  <a:gd name="connsiteX92" fmla="*/ 14298 w 1200744"/>
                  <a:gd name="connsiteY92" fmla="*/ 486849 h 1046508"/>
                  <a:gd name="connsiteX93" fmla="*/ 0 w 1200744"/>
                  <a:gd name="connsiteY93" fmla="*/ 452332 h 1046508"/>
                  <a:gd name="connsiteX94" fmla="*/ 14298 w 1200744"/>
                  <a:gd name="connsiteY94" fmla="*/ 417814 h 1046508"/>
                  <a:gd name="connsiteX95" fmla="*/ 48816 w 1200744"/>
                  <a:gd name="connsiteY95" fmla="*/ 403516 h 1046508"/>
                  <a:gd name="connsiteX96" fmla="*/ 59161 w 1200744"/>
                  <a:gd name="connsiteY96" fmla="*/ 403516 h 1046508"/>
                  <a:gd name="connsiteX97" fmla="*/ 59063 w 1200744"/>
                  <a:gd name="connsiteY97" fmla="*/ 291651 h 1046508"/>
                  <a:gd name="connsiteX98" fmla="*/ 48816 w 1200744"/>
                  <a:gd name="connsiteY98" fmla="*/ 291651 h 1046508"/>
                  <a:gd name="connsiteX99" fmla="*/ 14298 w 1200744"/>
                  <a:gd name="connsiteY99" fmla="*/ 277353 h 1046508"/>
                  <a:gd name="connsiteX100" fmla="*/ 0 w 1200744"/>
                  <a:gd name="connsiteY100" fmla="*/ 242836 h 1046508"/>
                  <a:gd name="connsiteX101" fmla="*/ 14298 w 1200744"/>
                  <a:gd name="connsiteY101" fmla="*/ 208318 h 1046508"/>
                  <a:gd name="connsiteX102" fmla="*/ 48816 w 1200744"/>
                  <a:gd name="connsiteY102" fmla="*/ 194020 h 1046508"/>
                  <a:gd name="connsiteX103" fmla="*/ 58977 w 1200744"/>
                  <a:gd name="connsiteY103" fmla="*/ 194020 h 1046508"/>
                  <a:gd name="connsiteX104" fmla="*/ 58806 w 1200744"/>
                  <a:gd name="connsiteY104"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792956 w 1200744"/>
                  <a:gd name="connsiteY49" fmla="*/ 387635 h 1046508"/>
                  <a:gd name="connsiteX50" fmla="*/ 1157493 w 1200744"/>
                  <a:gd name="connsiteY50" fmla="*/ 347675 h 1046508"/>
                  <a:gd name="connsiteX51" fmla="*/ 1200471 w 1200744"/>
                  <a:gd name="connsiteY51" fmla="*/ 381525 h 1046508"/>
                  <a:gd name="connsiteX52" fmla="*/ 1200470 w 1200744"/>
                  <a:gd name="connsiteY52" fmla="*/ 381526 h 1046508"/>
                  <a:gd name="connsiteX53" fmla="*/ 1166620 w 1200744"/>
                  <a:gd name="connsiteY53" fmla="*/ 424503 h 1046508"/>
                  <a:gd name="connsiteX54" fmla="*/ 883444 w 1200744"/>
                  <a:gd name="connsiteY54" fmla="*/ 458146 h 1046508"/>
                  <a:gd name="connsiteX55" fmla="*/ 883444 w 1200744"/>
                  <a:gd name="connsiteY55" fmla="*/ 506141 h 1046508"/>
                  <a:gd name="connsiteX56" fmla="*/ 792956 w 1200744"/>
                  <a:gd name="connsiteY56" fmla="*/ 516892 h 1046508"/>
                  <a:gd name="connsiteX57" fmla="*/ 792956 w 1200744"/>
                  <a:gd name="connsiteY57" fmla="*/ 468897 h 1046508"/>
                  <a:gd name="connsiteX58" fmla="*/ 688181 w 1200744"/>
                  <a:gd name="connsiteY58" fmla="*/ 481345 h 1046508"/>
                  <a:gd name="connsiteX59" fmla="*/ 688181 w 1200744"/>
                  <a:gd name="connsiteY59" fmla="*/ 529340 h 1046508"/>
                  <a:gd name="connsiteX60" fmla="*/ 418176 w 1200744"/>
                  <a:gd name="connsiteY60" fmla="*/ 561418 h 1046508"/>
                  <a:gd name="connsiteX61" fmla="*/ 392350 w 1200744"/>
                  <a:gd name="connsiteY61" fmla="*/ 575897 h 1046508"/>
                  <a:gd name="connsiteX62" fmla="*/ 384326 w 1200744"/>
                  <a:gd name="connsiteY62" fmla="*/ 604396 h 1046508"/>
                  <a:gd name="connsiteX63" fmla="*/ 398804 w 1200744"/>
                  <a:gd name="connsiteY63" fmla="*/ 630221 h 1046508"/>
                  <a:gd name="connsiteX64" fmla="*/ 427304 w 1200744"/>
                  <a:gd name="connsiteY64" fmla="*/ 638245 h 1046508"/>
                  <a:gd name="connsiteX65" fmla="*/ 1104900 w 1200744"/>
                  <a:gd name="connsiteY65" fmla="*/ 557742 h 1046508"/>
                  <a:gd name="connsiteX66" fmla="*/ 1104900 w 1200744"/>
                  <a:gd name="connsiteY66" fmla="*/ 558713 h 1046508"/>
                  <a:gd name="connsiteX67" fmla="*/ 1157491 w 1200744"/>
                  <a:gd name="connsiteY67" fmla="*/ 552464 h 1046508"/>
                  <a:gd name="connsiteX68" fmla="*/ 1200469 w 1200744"/>
                  <a:gd name="connsiteY68" fmla="*/ 586314 h 1046508"/>
                  <a:gd name="connsiteX69" fmla="*/ 1200468 w 1200744"/>
                  <a:gd name="connsiteY69" fmla="*/ 586314 h 1046508"/>
                  <a:gd name="connsiteX70" fmla="*/ 1166618 w 1200744"/>
                  <a:gd name="connsiteY70" fmla="*/ 629292 h 1046508"/>
                  <a:gd name="connsiteX71" fmla="*/ 1104900 w 1200744"/>
                  <a:gd name="connsiteY71" fmla="*/ 636624 h 1046508"/>
                  <a:gd name="connsiteX72" fmla="*/ 1104900 w 1200744"/>
                  <a:gd name="connsiteY72" fmla="*/ 817908 h 1046508"/>
                  <a:gd name="connsiteX73" fmla="*/ 971550 w 1200744"/>
                  <a:gd name="connsiteY73" fmla="*/ 946496 h 1046508"/>
                  <a:gd name="connsiteX74" fmla="*/ 752889 w 1200744"/>
                  <a:gd name="connsiteY74" fmla="*/ 946496 h 1046508"/>
                  <a:gd name="connsiteX75" fmla="*/ 749140 w 1200744"/>
                  <a:gd name="connsiteY75" fmla="*/ 965065 h 1046508"/>
                  <a:gd name="connsiteX76" fmla="*/ 626271 w 1200744"/>
                  <a:gd name="connsiteY76" fmla="*/ 1046508 h 1046508"/>
                  <a:gd name="connsiteX77" fmla="*/ 533770 w 1200744"/>
                  <a:gd name="connsiteY77" fmla="*/ 1046508 h 1046508"/>
                  <a:gd name="connsiteX78" fmla="*/ 410901 w 1200744"/>
                  <a:gd name="connsiteY78" fmla="*/ 965065 h 1046508"/>
                  <a:gd name="connsiteX79" fmla="*/ 407153 w 1200744"/>
                  <a:gd name="connsiteY79" fmla="*/ 946496 h 1046508"/>
                  <a:gd name="connsiteX80" fmla="*/ 190500 w 1200744"/>
                  <a:gd name="connsiteY80" fmla="*/ 946496 h 1046508"/>
                  <a:gd name="connsiteX81" fmla="*/ 59532 w 1200744"/>
                  <a:gd name="connsiteY81" fmla="*/ 825052 h 1046508"/>
                  <a:gd name="connsiteX82" fmla="*/ 59432 w 1200744"/>
                  <a:gd name="connsiteY82" fmla="*/ 710643 h 1046508"/>
                  <a:gd name="connsiteX83" fmla="*/ 48816 w 1200744"/>
                  <a:gd name="connsiteY83" fmla="*/ 710643 h 1046508"/>
                  <a:gd name="connsiteX84" fmla="*/ 14298 w 1200744"/>
                  <a:gd name="connsiteY84" fmla="*/ 696345 h 1046508"/>
                  <a:gd name="connsiteX85" fmla="*/ 0 w 1200744"/>
                  <a:gd name="connsiteY85" fmla="*/ 661828 h 1046508"/>
                  <a:gd name="connsiteX86" fmla="*/ 14298 w 1200744"/>
                  <a:gd name="connsiteY86" fmla="*/ 627310 h 1046508"/>
                  <a:gd name="connsiteX87" fmla="*/ 48816 w 1200744"/>
                  <a:gd name="connsiteY87" fmla="*/ 613012 h 1046508"/>
                  <a:gd name="connsiteX88" fmla="*/ 59346 w 1200744"/>
                  <a:gd name="connsiteY88" fmla="*/ 613012 h 1046508"/>
                  <a:gd name="connsiteX89" fmla="*/ 59247 w 1200744"/>
                  <a:gd name="connsiteY89" fmla="*/ 501147 h 1046508"/>
                  <a:gd name="connsiteX90" fmla="*/ 48816 w 1200744"/>
                  <a:gd name="connsiteY90" fmla="*/ 501147 h 1046508"/>
                  <a:gd name="connsiteX91" fmla="*/ 14298 w 1200744"/>
                  <a:gd name="connsiteY91" fmla="*/ 486849 h 1046508"/>
                  <a:gd name="connsiteX92" fmla="*/ 0 w 1200744"/>
                  <a:gd name="connsiteY92" fmla="*/ 452332 h 1046508"/>
                  <a:gd name="connsiteX93" fmla="*/ 14298 w 1200744"/>
                  <a:gd name="connsiteY93" fmla="*/ 417814 h 1046508"/>
                  <a:gd name="connsiteX94" fmla="*/ 48816 w 1200744"/>
                  <a:gd name="connsiteY94" fmla="*/ 403516 h 1046508"/>
                  <a:gd name="connsiteX95" fmla="*/ 59161 w 1200744"/>
                  <a:gd name="connsiteY95" fmla="*/ 403516 h 1046508"/>
                  <a:gd name="connsiteX96" fmla="*/ 59063 w 1200744"/>
                  <a:gd name="connsiteY96" fmla="*/ 291651 h 1046508"/>
                  <a:gd name="connsiteX97" fmla="*/ 48816 w 1200744"/>
                  <a:gd name="connsiteY97" fmla="*/ 291651 h 1046508"/>
                  <a:gd name="connsiteX98" fmla="*/ 14298 w 1200744"/>
                  <a:gd name="connsiteY98" fmla="*/ 277353 h 1046508"/>
                  <a:gd name="connsiteX99" fmla="*/ 0 w 1200744"/>
                  <a:gd name="connsiteY99" fmla="*/ 242836 h 1046508"/>
                  <a:gd name="connsiteX100" fmla="*/ 14298 w 1200744"/>
                  <a:gd name="connsiteY100" fmla="*/ 208318 h 1046508"/>
                  <a:gd name="connsiteX101" fmla="*/ 48816 w 1200744"/>
                  <a:gd name="connsiteY101" fmla="*/ 194020 h 1046508"/>
                  <a:gd name="connsiteX102" fmla="*/ 58977 w 1200744"/>
                  <a:gd name="connsiteY102" fmla="*/ 194020 h 1046508"/>
                  <a:gd name="connsiteX103" fmla="*/ 58806 w 1200744"/>
                  <a:gd name="connsiteY103"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1157493 w 1200744"/>
                  <a:gd name="connsiteY49" fmla="*/ 347675 h 1046508"/>
                  <a:gd name="connsiteX50" fmla="*/ 1200471 w 1200744"/>
                  <a:gd name="connsiteY50" fmla="*/ 381525 h 1046508"/>
                  <a:gd name="connsiteX51" fmla="*/ 1200470 w 1200744"/>
                  <a:gd name="connsiteY51" fmla="*/ 381526 h 1046508"/>
                  <a:gd name="connsiteX52" fmla="*/ 1166620 w 1200744"/>
                  <a:gd name="connsiteY52" fmla="*/ 424503 h 1046508"/>
                  <a:gd name="connsiteX53" fmla="*/ 883444 w 1200744"/>
                  <a:gd name="connsiteY53" fmla="*/ 458146 h 1046508"/>
                  <a:gd name="connsiteX54" fmla="*/ 883444 w 1200744"/>
                  <a:gd name="connsiteY54" fmla="*/ 506141 h 1046508"/>
                  <a:gd name="connsiteX55" fmla="*/ 792956 w 1200744"/>
                  <a:gd name="connsiteY55" fmla="*/ 516892 h 1046508"/>
                  <a:gd name="connsiteX56" fmla="*/ 792956 w 1200744"/>
                  <a:gd name="connsiteY56" fmla="*/ 468897 h 1046508"/>
                  <a:gd name="connsiteX57" fmla="*/ 688181 w 1200744"/>
                  <a:gd name="connsiteY57" fmla="*/ 481345 h 1046508"/>
                  <a:gd name="connsiteX58" fmla="*/ 688181 w 1200744"/>
                  <a:gd name="connsiteY58" fmla="*/ 529340 h 1046508"/>
                  <a:gd name="connsiteX59" fmla="*/ 418176 w 1200744"/>
                  <a:gd name="connsiteY59" fmla="*/ 561418 h 1046508"/>
                  <a:gd name="connsiteX60" fmla="*/ 392350 w 1200744"/>
                  <a:gd name="connsiteY60" fmla="*/ 575897 h 1046508"/>
                  <a:gd name="connsiteX61" fmla="*/ 384326 w 1200744"/>
                  <a:gd name="connsiteY61" fmla="*/ 604396 h 1046508"/>
                  <a:gd name="connsiteX62" fmla="*/ 398804 w 1200744"/>
                  <a:gd name="connsiteY62" fmla="*/ 630221 h 1046508"/>
                  <a:gd name="connsiteX63" fmla="*/ 427304 w 1200744"/>
                  <a:gd name="connsiteY63" fmla="*/ 638245 h 1046508"/>
                  <a:gd name="connsiteX64" fmla="*/ 1104900 w 1200744"/>
                  <a:gd name="connsiteY64" fmla="*/ 557742 h 1046508"/>
                  <a:gd name="connsiteX65" fmla="*/ 1104900 w 1200744"/>
                  <a:gd name="connsiteY65" fmla="*/ 558713 h 1046508"/>
                  <a:gd name="connsiteX66" fmla="*/ 1157491 w 1200744"/>
                  <a:gd name="connsiteY66" fmla="*/ 552464 h 1046508"/>
                  <a:gd name="connsiteX67" fmla="*/ 1200469 w 1200744"/>
                  <a:gd name="connsiteY67" fmla="*/ 586314 h 1046508"/>
                  <a:gd name="connsiteX68" fmla="*/ 1200468 w 1200744"/>
                  <a:gd name="connsiteY68" fmla="*/ 586314 h 1046508"/>
                  <a:gd name="connsiteX69" fmla="*/ 1166618 w 1200744"/>
                  <a:gd name="connsiteY69" fmla="*/ 629292 h 1046508"/>
                  <a:gd name="connsiteX70" fmla="*/ 1104900 w 1200744"/>
                  <a:gd name="connsiteY70" fmla="*/ 636624 h 1046508"/>
                  <a:gd name="connsiteX71" fmla="*/ 1104900 w 1200744"/>
                  <a:gd name="connsiteY71" fmla="*/ 817908 h 1046508"/>
                  <a:gd name="connsiteX72" fmla="*/ 971550 w 1200744"/>
                  <a:gd name="connsiteY72" fmla="*/ 946496 h 1046508"/>
                  <a:gd name="connsiteX73" fmla="*/ 752889 w 1200744"/>
                  <a:gd name="connsiteY73" fmla="*/ 946496 h 1046508"/>
                  <a:gd name="connsiteX74" fmla="*/ 749140 w 1200744"/>
                  <a:gd name="connsiteY74" fmla="*/ 965065 h 1046508"/>
                  <a:gd name="connsiteX75" fmla="*/ 626271 w 1200744"/>
                  <a:gd name="connsiteY75" fmla="*/ 1046508 h 1046508"/>
                  <a:gd name="connsiteX76" fmla="*/ 533770 w 1200744"/>
                  <a:gd name="connsiteY76" fmla="*/ 1046508 h 1046508"/>
                  <a:gd name="connsiteX77" fmla="*/ 410901 w 1200744"/>
                  <a:gd name="connsiteY77" fmla="*/ 965065 h 1046508"/>
                  <a:gd name="connsiteX78" fmla="*/ 407153 w 1200744"/>
                  <a:gd name="connsiteY78" fmla="*/ 946496 h 1046508"/>
                  <a:gd name="connsiteX79" fmla="*/ 190500 w 1200744"/>
                  <a:gd name="connsiteY79" fmla="*/ 946496 h 1046508"/>
                  <a:gd name="connsiteX80" fmla="*/ 59532 w 1200744"/>
                  <a:gd name="connsiteY80" fmla="*/ 825052 h 1046508"/>
                  <a:gd name="connsiteX81" fmla="*/ 59432 w 1200744"/>
                  <a:gd name="connsiteY81" fmla="*/ 710643 h 1046508"/>
                  <a:gd name="connsiteX82" fmla="*/ 48816 w 1200744"/>
                  <a:gd name="connsiteY82" fmla="*/ 710643 h 1046508"/>
                  <a:gd name="connsiteX83" fmla="*/ 14298 w 1200744"/>
                  <a:gd name="connsiteY83" fmla="*/ 696345 h 1046508"/>
                  <a:gd name="connsiteX84" fmla="*/ 0 w 1200744"/>
                  <a:gd name="connsiteY84" fmla="*/ 661828 h 1046508"/>
                  <a:gd name="connsiteX85" fmla="*/ 14298 w 1200744"/>
                  <a:gd name="connsiteY85" fmla="*/ 627310 h 1046508"/>
                  <a:gd name="connsiteX86" fmla="*/ 48816 w 1200744"/>
                  <a:gd name="connsiteY86" fmla="*/ 613012 h 1046508"/>
                  <a:gd name="connsiteX87" fmla="*/ 59346 w 1200744"/>
                  <a:gd name="connsiteY87" fmla="*/ 613012 h 1046508"/>
                  <a:gd name="connsiteX88" fmla="*/ 59247 w 1200744"/>
                  <a:gd name="connsiteY88" fmla="*/ 501147 h 1046508"/>
                  <a:gd name="connsiteX89" fmla="*/ 48816 w 1200744"/>
                  <a:gd name="connsiteY89" fmla="*/ 501147 h 1046508"/>
                  <a:gd name="connsiteX90" fmla="*/ 14298 w 1200744"/>
                  <a:gd name="connsiteY90" fmla="*/ 486849 h 1046508"/>
                  <a:gd name="connsiteX91" fmla="*/ 0 w 1200744"/>
                  <a:gd name="connsiteY91" fmla="*/ 452332 h 1046508"/>
                  <a:gd name="connsiteX92" fmla="*/ 14298 w 1200744"/>
                  <a:gd name="connsiteY92" fmla="*/ 417814 h 1046508"/>
                  <a:gd name="connsiteX93" fmla="*/ 48816 w 1200744"/>
                  <a:gd name="connsiteY93" fmla="*/ 403516 h 1046508"/>
                  <a:gd name="connsiteX94" fmla="*/ 59161 w 1200744"/>
                  <a:gd name="connsiteY94" fmla="*/ 403516 h 1046508"/>
                  <a:gd name="connsiteX95" fmla="*/ 59063 w 1200744"/>
                  <a:gd name="connsiteY95" fmla="*/ 291651 h 1046508"/>
                  <a:gd name="connsiteX96" fmla="*/ 48816 w 1200744"/>
                  <a:gd name="connsiteY96" fmla="*/ 291651 h 1046508"/>
                  <a:gd name="connsiteX97" fmla="*/ 14298 w 1200744"/>
                  <a:gd name="connsiteY97" fmla="*/ 277353 h 1046508"/>
                  <a:gd name="connsiteX98" fmla="*/ 0 w 1200744"/>
                  <a:gd name="connsiteY98" fmla="*/ 242836 h 1046508"/>
                  <a:gd name="connsiteX99" fmla="*/ 14298 w 1200744"/>
                  <a:gd name="connsiteY99" fmla="*/ 208318 h 1046508"/>
                  <a:gd name="connsiteX100" fmla="*/ 48816 w 1200744"/>
                  <a:gd name="connsiteY100" fmla="*/ 194020 h 1046508"/>
                  <a:gd name="connsiteX101" fmla="*/ 58977 w 1200744"/>
                  <a:gd name="connsiteY101" fmla="*/ 194020 h 1046508"/>
                  <a:gd name="connsiteX102" fmla="*/ 58806 w 1200744"/>
                  <a:gd name="connsiteY102"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1157493 w 1200744"/>
                  <a:gd name="connsiteY48" fmla="*/ 347675 h 1046508"/>
                  <a:gd name="connsiteX49" fmla="*/ 1200471 w 1200744"/>
                  <a:gd name="connsiteY49" fmla="*/ 381525 h 1046508"/>
                  <a:gd name="connsiteX50" fmla="*/ 1200470 w 1200744"/>
                  <a:gd name="connsiteY50" fmla="*/ 381526 h 1046508"/>
                  <a:gd name="connsiteX51" fmla="*/ 1166620 w 1200744"/>
                  <a:gd name="connsiteY51" fmla="*/ 424503 h 1046508"/>
                  <a:gd name="connsiteX52" fmla="*/ 883444 w 1200744"/>
                  <a:gd name="connsiteY52" fmla="*/ 458146 h 1046508"/>
                  <a:gd name="connsiteX53" fmla="*/ 883444 w 1200744"/>
                  <a:gd name="connsiteY53" fmla="*/ 506141 h 1046508"/>
                  <a:gd name="connsiteX54" fmla="*/ 792956 w 1200744"/>
                  <a:gd name="connsiteY54" fmla="*/ 516892 h 1046508"/>
                  <a:gd name="connsiteX55" fmla="*/ 792956 w 1200744"/>
                  <a:gd name="connsiteY55" fmla="*/ 468897 h 1046508"/>
                  <a:gd name="connsiteX56" fmla="*/ 688181 w 1200744"/>
                  <a:gd name="connsiteY56" fmla="*/ 481345 h 1046508"/>
                  <a:gd name="connsiteX57" fmla="*/ 688181 w 1200744"/>
                  <a:gd name="connsiteY57" fmla="*/ 529340 h 1046508"/>
                  <a:gd name="connsiteX58" fmla="*/ 418176 w 1200744"/>
                  <a:gd name="connsiteY58" fmla="*/ 561418 h 1046508"/>
                  <a:gd name="connsiteX59" fmla="*/ 392350 w 1200744"/>
                  <a:gd name="connsiteY59" fmla="*/ 575897 h 1046508"/>
                  <a:gd name="connsiteX60" fmla="*/ 384326 w 1200744"/>
                  <a:gd name="connsiteY60" fmla="*/ 604396 h 1046508"/>
                  <a:gd name="connsiteX61" fmla="*/ 398804 w 1200744"/>
                  <a:gd name="connsiteY61" fmla="*/ 630221 h 1046508"/>
                  <a:gd name="connsiteX62" fmla="*/ 427304 w 1200744"/>
                  <a:gd name="connsiteY62" fmla="*/ 638245 h 1046508"/>
                  <a:gd name="connsiteX63" fmla="*/ 1104900 w 1200744"/>
                  <a:gd name="connsiteY63" fmla="*/ 557742 h 1046508"/>
                  <a:gd name="connsiteX64" fmla="*/ 1104900 w 1200744"/>
                  <a:gd name="connsiteY64" fmla="*/ 558713 h 1046508"/>
                  <a:gd name="connsiteX65" fmla="*/ 1157491 w 1200744"/>
                  <a:gd name="connsiteY65" fmla="*/ 552464 h 1046508"/>
                  <a:gd name="connsiteX66" fmla="*/ 1200469 w 1200744"/>
                  <a:gd name="connsiteY66" fmla="*/ 586314 h 1046508"/>
                  <a:gd name="connsiteX67" fmla="*/ 1200468 w 1200744"/>
                  <a:gd name="connsiteY67" fmla="*/ 586314 h 1046508"/>
                  <a:gd name="connsiteX68" fmla="*/ 1166618 w 1200744"/>
                  <a:gd name="connsiteY68" fmla="*/ 629292 h 1046508"/>
                  <a:gd name="connsiteX69" fmla="*/ 1104900 w 1200744"/>
                  <a:gd name="connsiteY69" fmla="*/ 636624 h 1046508"/>
                  <a:gd name="connsiteX70" fmla="*/ 1104900 w 1200744"/>
                  <a:gd name="connsiteY70" fmla="*/ 817908 h 1046508"/>
                  <a:gd name="connsiteX71" fmla="*/ 971550 w 1200744"/>
                  <a:gd name="connsiteY71" fmla="*/ 946496 h 1046508"/>
                  <a:gd name="connsiteX72" fmla="*/ 752889 w 1200744"/>
                  <a:gd name="connsiteY72" fmla="*/ 946496 h 1046508"/>
                  <a:gd name="connsiteX73" fmla="*/ 749140 w 1200744"/>
                  <a:gd name="connsiteY73" fmla="*/ 965065 h 1046508"/>
                  <a:gd name="connsiteX74" fmla="*/ 626271 w 1200744"/>
                  <a:gd name="connsiteY74" fmla="*/ 1046508 h 1046508"/>
                  <a:gd name="connsiteX75" fmla="*/ 533770 w 1200744"/>
                  <a:gd name="connsiteY75" fmla="*/ 1046508 h 1046508"/>
                  <a:gd name="connsiteX76" fmla="*/ 410901 w 1200744"/>
                  <a:gd name="connsiteY76" fmla="*/ 965065 h 1046508"/>
                  <a:gd name="connsiteX77" fmla="*/ 407153 w 1200744"/>
                  <a:gd name="connsiteY77" fmla="*/ 946496 h 1046508"/>
                  <a:gd name="connsiteX78" fmla="*/ 190500 w 1200744"/>
                  <a:gd name="connsiteY78" fmla="*/ 946496 h 1046508"/>
                  <a:gd name="connsiteX79" fmla="*/ 59532 w 1200744"/>
                  <a:gd name="connsiteY79" fmla="*/ 825052 h 1046508"/>
                  <a:gd name="connsiteX80" fmla="*/ 59432 w 1200744"/>
                  <a:gd name="connsiteY80" fmla="*/ 710643 h 1046508"/>
                  <a:gd name="connsiteX81" fmla="*/ 48816 w 1200744"/>
                  <a:gd name="connsiteY81" fmla="*/ 710643 h 1046508"/>
                  <a:gd name="connsiteX82" fmla="*/ 14298 w 1200744"/>
                  <a:gd name="connsiteY82" fmla="*/ 696345 h 1046508"/>
                  <a:gd name="connsiteX83" fmla="*/ 0 w 1200744"/>
                  <a:gd name="connsiteY83" fmla="*/ 661828 h 1046508"/>
                  <a:gd name="connsiteX84" fmla="*/ 14298 w 1200744"/>
                  <a:gd name="connsiteY84" fmla="*/ 627310 h 1046508"/>
                  <a:gd name="connsiteX85" fmla="*/ 48816 w 1200744"/>
                  <a:gd name="connsiteY85" fmla="*/ 613012 h 1046508"/>
                  <a:gd name="connsiteX86" fmla="*/ 59346 w 1200744"/>
                  <a:gd name="connsiteY86" fmla="*/ 613012 h 1046508"/>
                  <a:gd name="connsiteX87" fmla="*/ 59247 w 1200744"/>
                  <a:gd name="connsiteY87" fmla="*/ 501147 h 1046508"/>
                  <a:gd name="connsiteX88" fmla="*/ 48816 w 1200744"/>
                  <a:gd name="connsiteY88" fmla="*/ 501147 h 1046508"/>
                  <a:gd name="connsiteX89" fmla="*/ 14298 w 1200744"/>
                  <a:gd name="connsiteY89" fmla="*/ 486849 h 1046508"/>
                  <a:gd name="connsiteX90" fmla="*/ 0 w 1200744"/>
                  <a:gd name="connsiteY90" fmla="*/ 452332 h 1046508"/>
                  <a:gd name="connsiteX91" fmla="*/ 14298 w 1200744"/>
                  <a:gd name="connsiteY91" fmla="*/ 417814 h 1046508"/>
                  <a:gd name="connsiteX92" fmla="*/ 48816 w 1200744"/>
                  <a:gd name="connsiteY92" fmla="*/ 403516 h 1046508"/>
                  <a:gd name="connsiteX93" fmla="*/ 59161 w 1200744"/>
                  <a:gd name="connsiteY93" fmla="*/ 403516 h 1046508"/>
                  <a:gd name="connsiteX94" fmla="*/ 59063 w 1200744"/>
                  <a:gd name="connsiteY94" fmla="*/ 291651 h 1046508"/>
                  <a:gd name="connsiteX95" fmla="*/ 48816 w 1200744"/>
                  <a:gd name="connsiteY95" fmla="*/ 291651 h 1046508"/>
                  <a:gd name="connsiteX96" fmla="*/ 14298 w 1200744"/>
                  <a:gd name="connsiteY96" fmla="*/ 277353 h 1046508"/>
                  <a:gd name="connsiteX97" fmla="*/ 0 w 1200744"/>
                  <a:gd name="connsiteY97" fmla="*/ 242836 h 1046508"/>
                  <a:gd name="connsiteX98" fmla="*/ 14298 w 1200744"/>
                  <a:gd name="connsiteY98" fmla="*/ 208318 h 1046508"/>
                  <a:gd name="connsiteX99" fmla="*/ 48816 w 1200744"/>
                  <a:gd name="connsiteY99" fmla="*/ 194020 h 1046508"/>
                  <a:gd name="connsiteX100" fmla="*/ 58977 w 1200744"/>
                  <a:gd name="connsiteY100" fmla="*/ 194020 h 1046508"/>
                  <a:gd name="connsiteX101" fmla="*/ 58806 w 1200744"/>
                  <a:gd name="connsiteY101"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1157493 w 1200744"/>
                  <a:gd name="connsiteY47" fmla="*/ 347675 h 1046508"/>
                  <a:gd name="connsiteX48" fmla="*/ 1200471 w 1200744"/>
                  <a:gd name="connsiteY48" fmla="*/ 381525 h 1046508"/>
                  <a:gd name="connsiteX49" fmla="*/ 1200470 w 1200744"/>
                  <a:gd name="connsiteY49" fmla="*/ 381526 h 1046508"/>
                  <a:gd name="connsiteX50" fmla="*/ 1166620 w 1200744"/>
                  <a:gd name="connsiteY50" fmla="*/ 424503 h 1046508"/>
                  <a:gd name="connsiteX51" fmla="*/ 883444 w 1200744"/>
                  <a:gd name="connsiteY51" fmla="*/ 458146 h 1046508"/>
                  <a:gd name="connsiteX52" fmla="*/ 883444 w 1200744"/>
                  <a:gd name="connsiteY52" fmla="*/ 506141 h 1046508"/>
                  <a:gd name="connsiteX53" fmla="*/ 792956 w 1200744"/>
                  <a:gd name="connsiteY53" fmla="*/ 516892 h 1046508"/>
                  <a:gd name="connsiteX54" fmla="*/ 792956 w 1200744"/>
                  <a:gd name="connsiteY54" fmla="*/ 468897 h 1046508"/>
                  <a:gd name="connsiteX55" fmla="*/ 688181 w 1200744"/>
                  <a:gd name="connsiteY55" fmla="*/ 481345 h 1046508"/>
                  <a:gd name="connsiteX56" fmla="*/ 688181 w 1200744"/>
                  <a:gd name="connsiteY56" fmla="*/ 529340 h 1046508"/>
                  <a:gd name="connsiteX57" fmla="*/ 418176 w 1200744"/>
                  <a:gd name="connsiteY57" fmla="*/ 561418 h 1046508"/>
                  <a:gd name="connsiteX58" fmla="*/ 392350 w 1200744"/>
                  <a:gd name="connsiteY58" fmla="*/ 575897 h 1046508"/>
                  <a:gd name="connsiteX59" fmla="*/ 384326 w 1200744"/>
                  <a:gd name="connsiteY59" fmla="*/ 604396 h 1046508"/>
                  <a:gd name="connsiteX60" fmla="*/ 398804 w 1200744"/>
                  <a:gd name="connsiteY60" fmla="*/ 630221 h 1046508"/>
                  <a:gd name="connsiteX61" fmla="*/ 427304 w 1200744"/>
                  <a:gd name="connsiteY61" fmla="*/ 638245 h 1046508"/>
                  <a:gd name="connsiteX62" fmla="*/ 1104900 w 1200744"/>
                  <a:gd name="connsiteY62" fmla="*/ 557742 h 1046508"/>
                  <a:gd name="connsiteX63" fmla="*/ 1104900 w 1200744"/>
                  <a:gd name="connsiteY63" fmla="*/ 558713 h 1046508"/>
                  <a:gd name="connsiteX64" fmla="*/ 1157491 w 1200744"/>
                  <a:gd name="connsiteY64" fmla="*/ 552464 h 1046508"/>
                  <a:gd name="connsiteX65" fmla="*/ 1200469 w 1200744"/>
                  <a:gd name="connsiteY65" fmla="*/ 586314 h 1046508"/>
                  <a:gd name="connsiteX66" fmla="*/ 1200468 w 1200744"/>
                  <a:gd name="connsiteY66" fmla="*/ 586314 h 1046508"/>
                  <a:gd name="connsiteX67" fmla="*/ 1166618 w 1200744"/>
                  <a:gd name="connsiteY67" fmla="*/ 629292 h 1046508"/>
                  <a:gd name="connsiteX68" fmla="*/ 1104900 w 1200744"/>
                  <a:gd name="connsiteY68" fmla="*/ 636624 h 1046508"/>
                  <a:gd name="connsiteX69" fmla="*/ 1104900 w 1200744"/>
                  <a:gd name="connsiteY69" fmla="*/ 817908 h 1046508"/>
                  <a:gd name="connsiteX70" fmla="*/ 971550 w 1200744"/>
                  <a:gd name="connsiteY70" fmla="*/ 946496 h 1046508"/>
                  <a:gd name="connsiteX71" fmla="*/ 752889 w 1200744"/>
                  <a:gd name="connsiteY71" fmla="*/ 946496 h 1046508"/>
                  <a:gd name="connsiteX72" fmla="*/ 749140 w 1200744"/>
                  <a:gd name="connsiteY72" fmla="*/ 965065 h 1046508"/>
                  <a:gd name="connsiteX73" fmla="*/ 626271 w 1200744"/>
                  <a:gd name="connsiteY73" fmla="*/ 1046508 h 1046508"/>
                  <a:gd name="connsiteX74" fmla="*/ 533770 w 1200744"/>
                  <a:gd name="connsiteY74" fmla="*/ 1046508 h 1046508"/>
                  <a:gd name="connsiteX75" fmla="*/ 410901 w 1200744"/>
                  <a:gd name="connsiteY75" fmla="*/ 965065 h 1046508"/>
                  <a:gd name="connsiteX76" fmla="*/ 407153 w 1200744"/>
                  <a:gd name="connsiteY76" fmla="*/ 946496 h 1046508"/>
                  <a:gd name="connsiteX77" fmla="*/ 190500 w 1200744"/>
                  <a:gd name="connsiteY77" fmla="*/ 946496 h 1046508"/>
                  <a:gd name="connsiteX78" fmla="*/ 59532 w 1200744"/>
                  <a:gd name="connsiteY78" fmla="*/ 825052 h 1046508"/>
                  <a:gd name="connsiteX79" fmla="*/ 59432 w 1200744"/>
                  <a:gd name="connsiteY79" fmla="*/ 710643 h 1046508"/>
                  <a:gd name="connsiteX80" fmla="*/ 48816 w 1200744"/>
                  <a:gd name="connsiteY80" fmla="*/ 710643 h 1046508"/>
                  <a:gd name="connsiteX81" fmla="*/ 14298 w 1200744"/>
                  <a:gd name="connsiteY81" fmla="*/ 696345 h 1046508"/>
                  <a:gd name="connsiteX82" fmla="*/ 0 w 1200744"/>
                  <a:gd name="connsiteY82" fmla="*/ 661828 h 1046508"/>
                  <a:gd name="connsiteX83" fmla="*/ 14298 w 1200744"/>
                  <a:gd name="connsiteY83" fmla="*/ 627310 h 1046508"/>
                  <a:gd name="connsiteX84" fmla="*/ 48816 w 1200744"/>
                  <a:gd name="connsiteY84" fmla="*/ 613012 h 1046508"/>
                  <a:gd name="connsiteX85" fmla="*/ 59346 w 1200744"/>
                  <a:gd name="connsiteY85" fmla="*/ 613012 h 1046508"/>
                  <a:gd name="connsiteX86" fmla="*/ 59247 w 1200744"/>
                  <a:gd name="connsiteY86" fmla="*/ 501147 h 1046508"/>
                  <a:gd name="connsiteX87" fmla="*/ 48816 w 1200744"/>
                  <a:gd name="connsiteY87" fmla="*/ 501147 h 1046508"/>
                  <a:gd name="connsiteX88" fmla="*/ 14298 w 1200744"/>
                  <a:gd name="connsiteY88" fmla="*/ 486849 h 1046508"/>
                  <a:gd name="connsiteX89" fmla="*/ 0 w 1200744"/>
                  <a:gd name="connsiteY89" fmla="*/ 452332 h 1046508"/>
                  <a:gd name="connsiteX90" fmla="*/ 14298 w 1200744"/>
                  <a:gd name="connsiteY90" fmla="*/ 417814 h 1046508"/>
                  <a:gd name="connsiteX91" fmla="*/ 48816 w 1200744"/>
                  <a:gd name="connsiteY91" fmla="*/ 403516 h 1046508"/>
                  <a:gd name="connsiteX92" fmla="*/ 59161 w 1200744"/>
                  <a:gd name="connsiteY92" fmla="*/ 403516 h 1046508"/>
                  <a:gd name="connsiteX93" fmla="*/ 59063 w 1200744"/>
                  <a:gd name="connsiteY93" fmla="*/ 291651 h 1046508"/>
                  <a:gd name="connsiteX94" fmla="*/ 48816 w 1200744"/>
                  <a:gd name="connsiteY94" fmla="*/ 291651 h 1046508"/>
                  <a:gd name="connsiteX95" fmla="*/ 14298 w 1200744"/>
                  <a:gd name="connsiteY95" fmla="*/ 277353 h 1046508"/>
                  <a:gd name="connsiteX96" fmla="*/ 0 w 1200744"/>
                  <a:gd name="connsiteY96" fmla="*/ 242836 h 1046508"/>
                  <a:gd name="connsiteX97" fmla="*/ 14298 w 1200744"/>
                  <a:gd name="connsiteY97" fmla="*/ 208318 h 1046508"/>
                  <a:gd name="connsiteX98" fmla="*/ 48816 w 1200744"/>
                  <a:gd name="connsiteY98" fmla="*/ 194020 h 1046508"/>
                  <a:gd name="connsiteX99" fmla="*/ 58977 w 1200744"/>
                  <a:gd name="connsiteY99" fmla="*/ 194020 h 1046508"/>
                  <a:gd name="connsiteX100" fmla="*/ 58806 w 1200744"/>
                  <a:gd name="connsiteY100"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1157493 w 1200744"/>
                  <a:gd name="connsiteY46" fmla="*/ 347675 h 1046508"/>
                  <a:gd name="connsiteX47" fmla="*/ 1200471 w 1200744"/>
                  <a:gd name="connsiteY47" fmla="*/ 381525 h 1046508"/>
                  <a:gd name="connsiteX48" fmla="*/ 1200470 w 1200744"/>
                  <a:gd name="connsiteY48" fmla="*/ 381526 h 1046508"/>
                  <a:gd name="connsiteX49" fmla="*/ 1166620 w 1200744"/>
                  <a:gd name="connsiteY49" fmla="*/ 424503 h 1046508"/>
                  <a:gd name="connsiteX50" fmla="*/ 883444 w 1200744"/>
                  <a:gd name="connsiteY50" fmla="*/ 458146 h 1046508"/>
                  <a:gd name="connsiteX51" fmla="*/ 883444 w 1200744"/>
                  <a:gd name="connsiteY51" fmla="*/ 506141 h 1046508"/>
                  <a:gd name="connsiteX52" fmla="*/ 792956 w 1200744"/>
                  <a:gd name="connsiteY52" fmla="*/ 516892 h 1046508"/>
                  <a:gd name="connsiteX53" fmla="*/ 792956 w 1200744"/>
                  <a:gd name="connsiteY53" fmla="*/ 468897 h 1046508"/>
                  <a:gd name="connsiteX54" fmla="*/ 688181 w 1200744"/>
                  <a:gd name="connsiteY54" fmla="*/ 481345 h 1046508"/>
                  <a:gd name="connsiteX55" fmla="*/ 688181 w 1200744"/>
                  <a:gd name="connsiteY55" fmla="*/ 529340 h 1046508"/>
                  <a:gd name="connsiteX56" fmla="*/ 418176 w 1200744"/>
                  <a:gd name="connsiteY56" fmla="*/ 561418 h 1046508"/>
                  <a:gd name="connsiteX57" fmla="*/ 392350 w 1200744"/>
                  <a:gd name="connsiteY57" fmla="*/ 575897 h 1046508"/>
                  <a:gd name="connsiteX58" fmla="*/ 384326 w 1200744"/>
                  <a:gd name="connsiteY58" fmla="*/ 604396 h 1046508"/>
                  <a:gd name="connsiteX59" fmla="*/ 398804 w 1200744"/>
                  <a:gd name="connsiteY59" fmla="*/ 630221 h 1046508"/>
                  <a:gd name="connsiteX60" fmla="*/ 427304 w 1200744"/>
                  <a:gd name="connsiteY60" fmla="*/ 638245 h 1046508"/>
                  <a:gd name="connsiteX61" fmla="*/ 1104900 w 1200744"/>
                  <a:gd name="connsiteY61" fmla="*/ 557742 h 1046508"/>
                  <a:gd name="connsiteX62" fmla="*/ 1104900 w 1200744"/>
                  <a:gd name="connsiteY62" fmla="*/ 558713 h 1046508"/>
                  <a:gd name="connsiteX63" fmla="*/ 1157491 w 1200744"/>
                  <a:gd name="connsiteY63" fmla="*/ 552464 h 1046508"/>
                  <a:gd name="connsiteX64" fmla="*/ 1200469 w 1200744"/>
                  <a:gd name="connsiteY64" fmla="*/ 586314 h 1046508"/>
                  <a:gd name="connsiteX65" fmla="*/ 1200468 w 1200744"/>
                  <a:gd name="connsiteY65" fmla="*/ 586314 h 1046508"/>
                  <a:gd name="connsiteX66" fmla="*/ 1166618 w 1200744"/>
                  <a:gd name="connsiteY66" fmla="*/ 629292 h 1046508"/>
                  <a:gd name="connsiteX67" fmla="*/ 1104900 w 1200744"/>
                  <a:gd name="connsiteY67" fmla="*/ 636624 h 1046508"/>
                  <a:gd name="connsiteX68" fmla="*/ 1104900 w 1200744"/>
                  <a:gd name="connsiteY68" fmla="*/ 817908 h 1046508"/>
                  <a:gd name="connsiteX69" fmla="*/ 971550 w 1200744"/>
                  <a:gd name="connsiteY69" fmla="*/ 946496 h 1046508"/>
                  <a:gd name="connsiteX70" fmla="*/ 752889 w 1200744"/>
                  <a:gd name="connsiteY70" fmla="*/ 946496 h 1046508"/>
                  <a:gd name="connsiteX71" fmla="*/ 749140 w 1200744"/>
                  <a:gd name="connsiteY71" fmla="*/ 965065 h 1046508"/>
                  <a:gd name="connsiteX72" fmla="*/ 626271 w 1200744"/>
                  <a:gd name="connsiteY72" fmla="*/ 1046508 h 1046508"/>
                  <a:gd name="connsiteX73" fmla="*/ 533770 w 1200744"/>
                  <a:gd name="connsiteY73" fmla="*/ 1046508 h 1046508"/>
                  <a:gd name="connsiteX74" fmla="*/ 410901 w 1200744"/>
                  <a:gd name="connsiteY74" fmla="*/ 965065 h 1046508"/>
                  <a:gd name="connsiteX75" fmla="*/ 407153 w 1200744"/>
                  <a:gd name="connsiteY75" fmla="*/ 946496 h 1046508"/>
                  <a:gd name="connsiteX76" fmla="*/ 190500 w 1200744"/>
                  <a:gd name="connsiteY76" fmla="*/ 946496 h 1046508"/>
                  <a:gd name="connsiteX77" fmla="*/ 59532 w 1200744"/>
                  <a:gd name="connsiteY77" fmla="*/ 825052 h 1046508"/>
                  <a:gd name="connsiteX78" fmla="*/ 59432 w 1200744"/>
                  <a:gd name="connsiteY78" fmla="*/ 710643 h 1046508"/>
                  <a:gd name="connsiteX79" fmla="*/ 48816 w 1200744"/>
                  <a:gd name="connsiteY79" fmla="*/ 710643 h 1046508"/>
                  <a:gd name="connsiteX80" fmla="*/ 14298 w 1200744"/>
                  <a:gd name="connsiteY80" fmla="*/ 696345 h 1046508"/>
                  <a:gd name="connsiteX81" fmla="*/ 0 w 1200744"/>
                  <a:gd name="connsiteY81" fmla="*/ 661828 h 1046508"/>
                  <a:gd name="connsiteX82" fmla="*/ 14298 w 1200744"/>
                  <a:gd name="connsiteY82" fmla="*/ 627310 h 1046508"/>
                  <a:gd name="connsiteX83" fmla="*/ 48816 w 1200744"/>
                  <a:gd name="connsiteY83" fmla="*/ 613012 h 1046508"/>
                  <a:gd name="connsiteX84" fmla="*/ 59346 w 1200744"/>
                  <a:gd name="connsiteY84" fmla="*/ 613012 h 1046508"/>
                  <a:gd name="connsiteX85" fmla="*/ 59247 w 1200744"/>
                  <a:gd name="connsiteY85" fmla="*/ 501147 h 1046508"/>
                  <a:gd name="connsiteX86" fmla="*/ 48816 w 1200744"/>
                  <a:gd name="connsiteY86" fmla="*/ 501147 h 1046508"/>
                  <a:gd name="connsiteX87" fmla="*/ 14298 w 1200744"/>
                  <a:gd name="connsiteY87" fmla="*/ 486849 h 1046508"/>
                  <a:gd name="connsiteX88" fmla="*/ 0 w 1200744"/>
                  <a:gd name="connsiteY88" fmla="*/ 452332 h 1046508"/>
                  <a:gd name="connsiteX89" fmla="*/ 14298 w 1200744"/>
                  <a:gd name="connsiteY89" fmla="*/ 417814 h 1046508"/>
                  <a:gd name="connsiteX90" fmla="*/ 48816 w 1200744"/>
                  <a:gd name="connsiteY90" fmla="*/ 403516 h 1046508"/>
                  <a:gd name="connsiteX91" fmla="*/ 59161 w 1200744"/>
                  <a:gd name="connsiteY91" fmla="*/ 403516 h 1046508"/>
                  <a:gd name="connsiteX92" fmla="*/ 59063 w 1200744"/>
                  <a:gd name="connsiteY92" fmla="*/ 291651 h 1046508"/>
                  <a:gd name="connsiteX93" fmla="*/ 48816 w 1200744"/>
                  <a:gd name="connsiteY93" fmla="*/ 291651 h 1046508"/>
                  <a:gd name="connsiteX94" fmla="*/ 14298 w 1200744"/>
                  <a:gd name="connsiteY94" fmla="*/ 277353 h 1046508"/>
                  <a:gd name="connsiteX95" fmla="*/ 0 w 1200744"/>
                  <a:gd name="connsiteY95" fmla="*/ 242836 h 1046508"/>
                  <a:gd name="connsiteX96" fmla="*/ 14298 w 1200744"/>
                  <a:gd name="connsiteY96" fmla="*/ 208318 h 1046508"/>
                  <a:gd name="connsiteX97" fmla="*/ 48816 w 1200744"/>
                  <a:gd name="connsiteY97" fmla="*/ 194020 h 1046508"/>
                  <a:gd name="connsiteX98" fmla="*/ 58977 w 1200744"/>
                  <a:gd name="connsiteY98" fmla="*/ 194020 h 1046508"/>
                  <a:gd name="connsiteX99" fmla="*/ 58806 w 1200744"/>
                  <a:gd name="connsiteY99"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83444 w 1200744"/>
                  <a:gd name="connsiteY34" fmla="*/ 235459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1157493 w 1200744"/>
                  <a:gd name="connsiteY45" fmla="*/ 347675 h 1046508"/>
                  <a:gd name="connsiteX46" fmla="*/ 1200471 w 1200744"/>
                  <a:gd name="connsiteY46" fmla="*/ 381525 h 1046508"/>
                  <a:gd name="connsiteX47" fmla="*/ 1200470 w 1200744"/>
                  <a:gd name="connsiteY47" fmla="*/ 381526 h 1046508"/>
                  <a:gd name="connsiteX48" fmla="*/ 1166620 w 1200744"/>
                  <a:gd name="connsiteY48" fmla="*/ 424503 h 1046508"/>
                  <a:gd name="connsiteX49" fmla="*/ 883444 w 1200744"/>
                  <a:gd name="connsiteY49" fmla="*/ 458146 h 1046508"/>
                  <a:gd name="connsiteX50" fmla="*/ 883444 w 1200744"/>
                  <a:gd name="connsiteY50" fmla="*/ 506141 h 1046508"/>
                  <a:gd name="connsiteX51" fmla="*/ 792956 w 1200744"/>
                  <a:gd name="connsiteY51" fmla="*/ 516892 h 1046508"/>
                  <a:gd name="connsiteX52" fmla="*/ 792956 w 1200744"/>
                  <a:gd name="connsiteY52" fmla="*/ 468897 h 1046508"/>
                  <a:gd name="connsiteX53" fmla="*/ 688181 w 1200744"/>
                  <a:gd name="connsiteY53" fmla="*/ 481345 h 1046508"/>
                  <a:gd name="connsiteX54" fmla="*/ 688181 w 1200744"/>
                  <a:gd name="connsiteY54" fmla="*/ 529340 h 1046508"/>
                  <a:gd name="connsiteX55" fmla="*/ 418176 w 1200744"/>
                  <a:gd name="connsiteY55" fmla="*/ 561418 h 1046508"/>
                  <a:gd name="connsiteX56" fmla="*/ 392350 w 1200744"/>
                  <a:gd name="connsiteY56" fmla="*/ 575897 h 1046508"/>
                  <a:gd name="connsiteX57" fmla="*/ 384326 w 1200744"/>
                  <a:gd name="connsiteY57" fmla="*/ 604396 h 1046508"/>
                  <a:gd name="connsiteX58" fmla="*/ 398804 w 1200744"/>
                  <a:gd name="connsiteY58" fmla="*/ 630221 h 1046508"/>
                  <a:gd name="connsiteX59" fmla="*/ 427304 w 1200744"/>
                  <a:gd name="connsiteY59" fmla="*/ 638245 h 1046508"/>
                  <a:gd name="connsiteX60" fmla="*/ 1104900 w 1200744"/>
                  <a:gd name="connsiteY60" fmla="*/ 557742 h 1046508"/>
                  <a:gd name="connsiteX61" fmla="*/ 1104900 w 1200744"/>
                  <a:gd name="connsiteY61" fmla="*/ 558713 h 1046508"/>
                  <a:gd name="connsiteX62" fmla="*/ 1157491 w 1200744"/>
                  <a:gd name="connsiteY62" fmla="*/ 552464 h 1046508"/>
                  <a:gd name="connsiteX63" fmla="*/ 1200469 w 1200744"/>
                  <a:gd name="connsiteY63" fmla="*/ 586314 h 1046508"/>
                  <a:gd name="connsiteX64" fmla="*/ 1200468 w 1200744"/>
                  <a:gd name="connsiteY64" fmla="*/ 586314 h 1046508"/>
                  <a:gd name="connsiteX65" fmla="*/ 1166618 w 1200744"/>
                  <a:gd name="connsiteY65" fmla="*/ 629292 h 1046508"/>
                  <a:gd name="connsiteX66" fmla="*/ 1104900 w 1200744"/>
                  <a:gd name="connsiteY66" fmla="*/ 636624 h 1046508"/>
                  <a:gd name="connsiteX67" fmla="*/ 1104900 w 1200744"/>
                  <a:gd name="connsiteY67" fmla="*/ 817908 h 1046508"/>
                  <a:gd name="connsiteX68" fmla="*/ 971550 w 1200744"/>
                  <a:gd name="connsiteY68" fmla="*/ 946496 h 1046508"/>
                  <a:gd name="connsiteX69" fmla="*/ 752889 w 1200744"/>
                  <a:gd name="connsiteY69" fmla="*/ 946496 h 1046508"/>
                  <a:gd name="connsiteX70" fmla="*/ 749140 w 1200744"/>
                  <a:gd name="connsiteY70" fmla="*/ 965065 h 1046508"/>
                  <a:gd name="connsiteX71" fmla="*/ 626271 w 1200744"/>
                  <a:gd name="connsiteY71" fmla="*/ 1046508 h 1046508"/>
                  <a:gd name="connsiteX72" fmla="*/ 533770 w 1200744"/>
                  <a:gd name="connsiteY72" fmla="*/ 1046508 h 1046508"/>
                  <a:gd name="connsiteX73" fmla="*/ 410901 w 1200744"/>
                  <a:gd name="connsiteY73" fmla="*/ 965065 h 1046508"/>
                  <a:gd name="connsiteX74" fmla="*/ 407153 w 1200744"/>
                  <a:gd name="connsiteY74" fmla="*/ 946496 h 1046508"/>
                  <a:gd name="connsiteX75" fmla="*/ 190500 w 1200744"/>
                  <a:gd name="connsiteY75" fmla="*/ 946496 h 1046508"/>
                  <a:gd name="connsiteX76" fmla="*/ 59532 w 1200744"/>
                  <a:gd name="connsiteY76" fmla="*/ 825052 h 1046508"/>
                  <a:gd name="connsiteX77" fmla="*/ 59432 w 1200744"/>
                  <a:gd name="connsiteY77" fmla="*/ 710643 h 1046508"/>
                  <a:gd name="connsiteX78" fmla="*/ 48816 w 1200744"/>
                  <a:gd name="connsiteY78" fmla="*/ 710643 h 1046508"/>
                  <a:gd name="connsiteX79" fmla="*/ 14298 w 1200744"/>
                  <a:gd name="connsiteY79" fmla="*/ 696345 h 1046508"/>
                  <a:gd name="connsiteX80" fmla="*/ 0 w 1200744"/>
                  <a:gd name="connsiteY80" fmla="*/ 661828 h 1046508"/>
                  <a:gd name="connsiteX81" fmla="*/ 14298 w 1200744"/>
                  <a:gd name="connsiteY81" fmla="*/ 627310 h 1046508"/>
                  <a:gd name="connsiteX82" fmla="*/ 48816 w 1200744"/>
                  <a:gd name="connsiteY82" fmla="*/ 613012 h 1046508"/>
                  <a:gd name="connsiteX83" fmla="*/ 59346 w 1200744"/>
                  <a:gd name="connsiteY83" fmla="*/ 613012 h 1046508"/>
                  <a:gd name="connsiteX84" fmla="*/ 59247 w 1200744"/>
                  <a:gd name="connsiteY84" fmla="*/ 501147 h 1046508"/>
                  <a:gd name="connsiteX85" fmla="*/ 48816 w 1200744"/>
                  <a:gd name="connsiteY85" fmla="*/ 501147 h 1046508"/>
                  <a:gd name="connsiteX86" fmla="*/ 14298 w 1200744"/>
                  <a:gd name="connsiteY86" fmla="*/ 486849 h 1046508"/>
                  <a:gd name="connsiteX87" fmla="*/ 0 w 1200744"/>
                  <a:gd name="connsiteY87" fmla="*/ 452332 h 1046508"/>
                  <a:gd name="connsiteX88" fmla="*/ 14298 w 1200744"/>
                  <a:gd name="connsiteY88" fmla="*/ 417814 h 1046508"/>
                  <a:gd name="connsiteX89" fmla="*/ 48816 w 1200744"/>
                  <a:gd name="connsiteY89" fmla="*/ 403516 h 1046508"/>
                  <a:gd name="connsiteX90" fmla="*/ 59161 w 1200744"/>
                  <a:gd name="connsiteY90" fmla="*/ 403516 h 1046508"/>
                  <a:gd name="connsiteX91" fmla="*/ 59063 w 1200744"/>
                  <a:gd name="connsiteY91" fmla="*/ 291651 h 1046508"/>
                  <a:gd name="connsiteX92" fmla="*/ 48816 w 1200744"/>
                  <a:gd name="connsiteY92" fmla="*/ 291651 h 1046508"/>
                  <a:gd name="connsiteX93" fmla="*/ 14298 w 1200744"/>
                  <a:gd name="connsiteY93" fmla="*/ 277353 h 1046508"/>
                  <a:gd name="connsiteX94" fmla="*/ 0 w 1200744"/>
                  <a:gd name="connsiteY94" fmla="*/ 242836 h 1046508"/>
                  <a:gd name="connsiteX95" fmla="*/ 14298 w 1200744"/>
                  <a:gd name="connsiteY95" fmla="*/ 208318 h 1046508"/>
                  <a:gd name="connsiteX96" fmla="*/ 48816 w 1200744"/>
                  <a:gd name="connsiteY96" fmla="*/ 194020 h 1046508"/>
                  <a:gd name="connsiteX97" fmla="*/ 58977 w 1200744"/>
                  <a:gd name="connsiteY97" fmla="*/ 194020 h 1046508"/>
                  <a:gd name="connsiteX98" fmla="*/ 58806 w 1200744"/>
                  <a:gd name="connsiteY98"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78682 w 1200744"/>
                  <a:gd name="connsiteY34" fmla="*/ 240221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1157493 w 1200744"/>
                  <a:gd name="connsiteY45" fmla="*/ 347675 h 1046508"/>
                  <a:gd name="connsiteX46" fmla="*/ 1200471 w 1200744"/>
                  <a:gd name="connsiteY46" fmla="*/ 381525 h 1046508"/>
                  <a:gd name="connsiteX47" fmla="*/ 1200470 w 1200744"/>
                  <a:gd name="connsiteY47" fmla="*/ 381526 h 1046508"/>
                  <a:gd name="connsiteX48" fmla="*/ 1166620 w 1200744"/>
                  <a:gd name="connsiteY48" fmla="*/ 424503 h 1046508"/>
                  <a:gd name="connsiteX49" fmla="*/ 883444 w 1200744"/>
                  <a:gd name="connsiteY49" fmla="*/ 458146 h 1046508"/>
                  <a:gd name="connsiteX50" fmla="*/ 883444 w 1200744"/>
                  <a:gd name="connsiteY50" fmla="*/ 506141 h 1046508"/>
                  <a:gd name="connsiteX51" fmla="*/ 792956 w 1200744"/>
                  <a:gd name="connsiteY51" fmla="*/ 516892 h 1046508"/>
                  <a:gd name="connsiteX52" fmla="*/ 792956 w 1200744"/>
                  <a:gd name="connsiteY52" fmla="*/ 468897 h 1046508"/>
                  <a:gd name="connsiteX53" fmla="*/ 688181 w 1200744"/>
                  <a:gd name="connsiteY53" fmla="*/ 481345 h 1046508"/>
                  <a:gd name="connsiteX54" fmla="*/ 688181 w 1200744"/>
                  <a:gd name="connsiteY54" fmla="*/ 529340 h 1046508"/>
                  <a:gd name="connsiteX55" fmla="*/ 418176 w 1200744"/>
                  <a:gd name="connsiteY55" fmla="*/ 561418 h 1046508"/>
                  <a:gd name="connsiteX56" fmla="*/ 392350 w 1200744"/>
                  <a:gd name="connsiteY56" fmla="*/ 575897 h 1046508"/>
                  <a:gd name="connsiteX57" fmla="*/ 384326 w 1200744"/>
                  <a:gd name="connsiteY57" fmla="*/ 604396 h 1046508"/>
                  <a:gd name="connsiteX58" fmla="*/ 398804 w 1200744"/>
                  <a:gd name="connsiteY58" fmla="*/ 630221 h 1046508"/>
                  <a:gd name="connsiteX59" fmla="*/ 427304 w 1200744"/>
                  <a:gd name="connsiteY59" fmla="*/ 638245 h 1046508"/>
                  <a:gd name="connsiteX60" fmla="*/ 1104900 w 1200744"/>
                  <a:gd name="connsiteY60" fmla="*/ 557742 h 1046508"/>
                  <a:gd name="connsiteX61" fmla="*/ 1104900 w 1200744"/>
                  <a:gd name="connsiteY61" fmla="*/ 558713 h 1046508"/>
                  <a:gd name="connsiteX62" fmla="*/ 1157491 w 1200744"/>
                  <a:gd name="connsiteY62" fmla="*/ 552464 h 1046508"/>
                  <a:gd name="connsiteX63" fmla="*/ 1200469 w 1200744"/>
                  <a:gd name="connsiteY63" fmla="*/ 586314 h 1046508"/>
                  <a:gd name="connsiteX64" fmla="*/ 1200468 w 1200744"/>
                  <a:gd name="connsiteY64" fmla="*/ 586314 h 1046508"/>
                  <a:gd name="connsiteX65" fmla="*/ 1166618 w 1200744"/>
                  <a:gd name="connsiteY65" fmla="*/ 629292 h 1046508"/>
                  <a:gd name="connsiteX66" fmla="*/ 1104900 w 1200744"/>
                  <a:gd name="connsiteY66" fmla="*/ 636624 h 1046508"/>
                  <a:gd name="connsiteX67" fmla="*/ 1104900 w 1200744"/>
                  <a:gd name="connsiteY67" fmla="*/ 817908 h 1046508"/>
                  <a:gd name="connsiteX68" fmla="*/ 971550 w 1200744"/>
                  <a:gd name="connsiteY68" fmla="*/ 946496 h 1046508"/>
                  <a:gd name="connsiteX69" fmla="*/ 752889 w 1200744"/>
                  <a:gd name="connsiteY69" fmla="*/ 946496 h 1046508"/>
                  <a:gd name="connsiteX70" fmla="*/ 749140 w 1200744"/>
                  <a:gd name="connsiteY70" fmla="*/ 965065 h 1046508"/>
                  <a:gd name="connsiteX71" fmla="*/ 626271 w 1200744"/>
                  <a:gd name="connsiteY71" fmla="*/ 1046508 h 1046508"/>
                  <a:gd name="connsiteX72" fmla="*/ 533770 w 1200744"/>
                  <a:gd name="connsiteY72" fmla="*/ 1046508 h 1046508"/>
                  <a:gd name="connsiteX73" fmla="*/ 410901 w 1200744"/>
                  <a:gd name="connsiteY73" fmla="*/ 965065 h 1046508"/>
                  <a:gd name="connsiteX74" fmla="*/ 407153 w 1200744"/>
                  <a:gd name="connsiteY74" fmla="*/ 946496 h 1046508"/>
                  <a:gd name="connsiteX75" fmla="*/ 190500 w 1200744"/>
                  <a:gd name="connsiteY75" fmla="*/ 946496 h 1046508"/>
                  <a:gd name="connsiteX76" fmla="*/ 59532 w 1200744"/>
                  <a:gd name="connsiteY76" fmla="*/ 825052 h 1046508"/>
                  <a:gd name="connsiteX77" fmla="*/ 59432 w 1200744"/>
                  <a:gd name="connsiteY77" fmla="*/ 710643 h 1046508"/>
                  <a:gd name="connsiteX78" fmla="*/ 48816 w 1200744"/>
                  <a:gd name="connsiteY78" fmla="*/ 710643 h 1046508"/>
                  <a:gd name="connsiteX79" fmla="*/ 14298 w 1200744"/>
                  <a:gd name="connsiteY79" fmla="*/ 696345 h 1046508"/>
                  <a:gd name="connsiteX80" fmla="*/ 0 w 1200744"/>
                  <a:gd name="connsiteY80" fmla="*/ 661828 h 1046508"/>
                  <a:gd name="connsiteX81" fmla="*/ 14298 w 1200744"/>
                  <a:gd name="connsiteY81" fmla="*/ 627310 h 1046508"/>
                  <a:gd name="connsiteX82" fmla="*/ 48816 w 1200744"/>
                  <a:gd name="connsiteY82" fmla="*/ 613012 h 1046508"/>
                  <a:gd name="connsiteX83" fmla="*/ 59346 w 1200744"/>
                  <a:gd name="connsiteY83" fmla="*/ 613012 h 1046508"/>
                  <a:gd name="connsiteX84" fmla="*/ 59247 w 1200744"/>
                  <a:gd name="connsiteY84" fmla="*/ 501147 h 1046508"/>
                  <a:gd name="connsiteX85" fmla="*/ 48816 w 1200744"/>
                  <a:gd name="connsiteY85" fmla="*/ 501147 h 1046508"/>
                  <a:gd name="connsiteX86" fmla="*/ 14298 w 1200744"/>
                  <a:gd name="connsiteY86" fmla="*/ 486849 h 1046508"/>
                  <a:gd name="connsiteX87" fmla="*/ 0 w 1200744"/>
                  <a:gd name="connsiteY87" fmla="*/ 452332 h 1046508"/>
                  <a:gd name="connsiteX88" fmla="*/ 14298 w 1200744"/>
                  <a:gd name="connsiteY88" fmla="*/ 417814 h 1046508"/>
                  <a:gd name="connsiteX89" fmla="*/ 48816 w 1200744"/>
                  <a:gd name="connsiteY89" fmla="*/ 403516 h 1046508"/>
                  <a:gd name="connsiteX90" fmla="*/ 59161 w 1200744"/>
                  <a:gd name="connsiteY90" fmla="*/ 403516 h 1046508"/>
                  <a:gd name="connsiteX91" fmla="*/ 59063 w 1200744"/>
                  <a:gd name="connsiteY91" fmla="*/ 291651 h 1046508"/>
                  <a:gd name="connsiteX92" fmla="*/ 48816 w 1200744"/>
                  <a:gd name="connsiteY92" fmla="*/ 291651 h 1046508"/>
                  <a:gd name="connsiteX93" fmla="*/ 14298 w 1200744"/>
                  <a:gd name="connsiteY93" fmla="*/ 277353 h 1046508"/>
                  <a:gd name="connsiteX94" fmla="*/ 0 w 1200744"/>
                  <a:gd name="connsiteY94" fmla="*/ 242836 h 1046508"/>
                  <a:gd name="connsiteX95" fmla="*/ 14298 w 1200744"/>
                  <a:gd name="connsiteY95" fmla="*/ 208318 h 1046508"/>
                  <a:gd name="connsiteX96" fmla="*/ 48816 w 1200744"/>
                  <a:gd name="connsiteY96" fmla="*/ 194020 h 1046508"/>
                  <a:gd name="connsiteX97" fmla="*/ 58977 w 1200744"/>
                  <a:gd name="connsiteY97" fmla="*/ 194020 h 1046508"/>
                  <a:gd name="connsiteX98" fmla="*/ 58806 w 1200744"/>
                  <a:gd name="connsiteY98" fmla="*/ 0 h 1046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200744" h="1046508">
                    <a:moveTo>
                      <a:pt x="269392" y="583922"/>
                    </a:moveTo>
                    <a:cubicBezTo>
                      <a:pt x="247034" y="583922"/>
                      <a:pt x="228910" y="602046"/>
                      <a:pt x="228910" y="624404"/>
                    </a:cubicBezTo>
                    <a:cubicBezTo>
                      <a:pt x="228910" y="646762"/>
                      <a:pt x="247034" y="664886"/>
                      <a:pt x="269392" y="664886"/>
                    </a:cubicBezTo>
                    <a:cubicBezTo>
                      <a:pt x="291750" y="664886"/>
                      <a:pt x="309874" y="646762"/>
                      <a:pt x="309874" y="624404"/>
                    </a:cubicBezTo>
                    <a:cubicBezTo>
                      <a:pt x="309874" y="602046"/>
                      <a:pt x="291750" y="583922"/>
                      <a:pt x="269392" y="583922"/>
                    </a:cubicBezTo>
                    <a:close/>
                    <a:moveTo>
                      <a:pt x="269392" y="373750"/>
                    </a:moveTo>
                    <a:cubicBezTo>
                      <a:pt x="247034" y="373750"/>
                      <a:pt x="228910" y="391874"/>
                      <a:pt x="228910" y="414232"/>
                    </a:cubicBezTo>
                    <a:cubicBezTo>
                      <a:pt x="228910" y="436590"/>
                      <a:pt x="247034" y="454714"/>
                      <a:pt x="269392" y="454714"/>
                    </a:cubicBezTo>
                    <a:cubicBezTo>
                      <a:pt x="291750" y="454714"/>
                      <a:pt x="309874" y="436590"/>
                      <a:pt x="309874" y="414232"/>
                    </a:cubicBezTo>
                    <a:cubicBezTo>
                      <a:pt x="309874" y="391874"/>
                      <a:pt x="291750" y="373750"/>
                      <a:pt x="269392" y="373750"/>
                    </a:cubicBezTo>
                    <a:close/>
                    <a:moveTo>
                      <a:pt x="269392" y="163063"/>
                    </a:moveTo>
                    <a:cubicBezTo>
                      <a:pt x="247034" y="163063"/>
                      <a:pt x="228910" y="181187"/>
                      <a:pt x="228910" y="203545"/>
                    </a:cubicBezTo>
                    <a:cubicBezTo>
                      <a:pt x="228910" y="225903"/>
                      <a:pt x="247034" y="244027"/>
                      <a:pt x="269392" y="244027"/>
                    </a:cubicBezTo>
                    <a:cubicBezTo>
                      <a:pt x="291750" y="244027"/>
                      <a:pt x="309874" y="225903"/>
                      <a:pt x="309874" y="203545"/>
                    </a:cubicBezTo>
                    <a:cubicBezTo>
                      <a:pt x="309874" y="181187"/>
                      <a:pt x="291750" y="163063"/>
                      <a:pt x="269392" y="163063"/>
                    </a:cubicBezTo>
                    <a:close/>
                    <a:moveTo>
                      <a:pt x="797719" y="0"/>
                    </a:moveTo>
                    <a:lnTo>
                      <a:pt x="883444" y="0"/>
                    </a:lnTo>
                    <a:lnTo>
                      <a:pt x="883444" y="79897"/>
                    </a:lnTo>
                    <a:lnTo>
                      <a:pt x="797719" y="90082"/>
                    </a:lnTo>
                    <a:lnTo>
                      <a:pt x="797719" y="0"/>
                    </a:lnTo>
                    <a:close/>
                    <a:moveTo>
                      <a:pt x="58806" y="0"/>
                    </a:moveTo>
                    <a:lnTo>
                      <a:pt x="692944" y="0"/>
                    </a:lnTo>
                    <a:lnTo>
                      <a:pt x="692944" y="102530"/>
                    </a:lnTo>
                    <a:lnTo>
                      <a:pt x="418176" y="135174"/>
                    </a:lnTo>
                    <a:cubicBezTo>
                      <a:pt x="407569" y="136435"/>
                      <a:pt x="398476" y="141875"/>
                      <a:pt x="392350" y="149653"/>
                    </a:cubicBezTo>
                    <a:lnTo>
                      <a:pt x="384326" y="178152"/>
                    </a:lnTo>
                    <a:lnTo>
                      <a:pt x="398804" y="203977"/>
                    </a:lnTo>
                    <a:cubicBezTo>
                      <a:pt x="406582" y="210103"/>
                      <a:pt x="416696" y="213262"/>
                      <a:pt x="427304" y="212001"/>
                    </a:cubicBezTo>
                    <a:lnTo>
                      <a:pt x="1104900" y="131498"/>
                    </a:lnTo>
                    <a:lnTo>
                      <a:pt x="1104900" y="134851"/>
                    </a:lnTo>
                    <a:lnTo>
                      <a:pt x="1157493" y="128603"/>
                    </a:lnTo>
                    <a:cubicBezTo>
                      <a:pt x="1178709" y="126082"/>
                      <a:pt x="1197951" y="141237"/>
                      <a:pt x="1200471" y="162453"/>
                    </a:cubicBezTo>
                    <a:lnTo>
                      <a:pt x="1200470" y="162453"/>
                    </a:lnTo>
                    <a:cubicBezTo>
                      <a:pt x="1202991" y="183669"/>
                      <a:pt x="1187836" y="202910"/>
                      <a:pt x="1166620" y="205431"/>
                    </a:cubicBezTo>
                    <a:lnTo>
                      <a:pt x="878682" y="240221"/>
                    </a:lnTo>
                    <a:lnTo>
                      <a:pt x="883444" y="298972"/>
                    </a:lnTo>
                    <a:lnTo>
                      <a:pt x="792956" y="309723"/>
                    </a:lnTo>
                    <a:lnTo>
                      <a:pt x="792956" y="265459"/>
                    </a:lnTo>
                    <a:lnTo>
                      <a:pt x="688181" y="265459"/>
                    </a:lnTo>
                    <a:lnTo>
                      <a:pt x="688181" y="322171"/>
                    </a:lnTo>
                    <a:lnTo>
                      <a:pt x="418176" y="354249"/>
                    </a:lnTo>
                    <a:cubicBezTo>
                      <a:pt x="407569" y="355510"/>
                      <a:pt x="398476" y="360950"/>
                      <a:pt x="392350" y="368728"/>
                    </a:cubicBezTo>
                    <a:lnTo>
                      <a:pt x="384326" y="397227"/>
                    </a:lnTo>
                    <a:lnTo>
                      <a:pt x="398804" y="423052"/>
                    </a:lnTo>
                    <a:cubicBezTo>
                      <a:pt x="406582" y="429178"/>
                      <a:pt x="416696" y="432337"/>
                      <a:pt x="427304" y="431076"/>
                    </a:cubicBezTo>
                    <a:lnTo>
                      <a:pt x="1157493" y="347675"/>
                    </a:lnTo>
                    <a:cubicBezTo>
                      <a:pt x="1178709" y="345155"/>
                      <a:pt x="1197950" y="360310"/>
                      <a:pt x="1200471" y="381525"/>
                    </a:cubicBezTo>
                    <a:lnTo>
                      <a:pt x="1200470" y="381526"/>
                    </a:lnTo>
                    <a:cubicBezTo>
                      <a:pt x="1202991" y="402741"/>
                      <a:pt x="1187836" y="421983"/>
                      <a:pt x="1166620" y="424503"/>
                    </a:cubicBezTo>
                    <a:lnTo>
                      <a:pt x="883444" y="458146"/>
                    </a:lnTo>
                    <a:lnTo>
                      <a:pt x="883444" y="506141"/>
                    </a:lnTo>
                    <a:lnTo>
                      <a:pt x="792956" y="516892"/>
                    </a:lnTo>
                    <a:lnTo>
                      <a:pt x="792956" y="468897"/>
                    </a:lnTo>
                    <a:lnTo>
                      <a:pt x="688181" y="481345"/>
                    </a:lnTo>
                    <a:lnTo>
                      <a:pt x="688181" y="529340"/>
                    </a:lnTo>
                    <a:lnTo>
                      <a:pt x="418176" y="561418"/>
                    </a:lnTo>
                    <a:cubicBezTo>
                      <a:pt x="407569" y="562679"/>
                      <a:pt x="398476" y="568119"/>
                      <a:pt x="392350" y="575897"/>
                    </a:cubicBezTo>
                    <a:lnTo>
                      <a:pt x="384326" y="604396"/>
                    </a:lnTo>
                    <a:lnTo>
                      <a:pt x="398804" y="630221"/>
                    </a:lnTo>
                    <a:cubicBezTo>
                      <a:pt x="406582" y="636347"/>
                      <a:pt x="416696" y="639506"/>
                      <a:pt x="427304" y="638245"/>
                    </a:cubicBezTo>
                    <a:lnTo>
                      <a:pt x="1104900" y="557742"/>
                    </a:lnTo>
                    <a:lnTo>
                      <a:pt x="1104900" y="558713"/>
                    </a:lnTo>
                    <a:lnTo>
                      <a:pt x="1157491" y="552464"/>
                    </a:lnTo>
                    <a:cubicBezTo>
                      <a:pt x="1178707" y="549944"/>
                      <a:pt x="1197948" y="565099"/>
                      <a:pt x="1200469" y="586314"/>
                    </a:cubicBezTo>
                    <a:lnTo>
                      <a:pt x="1200468" y="586314"/>
                    </a:lnTo>
                    <a:cubicBezTo>
                      <a:pt x="1202989" y="607530"/>
                      <a:pt x="1187834" y="626772"/>
                      <a:pt x="1166618" y="629292"/>
                    </a:cubicBezTo>
                    <a:lnTo>
                      <a:pt x="1104900" y="636624"/>
                    </a:lnTo>
                    <a:lnTo>
                      <a:pt x="1104900" y="817908"/>
                    </a:lnTo>
                    <a:lnTo>
                      <a:pt x="971550" y="946496"/>
                    </a:lnTo>
                    <a:lnTo>
                      <a:pt x="752889" y="946496"/>
                    </a:lnTo>
                    <a:lnTo>
                      <a:pt x="749140" y="965065"/>
                    </a:lnTo>
                    <a:cubicBezTo>
                      <a:pt x="728897" y="1012926"/>
                      <a:pt x="681506" y="1046508"/>
                      <a:pt x="626271" y="1046508"/>
                    </a:cubicBezTo>
                    <a:lnTo>
                      <a:pt x="533770" y="1046508"/>
                    </a:lnTo>
                    <a:cubicBezTo>
                      <a:pt x="478536" y="1046508"/>
                      <a:pt x="431145" y="1012926"/>
                      <a:pt x="410901" y="965065"/>
                    </a:cubicBezTo>
                    <a:lnTo>
                      <a:pt x="407153" y="946496"/>
                    </a:lnTo>
                    <a:lnTo>
                      <a:pt x="190500" y="946496"/>
                    </a:lnTo>
                    <a:lnTo>
                      <a:pt x="59532" y="825052"/>
                    </a:lnTo>
                    <a:cubicBezTo>
                      <a:pt x="59499" y="786916"/>
                      <a:pt x="59465" y="748779"/>
                      <a:pt x="59432" y="710643"/>
                    </a:cubicBezTo>
                    <a:lnTo>
                      <a:pt x="48816" y="710643"/>
                    </a:lnTo>
                    <a:cubicBezTo>
                      <a:pt x="35336" y="710643"/>
                      <a:pt x="23132" y="705179"/>
                      <a:pt x="14298" y="696345"/>
                    </a:cubicBezTo>
                    <a:lnTo>
                      <a:pt x="0" y="661828"/>
                    </a:lnTo>
                    <a:lnTo>
                      <a:pt x="14298" y="627310"/>
                    </a:lnTo>
                    <a:cubicBezTo>
                      <a:pt x="23132" y="618476"/>
                      <a:pt x="35336" y="613012"/>
                      <a:pt x="48816" y="613012"/>
                    </a:cubicBezTo>
                    <a:lnTo>
                      <a:pt x="59346" y="613012"/>
                    </a:lnTo>
                    <a:cubicBezTo>
                      <a:pt x="59313" y="575724"/>
                      <a:pt x="59280" y="538435"/>
                      <a:pt x="59247" y="501147"/>
                    </a:cubicBezTo>
                    <a:lnTo>
                      <a:pt x="48816" y="501147"/>
                    </a:lnTo>
                    <a:cubicBezTo>
                      <a:pt x="35336" y="501147"/>
                      <a:pt x="23132" y="495683"/>
                      <a:pt x="14298" y="486849"/>
                    </a:cubicBezTo>
                    <a:lnTo>
                      <a:pt x="0" y="452332"/>
                    </a:lnTo>
                    <a:lnTo>
                      <a:pt x="14298" y="417814"/>
                    </a:lnTo>
                    <a:cubicBezTo>
                      <a:pt x="23132" y="408980"/>
                      <a:pt x="35336" y="403516"/>
                      <a:pt x="48816" y="403516"/>
                    </a:cubicBezTo>
                    <a:lnTo>
                      <a:pt x="59161" y="403516"/>
                    </a:lnTo>
                    <a:cubicBezTo>
                      <a:pt x="59128" y="366228"/>
                      <a:pt x="59096" y="328939"/>
                      <a:pt x="59063" y="291651"/>
                    </a:cubicBezTo>
                    <a:lnTo>
                      <a:pt x="48816" y="291651"/>
                    </a:lnTo>
                    <a:cubicBezTo>
                      <a:pt x="35336" y="291651"/>
                      <a:pt x="23132" y="286187"/>
                      <a:pt x="14298" y="277353"/>
                    </a:cubicBezTo>
                    <a:lnTo>
                      <a:pt x="0" y="242836"/>
                    </a:lnTo>
                    <a:lnTo>
                      <a:pt x="14298" y="208318"/>
                    </a:lnTo>
                    <a:cubicBezTo>
                      <a:pt x="23132" y="199484"/>
                      <a:pt x="35336" y="194020"/>
                      <a:pt x="48816" y="194020"/>
                    </a:cubicBezTo>
                    <a:lnTo>
                      <a:pt x="58977" y="194020"/>
                    </a:lnTo>
                    <a:lnTo>
                      <a:pt x="58806"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16" name="Freeform 115"/>
              <p:cNvSpPr/>
              <p:nvPr/>
            </p:nvSpPr>
            <p:spPr>
              <a:xfrm>
                <a:off x="4242295" y="1685754"/>
                <a:ext cx="3701002" cy="3743106"/>
              </a:xfrm>
              <a:custGeom>
                <a:avLst/>
                <a:gdLst>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0346 w 3701002"/>
                  <a:gd name="connsiteY11" fmla="*/ 3114359 h 3743106"/>
                  <a:gd name="connsiteX12" fmla="*/ 2659635 w 3701002"/>
                  <a:gd name="connsiteY12" fmla="*/ 3107286 h 3743106"/>
                  <a:gd name="connsiteX13" fmla="*/ 3122601 w 3701002"/>
                  <a:gd name="connsiteY13" fmla="*/ 2107732 h 3743106"/>
                  <a:gd name="connsiteX14" fmla="*/ 1850392 w 3701002"/>
                  <a:gd name="connsiteY14" fmla="*/ 812383 h 3743106"/>
                  <a:gd name="connsiteX15" fmla="*/ 578183 w 3701002"/>
                  <a:gd name="connsiteY15" fmla="*/ 2107732 h 3743106"/>
                  <a:gd name="connsiteX16" fmla="*/ 950805 w 3701002"/>
                  <a:gd name="connsiteY16" fmla="*/ 3023682 h 3743106"/>
                  <a:gd name="connsiteX17" fmla="*/ 1028685 w 3701002"/>
                  <a:gd name="connsiteY17" fmla="*/ 3095752 h 3743106"/>
                  <a:gd name="connsiteX18" fmla="*/ 1145044 w 3701002"/>
                  <a:gd name="connsiteY18" fmla="*/ 3252006 h 3743106"/>
                  <a:gd name="connsiteX19" fmla="*/ 1289824 w 3701002"/>
                  <a:gd name="connsiteY19" fmla="*/ 3549186 h 3743106"/>
                  <a:gd name="connsiteX20" fmla="*/ 1131709 w 3701002"/>
                  <a:gd name="connsiteY20" fmla="*/ 3739686 h 3743106"/>
                  <a:gd name="connsiteX21" fmla="*/ 881519 w 3701002"/>
                  <a:gd name="connsiteY21" fmla="*/ 3637451 h 3743106"/>
                  <a:gd name="connsiteX22" fmla="*/ 771664 w 3701002"/>
                  <a:gd name="connsiteY22" fmla="*/ 3290106 h 3743106"/>
                  <a:gd name="connsiteX23" fmla="*/ 377329 w 3701002"/>
                  <a:gd name="connsiteY23" fmla="*/ 3103416 h 3743106"/>
                  <a:gd name="connsiteX24" fmla="*/ 344944 w 3701002"/>
                  <a:gd name="connsiteY24" fmla="*/ 2482386 h 3743106"/>
                  <a:gd name="connsiteX25" fmla="*/ 139 w 3701002"/>
                  <a:gd name="connsiteY25" fmla="*/ 1970576 h 3743106"/>
                  <a:gd name="connsiteX26" fmla="*/ 451624 w 3701002"/>
                  <a:gd name="connsiteY26" fmla="*/ 1403521 h 3743106"/>
                  <a:gd name="connsiteX27" fmla="*/ 496709 w 3701002"/>
                  <a:gd name="connsiteY27" fmla="*/ 659301 h 3743106"/>
                  <a:gd name="connsiteX28" fmla="*/ 1199019 w 3701002"/>
                  <a:gd name="connsiteY28" fmla="*/ 517061 h 3743106"/>
                  <a:gd name="connsiteX29" fmla="*/ 1831479 w 3701002"/>
                  <a:gd name="connsiteY29"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028685 w 3701002"/>
                  <a:gd name="connsiteY16" fmla="*/ 3095752 h 3743106"/>
                  <a:gd name="connsiteX17" fmla="*/ 1145044 w 3701002"/>
                  <a:gd name="connsiteY17" fmla="*/ 3252006 h 3743106"/>
                  <a:gd name="connsiteX18" fmla="*/ 1289824 w 3701002"/>
                  <a:gd name="connsiteY18" fmla="*/ 3549186 h 3743106"/>
                  <a:gd name="connsiteX19" fmla="*/ 1131709 w 3701002"/>
                  <a:gd name="connsiteY19" fmla="*/ 3739686 h 3743106"/>
                  <a:gd name="connsiteX20" fmla="*/ 881519 w 3701002"/>
                  <a:gd name="connsiteY20" fmla="*/ 3637451 h 3743106"/>
                  <a:gd name="connsiteX21" fmla="*/ 771664 w 3701002"/>
                  <a:gd name="connsiteY21" fmla="*/ 3290106 h 3743106"/>
                  <a:gd name="connsiteX22" fmla="*/ 377329 w 3701002"/>
                  <a:gd name="connsiteY22" fmla="*/ 3103416 h 3743106"/>
                  <a:gd name="connsiteX23" fmla="*/ 344944 w 3701002"/>
                  <a:gd name="connsiteY23" fmla="*/ 2482386 h 3743106"/>
                  <a:gd name="connsiteX24" fmla="*/ 139 w 3701002"/>
                  <a:gd name="connsiteY24" fmla="*/ 1970576 h 3743106"/>
                  <a:gd name="connsiteX25" fmla="*/ 451624 w 3701002"/>
                  <a:gd name="connsiteY25" fmla="*/ 1403521 h 3743106"/>
                  <a:gd name="connsiteX26" fmla="*/ 496709 w 3701002"/>
                  <a:gd name="connsiteY26" fmla="*/ 659301 h 3743106"/>
                  <a:gd name="connsiteX27" fmla="*/ 1199019 w 3701002"/>
                  <a:gd name="connsiteY27" fmla="*/ 517061 h 3743106"/>
                  <a:gd name="connsiteX28" fmla="*/ 1831479 w 3701002"/>
                  <a:gd name="connsiteY28"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145044 w 3701002"/>
                  <a:gd name="connsiteY16" fmla="*/ 3252006 h 3743106"/>
                  <a:gd name="connsiteX17" fmla="*/ 1289824 w 3701002"/>
                  <a:gd name="connsiteY17" fmla="*/ 3549186 h 3743106"/>
                  <a:gd name="connsiteX18" fmla="*/ 1131709 w 3701002"/>
                  <a:gd name="connsiteY18" fmla="*/ 3739686 h 3743106"/>
                  <a:gd name="connsiteX19" fmla="*/ 881519 w 3701002"/>
                  <a:gd name="connsiteY19" fmla="*/ 3637451 h 3743106"/>
                  <a:gd name="connsiteX20" fmla="*/ 771664 w 3701002"/>
                  <a:gd name="connsiteY20" fmla="*/ 3290106 h 3743106"/>
                  <a:gd name="connsiteX21" fmla="*/ 377329 w 3701002"/>
                  <a:gd name="connsiteY21" fmla="*/ 3103416 h 3743106"/>
                  <a:gd name="connsiteX22" fmla="*/ 344944 w 3701002"/>
                  <a:gd name="connsiteY22" fmla="*/ 2482386 h 3743106"/>
                  <a:gd name="connsiteX23" fmla="*/ 139 w 3701002"/>
                  <a:gd name="connsiteY23" fmla="*/ 1970576 h 3743106"/>
                  <a:gd name="connsiteX24" fmla="*/ 451624 w 3701002"/>
                  <a:gd name="connsiteY24" fmla="*/ 1403521 h 3743106"/>
                  <a:gd name="connsiteX25" fmla="*/ 496709 w 3701002"/>
                  <a:gd name="connsiteY25" fmla="*/ 659301 h 3743106"/>
                  <a:gd name="connsiteX26" fmla="*/ 1199019 w 3701002"/>
                  <a:gd name="connsiteY26" fmla="*/ 517061 h 3743106"/>
                  <a:gd name="connsiteX27" fmla="*/ 1831479 w 3701002"/>
                  <a:gd name="connsiteY27"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145044 w 3701002"/>
                  <a:gd name="connsiteY16" fmla="*/ 3252006 h 3743106"/>
                  <a:gd name="connsiteX17" fmla="*/ 1289824 w 3701002"/>
                  <a:gd name="connsiteY17" fmla="*/ 3549186 h 3743106"/>
                  <a:gd name="connsiteX18" fmla="*/ 1131709 w 3701002"/>
                  <a:gd name="connsiteY18" fmla="*/ 3739686 h 3743106"/>
                  <a:gd name="connsiteX19" fmla="*/ 881519 w 3701002"/>
                  <a:gd name="connsiteY19" fmla="*/ 3637451 h 3743106"/>
                  <a:gd name="connsiteX20" fmla="*/ 771664 w 3701002"/>
                  <a:gd name="connsiteY20" fmla="*/ 3290106 h 3743106"/>
                  <a:gd name="connsiteX21" fmla="*/ 377329 w 3701002"/>
                  <a:gd name="connsiteY21" fmla="*/ 3103416 h 3743106"/>
                  <a:gd name="connsiteX22" fmla="*/ 344944 w 3701002"/>
                  <a:gd name="connsiteY22" fmla="*/ 2482386 h 3743106"/>
                  <a:gd name="connsiteX23" fmla="*/ 139 w 3701002"/>
                  <a:gd name="connsiteY23" fmla="*/ 1970576 h 3743106"/>
                  <a:gd name="connsiteX24" fmla="*/ 451624 w 3701002"/>
                  <a:gd name="connsiteY24" fmla="*/ 1403521 h 3743106"/>
                  <a:gd name="connsiteX25" fmla="*/ 496709 w 3701002"/>
                  <a:gd name="connsiteY25" fmla="*/ 659301 h 3743106"/>
                  <a:gd name="connsiteX26" fmla="*/ 1199019 w 3701002"/>
                  <a:gd name="connsiteY26" fmla="*/ 517061 h 3743106"/>
                  <a:gd name="connsiteX27" fmla="*/ 1831479 w 3701002"/>
                  <a:gd name="connsiteY27" fmla="*/ 171 h 3743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701002" h="3743106">
                    <a:moveTo>
                      <a:pt x="1831479" y="171"/>
                    </a:moveTo>
                    <a:cubicBezTo>
                      <a:pt x="2193958" y="-9460"/>
                      <a:pt x="2228989" y="388262"/>
                      <a:pt x="2478544" y="516426"/>
                    </a:cubicBezTo>
                    <a:cubicBezTo>
                      <a:pt x="2724924" y="638240"/>
                      <a:pt x="3031735" y="420753"/>
                      <a:pt x="3214509" y="673906"/>
                    </a:cubicBezTo>
                    <a:cubicBezTo>
                      <a:pt x="3397283" y="927059"/>
                      <a:pt x="3125874" y="1106394"/>
                      <a:pt x="3270389" y="1425746"/>
                    </a:cubicBezTo>
                    <a:cubicBezTo>
                      <a:pt x="3414904" y="1745098"/>
                      <a:pt x="3685678" y="1679112"/>
                      <a:pt x="3700601" y="1942319"/>
                    </a:cubicBezTo>
                    <a:cubicBezTo>
                      <a:pt x="3712349" y="2221401"/>
                      <a:pt x="3463112" y="2181714"/>
                      <a:pt x="3354844" y="2512866"/>
                    </a:cubicBezTo>
                    <a:cubicBezTo>
                      <a:pt x="3238639" y="2836081"/>
                      <a:pt x="3476765" y="2888309"/>
                      <a:pt x="3320872" y="3113258"/>
                    </a:cubicBezTo>
                    <a:cubicBezTo>
                      <a:pt x="3231655" y="3262007"/>
                      <a:pt x="3076132" y="3153476"/>
                      <a:pt x="2933839" y="3291059"/>
                    </a:cubicBezTo>
                    <a:cubicBezTo>
                      <a:pt x="2791546" y="3428642"/>
                      <a:pt x="2888756" y="3603161"/>
                      <a:pt x="2771914" y="3691109"/>
                    </a:cubicBezTo>
                    <a:cubicBezTo>
                      <a:pt x="2688410" y="3783819"/>
                      <a:pt x="2499817" y="3735717"/>
                      <a:pt x="2440444" y="3640626"/>
                    </a:cubicBezTo>
                    <a:cubicBezTo>
                      <a:pt x="2381071" y="3545535"/>
                      <a:pt x="2441714" y="3442506"/>
                      <a:pt x="2501404" y="3320586"/>
                    </a:cubicBezTo>
                    <a:lnTo>
                      <a:pt x="2659635" y="3107286"/>
                    </a:lnTo>
                    <a:cubicBezTo>
                      <a:pt x="2942380" y="2869700"/>
                      <a:pt x="3122601" y="2510145"/>
                      <a:pt x="3122601" y="2107732"/>
                    </a:cubicBezTo>
                    <a:cubicBezTo>
                      <a:pt x="3122601" y="1392331"/>
                      <a:pt x="2553014" y="812383"/>
                      <a:pt x="1850392" y="812383"/>
                    </a:cubicBezTo>
                    <a:cubicBezTo>
                      <a:pt x="1147770" y="812383"/>
                      <a:pt x="578183" y="1392331"/>
                      <a:pt x="578183" y="2107732"/>
                    </a:cubicBezTo>
                    <a:cubicBezTo>
                      <a:pt x="578183" y="2465433"/>
                      <a:pt x="720580" y="2789270"/>
                      <a:pt x="950805" y="3023682"/>
                    </a:cubicBezTo>
                    <a:cubicBezTo>
                      <a:pt x="1039364" y="3104553"/>
                      <a:pt x="1080298" y="3175898"/>
                      <a:pt x="1145044" y="3252006"/>
                    </a:cubicBezTo>
                    <a:cubicBezTo>
                      <a:pt x="1213624" y="3361226"/>
                      <a:pt x="1292047" y="3467906"/>
                      <a:pt x="1289824" y="3549186"/>
                    </a:cubicBezTo>
                    <a:cubicBezTo>
                      <a:pt x="1287602" y="3630466"/>
                      <a:pt x="1199760" y="3724975"/>
                      <a:pt x="1131709" y="3739686"/>
                    </a:cubicBezTo>
                    <a:cubicBezTo>
                      <a:pt x="1063658" y="3754397"/>
                      <a:pt x="935176" y="3721906"/>
                      <a:pt x="881519" y="3637451"/>
                    </a:cubicBezTo>
                    <a:cubicBezTo>
                      <a:pt x="827862" y="3552996"/>
                      <a:pt x="922371" y="3429912"/>
                      <a:pt x="771664" y="3290106"/>
                    </a:cubicBezTo>
                    <a:cubicBezTo>
                      <a:pt x="620957" y="3150300"/>
                      <a:pt x="489724" y="3259626"/>
                      <a:pt x="377329" y="3103416"/>
                    </a:cubicBezTo>
                    <a:cubicBezTo>
                      <a:pt x="245884" y="2847193"/>
                      <a:pt x="472103" y="2764062"/>
                      <a:pt x="344944" y="2482386"/>
                    </a:cubicBezTo>
                    <a:cubicBezTo>
                      <a:pt x="189211" y="2141178"/>
                      <a:pt x="8552" y="2246432"/>
                      <a:pt x="139" y="1970576"/>
                    </a:cubicBezTo>
                    <a:cubicBezTo>
                      <a:pt x="-7481" y="1701865"/>
                      <a:pt x="299012" y="1730017"/>
                      <a:pt x="451624" y="1403521"/>
                    </a:cubicBezTo>
                    <a:cubicBezTo>
                      <a:pt x="528036" y="943675"/>
                      <a:pt x="318168" y="908644"/>
                      <a:pt x="496709" y="659301"/>
                    </a:cubicBezTo>
                    <a:cubicBezTo>
                      <a:pt x="675250" y="409958"/>
                      <a:pt x="956978" y="650728"/>
                      <a:pt x="1199019" y="517061"/>
                    </a:cubicBezTo>
                    <a:cubicBezTo>
                      <a:pt x="1485510" y="418319"/>
                      <a:pt x="1469000" y="9802"/>
                      <a:pt x="1831479" y="171"/>
                    </a:cubicBez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grpSp>
      </p:grpSp>
      <p:sp>
        <p:nvSpPr>
          <p:cNvPr id="171" name="TextBox 170"/>
          <p:cNvSpPr txBox="1"/>
          <p:nvPr/>
        </p:nvSpPr>
        <p:spPr>
          <a:xfrm>
            <a:off x="452622" y="4582139"/>
            <a:ext cx="894797" cy="523220"/>
          </a:xfrm>
          <a:prstGeom prst="rect">
            <a:avLst/>
          </a:prstGeom>
          <a:solidFill>
            <a:schemeClr val="bg1"/>
          </a:solidFill>
        </p:spPr>
        <p:txBody>
          <a:bodyPr wrap="none" rtlCol="0">
            <a:spAutoFit/>
          </a:bodyPr>
          <a:lstStyle>
            <a:defPPr>
              <a:defRPr lang="en-US"/>
            </a:defPPr>
            <a:lvl1pPr defTabSz="914377" fontAlgn="base">
              <a:spcBef>
                <a:spcPct val="0"/>
              </a:spcBef>
              <a:spcAft>
                <a:spcPct val="0"/>
              </a:spcAft>
              <a:defRPr sz="2000" b="1" kern="0">
                <a:solidFill>
                  <a:schemeClr val="accent1"/>
                </a:solidFill>
                <a:cs typeface="Arial" charset="0"/>
              </a:defRPr>
            </a:lvl1p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a:ln>
                  <a:noFill/>
                </a:ln>
                <a:solidFill>
                  <a:srgbClr val="0066A1"/>
                </a:solidFill>
                <a:effectLst/>
                <a:uLnTx/>
                <a:uFillTx/>
                <a:latin typeface="+mj-lt"/>
                <a:ea typeface="+mn-ea"/>
                <a:cs typeface="Arial" charset="0"/>
              </a:rPr>
              <a:t>80%</a:t>
            </a:r>
          </a:p>
        </p:txBody>
      </p:sp>
      <p:sp>
        <p:nvSpPr>
          <p:cNvPr id="172" name="Rectangle 171"/>
          <p:cNvSpPr/>
          <p:nvPr/>
        </p:nvSpPr>
        <p:spPr>
          <a:xfrm>
            <a:off x="3561008" y="5055667"/>
            <a:ext cx="1980000" cy="307777"/>
          </a:xfrm>
          <a:prstGeom prst="rect">
            <a:avLst/>
          </a:prstGeom>
        </p:spPr>
        <p:txBody>
          <a:bodyPr wrap="square">
            <a:sp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prstClr val="black"/>
                </a:solidFill>
                <a:effectLst/>
                <a:uLnTx/>
                <a:uFillTx/>
                <a:latin typeface="+mj-lt"/>
                <a:ea typeface="+mn-ea"/>
                <a:cs typeface="Segoe UI Semilight" panose="020B0402040204020203" pitchFamily="34" charset="0"/>
              </a:rPr>
              <a:t>Functional Accuracy</a:t>
            </a:r>
          </a:p>
        </p:txBody>
      </p:sp>
      <p:sp>
        <p:nvSpPr>
          <p:cNvPr id="173" name="TextBox 172"/>
          <p:cNvSpPr txBox="1"/>
          <p:nvPr/>
        </p:nvSpPr>
        <p:spPr>
          <a:xfrm>
            <a:off x="4111440" y="4610275"/>
            <a:ext cx="941283" cy="461665"/>
          </a:xfrm>
          <a:prstGeom prst="rect">
            <a:avLst/>
          </a:prstGeom>
          <a:solidFill>
            <a:schemeClr val="bg1"/>
          </a:solidFill>
        </p:spPr>
        <p:txBody>
          <a:bodyPr wrap="none" rtlCol="0">
            <a:spAutoFit/>
          </a:bodyPr>
          <a:lstStyle>
            <a:defPPr>
              <a:defRPr lang="en-US"/>
            </a:defPPr>
            <a:lvl1pPr defTabSz="914377" fontAlgn="base">
              <a:spcBef>
                <a:spcPct val="0"/>
              </a:spcBef>
              <a:spcAft>
                <a:spcPct val="0"/>
              </a:spcAft>
              <a:defRPr sz="2000" b="1" kern="0">
                <a:solidFill>
                  <a:schemeClr val="accent1"/>
                </a:solidFill>
                <a:cs typeface="Arial" charset="0"/>
              </a:defRPr>
            </a:lvl1p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2400" b="1" i="0" u="none" strike="noStrike" kern="0" cap="none" spc="0" normalizeH="0" baseline="0" noProof="0">
                <a:ln>
                  <a:noFill/>
                </a:ln>
                <a:solidFill>
                  <a:srgbClr val="0066A1"/>
                </a:solidFill>
                <a:effectLst/>
                <a:uLnTx/>
                <a:uFillTx/>
                <a:latin typeface="+mj-lt"/>
                <a:ea typeface="+mn-ea"/>
                <a:cs typeface="Arial" charset="0"/>
              </a:rPr>
              <a:t>100%</a:t>
            </a:r>
            <a:endParaRPr kumimoji="0" lang="en-US" sz="2800" b="1" i="0" u="none" strike="noStrike" kern="0" cap="none" spc="0" normalizeH="0" baseline="0" noProof="0">
              <a:ln>
                <a:noFill/>
              </a:ln>
              <a:solidFill>
                <a:srgbClr val="0066A1"/>
              </a:solidFill>
              <a:effectLst/>
              <a:uLnTx/>
              <a:uFillTx/>
              <a:latin typeface="+mj-lt"/>
              <a:ea typeface="+mn-ea"/>
              <a:cs typeface="Arial" charset="0"/>
            </a:endParaRPr>
          </a:p>
        </p:txBody>
      </p:sp>
      <p:sp>
        <p:nvSpPr>
          <p:cNvPr id="174" name="Rectangle 173">
            <a:extLst>
              <a:ext uri="{FF2B5EF4-FFF2-40B4-BE49-F238E27FC236}">
                <a16:creationId xmlns:a16="http://schemas.microsoft.com/office/drawing/2014/main" id="{DEA3F0F7-1F24-4CD4-B1C3-B5D3064A10E0}"/>
              </a:ext>
            </a:extLst>
          </p:cNvPr>
          <p:cNvSpPr/>
          <p:nvPr/>
        </p:nvSpPr>
        <p:spPr bwMode="auto">
          <a:xfrm>
            <a:off x="6398204" y="2989449"/>
            <a:ext cx="5341440" cy="457200"/>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123" fontAlgn="base">
              <a:spcBef>
                <a:spcPct val="0"/>
              </a:spcBef>
              <a:spcAft>
                <a:spcPct val="0"/>
              </a:spcAft>
              <a:defRPr/>
            </a:pPr>
            <a:r>
              <a:rPr lang="en-US" sz="1400" kern="0">
                <a:solidFill>
                  <a:prstClr val="black"/>
                </a:solidFill>
                <a:cs typeface="Arial" panose="020B0604020202020204" pitchFamily="34" charset="0"/>
              </a:rPr>
              <a:t>Object oriented application for digitization of policies &amp; efficient policy package distribution</a:t>
            </a:r>
          </a:p>
        </p:txBody>
      </p:sp>
      <p:grpSp>
        <p:nvGrpSpPr>
          <p:cNvPr id="175" name="Group 174">
            <a:extLst>
              <a:ext uri="{FF2B5EF4-FFF2-40B4-BE49-F238E27FC236}">
                <a16:creationId xmlns:a16="http://schemas.microsoft.com/office/drawing/2014/main" id="{5B27CF8D-17DA-4906-ADAC-DFDBF593C872}"/>
              </a:ext>
            </a:extLst>
          </p:cNvPr>
          <p:cNvGrpSpPr/>
          <p:nvPr/>
        </p:nvGrpSpPr>
        <p:grpSpPr>
          <a:xfrm>
            <a:off x="5840168" y="2974824"/>
            <a:ext cx="474070" cy="474070"/>
            <a:chOff x="6447430" y="2675492"/>
            <a:chExt cx="474070" cy="474070"/>
          </a:xfrm>
        </p:grpSpPr>
        <p:sp>
          <p:nvSpPr>
            <p:cNvPr id="176" name="Oval 175">
              <a:extLst>
                <a:ext uri="{FF2B5EF4-FFF2-40B4-BE49-F238E27FC236}">
                  <a16:creationId xmlns:a16="http://schemas.microsoft.com/office/drawing/2014/main" id="{C1906004-8552-457C-BC3B-BFD16942623D}"/>
                </a:ext>
              </a:extLst>
            </p:cNvPr>
            <p:cNvSpPr/>
            <p:nvPr/>
          </p:nvSpPr>
          <p:spPr>
            <a:xfrm>
              <a:off x="6447430" y="2675492"/>
              <a:ext cx="474070" cy="474070"/>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white"/>
                </a:solidFill>
                <a:effectLst/>
                <a:uLnTx/>
                <a:uFillTx/>
                <a:latin typeface="+mj-lt"/>
                <a:ea typeface="+mn-ea"/>
                <a:cs typeface="+mn-cs"/>
              </a:endParaRPr>
            </a:p>
          </p:txBody>
        </p:sp>
        <p:grpSp>
          <p:nvGrpSpPr>
            <p:cNvPr id="177" name="Group 176">
              <a:extLst>
                <a:ext uri="{FF2B5EF4-FFF2-40B4-BE49-F238E27FC236}">
                  <a16:creationId xmlns:a16="http://schemas.microsoft.com/office/drawing/2014/main" id="{49D975FC-F0E2-43E3-A95F-7DAEC58DD37B}"/>
                </a:ext>
              </a:extLst>
            </p:cNvPr>
            <p:cNvGrpSpPr/>
            <p:nvPr/>
          </p:nvGrpSpPr>
          <p:grpSpPr>
            <a:xfrm>
              <a:off x="6518178" y="2715380"/>
              <a:ext cx="333474" cy="369629"/>
              <a:chOff x="3114466" y="105602"/>
              <a:chExt cx="5971657" cy="6619048"/>
            </a:xfrm>
            <a:solidFill>
              <a:schemeClr val="accent5"/>
            </a:solidFill>
          </p:grpSpPr>
          <p:sp>
            <p:nvSpPr>
              <p:cNvPr id="178" name="Oval 177">
                <a:extLst>
                  <a:ext uri="{FF2B5EF4-FFF2-40B4-BE49-F238E27FC236}">
                    <a16:creationId xmlns:a16="http://schemas.microsoft.com/office/drawing/2014/main" id="{582C2A49-0A25-430A-8421-569C4BA0014F}"/>
                  </a:ext>
                </a:extLst>
              </p:cNvPr>
              <p:cNvSpPr/>
              <p:nvPr/>
            </p:nvSpPr>
            <p:spPr>
              <a:xfrm>
                <a:off x="5744819" y="745435"/>
                <a:ext cx="695738" cy="695738"/>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79" name="Oval 178">
                <a:extLst>
                  <a:ext uri="{FF2B5EF4-FFF2-40B4-BE49-F238E27FC236}">
                    <a16:creationId xmlns:a16="http://schemas.microsoft.com/office/drawing/2014/main" id="{BB7AE4C9-E13B-4327-9A4C-10CE943F49FE}"/>
                  </a:ext>
                </a:extLst>
              </p:cNvPr>
              <p:cNvSpPr/>
              <p:nvPr/>
            </p:nvSpPr>
            <p:spPr>
              <a:xfrm>
                <a:off x="6626711" y="1319213"/>
                <a:ext cx="628234" cy="62823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80" name="Oval 179">
                <a:extLst>
                  <a:ext uri="{FF2B5EF4-FFF2-40B4-BE49-F238E27FC236}">
                    <a16:creationId xmlns:a16="http://schemas.microsoft.com/office/drawing/2014/main" id="{A76F60AB-6CC9-48DA-B413-9A39C0684C4E}"/>
                  </a:ext>
                </a:extLst>
              </p:cNvPr>
              <p:cNvSpPr/>
              <p:nvPr/>
            </p:nvSpPr>
            <p:spPr>
              <a:xfrm>
                <a:off x="4921736" y="1319213"/>
                <a:ext cx="628234" cy="62823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81" name="Oval 180">
                <a:extLst>
                  <a:ext uri="{FF2B5EF4-FFF2-40B4-BE49-F238E27FC236}">
                    <a16:creationId xmlns:a16="http://schemas.microsoft.com/office/drawing/2014/main" id="{AA772459-D704-4E28-AA19-E8839F2BA4F4}"/>
                  </a:ext>
                </a:extLst>
              </p:cNvPr>
              <p:cNvSpPr/>
              <p:nvPr/>
            </p:nvSpPr>
            <p:spPr>
              <a:xfrm>
                <a:off x="4140684" y="1766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82" name="Oval 181">
                <a:extLst>
                  <a:ext uri="{FF2B5EF4-FFF2-40B4-BE49-F238E27FC236}">
                    <a16:creationId xmlns:a16="http://schemas.microsoft.com/office/drawing/2014/main" id="{DC9496F0-90F0-460F-BA03-7F13902E58FD}"/>
                  </a:ext>
                </a:extLst>
              </p:cNvPr>
              <p:cNvSpPr/>
              <p:nvPr/>
            </p:nvSpPr>
            <p:spPr>
              <a:xfrm>
                <a:off x="7510049" y="1766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83" name="Oval 182">
                <a:extLst>
                  <a:ext uri="{FF2B5EF4-FFF2-40B4-BE49-F238E27FC236}">
                    <a16:creationId xmlns:a16="http://schemas.microsoft.com/office/drawing/2014/main" id="{381A935A-494B-4BA0-B643-514EB13F2ADC}"/>
                  </a:ext>
                </a:extLst>
              </p:cNvPr>
              <p:cNvSpPr/>
              <p:nvPr/>
            </p:nvSpPr>
            <p:spPr>
              <a:xfrm>
                <a:off x="7716285" y="2579410"/>
                <a:ext cx="612706" cy="61270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84" name="Oval 183">
                <a:extLst>
                  <a:ext uri="{FF2B5EF4-FFF2-40B4-BE49-F238E27FC236}">
                    <a16:creationId xmlns:a16="http://schemas.microsoft.com/office/drawing/2014/main" id="{AAA7D455-0A4E-4C6D-803D-B31A6ACCA836}"/>
                  </a:ext>
                </a:extLst>
              </p:cNvPr>
              <p:cNvSpPr/>
              <p:nvPr/>
            </p:nvSpPr>
            <p:spPr>
              <a:xfrm>
                <a:off x="3849963" y="2569471"/>
                <a:ext cx="612706" cy="61270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85" name="Oval 184">
                <a:extLst>
                  <a:ext uri="{FF2B5EF4-FFF2-40B4-BE49-F238E27FC236}">
                    <a16:creationId xmlns:a16="http://schemas.microsoft.com/office/drawing/2014/main" id="{C4F72A79-19A9-4399-B42D-BBD925F27468}"/>
                  </a:ext>
                </a:extLst>
              </p:cNvPr>
              <p:cNvSpPr/>
              <p:nvPr/>
            </p:nvSpPr>
            <p:spPr>
              <a:xfrm>
                <a:off x="3740632" y="1416532"/>
                <a:ext cx="394046" cy="39404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86" name="Oval 185">
                <a:extLst>
                  <a:ext uri="{FF2B5EF4-FFF2-40B4-BE49-F238E27FC236}">
                    <a16:creationId xmlns:a16="http://schemas.microsoft.com/office/drawing/2014/main" id="{88B290DE-5F8C-413E-A56C-5AF4924A1E03}"/>
                  </a:ext>
                </a:extLst>
              </p:cNvPr>
              <p:cNvSpPr/>
              <p:nvPr/>
            </p:nvSpPr>
            <p:spPr>
              <a:xfrm>
                <a:off x="8054215" y="1416532"/>
                <a:ext cx="394046" cy="39404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87" name="Oval 186">
                <a:extLst>
                  <a:ext uri="{FF2B5EF4-FFF2-40B4-BE49-F238E27FC236}">
                    <a16:creationId xmlns:a16="http://schemas.microsoft.com/office/drawing/2014/main" id="{7C53C2D2-4A6F-4129-A358-125E7C3D89DC}"/>
                  </a:ext>
                </a:extLst>
              </p:cNvPr>
              <p:cNvSpPr/>
              <p:nvPr/>
            </p:nvSpPr>
            <p:spPr>
              <a:xfrm>
                <a:off x="5878581" y="105602"/>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88" name="Oval 187">
                <a:extLst>
                  <a:ext uri="{FF2B5EF4-FFF2-40B4-BE49-F238E27FC236}">
                    <a16:creationId xmlns:a16="http://schemas.microsoft.com/office/drawing/2014/main" id="{DC91EE25-2F45-4A2F-A6E5-56F5D725D10C}"/>
                  </a:ext>
                </a:extLst>
              </p:cNvPr>
              <p:cNvSpPr/>
              <p:nvPr/>
            </p:nvSpPr>
            <p:spPr>
              <a:xfrm>
                <a:off x="3114466" y="3419473"/>
                <a:ext cx="319296" cy="319296"/>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89" name="Oval 188">
                <a:extLst>
                  <a:ext uri="{FF2B5EF4-FFF2-40B4-BE49-F238E27FC236}">
                    <a16:creationId xmlns:a16="http://schemas.microsoft.com/office/drawing/2014/main" id="{B7FEB5AA-D415-48A7-9EB2-66E506E305CC}"/>
                  </a:ext>
                </a:extLst>
              </p:cNvPr>
              <p:cNvSpPr/>
              <p:nvPr/>
            </p:nvSpPr>
            <p:spPr>
              <a:xfrm>
                <a:off x="3794675" y="5116270"/>
                <a:ext cx="282026" cy="28202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90" name="Oval 189">
                <a:extLst>
                  <a:ext uri="{FF2B5EF4-FFF2-40B4-BE49-F238E27FC236}">
                    <a16:creationId xmlns:a16="http://schemas.microsoft.com/office/drawing/2014/main" id="{3E932A8C-F7F2-47E7-B1C8-08783227DE91}"/>
                  </a:ext>
                </a:extLst>
              </p:cNvPr>
              <p:cNvSpPr/>
              <p:nvPr/>
            </p:nvSpPr>
            <p:spPr>
              <a:xfrm>
                <a:off x="4640020" y="5060156"/>
                <a:ext cx="342902" cy="3429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91" name="Oval 190">
                <a:extLst>
                  <a:ext uri="{FF2B5EF4-FFF2-40B4-BE49-F238E27FC236}">
                    <a16:creationId xmlns:a16="http://schemas.microsoft.com/office/drawing/2014/main" id="{3BD5891B-7257-4382-ACE6-C890403935B8}"/>
                  </a:ext>
                </a:extLst>
              </p:cNvPr>
              <p:cNvSpPr/>
              <p:nvPr/>
            </p:nvSpPr>
            <p:spPr>
              <a:xfrm>
                <a:off x="4155592" y="4790040"/>
                <a:ext cx="373546" cy="37354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92" name="Oval 191">
                <a:extLst>
                  <a:ext uri="{FF2B5EF4-FFF2-40B4-BE49-F238E27FC236}">
                    <a16:creationId xmlns:a16="http://schemas.microsoft.com/office/drawing/2014/main" id="{CCF119B0-5515-4C3B-90C9-0268BB6C7D80}"/>
                  </a:ext>
                </a:extLst>
              </p:cNvPr>
              <p:cNvSpPr/>
              <p:nvPr/>
            </p:nvSpPr>
            <p:spPr>
              <a:xfrm>
                <a:off x="3892206" y="4042948"/>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93" name="Oval 192">
                <a:extLst>
                  <a:ext uri="{FF2B5EF4-FFF2-40B4-BE49-F238E27FC236}">
                    <a16:creationId xmlns:a16="http://schemas.microsoft.com/office/drawing/2014/main" id="{60CB4473-FCE3-49F4-B06F-90A4F040D5B4}"/>
                  </a:ext>
                </a:extLst>
              </p:cNvPr>
              <p:cNvSpPr/>
              <p:nvPr/>
            </p:nvSpPr>
            <p:spPr>
              <a:xfrm>
                <a:off x="7758528" y="4052887"/>
                <a:ext cx="528222" cy="52822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94" name="Oval 193">
                <a:extLst>
                  <a:ext uri="{FF2B5EF4-FFF2-40B4-BE49-F238E27FC236}">
                    <a16:creationId xmlns:a16="http://schemas.microsoft.com/office/drawing/2014/main" id="{F161FB60-86B9-46B0-8247-D6B041C9B10E}"/>
                  </a:ext>
                </a:extLst>
              </p:cNvPr>
              <p:cNvSpPr/>
              <p:nvPr/>
            </p:nvSpPr>
            <p:spPr>
              <a:xfrm>
                <a:off x="3632338" y="3395454"/>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95" name="Oval 194">
                <a:extLst>
                  <a:ext uri="{FF2B5EF4-FFF2-40B4-BE49-F238E27FC236}">
                    <a16:creationId xmlns:a16="http://schemas.microsoft.com/office/drawing/2014/main" id="{A8F2BCFE-CC21-4BAB-8086-9AB2FF27FA3B}"/>
                  </a:ext>
                </a:extLst>
              </p:cNvPr>
              <p:cNvSpPr/>
              <p:nvPr/>
            </p:nvSpPr>
            <p:spPr>
              <a:xfrm>
                <a:off x="8122650" y="3395454"/>
                <a:ext cx="431732" cy="43173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96" name="Oval 195">
                <a:extLst>
                  <a:ext uri="{FF2B5EF4-FFF2-40B4-BE49-F238E27FC236}">
                    <a16:creationId xmlns:a16="http://schemas.microsoft.com/office/drawing/2014/main" id="{828106C5-2060-4629-ACF1-C765635601CB}"/>
                  </a:ext>
                </a:extLst>
              </p:cNvPr>
              <p:cNvSpPr/>
              <p:nvPr/>
            </p:nvSpPr>
            <p:spPr>
              <a:xfrm>
                <a:off x="8747366" y="3412330"/>
                <a:ext cx="338757" cy="338757"/>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97" name="Oval 196">
                <a:extLst>
                  <a:ext uri="{FF2B5EF4-FFF2-40B4-BE49-F238E27FC236}">
                    <a16:creationId xmlns:a16="http://schemas.microsoft.com/office/drawing/2014/main" id="{2665A624-591B-4E6B-A601-375B727027BE}"/>
                  </a:ext>
                </a:extLst>
              </p:cNvPr>
              <p:cNvSpPr/>
              <p:nvPr/>
            </p:nvSpPr>
            <p:spPr>
              <a:xfrm>
                <a:off x="7659444" y="4792108"/>
                <a:ext cx="372514" cy="372512"/>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98" name="Oval 197">
                <a:extLst>
                  <a:ext uri="{FF2B5EF4-FFF2-40B4-BE49-F238E27FC236}">
                    <a16:creationId xmlns:a16="http://schemas.microsoft.com/office/drawing/2014/main" id="{41AAB086-87B8-4222-8C43-0DF599D84272}"/>
                  </a:ext>
                </a:extLst>
              </p:cNvPr>
              <p:cNvSpPr/>
              <p:nvPr/>
            </p:nvSpPr>
            <p:spPr>
              <a:xfrm>
                <a:off x="7208355" y="5062538"/>
                <a:ext cx="341242" cy="34124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199" name="Oval 198">
                <a:extLst>
                  <a:ext uri="{FF2B5EF4-FFF2-40B4-BE49-F238E27FC236}">
                    <a16:creationId xmlns:a16="http://schemas.microsoft.com/office/drawing/2014/main" id="{F9AF36BB-DC08-4CFF-915B-317FC9A8E5CE}"/>
                  </a:ext>
                </a:extLst>
              </p:cNvPr>
              <p:cNvSpPr/>
              <p:nvPr/>
            </p:nvSpPr>
            <p:spPr>
              <a:xfrm>
                <a:off x="8113230" y="5122069"/>
                <a:ext cx="274566" cy="274564"/>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200" name="Freeform 87">
                <a:extLst>
                  <a:ext uri="{FF2B5EF4-FFF2-40B4-BE49-F238E27FC236}">
                    <a16:creationId xmlns:a16="http://schemas.microsoft.com/office/drawing/2014/main" id="{D547286C-0FEB-4FD5-BB1D-70D97E3447AE}"/>
                  </a:ext>
                </a:extLst>
              </p:cNvPr>
              <p:cNvSpPr/>
              <p:nvPr/>
            </p:nvSpPr>
            <p:spPr>
              <a:xfrm>
                <a:off x="5507831" y="5678142"/>
                <a:ext cx="1200744" cy="1046508"/>
              </a:xfrm>
              <a:custGeom>
                <a:avLst/>
                <a:gdLst>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58806 w 1200744"/>
                  <a:gd name="connsiteY19" fmla="*/ 0 h 1046508"/>
                  <a:gd name="connsiteX20" fmla="*/ 692944 w 1200744"/>
                  <a:gd name="connsiteY20" fmla="*/ 0 h 1046508"/>
                  <a:gd name="connsiteX21" fmla="*/ 692944 w 1200744"/>
                  <a:gd name="connsiteY21" fmla="*/ 102530 h 1046508"/>
                  <a:gd name="connsiteX22" fmla="*/ 418176 w 1200744"/>
                  <a:gd name="connsiteY22" fmla="*/ 135174 h 1046508"/>
                  <a:gd name="connsiteX23" fmla="*/ 392350 w 1200744"/>
                  <a:gd name="connsiteY23" fmla="*/ 149653 h 1046508"/>
                  <a:gd name="connsiteX24" fmla="*/ 384326 w 1200744"/>
                  <a:gd name="connsiteY24" fmla="*/ 178152 h 1046508"/>
                  <a:gd name="connsiteX25" fmla="*/ 398804 w 1200744"/>
                  <a:gd name="connsiteY25" fmla="*/ 203977 h 1046508"/>
                  <a:gd name="connsiteX26" fmla="*/ 427304 w 1200744"/>
                  <a:gd name="connsiteY26" fmla="*/ 212001 h 1046508"/>
                  <a:gd name="connsiteX27" fmla="*/ 1104900 w 1200744"/>
                  <a:gd name="connsiteY27" fmla="*/ 131498 h 1046508"/>
                  <a:gd name="connsiteX28" fmla="*/ 1104900 w 1200744"/>
                  <a:gd name="connsiteY28" fmla="*/ 134851 h 1046508"/>
                  <a:gd name="connsiteX29" fmla="*/ 1157493 w 1200744"/>
                  <a:gd name="connsiteY29" fmla="*/ 128603 h 1046508"/>
                  <a:gd name="connsiteX30" fmla="*/ 1200471 w 1200744"/>
                  <a:gd name="connsiteY30" fmla="*/ 162453 h 1046508"/>
                  <a:gd name="connsiteX31" fmla="*/ 1200470 w 1200744"/>
                  <a:gd name="connsiteY31" fmla="*/ 162453 h 1046508"/>
                  <a:gd name="connsiteX32" fmla="*/ 1166620 w 1200744"/>
                  <a:gd name="connsiteY32" fmla="*/ 205431 h 1046508"/>
                  <a:gd name="connsiteX33" fmla="*/ 892471 w 1200744"/>
                  <a:gd name="connsiteY33" fmla="*/ 238001 h 1046508"/>
                  <a:gd name="connsiteX34" fmla="*/ 883444 w 1200744"/>
                  <a:gd name="connsiteY34" fmla="*/ 235459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688181 w 1200744"/>
                  <a:gd name="connsiteY45" fmla="*/ 400083 h 1046508"/>
                  <a:gd name="connsiteX46" fmla="*/ 688181 w 1200744"/>
                  <a:gd name="connsiteY46" fmla="*/ 403433 h 1046508"/>
                  <a:gd name="connsiteX47" fmla="*/ 792956 w 1200744"/>
                  <a:gd name="connsiteY47" fmla="*/ 390985 h 1046508"/>
                  <a:gd name="connsiteX48" fmla="*/ 792956 w 1200744"/>
                  <a:gd name="connsiteY48" fmla="*/ 387635 h 1046508"/>
                  <a:gd name="connsiteX49" fmla="*/ 883444 w 1200744"/>
                  <a:gd name="connsiteY49" fmla="*/ 376884 h 1046508"/>
                  <a:gd name="connsiteX50" fmla="*/ 883444 w 1200744"/>
                  <a:gd name="connsiteY50" fmla="*/ 380235 h 1046508"/>
                  <a:gd name="connsiteX51" fmla="*/ 1157493 w 1200744"/>
                  <a:gd name="connsiteY51" fmla="*/ 347675 h 1046508"/>
                  <a:gd name="connsiteX52" fmla="*/ 1200471 w 1200744"/>
                  <a:gd name="connsiteY52" fmla="*/ 381525 h 1046508"/>
                  <a:gd name="connsiteX53" fmla="*/ 1200470 w 1200744"/>
                  <a:gd name="connsiteY53" fmla="*/ 381526 h 1046508"/>
                  <a:gd name="connsiteX54" fmla="*/ 1166620 w 1200744"/>
                  <a:gd name="connsiteY54" fmla="*/ 424503 h 1046508"/>
                  <a:gd name="connsiteX55" fmla="*/ 883444 w 1200744"/>
                  <a:gd name="connsiteY55" fmla="*/ 458146 h 1046508"/>
                  <a:gd name="connsiteX56" fmla="*/ 883444 w 1200744"/>
                  <a:gd name="connsiteY56" fmla="*/ 506141 h 1046508"/>
                  <a:gd name="connsiteX57" fmla="*/ 792956 w 1200744"/>
                  <a:gd name="connsiteY57" fmla="*/ 516892 h 1046508"/>
                  <a:gd name="connsiteX58" fmla="*/ 792956 w 1200744"/>
                  <a:gd name="connsiteY58" fmla="*/ 468897 h 1046508"/>
                  <a:gd name="connsiteX59" fmla="*/ 688181 w 1200744"/>
                  <a:gd name="connsiteY59" fmla="*/ 481345 h 1046508"/>
                  <a:gd name="connsiteX60" fmla="*/ 688181 w 1200744"/>
                  <a:gd name="connsiteY60" fmla="*/ 529340 h 1046508"/>
                  <a:gd name="connsiteX61" fmla="*/ 418176 w 1200744"/>
                  <a:gd name="connsiteY61" fmla="*/ 561418 h 1046508"/>
                  <a:gd name="connsiteX62" fmla="*/ 392350 w 1200744"/>
                  <a:gd name="connsiteY62" fmla="*/ 575897 h 1046508"/>
                  <a:gd name="connsiteX63" fmla="*/ 384326 w 1200744"/>
                  <a:gd name="connsiteY63" fmla="*/ 604396 h 1046508"/>
                  <a:gd name="connsiteX64" fmla="*/ 398804 w 1200744"/>
                  <a:gd name="connsiteY64" fmla="*/ 630221 h 1046508"/>
                  <a:gd name="connsiteX65" fmla="*/ 427304 w 1200744"/>
                  <a:gd name="connsiteY65" fmla="*/ 638245 h 1046508"/>
                  <a:gd name="connsiteX66" fmla="*/ 1104900 w 1200744"/>
                  <a:gd name="connsiteY66" fmla="*/ 557742 h 1046508"/>
                  <a:gd name="connsiteX67" fmla="*/ 1104900 w 1200744"/>
                  <a:gd name="connsiteY67" fmla="*/ 558713 h 1046508"/>
                  <a:gd name="connsiteX68" fmla="*/ 1157491 w 1200744"/>
                  <a:gd name="connsiteY68" fmla="*/ 552464 h 1046508"/>
                  <a:gd name="connsiteX69" fmla="*/ 1200469 w 1200744"/>
                  <a:gd name="connsiteY69" fmla="*/ 586314 h 1046508"/>
                  <a:gd name="connsiteX70" fmla="*/ 1200468 w 1200744"/>
                  <a:gd name="connsiteY70" fmla="*/ 586314 h 1046508"/>
                  <a:gd name="connsiteX71" fmla="*/ 1166618 w 1200744"/>
                  <a:gd name="connsiteY71" fmla="*/ 629292 h 1046508"/>
                  <a:gd name="connsiteX72" fmla="*/ 1104900 w 1200744"/>
                  <a:gd name="connsiteY72" fmla="*/ 636624 h 1046508"/>
                  <a:gd name="connsiteX73" fmla="*/ 1104900 w 1200744"/>
                  <a:gd name="connsiteY73" fmla="*/ 817908 h 1046508"/>
                  <a:gd name="connsiteX74" fmla="*/ 971550 w 1200744"/>
                  <a:gd name="connsiteY74" fmla="*/ 946496 h 1046508"/>
                  <a:gd name="connsiteX75" fmla="*/ 752889 w 1200744"/>
                  <a:gd name="connsiteY75" fmla="*/ 946496 h 1046508"/>
                  <a:gd name="connsiteX76" fmla="*/ 749140 w 1200744"/>
                  <a:gd name="connsiteY76" fmla="*/ 965065 h 1046508"/>
                  <a:gd name="connsiteX77" fmla="*/ 626271 w 1200744"/>
                  <a:gd name="connsiteY77" fmla="*/ 1046508 h 1046508"/>
                  <a:gd name="connsiteX78" fmla="*/ 533770 w 1200744"/>
                  <a:gd name="connsiteY78" fmla="*/ 1046508 h 1046508"/>
                  <a:gd name="connsiteX79" fmla="*/ 410901 w 1200744"/>
                  <a:gd name="connsiteY79" fmla="*/ 965065 h 1046508"/>
                  <a:gd name="connsiteX80" fmla="*/ 407153 w 1200744"/>
                  <a:gd name="connsiteY80" fmla="*/ 946496 h 1046508"/>
                  <a:gd name="connsiteX81" fmla="*/ 190500 w 1200744"/>
                  <a:gd name="connsiteY81" fmla="*/ 946496 h 1046508"/>
                  <a:gd name="connsiteX82" fmla="*/ 59532 w 1200744"/>
                  <a:gd name="connsiteY82" fmla="*/ 825052 h 1046508"/>
                  <a:gd name="connsiteX83" fmla="*/ 59432 w 1200744"/>
                  <a:gd name="connsiteY83" fmla="*/ 710643 h 1046508"/>
                  <a:gd name="connsiteX84" fmla="*/ 48816 w 1200744"/>
                  <a:gd name="connsiteY84" fmla="*/ 710643 h 1046508"/>
                  <a:gd name="connsiteX85" fmla="*/ 14298 w 1200744"/>
                  <a:gd name="connsiteY85" fmla="*/ 696345 h 1046508"/>
                  <a:gd name="connsiteX86" fmla="*/ 0 w 1200744"/>
                  <a:gd name="connsiteY86" fmla="*/ 661828 h 1046508"/>
                  <a:gd name="connsiteX87" fmla="*/ 14298 w 1200744"/>
                  <a:gd name="connsiteY87" fmla="*/ 627310 h 1046508"/>
                  <a:gd name="connsiteX88" fmla="*/ 48816 w 1200744"/>
                  <a:gd name="connsiteY88" fmla="*/ 613012 h 1046508"/>
                  <a:gd name="connsiteX89" fmla="*/ 59346 w 1200744"/>
                  <a:gd name="connsiteY89" fmla="*/ 613012 h 1046508"/>
                  <a:gd name="connsiteX90" fmla="*/ 59247 w 1200744"/>
                  <a:gd name="connsiteY90" fmla="*/ 501147 h 1046508"/>
                  <a:gd name="connsiteX91" fmla="*/ 48816 w 1200744"/>
                  <a:gd name="connsiteY91" fmla="*/ 501147 h 1046508"/>
                  <a:gd name="connsiteX92" fmla="*/ 14298 w 1200744"/>
                  <a:gd name="connsiteY92" fmla="*/ 486849 h 1046508"/>
                  <a:gd name="connsiteX93" fmla="*/ 0 w 1200744"/>
                  <a:gd name="connsiteY93" fmla="*/ 452332 h 1046508"/>
                  <a:gd name="connsiteX94" fmla="*/ 14298 w 1200744"/>
                  <a:gd name="connsiteY94" fmla="*/ 417814 h 1046508"/>
                  <a:gd name="connsiteX95" fmla="*/ 48816 w 1200744"/>
                  <a:gd name="connsiteY95" fmla="*/ 403516 h 1046508"/>
                  <a:gd name="connsiteX96" fmla="*/ 59161 w 1200744"/>
                  <a:gd name="connsiteY96" fmla="*/ 403516 h 1046508"/>
                  <a:gd name="connsiteX97" fmla="*/ 59063 w 1200744"/>
                  <a:gd name="connsiteY97" fmla="*/ 291651 h 1046508"/>
                  <a:gd name="connsiteX98" fmla="*/ 48816 w 1200744"/>
                  <a:gd name="connsiteY98" fmla="*/ 291651 h 1046508"/>
                  <a:gd name="connsiteX99" fmla="*/ 14298 w 1200744"/>
                  <a:gd name="connsiteY99" fmla="*/ 277353 h 1046508"/>
                  <a:gd name="connsiteX100" fmla="*/ 0 w 1200744"/>
                  <a:gd name="connsiteY100" fmla="*/ 242836 h 1046508"/>
                  <a:gd name="connsiteX101" fmla="*/ 14298 w 1200744"/>
                  <a:gd name="connsiteY101" fmla="*/ 208318 h 1046508"/>
                  <a:gd name="connsiteX102" fmla="*/ 48816 w 1200744"/>
                  <a:gd name="connsiteY102" fmla="*/ 194020 h 1046508"/>
                  <a:gd name="connsiteX103" fmla="*/ 58977 w 1200744"/>
                  <a:gd name="connsiteY103" fmla="*/ 19402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792956 w 1200744"/>
                  <a:gd name="connsiteY49" fmla="*/ 387635 h 1046508"/>
                  <a:gd name="connsiteX50" fmla="*/ 883444 w 1200744"/>
                  <a:gd name="connsiteY50" fmla="*/ 376884 h 1046508"/>
                  <a:gd name="connsiteX51" fmla="*/ 1157493 w 1200744"/>
                  <a:gd name="connsiteY51" fmla="*/ 347675 h 1046508"/>
                  <a:gd name="connsiteX52" fmla="*/ 1200471 w 1200744"/>
                  <a:gd name="connsiteY52" fmla="*/ 381525 h 1046508"/>
                  <a:gd name="connsiteX53" fmla="*/ 1200470 w 1200744"/>
                  <a:gd name="connsiteY53" fmla="*/ 381526 h 1046508"/>
                  <a:gd name="connsiteX54" fmla="*/ 1166620 w 1200744"/>
                  <a:gd name="connsiteY54" fmla="*/ 424503 h 1046508"/>
                  <a:gd name="connsiteX55" fmla="*/ 883444 w 1200744"/>
                  <a:gd name="connsiteY55" fmla="*/ 458146 h 1046508"/>
                  <a:gd name="connsiteX56" fmla="*/ 883444 w 1200744"/>
                  <a:gd name="connsiteY56" fmla="*/ 506141 h 1046508"/>
                  <a:gd name="connsiteX57" fmla="*/ 792956 w 1200744"/>
                  <a:gd name="connsiteY57" fmla="*/ 516892 h 1046508"/>
                  <a:gd name="connsiteX58" fmla="*/ 792956 w 1200744"/>
                  <a:gd name="connsiteY58" fmla="*/ 468897 h 1046508"/>
                  <a:gd name="connsiteX59" fmla="*/ 688181 w 1200744"/>
                  <a:gd name="connsiteY59" fmla="*/ 481345 h 1046508"/>
                  <a:gd name="connsiteX60" fmla="*/ 688181 w 1200744"/>
                  <a:gd name="connsiteY60" fmla="*/ 529340 h 1046508"/>
                  <a:gd name="connsiteX61" fmla="*/ 418176 w 1200744"/>
                  <a:gd name="connsiteY61" fmla="*/ 561418 h 1046508"/>
                  <a:gd name="connsiteX62" fmla="*/ 392350 w 1200744"/>
                  <a:gd name="connsiteY62" fmla="*/ 575897 h 1046508"/>
                  <a:gd name="connsiteX63" fmla="*/ 384326 w 1200744"/>
                  <a:gd name="connsiteY63" fmla="*/ 604396 h 1046508"/>
                  <a:gd name="connsiteX64" fmla="*/ 398804 w 1200744"/>
                  <a:gd name="connsiteY64" fmla="*/ 630221 h 1046508"/>
                  <a:gd name="connsiteX65" fmla="*/ 427304 w 1200744"/>
                  <a:gd name="connsiteY65" fmla="*/ 638245 h 1046508"/>
                  <a:gd name="connsiteX66" fmla="*/ 1104900 w 1200744"/>
                  <a:gd name="connsiteY66" fmla="*/ 557742 h 1046508"/>
                  <a:gd name="connsiteX67" fmla="*/ 1104900 w 1200744"/>
                  <a:gd name="connsiteY67" fmla="*/ 558713 h 1046508"/>
                  <a:gd name="connsiteX68" fmla="*/ 1157491 w 1200744"/>
                  <a:gd name="connsiteY68" fmla="*/ 552464 h 1046508"/>
                  <a:gd name="connsiteX69" fmla="*/ 1200469 w 1200744"/>
                  <a:gd name="connsiteY69" fmla="*/ 586314 h 1046508"/>
                  <a:gd name="connsiteX70" fmla="*/ 1200468 w 1200744"/>
                  <a:gd name="connsiteY70" fmla="*/ 586314 h 1046508"/>
                  <a:gd name="connsiteX71" fmla="*/ 1166618 w 1200744"/>
                  <a:gd name="connsiteY71" fmla="*/ 629292 h 1046508"/>
                  <a:gd name="connsiteX72" fmla="*/ 1104900 w 1200744"/>
                  <a:gd name="connsiteY72" fmla="*/ 636624 h 1046508"/>
                  <a:gd name="connsiteX73" fmla="*/ 1104900 w 1200744"/>
                  <a:gd name="connsiteY73" fmla="*/ 817908 h 1046508"/>
                  <a:gd name="connsiteX74" fmla="*/ 971550 w 1200744"/>
                  <a:gd name="connsiteY74" fmla="*/ 946496 h 1046508"/>
                  <a:gd name="connsiteX75" fmla="*/ 752889 w 1200744"/>
                  <a:gd name="connsiteY75" fmla="*/ 946496 h 1046508"/>
                  <a:gd name="connsiteX76" fmla="*/ 749140 w 1200744"/>
                  <a:gd name="connsiteY76" fmla="*/ 965065 h 1046508"/>
                  <a:gd name="connsiteX77" fmla="*/ 626271 w 1200744"/>
                  <a:gd name="connsiteY77" fmla="*/ 1046508 h 1046508"/>
                  <a:gd name="connsiteX78" fmla="*/ 533770 w 1200744"/>
                  <a:gd name="connsiteY78" fmla="*/ 1046508 h 1046508"/>
                  <a:gd name="connsiteX79" fmla="*/ 410901 w 1200744"/>
                  <a:gd name="connsiteY79" fmla="*/ 965065 h 1046508"/>
                  <a:gd name="connsiteX80" fmla="*/ 407153 w 1200744"/>
                  <a:gd name="connsiteY80" fmla="*/ 946496 h 1046508"/>
                  <a:gd name="connsiteX81" fmla="*/ 190500 w 1200744"/>
                  <a:gd name="connsiteY81" fmla="*/ 946496 h 1046508"/>
                  <a:gd name="connsiteX82" fmla="*/ 59532 w 1200744"/>
                  <a:gd name="connsiteY82" fmla="*/ 825052 h 1046508"/>
                  <a:gd name="connsiteX83" fmla="*/ 59432 w 1200744"/>
                  <a:gd name="connsiteY83" fmla="*/ 710643 h 1046508"/>
                  <a:gd name="connsiteX84" fmla="*/ 48816 w 1200744"/>
                  <a:gd name="connsiteY84" fmla="*/ 710643 h 1046508"/>
                  <a:gd name="connsiteX85" fmla="*/ 14298 w 1200744"/>
                  <a:gd name="connsiteY85" fmla="*/ 696345 h 1046508"/>
                  <a:gd name="connsiteX86" fmla="*/ 0 w 1200744"/>
                  <a:gd name="connsiteY86" fmla="*/ 661828 h 1046508"/>
                  <a:gd name="connsiteX87" fmla="*/ 14298 w 1200744"/>
                  <a:gd name="connsiteY87" fmla="*/ 627310 h 1046508"/>
                  <a:gd name="connsiteX88" fmla="*/ 48816 w 1200744"/>
                  <a:gd name="connsiteY88" fmla="*/ 613012 h 1046508"/>
                  <a:gd name="connsiteX89" fmla="*/ 59346 w 1200744"/>
                  <a:gd name="connsiteY89" fmla="*/ 613012 h 1046508"/>
                  <a:gd name="connsiteX90" fmla="*/ 59247 w 1200744"/>
                  <a:gd name="connsiteY90" fmla="*/ 501147 h 1046508"/>
                  <a:gd name="connsiteX91" fmla="*/ 48816 w 1200744"/>
                  <a:gd name="connsiteY91" fmla="*/ 501147 h 1046508"/>
                  <a:gd name="connsiteX92" fmla="*/ 14298 w 1200744"/>
                  <a:gd name="connsiteY92" fmla="*/ 486849 h 1046508"/>
                  <a:gd name="connsiteX93" fmla="*/ 0 w 1200744"/>
                  <a:gd name="connsiteY93" fmla="*/ 452332 h 1046508"/>
                  <a:gd name="connsiteX94" fmla="*/ 14298 w 1200744"/>
                  <a:gd name="connsiteY94" fmla="*/ 417814 h 1046508"/>
                  <a:gd name="connsiteX95" fmla="*/ 48816 w 1200744"/>
                  <a:gd name="connsiteY95" fmla="*/ 403516 h 1046508"/>
                  <a:gd name="connsiteX96" fmla="*/ 59161 w 1200744"/>
                  <a:gd name="connsiteY96" fmla="*/ 403516 h 1046508"/>
                  <a:gd name="connsiteX97" fmla="*/ 59063 w 1200744"/>
                  <a:gd name="connsiteY97" fmla="*/ 291651 h 1046508"/>
                  <a:gd name="connsiteX98" fmla="*/ 48816 w 1200744"/>
                  <a:gd name="connsiteY98" fmla="*/ 291651 h 1046508"/>
                  <a:gd name="connsiteX99" fmla="*/ 14298 w 1200744"/>
                  <a:gd name="connsiteY99" fmla="*/ 277353 h 1046508"/>
                  <a:gd name="connsiteX100" fmla="*/ 0 w 1200744"/>
                  <a:gd name="connsiteY100" fmla="*/ 242836 h 1046508"/>
                  <a:gd name="connsiteX101" fmla="*/ 14298 w 1200744"/>
                  <a:gd name="connsiteY101" fmla="*/ 208318 h 1046508"/>
                  <a:gd name="connsiteX102" fmla="*/ 48816 w 1200744"/>
                  <a:gd name="connsiteY102" fmla="*/ 194020 h 1046508"/>
                  <a:gd name="connsiteX103" fmla="*/ 58977 w 1200744"/>
                  <a:gd name="connsiteY103" fmla="*/ 194020 h 1046508"/>
                  <a:gd name="connsiteX104" fmla="*/ 58806 w 1200744"/>
                  <a:gd name="connsiteY104"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792956 w 1200744"/>
                  <a:gd name="connsiteY49" fmla="*/ 387635 h 1046508"/>
                  <a:gd name="connsiteX50" fmla="*/ 1157493 w 1200744"/>
                  <a:gd name="connsiteY50" fmla="*/ 347675 h 1046508"/>
                  <a:gd name="connsiteX51" fmla="*/ 1200471 w 1200744"/>
                  <a:gd name="connsiteY51" fmla="*/ 381525 h 1046508"/>
                  <a:gd name="connsiteX52" fmla="*/ 1200470 w 1200744"/>
                  <a:gd name="connsiteY52" fmla="*/ 381526 h 1046508"/>
                  <a:gd name="connsiteX53" fmla="*/ 1166620 w 1200744"/>
                  <a:gd name="connsiteY53" fmla="*/ 424503 h 1046508"/>
                  <a:gd name="connsiteX54" fmla="*/ 883444 w 1200744"/>
                  <a:gd name="connsiteY54" fmla="*/ 458146 h 1046508"/>
                  <a:gd name="connsiteX55" fmla="*/ 883444 w 1200744"/>
                  <a:gd name="connsiteY55" fmla="*/ 506141 h 1046508"/>
                  <a:gd name="connsiteX56" fmla="*/ 792956 w 1200744"/>
                  <a:gd name="connsiteY56" fmla="*/ 516892 h 1046508"/>
                  <a:gd name="connsiteX57" fmla="*/ 792956 w 1200744"/>
                  <a:gd name="connsiteY57" fmla="*/ 468897 h 1046508"/>
                  <a:gd name="connsiteX58" fmla="*/ 688181 w 1200744"/>
                  <a:gd name="connsiteY58" fmla="*/ 481345 h 1046508"/>
                  <a:gd name="connsiteX59" fmla="*/ 688181 w 1200744"/>
                  <a:gd name="connsiteY59" fmla="*/ 529340 h 1046508"/>
                  <a:gd name="connsiteX60" fmla="*/ 418176 w 1200744"/>
                  <a:gd name="connsiteY60" fmla="*/ 561418 h 1046508"/>
                  <a:gd name="connsiteX61" fmla="*/ 392350 w 1200744"/>
                  <a:gd name="connsiteY61" fmla="*/ 575897 h 1046508"/>
                  <a:gd name="connsiteX62" fmla="*/ 384326 w 1200744"/>
                  <a:gd name="connsiteY62" fmla="*/ 604396 h 1046508"/>
                  <a:gd name="connsiteX63" fmla="*/ 398804 w 1200744"/>
                  <a:gd name="connsiteY63" fmla="*/ 630221 h 1046508"/>
                  <a:gd name="connsiteX64" fmla="*/ 427304 w 1200744"/>
                  <a:gd name="connsiteY64" fmla="*/ 638245 h 1046508"/>
                  <a:gd name="connsiteX65" fmla="*/ 1104900 w 1200744"/>
                  <a:gd name="connsiteY65" fmla="*/ 557742 h 1046508"/>
                  <a:gd name="connsiteX66" fmla="*/ 1104900 w 1200744"/>
                  <a:gd name="connsiteY66" fmla="*/ 558713 h 1046508"/>
                  <a:gd name="connsiteX67" fmla="*/ 1157491 w 1200744"/>
                  <a:gd name="connsiteY67" fmla="*/ 552464 h 1046508"/>
                  <a:gd name="connsiteX68" fmla="*/ 1200469 w 1200744"/>
                  <a:gd name="connsiteY68" fmla="*/ 586314 h 1046508"/>
                  <a:gd name="connsiteX69" fmla="*/ 1200468 w 1200744"/>
                  <a:gd name="connsiteY69" fmla="*/ 586314 h 1046508"/>
                  <a:gd name="connsiteX70" fmla="*/ 1166618 w 1200744"/>
                  <a:gd name="connsiteY70" fmla="*/ 629292 h 1046508"/>
                  <a:gd name="connsiteX71" fmla="*/ 1104900 w 1200744"/>
                  <a:gd name="connsiteY71" fmla="*/ 636624 h 1046508"/>
                  <a:gd name="connsiteX72" fmla="*/ 1104900 w 1200744"/>
                  <a:gd name="connsiteY72" fmla="*/ 817908 h 1046508"/>
                  <a:gd name="connsiteX73" fmla="*/ 971550 w 1200744"/>
                  <a:gd name="connsiteY73" fmla="*/ 946496 h 1046508"/>
                  <a:gd name="connsiteX74" fmla="*/ 752889 w 1200744"/>
                  <a:gd name="connsiteY74" fmla="*/ 946496 h 1046508"/>
                  <a:gd name="connsiteX75" fmla="*/ 749140 w 1200744"/>
                  <a:gd name="connsiteY75" fmla="*/ 965065 h 1046508"/>
                  <a:gd name="connsiteX76" fmla="*/ 626271 w 1200744"/>
                  <a:gd name="connsiteY76" fmla="*/ 1046508 h 1046508"/>
                  <a:gd name="connsiteX77" fmla="*/ 533770 w 1200744"/>
                  <a:gd name="connsiteY77" fmla="*/ 1046508 h 1046508"/>
                  <a:gd name="connsiteX78" fmla="*/ 410901 w 1200744"/>
                  <a:gd name="connsiteY78" fmla="*/ 965065 h 1046508"/>
                  <a:gd name="connsiteX79" fmla="*/ 407153 w 1200744"/>
                  <a:gd name="connsiteY79" fmla="*/ 946496 h 1046508"/>
                  <a:gd name="connsiteX80" fmla="*/ 190500 w 1200744"/>
                  <a:gd name="connsiteY80" fmla="*/ 946496 h 1046508"/>
                  <a:gd name="connsiteX81" fmla="*/ 59532 w 1200744"/>
                  <a:gd name="connsiteY81" fmla="*/ 825052 h 1046508"/>
                  <a:gd name="connsiteX82" fmla="*/ 59432 w 1200744"/>
                  <a:gd name="connsiteY82" fmla="*/ 710643 h 1046508"/>
                  <a:gd name="connsiteX83" fmla="*/ 48816 w 1200744"/>
                  <a:gd name="connsiteY83" fmla="*/ 710643 h 1046508"/>
                  <a:gd name="connsiteX84" fmla="*/ 14298 w 1200744"/>
                  <a:gd name="connsiteY84" fmla="*/ 696345 h 1046508"/>
                  <a:gd name="connsiteX85" fmla="*/ 0 w 1200744"/>
                  <a:gd name="connsiteY85" fmla="*/ 661828 h 1046508"/>
                  <a:gd name="connsiteX86" fmla="*/ 14298 w 1200744"/>
                  <a:gd name="connsiteY86" fmla="*/ 627310 h 1046508"/>
                  <a:gd name="connsiteX87" fmla="*/ 48816 w 1200744"/>
                  <a:gd name="connsiteY87" fmla="*/ 613012 h 1046508"/>
                  <a:gd name="connsiteX88" fmla="*/ 59346 w 1200744"/>
                  <a:gd name="connsiteY88" fmla="*/ 613012 h 1046508"/>
                  <a:gd name="connsiteX89" fmla="*/ 59247 w 1200744"/>
                  <a:gd name="connsiteY89" fmla="*/ 501147 h 1046508"/>
                  <a:gd name="connsiteX90" fmla="*/ 48816 w 1200744"/>
                  <a:gd name="connsiteY90" fmla="*/ 501147 h 1046508"/>
                  <a:gd name="connsiteX91" fmla="*/ 14298 w 1200744"/>
                  <a:gd name="connsiteY91" fmla="*/ 486849 h 1046508"/>
                  <a:gd name="connsiteX92" fmla="*/ 0 w 1200744"/>
                  <a:gd name="connsiteY92" fmla="*/ 452332 h 1046508"/>
                  <a:gd name="connsiteX93" fmla="*/ 14298 w 1200744"/>
                  <a:gd name="connsiteY93" fmla="*/ 417814 h 1046508"/>
                  <a:gd name="connsiteX94" fmla="*/ 48816 w 1200744"/>
                  <a:gd name="connsiteY94" fmla="*/ 403516 h 1046508"/>
                  <a:gd name="connsiteX95" fmla="*/ 59161 w 1200744"/>
                  <a:gd name="connsiteY95" fmla="*/ 403516 h 1046508"/>
                  <a:gd name="connsiteX96" fmla="*/ 59063 w 1200744"/>
                  <a:gd name="connsiteY96" fmla="*/ 291651 h 1046508"/>
                  <a:gd name="connsiteX97" fmla="*/ 48816 w 1200744"/>
                  <a:gd name="connsiteY97" fmla="*/ 291651 h 1046508"/>
                  <a:gd name="connsiteX98" fmla="*/ 14298 w 1200744"/>
                  <a:gd name="connsiteY98" fmla="*/ 277353 h 1046508"/>
                  <a:gd name="connsiteX99" fmla="*/ 0 w 1200744"/>
                  <a:gd name="connsiteY99" fmla="*/ 242836 h 1046508"/>
                  <a:gd name="connsiteX100" fmla="*/ 14298 w 1200744"/>
                  <a:gd name="connsiteY100" fmla="*/ 208318 h 1046508"/>
                  <a:gd name="connsiteX101" fmla="*/ 48816 w 1200744"/>
                  <a:gd name="connsiteY101" fmla="*/ 194020 h 1046508"/>
                  <a:gd name="connsiteX102" fmla="*/ 58977 w 1200744"/>
                  <a:gd name="connsiteY102" fmla="*/ 194020 h 1046508"/>
                  <a:gd name="connsiteX103" fmla="*/ 58806 w 1200744"/>
                  <a:gd name="connsiteY103"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792956 w 1200744"/>
                  <a:gd name="connsiteY48" fmla="*/ 390985 h 1046508"/>
                  <a:gd name="connsiteX49" fmla="*/ 1157493 w 1200744"/>
                  <a:gd name="connsiteY49" fmla="*/ 347675 h 1046508"/>
                  <a:gd name="connsiteX50" fmla="*/ 1200471 w 1200744"/>
                  <a:gd name="connsiteY50" fmla="*/ 381525 h 1046508"/>
                  <a:gd name="connsiteX51" fmla="*/ 1200470 w 1200744"/>
                  <a:gd name="connsiteY51" fmla="*/ 381526 h 1046508"/>
                  <a:gd name="connsiteX52" fmla="*/ 1166620 w 1200744"/>
                  <a:gd name="connsiteY52" fmla="*/ 424503 h 1046508"/>
                  <a:gd name="connsiteX53" fmla="*/ 883444 w 1200744"/>
                  <a:gd name="connsiteY53" fmla="*/ 458146 h 1046508"/>
                  <a:gd name="connsiteX54" fmla="*/ 883444 w 1200744"/>
                  <a:gd name="connsiteY54" fmla="*/ 506141 h 1046508"/>
                  <a:gd name="connsiteX55" fmla="*/ 792956 w 1200744"/>
                  <a:gd name="connsiteY55" fmla="*/ 516892 h 1046508"/>
                  <a:gd name="connsiteX56" fmla="*/ 792956 w 1200744"/>
                  <a:gd name="connsiteY56" fmla="*/ 468897 h 1046508"/>
                  <a:gd name="connsiteX57" fmla="*/ 688181 w 1200744"/>
                  <a:gd name="connsiteY57" fmla="*/ 481345 h 1046508"/>
                  <a:gd name="connsiteX58" fmla="*/ 688181 w 1200744"/>
                  <a:gd name="connsiteY58" fmla="*/ 529340 h 1046508"/>
                  <a:gd name="connsiteX59" fmla="*/ 418176 w 1200744"/>
                  <a:gd name="connsiteY59" fmla="*/ 561418 h 1046508"/>
                  <a:gd name="connsiteX60" fmla="*/ 392350 w 1200744"/>
                  <a:gd name="connsiteY60" fmla="*/ 575897 h 1046508"/>
                  <a:gd name="connsiteX61" fmla="*/ 384326 w 1200744"/>
                  <a:gd name="connsiteY61" fmla="*/ 604396 h 1046508"/>
                  <a:gd name="connsiteX62" fmla="*/ 398804 w 1200744"/>
                  <a:gd name="connsiteY62" fmla="*/ 630221 h 1046508"/>
                  <a:gd name="connsiteX63" fmla="*/ 427304 w 1200744"/>
                  <a:gd name="connsiteY63" fmla="*/ 638245 h 1046508"/>
                  <a:gd name="connsiteX64" fmla="*/ 1104900 w 1200744"/>
                  <a:gd name="connsiteY64" fmla="*/ 557742 h 1046508"/>
                  <a:gd name="connsiteX65" fmla="*/ 1104900 w 1200744"/>
                  <a:gd name="connsiteY65" fmla="*/ 558713 h 1046508"/>
                  <a:gd name="connsiteX66" fmla="*/ 1157491 w 1200744"/>
                  <a:gd name="connsiteY66" fmla="*/ 552464 h 1046508"/>
                  <a:gd name="connsiteX67" fmla="*/ 1200469 w 1200744"/>
                  <a:gd name="connsiteY67" fmla="*/ 586314 h 1046508"/>
                  <a:gd name="connsiteX68" fmla="*/ 1200468 w 1200744"/>
                  <a:gd name="connsiteY68" fmla="*/ 586314 h 1046508"/>
                  <a:gd name="connsiteX69" fmla="*/ 1166618 w 1200744"/>
                  <a:gd name="connsiteY69" fmla="*/ 629292 h 1046508"/>
                  <a:gd name="connsiteX70" fmla="*/ 1104900 w 1200744"/>
                  <a:gd name="connsiteY70" fmla="*/ 636624 h 1046508"/>
                  <a:gd name="connsiteX71" fmla="*/ 1104900 w 1200744"/>
                  <a:gd name="connsiteY71" fmla="*/ 817908 h 1046508"/>
                  <a:gd name="connsiteX72" fmla="*/ 971550 w 1200744"/>
                  <a:gd name="connsiteY72" fmla="*/ 946496 h 1046508"/>
                  <a:gd name="connsiteX73" fmla="*/ 752889 w 1200744"/>
                  <a:gd name="connsiteY73" fmla="*/ 946496 h 1046508"/>
                  <a:gd name="connsiteX74" fmla="*/ 749140 w 1200744"/>
                  <a:gd name="connsiteY74" fmla="*/ 965065 h 1046508"/>
                  <a:gd name="connsiteX75" fmla="*/ 626271 w 1200744"/>
                  <a:gd name="connsiteY75" fmla="*/ 1046508 h 1046508"/>
                  <a:gd name="connsiteX76" fmla="*/ 533770 w 1200744"/>
                  <a:gd name="connsiteY76" fmla="*/ 1046508 h 1046508"/>
                  <a:gd name="connsiteX77" fmla="*/ 410901 w 1200744"/>
                  <a:gd name="connsiteY77" fmla="*/ 965065 h 1046508"/>
                  <a:gd name="connsiteX78" fmla="*/ 407153 w 1200744"/>
                  <a:gd name="connsiteY78" fmla="*/ 946496 h 1046508"/>
                  <a:gd name="connsiteX79" fmla="*/ 190500 w 1200744"/>
                  <a:gd name="connsiteY79" fmla="*/ 946496 h 1046508"/>
                  <a:gd name="connsiteX80" fmla="*/ 59532 w 1200744"/>
                  <a:gd name="connsiteY80" fmla="*/ 825052 h 1046508"/>
                  <a:gd name="connsiteX81" fmla="*/ 59432 w 1200744"/>
                  <a:gd name="connsiteY81" fmla="*/ 710643 h 1046508"/>
                  <a:gd name="connsiteX82" fmla="*/ 48816 w 1200744"/>
                  <a:gd name="connsiteY82" fmla="*/ 710643 h 1046508"/>
                  <a:gd name="connsiteX83" fmla="*/ 14298 w 1200744"/>
                  <a:gd name="connsiteY83" fmla="*/ 696345 h 1046508"/>
                  <a:gd name="connsiteX84" fmla="*/ 0 w 1200744"/>
                  <a:gd name="connsiteY84" fmla="*/ 661828 h 1046508"/>
                  <a:gd name="connsiteX85" fmla="*/ 14298 w 1200744"/>
                  <a:gd name="connsiteY85" fmla="*/ 627310 h 1046508"/>
                  <a:gd name="connsiteX86" fmla="*/ 48816 w 1200744"/>
                  <a:gd name="connsiteY86" fmla="*/ 613012 h 1046508"/>
                  <a:gd name="connsiteX87" fmla="*/ 59346 w 1200744"/>
                  <a:gd name="connsiteY87" fmla="*/ 613012 h 1046508"/>
                  <a:gd name="connsiteX88" fmla="*/ 59247 w 1200744"/>
                  <a:gd name="connsiteY88" fmla="*/ 501147 h 1046508"/>
                  <a:gd name="connsiteX89" fmla="*/ 48816 w 1200744"/>
                  <a:gd name="connsiteY89" fmla="*/ 501147 h 1046508"/>
                  <a:gd name="connsiteX90" fmla="*/ 14298 w 1200744"/>
                  <a:gd name="connsiteY90" fmla="*/ 486849 h 1046508"/>
                  <a:gd name="connsiteX91" fmla="*/ 0 w 1200744"/>
                  <a:gd name="connsiteY91" fmla="*/ 452332 h 1046508"/>
                  <a:gd name="connsiteX92" fmla="*/ 14298 w 1200744"/>
                  <a:gd name="connsiteY92" fmla="*/ 417814 h 1046508"/>
                  <a:gd name="connsiteX93" fmla="*/ 48816 w 1200744"/>
                  <a:gd name="connsiteY93" fmla="*/ 403516 h 1046508"/>
                  <a:gd name="connsiteX94" fmla="*/ 59161 w 1200744"/>
                  <a:gd name="connsiteY94" fmla="*/ 403516 h 1046508"/>
                  <a:gd name="connsiteX95" fmla="*/ 59063 w 1200744"/>
                  <a:gd name="connsiteY95" fmla="*/ 291651 h 1046508"/>
                  <a:gd name="connsiteX96" fmla="*/ 48816 w 1200744"/>
                  <a:gd name="connsiteY96" fmla="*/ 291651 h 1046508"/>
                  <a:gd name="connsiteX97" fmla="*/ 14298 w 1200744"/>
                  <a:gd name="connsiteY97" fmla="*/ 277353 h 1046508"/>
                  <a:gd name="connsiteX98" fmla="*/ 0 w 1200744"/>
                  <a:gd name="connsiteY98" fmla="*/ 242836 h 1046508"/>
                  <a:gd name="connsiteX99" fmla="*/ 14298 w 1200744"/>
                  <a:gd name="connsiteY99" fmla="*/ 208318 h 1046508"/>
                  <a:gd name="connsiteX100" fmla="*/ 48816 w 1200744"/>
                  <a:gd name="connsiteY100" fmla="*/ 194020 h 1046508"/>
                  <a:gd name="connsiteX101" fmla="*/ 58977 w 1200744"/>
                  <a:gd name="connsiteY101" fmla="*/ 194020 h 1046508"/>
                  <a:gd name="connsiteX102" fmla="*/ 58806 w 1200744"/>
                  <a:gd name="connsiteY102"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688181 w 1200744"/>
                  <a:gd name="connsiteY47" fmla="*/ 403433 h 1046508"/>
                  <a:gd name="connsiteX48" fmla="*/ 1157493 w 1200744"/>
                  <a:gd name="connsiteY48" fmla="*/ 347675 h 1046508"/>
                  <a:gd name="connsiteX49" fmla="*/ 1200471 w 1200744"/>
                  <a:gd name="connsiteY49" fmla="*/ 381525 h 1046508"/>
                  <a:gd name="connsiteX50" fmla="*/ 1200470 w 1200744"/>
                  <a:gd name="connsiteY50" fmla="*/ 381526 h 1046508"/>
                  <a:gd name="connsiteX51" fmla="*/ 1166620 w 1200744"/>
                  <a:gd name="connsiteY51" fmla="*/ 424503 h 1046508"/>
                  <a:gd name="connsiteX52" fmla="*/ 883444 w 1200744"/>
                  <a:gd name="connsiteY52" fmla="*/ 458146 h 1046508"/>
                  <a:gd name="connsiteX53" fmla="*/ 883444 w 1200744"/>
                  <a:gd name="connsiteY53" fmla="*/ 506141 h 1046508"/>
                  <a:gd name="connsiteX54" fmla="*/ 792956 w 1200744"/>
                  <a:gd name="connsiteY54" fmla="*/ 516892 h 1046508"/>
                  <a:gd name="connsiteX55" fmla="*/ 792956 w 1200744"/>
                  <a:gd name="connsiteY55" fmla="*/ 468897 h 1046508"/>
                  <a:gd name="connsiteX56" fmla="*/ 688181 w 1200744"/>
                  <a:gd name="connsiteY56" fmla="*/ 481345 h 1046508"/>
                  <a:gd name="connsiteX57" fmla="*/ 688181 w 1200744"/>
                  <a:gd name="connsiteY57" fmla="*/ 529340 h 1046508"/>
                  <a:gd name="connsiteX58" fmla="*/ 418176 w 1200744"/>
                  <a:gd name="connsiteY58" fmla="*/ 561418 h 1046508"/>
                  <a:gd name="connsiteX59" fmla="*/ 392350 w 1200744"/>
                  <a:gd name="connsiteY59" fmla="*/ 575897 h 1046508"/>
                  <a:gd name="connsiteX60" fmla="*/ 384326 w 1200744"/>
                  <a:gd name="connsiteY60" fmla="*/ 604396 h 1046508"/>
                  <a:gd name="connsiteX61" fmla="*/ 398804 w 1200744"/>
                  <a:gd name="connsiteY61" fmla="*/ 630221 h 1046508"/>
                  <a:gd name="connsiteX62" fmla="*/ 427304 w 1200744"/>
                  <a:gd name="connsiteY62" fmla="*/ 638245 h 1046508"/>
                  <a:gd name="connsiteX63" fmla="*/ 1104900 w 1200744"/>
                  <a:gd name="connsiteY63" fmla="*/ 557742 h 1046508"/>
                  <a:gd name="connsiteX64" fmla="*/ 1104900 w 1200744"/>
                  <a:gd name="connsiteY64" fmla="*/ 558713 h 1046508"/>
                  <a:gd name="connsiteX65" fmla="*/ 1157491 w 1200744"/>
                  <a:gd name="connsiteY65" fmla="*/ 552464 h 1046508"/>
                  <a:gd name="connsiteX66" fmla="*/ 1200469 w 1200744"/>
                  <a:gd name="connsiteY66" fmla="*/ 586314 h 1046508"/>
                  <a:gd name="connsiteX67" fmla="*/ 1200468 w 1200744"/>
                  <a:gd name="connsiteY67" fmla="*/ 586314 h 1046508"/>
                  <a:gd name="connsiteX68" fmla="*/ 1166618 w 1200744"/>
                  <a:gd name="connsiteY68" fmla="*/ 629292 h 1046508"/>
                  <a:gd name="connsiteX69" fmla="*/ 1104900 w 1200744"/>
                  <a:gd name="connsiteY69" fmla="*/ 636624 h 1046508"/>
                  <a:gd name="connsiteX70" fmla="*/ 1104900 w 1200744"/>
                  <a:gd name="connsiteY70" fmla="*/ 817908 h 1046508"/>
                  <a:gd name="connsiteX71" fmla="*/ 971550 w 1200744"/>
                  <a:gd name="connsiteY71" fmla="*/ 946496 h 1046508"/>
                  <a:gd name="connsiteX72" fmla="*/ 752889 w 1200744"/>
                  <a:gd name="connsiteY72" fmla="*/ 946496 h 1046508"/>
                  <a:gd name="connsiteX73" fmla="*/ 749140 w 1200744"/>
                  <a:gd name="connsiteY73" fmla="*/ 965065 h 1046508"/>
                  <a:gd name="connsiteX74" fmla="*/ 626271 w 1200744"/>
                  <a:gd name="connsiteY74" fmla="*/ 1046508 h 1046508"/>
                  <a:gd name="connsiteX75" fmla="*/ 533770 w 1200744"/>
                  <a:gd name="connsiteY75" fmla="*/ 1046508 h 1046508"/>
                  <a:gd name="connsiteX76" fmla="*/ 410901 w 1200744"/>
                  <a:gd name="connsiteY76" fmla="*/ 965065 h 1046508"/>
                  <a:gd name="connsiteX77" fmla="*/ 407153 w 1200744"/>
                  <a:gd name="connsiteY77" fmla="*/ 946496 h 1046508"/>
                  <a:gd name="connsiteX78" fmla="*/ 190500 w 1200744"/>
                  <a:gd name="connsiteY78" fmla="*/ 946496 h 1046508"/>
                  <a:gd name="connsiteX79" fmla="*/ 59532 w 1200744"/>
                  <a:gd name="connsiteY79" fmla="*/ 825052 h 1046508"/>
                  <a:gd name="connsiteX80" fmla="*/ 59432 w 1200744"/>
                  <a:gd name="connsiteY80" fmla="*/ 710643 h 1046508"/>
                  <a:gd name="connsiteX81" fmla="*/ 48816 w 1200744"/>
                  <a:gd name="connsiteY81" fmla="*/ 710643 h 1046508"/>
                  <a:gd name="connsiteX82" fmla="*/ 14298 w 1200744"/>
                  <a:gd name="connsiteY82" fmla="*/ 696345 h 1046508"/>
                  <a:gd name="connsiteX83" fmla="*/ 0 w 1200744"/>
                  <a:gd name="connsiteY83" fmla="*/ 661828 h 1046508"/>
                  <a:gd name="connsiteX84" fmla="*/ 14298 w 1200744"/>
                  <a:gd name="connsiteY84" fmla="*/ 627310 h 1046508"/>
                  <a:gd name="connsiteX85" fmla="*/ 48816 w 1200744"/>
                  <a:gd name="connsiteY85" fmla="*/ 613012 h 1046508"/>
                  <a:gd name="connsiteX86" fmla="*/ 59346 w 1200744"/>
                  <a:gd name="connsiteY86" fmla="*/ 613012 h 1046508"/>
                  <a:gd name="connsiteX87" fmla="*/ 59247 w 1200744"/>
                  <a:gd name="connsiteY87" fmla="*/ 501147 h 1046508"/>
                  <a:gd name="connsiteX88" fmla="*/ 48816 w 1200744"/>
                  <a:gd name="connsiteY88" fmla="*/ 501147 h 1046508"/>
                  <a:gd name="connsiteX89" fmla="*/ 14298 w 1200744"/>
                  <a:gd name="connsiteY89" fmla="*/ 486849 h 1046508"/>
                  <a:gd name="connsiteX90" fmla="*/ 0 w 1200744"/>
                  <a:gd name="connsiteY90" fmla="*/ 452332 h 1046508"/>
                  <a:gd name="connsiteX91" fmla="*/ 14298 w 1200744"/>
                  <a:gd name="connsiteY91" fmla="*/ 417814 h 1046508"/>
                  <a:gd name="connsiteX92" fmla="*/ 48816 w 1200744"/>
                  <a:gd name="connsiteY92" fmla="*/ 403516 h 1046508"/>
                  <a:gd name="connsiteX93" fmla="*/ 59161 w 1200744"/>
                  <a:gd name="connsiteY93" fmla="*/ 403516 h 1046508"/>
                  <a:gd name="connsiteX94" fmla="*/ 59063 w 1200744"/>
                  <a:gd name="connsiteY94" fmla="*/ 291651 h 1046508"/>
                  <a:gd name="connsiteX95" fmla="*/ 48816 w 1200744"/>
                  <a:gd name="connsiteY95" fmla="*/ 291651 h 1046508"/>
                  <a:gd name="connsiteX96" fmla="*/ 14298 w 1200744"/>
                  <a:gd name="connsiteY96" fmla="*/ 277353 h 1046508"/>
                  <a:gd name="connsiteX97" fmla="*/ 0 w 1200744"/>
                  <a:gd name="connsiteY97" fmla="*/ 242836 h 1046508"/>
                  <a:gd name="connsiteX98" fmla="*/ 14298 w 1200744"/>
                  <a:gd name="connsiteY98" fmla="*/ 208318 h 1046508"/>
                  <a:gd name="connsiteX99" fmla="*/ 48816 w 1200744"/>
                  <a:gd name="connsiteY99" fmla="*/ 194020 h 1046508"/>
                  <a:gd name="connsiteX100" fmla="*/ 58977 w 1200744"/>
                  <a:gd name="connsiteY100" fmla="*/ 194020 h 1046508"/>
                  <a:gd name="connsiteX101" fmla="*/ 58806 w 1200744"/>
                  <a:gd name="connsiteY101"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688181 w 1200744"/>
                  <a:gd name="connsiteY46" fmla="*/ 400083 h 1046508"/>
                  <a:gd name="connsiteX47" fmla="*/ 1157493 w 1200744"/>
                  <a:gd name="connsiteY47" fmla="*/ 347675 h 1046508"/>
                  <a:gd name="connsiteX48" fmla="*/ 1200471 w 1200744"/>
                  <a:gd name="connsiteY48" fmla="*/ 381525 h 1046508"/>
                  <a:gd name="connsiteX49" fmla="*/ 1200470 w 1200744"/>
                  <a:gd name="connsiteY49" fmla="*/ 381526 h 1046508"/>
                  <a:gd name="connsiteX50" fmla="*/ 1166620 w 1200744"/>
                  <a:gd name="connsiteY50" fmla="*/ 424503 h 1046508"/>
                  <a:gd name="connsiteX51" fmla="*/ 883444 w 1200744"/>
                  <a:gd name="connsiteY51" fmla="*/ 458146 h 1046508"/>
                  <a:gd name="connsiteX52" fmla="*/ 883444 w 1200744"/>
                  <a:gd name="connsiteY52" fmla="*/ 506141 h 1046508"/>
                  <a:gd name="connsiteX53" fmla="*/ 792956 w 1200744"/>
                  <a:gd name="connsiteY53" fmla="*/ 516892 h 1046508"/>
                  <a:gd name="connsiteX54" fmla="*/ 792956 w 1200744"/>
                  <a:gd name="connsiteY54" fmla="*/ 468897 h 1046508"/>
                  <a:gd name="connsiteX55" fmla="*/ 688181 w 1200744"/>
                  <a:gd name="connsiteY55" fmla="*/ 481345 h 1046508"/>
                  <a:gd name="connsiteX56" fmla="*/ 688181 w 1200744"/>
                  <a:gd name="connsiteY56" fmla="*/ 529340 h 1046508"/>
                  <a:gd name="connsiteX57" fmla="*/ 418176 w 1200744"/>
                  <a:gd name="connsiteY57" fmla="*/ 561418 h 1046508"/>
                  <a:gd name="connsiteX58" fmla="*/ 392350 w 1200744"/>
                  <a:gd name="connsiteY58" fmla="*/ 575897 h 1046508"/>
                  <a:gd name="connsiteX59" fmla="*/ 384326 w 1200744"/>
                  <a:gd name="connsiteY59" fmla="*/ 604396 h 1046508"/>
                  <a:gd name="connsiteX60" fmla="*/ 398804 w 1200744"/>
                  <a:gd name="connsiteY60" fmla="*/ 630221 h 1046508"/>
                  <a:gd name="connsiteX61" fmla="*/ 427304 w 1200744"/>
                  <a:gd name="connsiteY61" fmla="*/ 638245 h 1046508"/>
                  <a:gd name="connsiteX62" fmla="*/ 1104900 w 1200744"/>
                  <a:gd name="connsiteY62" fmla="*/ 557742 h 1046508"/>
                  <a:gd name="connsiteX63" fmla="*/ 1104900 w 1200744"/>
                  <a:gd name="connsiteY63" fmla="*/ 558713 h 1046508"/>
                  <a:gd name="connsiteX64" fmla="*/ 1157491 w 1200744"/>
                  <a:gd name="connsiteY64" fmla="*/ 552464 h 1046508"/>
                  <a:gd name="connsiteX65" fmla="*/ 1200469 w 1200744"/>
                  <a:gd name="connsiteY65" fmla="*/ 586314 h 1046508"/>
                  <a:gd name="connsiteX66" fmla="*/ 1200468 w 1200744"/>
                  <a:gd name="connsiteY66" fmla="*/ 586314 h 1046508"/>
                  <a:gd name="connsiteX67" fmla="*/ 1166618 w 1200744"/>
                  <a:gd name="connsiteY67" fmla="*/ 629292 h 1046508"/>
                  <a:gd name="connsiteX68" fmla="*/ 1104900 w 1200744"/>
                  <a:gd name="connsiteY68" fmla="*/ 636624 h 1046508"/>
                  <a:gd name="connsiteX69" fmla="*/ 1104900 w 1200744"/>
                  <a:gd name="connsiteY69" fmla="*/ 817908 h 1046508"/>
                  <a:gd name="connsiteX70" fmla="*/ 971550 w 1200744"/>
                  <a:gd name="connsiteY70" fmla="*/ 946496 h 1046508"/>
                  <a:gd name="connsiteX71" fmla="*/ 752889 w 1200744"/>
                  <a:gd name="connsiteY71" fmla="*/ 946496 h 1046508"/>
                  <a:gd name="connsiteX72" fmla="*/ 749140 w 1200744"/>
                  <a:gd name="connsiteY72" fmla="*/ 965065 h 1046508"/>
                  <a:gd name="connsiteX73" fmla="*/ 626271 w 1200744"/>
                  <a:gd name="connsiteY73" fmla="*/ 1046508 h 1046508"/>
                  <a:gd name="connsiteX74" fmla="*/ 533770 w 1200744"/>
                  <a:gd name="connsiteY74" fmla="*/ 1046508 h 1046508"/>
                  <a:gd name="connsiteX75" fmla="*/ 410901 w 1200744"/>
                  <a:gd name="connsiteY75" fmla="*/ 965065 h 1046508"/>
                  <a:gd name="connsiteX76" fmla="*/ 407153 w 1200744"/>
                  <a:gd name="connsiteY76" fmla="*/ 946496 h 1046508"/>
                  <a:gd name="connsiteX77" fmla="*/ 190500 w 1200744"/>
                  <a:gd name="connsiteY77" fmla="*/ 946496 h 1046508"/>
                  <a:gd name="connsiteX78" fmla="*/ 59532 w 1200744"/>
                  <a:gd name="connsiteY78" fmla="*/ 825052 h 1046508"/>
                  <a:gd name="connsiteX79" fmla="*/ 59432 w 1200744"/>
                  <a:gd name="connsiteY79" fmla="*/ 710643 h 1046508"/>
                  <a:gd name="connsiteX80" fmla="*/ 48816 w 1200744"/>
                  <a:gd name="connsiteY80" fmla="*/ 710643 h 1046508"/>
                  <a:gd name="connsiteX81" fmla="*/ 14298 w 1200744"/>
                  <a:gd name="connsiteY81" fmla="*/ 696345 h 1046508"/>
                  <a:gd name="connsiteX82" fmla="*/ 0 w 1200744"/>
                  <a:gd name="connsiteY82" fmla="*/ 661828 h 1046508"/>
                  <a:gd name="connsiteX83" fmla="*/ 14298 w 1200744"/>
                  <a:gd name="connsiteY83" fmla="*/ 627310 h 1046508"/>
                  <a:gd name="connsiteX84" fmla="*/ 48816 w 1200744"/>
                  <a:gd name="connsiteY84" fmla="*/ 613012 h 1046508"/>
                  <a:gd name="connsiteX85" fmla="*/ 59346 w 1200744"/>
                  <a:gd name="connsiteY85" fmla="*/ 613012 h 1046508"/>
                  <a:gd name="connsiteX86" fmla="*/ 59247 w 1200744"/>
                  <a:gd name="connsiteY86" fmla="*/ 501147 h 1046508"/>
                  <a:gd name="connsiteX87" fmla="*/ 48816 w 1200744"/>
                  <a:gd name="connsiteY87" fmla="*/ 501147 h 1046508"/>
                  <a:gd name="connsiteX88" fmla="*/ 14298 w 1200744"/>
                  <a:gd name="connsiteY88" fmla="*/ 486849 h 1046508"/>
                  <a:gd name="connsiteX89" fmla="*/ 0 w 1200744"/>
                  <a:gd name="connsiteY89" fmla="*/ 452332 h 1046508"/>
                  <a:gd name="connsiteX90" fmla="*/ 14298 w 1200744"/>
                  <a:gd name="connsiteY90" fmla="*/ 417814 h 1046508"/>
                  <a:gd name="connsiteX91" fmla="*/ 48816 w 1200744"/>
                  <a:gd name="connsiteY91" fmla="*/ 403516 h 1046508"/>
                  <a:gd name="connsiteX92" fmla="*/ 59161 w 1200744"/>
                  <a:gd name="connsiteY92" fmla="*/ 403516 h 1046508"/>
                  <a:gd name="connsiteX93" fmla="*/ 59063 w 1200744"/>
                  <a:gd name="connsiteY93" fmla="*/ 291651 h 1046508"/>
                  <a:gd name="connsiteX94" fmla="*/ 48816 w 1200744"/>
                  <a:gd name="connsiteY94" fmla="*/ 291651 h 1046508"/>
                  <a:gd name="connsiteX95" fmla="*/ 14298 w 1200744"/>
                  <a:gd name="connsiteY95" fmla="*/ 277353 h 1046508"/>
                  <a:gd name="connsiteX96" fmla="*/ 0 w 1200744"/>
                  <a:gd name="connsiteY96" fmla="*/ 242836 h 1046508"/>
                  <a:gd name="connsiteX97" fmla="*/ 14298 w 1200744"/>
                  <a:gd name="connsiteY97" fmla="*/ 208318 h 1046508"/>
                  <a:gd name="connsiteX98" fmla="*/ 48816 w 1200744"/>
                  <a:gd name="connsiteY98" fmla="*/ 194020 h 1046508"/>
                  <a:gd name="connsiteX99" fmla="*/ 58977 w 1200744"/>
                  <a:gd name="connsiteY99" fmla="*/ 194020 h 1046508"/>
                  <a:gd name="connsiteX100" fmla="*/ 58806 w 1200744"/>
                  <a:gd name="connsiteY100"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92471 w 1200744"/>
                  <a:gd name="connsiteY34" fmla="*/ 238001 h 1046508"/>
                  <a:gd name="connsiteX35" fmla="*/ 883444 w 1200744"/>
                  <a:gd name="connsiteY35" fmla="*/ 235459 h 1046508"/>
                  <a:gd name="connsiteX36" fmla="*/ 883444 w 1200744"/>
                  <a:gd name="connsiteY36" fmla="*/ 298972 h 1046508"/>
                  <a:gd name="connsiteX37" fmla="*/ 792956 w 1200744"/>
                  <a:gd name="connsiteY37" fmla="*/ 309723 h 1046508"/>
                  <a:gd name="connsiteX38" fmla="*/ 792956 w 1200744"/>
                  <a:gd name="connsiteY38" fmla="*/ 265459 h 1046508"/>
                  <a:gd name="connsiteX39" fmla="*/ 688181 w 1200744"/>
                  <a:gd name="connsiteY39" fmla="*/ 265459 h 1046508"/>
                  <a:gd name="connsiteX40" fmla="*/ 688181 w 1200744"/>
                  <a:gd name="connsiteY40" fmla="*/ 322171 h 1046508"/>
                  <a:gd name="connsiteX41" fmla="*/ 418176 w 1200744"/>
                  <a:gd name="connsiteY41" fmla="*/ 354249 h 1046508"/>
                  <a:gd name="connsiteX42" fmla="*/ 392350 w 1200744"/>
                  <a:gd name="connsiteY42" fmla="*/ 368728 h 1046508"/>
                  <a:gd name="connsiteX43" fmla="*/ 384326 w 1200744"/>
                  <a:gd name="connsiteY43" fmla="*/ 397227 h 1046508"/>
                  <a:gd name="connsiteX44" fmla="*/ 398804 w 1200744"/>
                  <a:gd name="connsiteY44" fmla="*/ 423052 h 1046508"/>
                  <a:gd name="connsiteX45" fmla="*/ 427304 w 1200744"/>
                  <a:gd name="connsiteY45" fmla="*/ 431076 h 1046508"/>
                  <a:gd name="connsiteX46" fmla="*/ 1157493 w 1200744"/>
                  <a:gd name="connsiteY46" fmla="*/ 347675 h 1046508"/>
                  <a:gd name="connsiteX47" fmla="*/ 1200471 w 1200744"/>
                  <a:gd name="connsiteY47" fmla="*/ 381525 h 1046508"/>
                  <a:gd name="connsiteX48" fmla="*/ 1200470 w 1200744"/>
                  <a:gd name="connsiteY48" fmla="*/ 381526 h 1046508"/>
                  <a:gd name="connsiteX49" fmla="*/ 1166620 w 1200744"/>
                  <a:gd name="connsiteY49" fmla="*/ 424503 h 1046508"/>
                  <a:gd name="connsiteX50" fmla="*/ 883444 w 1200744"/>
                  <a:gd name="connsiteY50" fmla="*/ 458146 h 1046508"/>
                  <a:gd name="connsiteX51" fmla="*/ 883444 w 1200744"/>
                  <a:gd name="connsiteY51" fmla="*/ 506141 h 1046508"/>
                  <a:gd name="connsiteX52" fmla="*/ 792956 w 1200744"/>
                  <a:gd name="connsiteY52" fmla="*/ 516892 h 1046508"/>
                  <a:gd name="connsiteX53" fmla="*/ 792956 w 1200744"/>
                  <a:gd name="connsiteY53" fmla="*/ 468897 h 1046508"/>
                  <a:gd name="connsiteX54" fmla="*/ 688181 w 1200744"/>
                  <a:gd name="connsiteY54" fmla="*/ 481345 h 1046508"/>
                  <a:gd name="connsiteX55" fmla="*/ 688181 w 1200744"/>
                  <a:gd name="connsiteY55" fmla="*/ 529340 h 1046508"/>
                  <a:gd name="connsiteX56" fmla="*/ 418176 w 1200744"/>
                  <a:gd name="connsiteY56" fmla="*/ 561418 h 1046508"/>
                  <a:gd name="connsiteX57" fmla="*/ 392350 w 1200744"/>
                  <a:gd name="connsiteY57" fmla="*/ 575897 h 1046508"/>
                  <a:gd name="connsiteX58" fmla="*/ 384326 w 1200744"/>
                  <a:gd name="connsiteY58" fmla="*/ 604396 h 1046508"/>
                  <a:gd name="connsiteX59" fmla="*/ 398804 w 1200744"/>
                  <a:gd name="connsiteY59" fmla="*/ 630221 h 1046508"/>
                  <a:gd name="connsiteX60" fmla="*/ 427304 w 1200744"/>
                  <a:gd name="connsiteY60" fmla="*/ 638245 h 1046508"/>
                  <a:gd name="connsiteX61" fmla="*/ 1104900 w 1200744"/>
                  <a:gd name="connsiteY61" fmla="*/ 557742 h 1046508"/>
                  <a:gd name="connsiteX62" fmla="*/ 1104900 w 1200744"/>
                  <a:gd name="connsiteY62" fmla="*/ 558713 h 1046508"/>
                  <a:gd name="connsiteX63" fmla="*/ 1157491 w 1200744"/>
                  <a:gd name="connsiteY63" fmla="*/ 552464 h 1046508"/>
                  <a:gd name="connsiteX64" fmla="*/ 1200469 w 1200744"/>
                  <a:gd name="connsiteY64" fmla="*/ 586314 h 1046508"/>
                  <a:gd name="connsiteX65" fmla="*/ 1200468 w 1200744"/>
                  <a:gd name="connsiteY65" fmla="*/ 586314 h 1046508"/>
                  <a:gd name="connsiteX66" fmla="*/ 1166618 w 1200744"/>
                  <a:gd name="connsiteY66" fmla="*/ 629292 h 1046508"/>
                  <a:gd name="connsiteX67" fmla="*/ 1104900 w 1200744"/>
                  <a:gd name="connsiteY67" fmla="*/ 636624 h 1046508"/>
                  <a:gd name="connsiteX68" fmla="*/ 1104900 w 1200744"/>
                  <a:gd name="connsiteY68" fmla="*/ 817908 h 1046508"/>
                  <a:gd name="connsiteX69" fmla="*/ 971550 w 1200744"/>
                  <a:gd name="connsiteY69" fmla="*/ 946496 h 1046508"/>
                  <a:gd name="connsiteX70" fmla="*/ 752889 w 1200744"/>
                  <a:gd name="connsiteY70" fmla="*/ 946496 h 1046508"/>
                  <a:gd name="connsiteX71" fmla="*/ 749140 w 1200744"/>
                  <a:gd name="connsiteY71" fmla="*/ 965065 h 1046508"/>
                  <a:gd name="connsiteX72" fmla="*/ 626271 w 1200744"/>
                  <a:gd name="connsiteY72" fmla="*/ 1046508 h 1046508"/>
                  <a:gd name="connsiteX73" fmla="*/ 533770 w 1200744"/>
                  <a:gd name="connsiteY73" fmla="*/ 1046508 h 1046508"/>
                  <a:gd name="connsiteX74" fmla="*/ 410901 w 1200744"/>
                  <a:gd name="connsiteY74" fmla="*/ 965065 h 1046508"/>
                  <a:gd name="connsiteX75" fmla="*/ 407153 w 1200744"/>
                  <a:gd name="connsiteY75" fmla="*/ 946496 h 1046508"/>
                  <a:gd name="connsiteX76" fmla="*/ 190500 w 1200744"/>
                  <a:gd name="connsiteY76" fmla="*/ 946496 h 1046508"/>
                  <a:gd name="connsiteX77" fmla="*/ 59532 w 1200744"/>
                  <a:gd name="connsiteY77" fmla="*/ 825052 h 1046508"/>
                  <a:gd name="connsiteX78" fmla="*/ 59432 w 1200744"/>
                  <a:gd name="connsiteY78" fmla="*/ 710643 h 1046508"/>
                  <a:gd name="connsiteX79" fmla="*/ 48816 w 1200744"/>
                  <a:gd name="connsiteY79" fmla="*/ 710643 h 1046508"/>
                  <a:gd name="connsiteX80" fmla="*/ 14298 w 1200744"/>
                  <a:gd name="connsiteY80" fmla="*/ 696345 h 1046508"/>
                  <a:gd name="connsiteX81" fmla="*/ 0 w 1200744"/>
                  <a:gd name="connsiteY81" fmla="*/ 661828 h 1046508"/>
                  <a:gd name="connsiteX82" fmla="*/ 14298 w 1200744"/>
                  <a:gd name="connsiteY82" fmla="*/ 627310 h 1046508"/>
                  <a:gd name="connsiteX83" fmla="*/ 48816 w 1200744"/>
                  <a:gd name="connsiteY83" fmla="*/ 613012 h 1046508"/>
                  <a:gd name="connsiteX84" fmla="*/ 59346 w 1200744"/>
                  <a:gd name="connsiteY84" fmla="*/ 613012 h 1046508"/>
                  <a:gd name="connsiteX85" fmla="*/ 59247 w 1200744"/>
                  <a:gd name="connsiteY85" fmla="*/ 501147 h 1046508"/>
                  <a:gd name="connsiteX86" fmla="*/ 48816 w 1200744"/>
                  <a:gd name="connsiteY86" fmla="*/ 501147 h 1046508"/>
                  <a:gd name="connsiteX87" fmla="*/ 14298 w 1200744"/>
                  <a:gd name="connsiteY87" fmla="*/ 486849 h 1046508"/>
                  <a:gd name="connsiteX88" fmla="*/ 0 w 1200744"/>
                  <a:gd name="connsiteY88" fmla="*/ 452332 h 1046508"/>
                  <a:gd name="connsiteX89" fmla="*/ 14298 w 1200744"/>
                  <a:gd name="connsiteY89" fmla="*/ 417814 h 1046508"/>
                  <a:gd name="connsiteX90" fmla="*/ 48816 w 1200744"/>
                  <a:gd name="connsiteY90" fmla="*/ 403516 h 1046508"/>
                  <a:gd name="connsiteX91" fmla="*/ 59161 w 1200744"/>
                  <a:gd name="connsiteY91" fmla="*/ 403516 h 1046508"/>
                  <a:gd name="connsiteX92" fmla="*/ 59063 w 1200744"/>
                  <a:gd name="connsiteY92" fmla="*/ 291651 h 1046508"/>
                  <a:gd name="connsiteX93" fmla="*/ 48816 w 1200744"/>
                  <a:gd name="connsiteY93" fmla="*/ 291651 h 1046508"/>
                  <a:gd name="connsiteX94" fmla="*/ 14298 w 1200744"/>
                  <a:gd name="connsiteY94" fmla="*/ 277353 h 1046508"/>
                  <a:gd name="connsiteX95" fmla="*/ 0 w 1200744"/>
                  <a:gd name="connsiteY95" fmla="*/ 242836 h 1046508"/>
                  <a:gd name="connsiteX96" fmla="*/ 14298 w 1200744"/>
                  <a:gd name="connsiteY96" fmla="*/ 208318 h 1046508"/>
                  <a:gd name="connsiteX97" fmla="*/ 48816 w 1200744"/>
                  <a:gd name="connsiteY97" fmla="*/ 194020 h 1046508"/>
                  <a:gd name="connsiteX98" fmla="*/ 58977 w 1200744"/>
                  <a:gd name="connsiteY98" fmla="*/ 194020 h 1046508"/>
                  <a:gd name="connsiteX99" fmla="*/ 58806 w 1200744"/>
                  <a:gd name="connsiteY99"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83444 w 1200744"/>
                  <a:gd name="connsiteY34" fmla="*/ 235459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1157493 w 1200744"/>
                  <a:gd name="connsiteY45" fmla="*/ 347675 h 1046508"/>
                  <a:gd name="connsiteX46" fmla="*/ 1200471 w 1200744"/>
                  <a:gd name="connsiteY46" fmla="*/ 381525 h 1046508"/>
                  <a:gd name="connsiteX47" fmla="*/ 1200470 w 1200744"/>
                  <a:gd name="connsiteY47" fmla="*/ 381526 h 1046508"/>
                  <a:gd name="connsiteX48" fmla="*/ 1166620 w 1200744"/>
                  <a:gd name="connsiteY48" fmla="*/ 424503 h 1046508"/>
                  <a:gd name="connsiteX49" fmla="*/ 883444 w 1200744"/>
                  <a:gd name="connsiteY49" fmla="*/ 458146 h 1046508"/>
                  <a:gd name="connsiteX50" fmla="*/ 883444 w 1200744"/>
                  <a:gd name="connsiteY50" fmla="*/ 506141 h 1046508"/>
                  <a:gd name="connsiteX51" fmla="*/ 792956 w 1200744"/>
                  <a:gd name="connsiteY51" fmla="*/ 516892 h 1046508"/>
                  <a:gd name="connsiteX52" fmla="*/ 792956 w 1200744"/>
                  <a:gd name="connsiteY52" fmla="*/ 468897 h 1046508"/>
                  <a:gd name="connsiteX53" fmla="*/ 688181 w 1200744"/>
                  <a:gd name="connsiteY53" fmla="*/ 481345 h 1046508"/>
                  <a:gd name="connsiteX54" fmla="*/ 688181 w 1200744"/>
                  <a:gd name="connsiteY54" fmla="*/ 529340 h 1046508"/>
                  <a:gd name="connsiteX55" fmla="*/ 418176 w 1200744"/>
                  <a:gd name="connsiteY55" fmla="*/ 561418 h 1046508"/>
                  <a:gd name="connsiteX56" fmla="*/ 392350 w 1200744"/>
                  <a:gd name="connsiteY56" fmla="*/ 575897 h 1046508"/>
                  <a:gd name="connsiteX57" fmla="*/ 384326 w 1200744"/>
                  <a:gd name="connsiteY57" fmla="*/ 604396 h 1046508"/>
                  <a:gd name="connsiteX58" fmla="*/ 398804 w 1200744"/>
                  <a:gd name="connsiteY58" fmla="*/ 630221 h 1046508"/>
                  <a:gd name="connsiteX59" fmla="*/ 427304 w 1200744"/>
                  <a:gd name="connsiteY59" fmla="*/ 638245 h 1046508"/>
                  <a:gd name="connsiteX60" fmla="*/ 1104900 w 1200744"/>
                  <a:gd name="connsiteY60" fmla="*/ 557742 h 1046508"/>
                  <a:gd name="connsiteX61" fmla="*/ 1104900 w 1200744"/>
                  <a:gd name="connsiteY61" fmla="*/ 558713 h 1046508"/>
                  <a:gd name="connsiteX62" fmla="*/ 1157491 w 1200744"/>
                  <a:gd name="connsiteY62" fmla="*/ 552464 h 1046508"/>
                  <a:gd name="connsiteX63" fmla="*/ 1200469 w 1200744"/>
                  <a:gd name="connsiteY63" fmla="*/ 586314 h 1046508"/>
                  <a:gd name="connsiteX64" fmla="*/ 1200468 w 1200744"/>
                  <a:gd name="connsiteY64" fmla="*/ 586314 h 1046508"/>
                  <a:gd name="connsiteX65" fmla="*/ 1166618 w 1200744"/>
                  <a:gd name="connsiteY65" fmla="*/ 629292 h 1046508"/>
                  <a:gd name="connsiteX66" fmla="*/ 1104900 w 1200744"/>
                  <a:gd name="connsiteY66" fmla="*/ 636624 h 1046508"/>
                  <a:gd name="connsiteX67" fmla="*/ 1104900 w 1200744"/>
                  <a:gd name="connsiteY67" fmla="*/ 817908 h 1046508"/>
                  <a:gd name="connsiteX68" fmla="*/ 971550 w 1200744"/>
                  <a:gd name="connsiteY68" fmla="*/ 946496 h 1046508"/>
                  <a:gd name="connsiteX69" fmla="*/ 752889 w 1200744"/>
                  <a:gd name="connsiteY69" fmla="*/ 946496 h 1046508"/>
                  <a:gd name="connsiteX70" fmla="*/ 749140 w 1200744"/>
                  <a:gd name="connsiteY70" fmla="*/ 965065 h 1046508"/>
                  <a:gd name="connsiteX71" fmla="*/ 626271 w 1200744"/>
                  <a:gd name="connsiteY71" fmla="*/ 1046508 h 1046508"/>
                  <a:gd name="connsiteX72" fmla="*/ 533770 w 1200744"/>
                  <a:gd name="connsiteY72" fmla="*/ 1046508 h 1046508"/>
                  <a:gd name="connsiteX73" fmla="*/ 410901 w 1200744"/>
                  <a:gd name="connsiteY73" fmla="*/ 965065 h 1046508"/>
                  <a:gd name="connsiteX74" fmla="*/ 407153 w 1200744"/>
                  <a:gd name="connsiteY74" fmla="*/ 946496 h 1046508"/>
                  <a:gd name="connsiteX75" fmla="*/ 190500 w 1200744"/>
                  <a:gd name="connsiteY75" fmla="*/ 946496 h 1046508"/>
                  <a:gd name="connsiteX76" fmla="*/ 59532 w 1200744"/>
                  <a:gd name="connsiteY76" fmla="*/ 825052 h 1046508"/>
                  <a:gd name="connsiteX77" fmla="*/ 59432 w 1200744"/>
                  <a:gd name="connsiteY77" fmla="*/ 710643 h 1046508"/>
                  <a:gd name="connsiteX78" fmla="*/ 48816 w 1200744"/>
                  <a:gd name="connsiteY78" fmla="*/ 710643 h 1046508"/>
                  <a:gd name="connsiteX79" fmla="*/ 14298 w 1200744"/>
                  <a:gd name="connsiteY79" fmla="*/ 696345 h 1046508"/>
                  <a:gd name="connsiteX80" fmla="*/ 0 w 1200744"/>
                  <a:gd name="connsiteY80" fmla="*/ 661828 h 1046508"/>
                  <a:gd name="connsiteX81" fmla="*/ 14298 w 1200744"/>
                  <a:gd name="connsiteY81" fmla="*/ 627310 h 1046508"/>
                  <a:gd name="connsiteX82" fmla="*/ 48816 w 1200744"/>
                  <a:gd name="connsiteY82" fmla="*/ 613012 h 1046508"/>
                  <a:gd name="connsiteX83" fmla="*/ 59346 w 1200744"/>
                  <a:gd name="connsiteY83" fmla="*/ 613012 h 1046508"/>
                  <a:gd name="connsiteX84" fmla="*/ 59247 w 1200744"/>
                  <a:gd name="connsiteY84" fmla="*/ 501147 h 1046508"/>
                  <a:gd name="connsiteX85" fmla="*/ 48816 w 1200744"/>
                  <a:gd name="connsiteY85" fmla="*/ 501147 h 1046508"/>
                  <a:gd name="connsiteX86" fmla="*/ 14298 w 1200744"/>
                  <a:gd name="connsiteY86" fmla="*/ 486849 h 1046508"/>
                  <a:gd name="connsiteX87" fmla="*/ 0 w 1200744"/>
                  <a:gd name="connsiteY87" fmla="*/ 452332 h 1046508"/>
                  <a:gd name="connsiteX88" fmla="*/ 14298 w 1200744"/>
                  <a:gd name="connsiteY88" fmla="*/ 417814 h 1046508"/>
                  <a:gd name="connsiteX89" fmla="*/ 48816 w 1200744"/>
                  <a:gd name="connsiteY89" fmla="*/ 403516 h 1046508"/>
                  <a:gd name="connsiteX90" fmla="*/ 59161 w 1200744"/>
                  <a:gd name="connsiteY90" fmla="*/ 403516 h 1046508"/>
                  <a:gd name="connsiteX91" fmla="*/ 59063 w 1200744"/>
                  <a:gd name="connsiteY91" fmla="*/ 291651 h 1046508"/>
                  <a:gd name="connsiteX92" fmla="*/ 48816 w 1200744"/>
                  <a:gd name="connsiteY92" fmla="*/ 291651 h 1046508"/>
                  <a:gd name="connsiteX93" fmla="*/ 14298 w 1200744"/>
                  <a:gd name="connsiteY93" fmla="*/ 277353 h 1046508"/>
                  <a:gd name="connsiteX94" fmla="*/ 0 w 1200744"/>
                  <a:gd name="connsiteY94" fmla="*/ 242836 h 1046508"/>
                  <a:gd name="connsiteX95" fmla="*/ 14298 w 1200744"/>
                  <a:gd name="connsiteY95" fmla="*/ 208318 h 1046508"/>
                  <a:gd name="connsiteX96" fmla="*/ 48816 w 1200744"/>
                  <a:gd name="connsiteY96" fmla="*/ 194020 h 1046508"/>
                  <a:gd name="connsiteX97" fmla="*/ 58977 w 1200744"/>
                  <a:gd name="connsiteY97" fmla="*/ 194020 h 1046508"/>
                  <a:gd name="connsiteX98" fmla="*/ 58806 w 1200744"/>
                  <a:gd name="connsiteY98" fmla="*/ 0 h 1046508"/>
                  <a:gd name="connsiteX0" fmla="*/ 269392 w 1200744"/>
                  <a:gd name="connsiteY0" fmla="*/ 583922 h 1046508"/>
                  <a:gd name="connsiteX1" fmla="*/ 228910 w 1200744"/>
                  <a:gd name="connsiteY1" fmla="*/ 624404 h 1046508"/>
                  <a:gd name="connsiteX2" fmla="*/ 269392 w 1200744"/>
                  <a:gd name="connsiteY2" fmla="*/ 664886 h 1046508"/>
                  <a:gd name="connsiteX3" fmla="*/ 309874 w 1200744"/>
                  <a:gd name="connsiteY3" fmla="*/ 624404 h 1046508"/>
                  <a:gd name="connsiteX4" fmla="*/ 269392 w 1200744"/>
                  <a:gd name="connsiteY4" fmla="*/ 583922 h 1046508"/>
                  <a:gd name="connsiteX5" fmla="*/ 269392 w 1200744"/>
                  <a:gd name="connsiteY5" fmla="*/ 373750 h 1046508"/>
                  <a:gd name="connsiteX6" fmla="*/ 228910 w 1200744"/>
                  <a:gd name="connsiteY6" fmla="*/ 414232 h 1046508"/>
                  <a:gd name="connsiteX7" fmla="*/ 269392 w 1200744"/>
                  <a:gd name="connsiteY7" fmla="*/ 454714 h 1046508"/>
                  <a:gd name="connsiteX8" fmla="*/ 309874 w 1200744"/>
                  <a:gd name="connsiteY8" fmla="*/ 414232 h 1046508"/>
                  <a:gd name="connsiteX9" fmla="*/ 269392 w 1200744"/>
                  <a:gd name="connsiteY9" fmla="*/ 373750 h 1046508"/>
                  <a:gd name="connsiteX10" fmla="*/ 269392 w 1200744"/>
                  <a:gd name="connsiteY10" fmla="*/ 163063 h 1046508"/>
                  <a:gd name="connsiteX11" fmla="*/ 228910 w 1200744"/>
                  <a:gd name="connsiteY11" fmla="*/ 203545 h 1046508"/>
                  <a:gd name="connsiteX12" fmla="*/ 269392 w 1200744"/>
                  <a:gd name="connsiteY12" fmla="*/ 244027 h 1046508"/>
                  <a:gd name="connsiteX13" fmla="*/ 309874 w 1200744"/>
                  <a:gd name="connsiteY13" fmla="*/ 203545 h 1046508"/>
                  <a:gd name="connsiteX14" fmla="*/ 269392 w 1200744"/>
                  <a:gd name="connsiteY14" fmla="*/ 163063 h 1046508"/>
                  <a:gd name="connsiteX15" fmla="*/ 797719 w 1200744"/>
                  <a:gd name="connsiteY15" fmla="*/ 0 h 1046508"/>
                  <a:gd name="connsiteX16" fmla="*/ 883444 w 1200744"/>
                  <a:gd name="connsiteY16" fmla="*/ 0 h 1046508"/>
                  <a:gd name="connsiteX17" fmla="*/ 883444 w 1200744"/>
                  <a:gd name="connsiteY17" fmla="*/ 79897 h 1046508"/>
                  <a:gd name="connsiteX18" fmla="*/ 797719 w 1200744"/>
                  <a:gd name="connsiteY18" fmla="*/ 90082 h 1046508"/>
                  <a:gd name="connsiteX19" fmla="*/ 797719 w 1200744"/>
                  <a:gd name="connsiteY19" fmla="*/ 0 h 1046508"/>
                  <a:gd name="connsiteX20" fmla="*/ 58806 w 1200744"/>
                  <a:gd name="connsiteY20" fmla="*/ 0 h 1046508"/>
                  <a:gd name="connsiteX21" fmla="*/ 692944 w 1200744"/>
                  <a:gd name="connsiteY21" fmla="*/ 0 h 1046508"/>
                  <a:gd name="connsiteX22" fmla="*/ 692944 w 1200744"/>
                  <a:gd name="connsiteY22" fmla="*/ 102530 h 1046508"/>
                  <a:gd name="connsiteX23" fmla="*/ 418176 w 1200744"/>
                  <a:gd name="connsiteY23" fmla="*/ 135174 h 1046508"/>
                  <a:gd name="connsiteX24" fmla="*/ 392350 w 1200744"/>
                  <a:gd name="connsiteY24" fmla="*/ 149653 h 1046508"/>
                  <a:gd name="connsiteX25" fmla="*/ 384326 w 1200744"/>
                  <a:gd name="connsiteY25" fmla="*/ 178152 h 1046508"/>
                  <a:gd name="connsiteX26" fmla="*/ 398804 w 1200744"/>
                  <a:gd name="connsiteY26" fmla="*/ 203977 h 1046508"/>
                  <a:gd name="connsiteX27" fmla="*/ 427304 w 1200744"/>
                  <a:gd name="connsiteY27" fmla="*/ 212001 h 1046508"/>
                  <a:gd name="connsiteX28" fmla="*/ 1104900 w 1200744"/>
                  <a:gd name="connsiteY28" fmla="*/ 131498 h 1046508"/>
                  <a:gd name="connsiteX29" fmla="*/ 1104900 w 1200744"/>
                  <a:gd name="connsiteY29" fmla="*/ 134851 h 1046508"/>
                  <a:gd name="connsiteX30" fmla="*/ 1157493 w 1200744"/>
                  <a:gd name="connsiteY30" fmla="*/ 128603 h 1046508"/>
                  <a:gd name="connsiteX31" fmla="*/ 1200471 w 1200744"/>
                  <a:gd name="connsiteY31" fmla="*/ 162453 h 1046508"/>
                  <a:gd name="connsiteX32" fmla="*/ 1200470 w 1200744"/>
                  <a:gd name="connsiteY32" fmla="*/ 162453 h 1046508"/>
                  <a:gd name="connsiteX33" fmla="*/ 1166620 w 1200744"/>
                  <a:gd name="connsiteY33" fmla="*/ 205431 h 1046508"/>
                  <a:gd name="connsiteX34" fmla="*/ 878682 w 1200744"/>
                  <a:gd name="connsiteY34" fmla="*/ 240221 h 1046508"/>
                  <a:gd name="connsiteX35" fmla="*/ 883444 w 1200744"/>
                  <a:gd name="connsiteY35" fmla="*/ 298972 h 1046508"/>
                  <a:gd name="connsiteX36" fmla="*/ 792956 w 1200744"/>
                  <a:gd name="connsiteY36" fmla="*/ 309723 h 1046508"/>
                  <a:gd name="connsiteX37" fmla="*/ 792956 w 1200744"/>
                  <a:gd name="connsiteY37" fmla="*/ 265459 h 1046508"/>
                  <a:gd name="connsiteX38" fmla="*/ 688181 w 1200744"/>
                  <a:gd name="connsiteY38" fmla="*/ 265459 h 1046508"/>
                  <a:gd name="connsiteX39" fmla="*/ 688181 w 1200744"/>
                  <a:gd name="connsiteY39" fmla="*/ 322171 h 1046508"/>
                  <a:gd name="connsiteX40" fmla="*/ 418176 w 1200744"/>
                  <a:gd name="connsiteY40" fmla="*/ 354249 h 1046508"/>
                  <a:gd name="connsiteX41" fmla="*/ 392350 w 1200744"/>
                  <a:gd name="connsiteY41" fmla="*/ 368728 h 1046508"/>
                  <a:gd name="connsiteX42" fmla="*/ 384326 w 1200744"/>
                  <a:gd name="connsiteY42" fmla="*/ 397227 h 1046508"/>
                  <a:gd name="connsiteX43" fmla="*/ 398804 w 1200744"/>
                  <a:gd name="connsiteY43" fmla="*/ 423052 h 1046508"/>
                  <a:gd name="connsiteX44" fmla="*/ 427304 w 1200744"/>
                  <a:gd name="connsiteY44" fmla="*/ 431076 h 1046508"/>
                  <a:gd name="connsiteX45" fmla="*/ 1157493 w 1200744"/>
                  <a:gd name="connsiteY45" fmla="*/ 347675 h 1046508"/>
                  <a:gd name="connsiteX46" fmla="*/ 1200471 w 1200744"/>
                  <a:gd name="connsiteY46" fmla="*/ 381525 h 1046508"/>
                  <a:gd name="connsiteX47" fmla="*/ 1200470 w 1200744"/>
                  <a:gd name="connsiteY47" fmla="*/ 381526 h 1046508"/>
                  <a:gd name="connsiteX48" fmla="*/ 1166620 w 1200744"/>
                  <a:gd name="connsiteY48" fmla="*/ 424503 h 1046508"/>
                  <a:gd name="connsiteX49" fmla="*/ 883444 w 1200744"/>
                  <a:gd name="connsiteY49" fmla="*/ 458146 h 1046508"/>
                  <a:gd name="connsiteX50" fmla="*/ 883444 w 1200744"/>
                  <a:gd name="connsiteY50" fmla="*/ 506141 h 1046508"/>
                  <a:gd name="connsiteX51" fmla="*/ 792956 w 1200744"/>
                  <a:gd name="connsiteY51" fmla="*/ 516892 h 1046508"/>
                  <a:gd name="connsiteX52" fmla="*/ 792956 w 1200744"/>
                  <a:gd name="connsiteY52" fmla="*/ 468897 h 1046508"/>
                  <a:gd name="connsiteX53" fmla="*/ 688181 w 1200744"/>
                  <a:gd name="connsiteY53" fmla="*/ 481345 h 1046508"/>
                  <a:gd name="connsiteX54" fmla="*/ 688181 w 1200744"/>
                  <a:gd name="connsiteY54" fmla="*/ 529340 h 1046508"/>
                  <a:gd name="connsiteX55" fmla="*/ 418176 w 1200744"/>
                  <a:gd name="connsiteY55" fmla="*/ 561418 h 1046508"/>
                  <a:gd name="connsiteX56" fmla="*/ 392350 w 1200744"/>
                  <a:gd name="connsiteY56" fmla="*/ 575897 h 1046508"/>
                  <a:gd name="connsiteX57" fmla="*/ 384326 w 1200744"/>
                  <a:gd name="connsiteY57" fmla="*/ 604396 h 1046508"/>
                  <a:gd name="connsiteX58" fmla="*/ 398804 w 1200744"/>
                  <a:gd name="connsiteY58" fmla="*/ 630221 h 1046508"/>
                  <a:gd name="connsiteX59" fmla="*/ 427304 w 1200744"/>
                  <a:gd name="connsiteY59" fmla="*/ 638245 h 1046508"/>
                  <a:gd name="connsiteX60" fmla="*/ 1104900 w 1200744"/>
                  <a:gd name="connsiteY60" fmla="*/ 557742 h 1046508"/>
                  <a:gd name="connsiteX61" fmla="*/ 1104900 w 1200744"/>
                  <a:gd name="connsiteY61" fmla="*/ 558713 h 1046508"/>
                  <a:gd name="connsiteX62" fmla="*/ 1157491 w 1200744"/>
                  <a:gd name="connsiteY62" fmla="*/ 552464 h 1046508"/>
                  <a:gd name="connsiteX63" fmla="*/ 1200469 w 1200744"/>
                  <a:gd name="connsiteY63" fmla="*/ 586314 h 1046508"/>
                  <a:gd name="connsiteX64" fmla="*/ 1200468 w 1200744"/>
                  <a:gd name="connsiteY64" fmla="*/ 586314 h 1046508"/>
                  <a:gd name="connsiteX65" fmla="*/ 1166618 w 1200744"/>
                  <a:gd name="connsiteY65" fmla="*/ 629292 h 1046508"/>
                  <a:gd name="connsiteX66" fmla="*/ 1104900 w 1200744"/>
                  <a:gd name="connsiteY66" fmla="*/ 636624 h 1046508"/>
                  <a:gd name="connsiteX67" fmla="*/ 1104900 w 1200744"/>
                  <a:gd name="connsiteY67" fmla="*/ 817908 h 1046508"/>
                  <a:gd name="connsiteX68" fmla="*/ 971550 w 1200744"/>
                  <a:gd name="connsiteY68" fmla="*/ 946496 h 1046508"/>
                  <a:gd name="connsiteX69" fmla="*/ 752889 w 1200744"/>
                  <a:gd name="connsiteY69" fmla="*/ 946496 h 1046508"/>
                  <a:gd name="connsiteX70" fmla="*/ 749140 w 1200744"/>
                  <a:gd name="connsiteY70" fmla="*/ 965065 h 1046508"/>
                  <a:gd name="connsiteX71" fmla="*/ 626271 w 1200744"/>
                  <a:gd name="connsiteY71" fmla="*/ 1046508 h 1046508"/>
                  <a:gd name="connsiteX72" fmla="*/ 533770 w 1200744"/>
                  <a:gd name="connsiteY72" fmla="*/ 1046508 h 1046508"/>
                  <a:gd name="connsiteX73" fmla="*/ 410901 w 1200744"/>
                  <a:gd name="connsiteY73" fmla="*/ 965065 h 1046508"/>
                  <a:gd name="connsiteX74" fmla="*/ 407153 w 1200744"/>
                  <a:gd name="connsiteY74" fmla="*/ 946496 h 1046508"/>
                  <a:gd name="connsiteX75" fmla="*/ 190500 w 1200744"/>
                  <a:gd name="connsiteY75" fmla="*/ 946496 h 1046508"/>
                  <a:gd name="connsiteX76" fmla="*/ 59532 w 1200744"/>
                  <a:gd name="connsiteY76" fmla="*/ 825052 h 1046508"/>
                  <a:gd name="connsiteX77" fmla="*/ 59432 w 1200744"/>
                  <a:gd name="connsiteY77" fmla="*/ 710643 h 1046508"/>
                  <a:gd name="connsiteX78" fmla="*/ 48816 w 1200744"/>
                  <a:gd name="connsiteY78" fmla="*/ 710643 h 1046508"/>
                  <a:gd name="connsiteX79" fmla="*/ 14298 w 1200744"/>
                  <a:gd name="connsiteY79" fmla="*/ 696345 h 1046508"/>
                  <a:gd name="connsiteX80" fmla="*/ 0 w 1200744"/>
                  <a:gd name="connsiteY80" fmla="*/ 661828 h 1046508"/>
                  <a:gd name="connsiteX81" fmla="*/ 14298 w 1200744"/>
                  <a:gd name="connsiteY81" fmla="*/ 627310 h 1046508"/>
                  <a:gd name="connsiteX82" fmla="*/ 48816 w 1200744"/>
                  <a:gd name="connsiteY82" fmla="*/ 613012 h 1046508"/>
                  <a:gd name="connsiteX83" fmla="*/ 59346 w 1200744"/>
                  <a:gd name="connsiteY83" fmla="*/ 613012 h 1046508"/>
                  <a:gd name="connsiteX84" fmla="*/ 59247 w 1200744"/>
                  <a:gd name="connsiteY84" fmla="*/ 501147 h 1046508"/>
                  <a:gd name="connsiteX85" fmla="*/ 48816 w 1200744"/>
                  <a:gd name="connsiteY85" fmla="*/ 501147 h 1046508"/>
                  <a:gd name="connsiteX86" fmla="*/ 14298 w 1200744"/>
                  <a:gd name="connsiteY86" fmla="*/ 486849 h 1046508"/>
                  <a:gd name="connsiteX87" fmla="*/ 0 w 1200744"/>
                  <a:gd name="connsiteY87" fmla="*/ 452332 h 1046508"/>
                  <a:gd name="connsiteX88" fmla="*/ 14298 w 1200744"/>
                  <a:gd name="connsiteY88" fmla="*/ 417814 h 1046508"/>
                  <a:gd name="connsiteX89" fmla="*/ 48816 w 1200744"/>
                  <a:gd name="connsiteY89" fmla="*/ 403516 h 1046508"/>
                  <a:gd name="connsiteX90" fmla="*/ 59161 w 1200744"/>
                  <a:gd name="connsiteY90" fmla="*/ 403516 h 1046508"/>
                  <a:gd name="connsiteX91" fmla="*/ 59063 w 1200744"/>
                  <a:gd name="connsiteY91" fmla="*/ 291651 h 1046508"/>
                  <a:gd name="connsiteX92" fmla="*/ 48816 w 1200744"/>
                  <a:gd name="connsiteY92" fmla="*/ 291651 h 1046508"/>
                  <a:gd name="connsiteX93" fmla="*/ 14298 w 1200744"/>
                  <a:gd name="connsiteY93" fmla="*/ 277353 h 1046508"/>
                  <a:gd name="connsiteX94" fmla="*/ 0 w 1200744"/>
                  <a:gd name="connsiteY94" fmla="*/ 242836 h 1046508"/>
                  <a:gd name="connsiteX95" fmla="*/ 14298 w 1200744"/>
                  <a:gd name="connsiteY95" fmla="*/ 208318 h 1046508"/>
                  <a:gd name="connsiteX96" fmla="*/ 48816 w 1200744"/>
                  <a:gd name="connsiteY96" fmla="*/ 194020 h 1046508"/>
                  <a:gd name="connsiteX97" fmla="*/ 58977 w 1200744"/>
                  <a:gd name="connsiteY97" fmla="*/ 194020 h 1046508"/>
                  <a:gd name="connsiteX98" fmla="*/ 58806 w 1200744"/>
                  <a:gd name="connsiteY98" fmla="*/ 0 h 1046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200744" h="1046508">
                    <a:moveTo>
                      <a:pt x="269392" y="583922"/>
                    </a:moveTo>
                    <a:cubicBezTo>
                      <a:pt x="247034" y="583922"/>
                      <a:pt x="228910" y="602046"/>
                      <a:pt x="228910" y="624404"/>
                    </a:cubicBezTo>
                    <a:cubicBezTo>
                      <a:pt x="228910" y="646762"/>
                      <a:pt x="247034" y="664886"/>
                      <a:pt x="269392" y="664886"/>
                    </a:cubicBezTo>
                    <a:cubicBezTo>
                      <a:pt x="291750" y="664886"/>
                      <a:pt x="309874" y="646762"/>
                      <a:pt x="309874" y="624404"/>
                    </a:cubicBezTo>
                    <a:cubicBezTo>
                      <a:pt x="309874" y="602046"/>
                      <a:pt x="291750" y="583922"/>
                      <a:pt x="269392" y="583922"/>
                    </a:cubicBezTo>
                    <a:close/>
                    <a:moveTo>
                      <a:pt x="269392" y="373750"/>
                    </a:moveTo>
                    <a:cubicBezTo>
                      <a:pt x="247034" y="373750"/>
                      <a:pt x="228910" y="391874"/>
                      <a:pt x="228910" y="414232"/>
                    </a:cubicBezTo>
                    <a:cubicBezTo>
                      <a:pt x="228910" y="436590"/>
                      <a:pt x="247034" y="454714"/>
                      <a:pt x="269392" y="454714"/>
                    </a:cubicBezTo>
                    <a:cubicBezTo>
                      <a:pt x="291750" y="454714"/>
                      <a:pt x="309874" y="436590"/>
                      <a:pt x="309874" y="414232"/>
                    </a:cubicBezTo>
                    <a:cubicBezTo>
                      <a:pt x="309874" y="391874"/>
                      <a:pt x="291750" y="373750"/>
                      <a:pt x="269392" y="373750"/>
                    </a:cubicBezTo>
                    <a:close/>
                    <a:moveTo>
                      <a:pt x="269392" y="163063"/>
                    </a:moveTo>
                    <a:cubicBezTo>
                      <a:pt x="247034" y="163063"/>
                      <a:pt x="228910" y="181187"/>
                      <a:pt x="228910" y="203545"/>
                    </a:cubicBezTo>
                    <a:cubicBezTo>
                      <a:pt x="228910" y="225903"/>
                      <a:pt x="247034" y="244027"/>
                      <a:pt x="269392" y="244027"/>
                    </a:cubicBezTo>
                    <a:cubicBezTo>
                      <a:pt x="291750" y="244027"/>
                      <a:pt x="309874" y="225903"/>
                      <a:pt x="309874" y="203545"/>
                    </a:cubicBezTo>
                    <a:cubicBezTo>
                      <a:pt x="309874" y="181187"/>
                      <a:pt x="291750" y="163063"/>
                      <a:pt x="269392" y="163063"/>
                    </a:cubicBezTo>
                    <a:close/>
                    <a:moveTo>
                      <a:pt x="797719" y="0"/>
                    </a:moveTo>
                    <a:lnTo>
                      <a:pt x="883444" y="0"/>
                    </a:lnTo>
                    <a:lnTo>
                      <a:pt x="883444" y="79897"/>
                    </a:lnTo>
                    <a:lnTo>
                      <a:pt x="797719" y="90082"/>
                    </a:lnTo>
                    <a:lnTo>
                      <a:pt x="797719" y="0"/>
                    </a:lnTo>
                    <a:close/>
                    <a:moveTo>
                      <a:pt x="58806" y="0"/>
                    </a:moveTo>
                    <a:lnTo>
                      <a:pt x="692944" y="0"/>
                    </a:lnTo>
                    <a:lnTo>
                      <a:pt x="692944" y="102530"/>
                    </a:lnTo>
                    <a:lnTo>
                      <a:pt x="418176" y="135174"/>
                    </a:lnTo>
                    <a:cubicBezTo>
                      <a:pt x="407569" y="136435"/>
                      <a:pt x="398476" y="141875"/>
                      <a:pt x="392350" y="149653"/>
                    </a:cubicBezTo>
                    <a:lnTo>
                      <a:pt x="384326" y="178152"/>
                    </a:lnTo>
                    <a:lnTo>
                      <a:pt x="398804" y="203977"/>
                    </a:lnTo>
                    <a:cubicBezTo>
                      <a:pt x="406582" y="210103"/>
                      <a:pt x="416696" y="213262"/>
                      <a:pt x="427304" y="212001"/>
                    </a:cubicBezTo>
                    <a:lnTo>
                      <a:pt x="1104900" y="131498"/>
                    </a:lnTo>
                    <a:lnTo>
                      <a:pt x="1104900" y="134851"/>
                    </a:lnTo>
                    <a:lnTo>
                      <a:pt x="1157493" y="128603"/>
                    </a:lnTo>
                    <a:cubicBezTo>
                      <a:pt x="1178709" y="126082"/>
                      <a:pt x="1197951" y="141237"/>
                      <a:pt x="1200471" y="162453"/>
                    </a:cubicBezTo>
                    <a:lnTo>
                      <a:pt x="1200470" y="162453"/>
                    </a:lnTo>
                    <a:cubicBezTo>
                      <a:pt x="1202991" y="183669"/>
                      <a:pt x="1187836" y="202910"/>
                      <a:pt x="1166620" y="205431"/>
                    </a:cubicBezTo>
                    <a:lnTo>
                      <a:pt x="878682" y="240221"/>
                    </a:lnTo>
                    <a:lnTo>
                      <a:pt x="883444" y="298972"/>
                    </a:lnTo>
                    <a:lnTo>
                      <a:pt x="792956" y="309723"/>
                    </a:lnTo>
                    <a:lnTo>
                      <a:pt x="792956" y="265459"/>
                    </a:lnTo>
                    <a:lnTo>
                      <a:pt x="688181" y="265459"/>
                    </a:lnTo>
                    <a:lnTo>
                      <a:pt x="688181" y="322171"/>
                    </a:lnTo>
                    <a:lnTo>
                      <a:pt x="418176" y="354249"/>
                    </a:lnTo>
                    <a:cubicBezTo>
                      <a:pt x="407569" y="355510"/>
                      <a:pt x="398476" y="360950"/>
                      <a:pt x="392350" y="368728"/>
                    </a:cubicBezTo>
                    <a:lnTo>
                      <a:pt x="384326" y="397227"/>
                    </a:lnTo>
                    <a:lnTo>
                      <a:pt x="398804" y="423052"/>
                    </a:lnTo>
                    <a:cubicBezTo>
                      <a:pt x="406582" y="429178"/>
                      <a:pt x="416696" y="432337"/>
                      <a:pt x="427304" y="431076"/>
                    </a:cubicBezTo>
                    <a:lnTo>
                      <a:pt x="1157493" y="347675"/>
                    </a:lnTo>
                    <a:cubicBezTo>
                      <a:pt x="1178709" y="345155"/>
                      <a:pt x="1197950" y="360310"/>
                      <a:pt x="1200471" y="381525"/>
                    </a:cubicBezTo>
                    <a:lnTo>
                      <a:pt x="1200470" y="381526"/>
                    </a:lnTo>
                    <a:cubicBezTo>
                      <a:pt x="1202991" y="402741"/>
                      <a:pt x="1187836" y="421983"/>
                      <a:pt x="1166620" y="424503"/>
                    </a:cubicBezTo>
                    <a:lnTo>
                      <a:pt x="883444" y="458146"/>
                    </a:lnTo>
                    <a:lnTo>
                      <a:pt x="883444" y="506141"/>
                    </a:lnTo>
                    <a:lnTo>
                      <a:pt x="792956" y="516892"/>
                    </a:lnTo>
                    <a:lnTo>
                      <a:pt x="792956" y="468897"/>
                    </a:lnTo>
                    <a:lnTo>
                      <a:pt x="688181" y="481345"/>
                    </a:lnTo>
                    <a:lnTo>
                      <a:pt x="688181" y="529340"/>
                    </a:lnTo>
                    <a:lnTo>
                      <a:pt x="418176" y="561418"/>
                    </a:lnTo>
                    <a:cubicBezTo>
                      <a:pt x="407569" y="562679"/>
                      <a:pt x="398476" y="568119"/>
                      <a:pt x="392350" y="575897"/>
                    </a:cubicBezTo>
                    <a:lnTo>
                      <a:pt x="384326" y="604396"/>
                    </a:lnTo>
                    <a:lnTo>
                      <a:pt x="398804" y="630221"/>
                    </a:lnTo>
                    <a:cubicBezTo>
                      <a:pt x="406582" y="636347"/>
                      <a:pt x="416696" y="639506"/>
                      <a:pt x="427304" y="638245"/>
                    </a:cubicBezTo>
                    <a:lnTo>
                      <a:pt x="1104900" y="557742"/>
                    </a:lnTo>
                    <a:lnTo>
                      <a:pt x="1104900" y="558713"/>
                    </a:lnTo>
                    <a:lnTo>
                      <a:pt x="1157491" y="552464"/>
                    </a:lnTo>
                    <a:cubicBezTo>
                      <a:pt x="1178707" y="549944"/>
                      <a:pt x="1197948" y="565099"/>
                      <a:pt x="1200469" y="586314"/>
                    </a:cubicBezTo>
                    <a:lnTo>
                      <a:pt x="1200468" y="586314"/>
                    </a:lnTo>
                    <a:cubicBezTo>
                      <a:pt x="1202989" y="607530"/>
                      <a:pt x="1187834" y="626772"/>
                      <a:pt x="1166618" y="629292"/>
                    </a:cubicBezTo>
                    <a:lnTo>
                      <a:pt x="1104900" y="636624"/>
                    </a:lnTo>
                    <a:lnTo>
                      <a:pt x="1104900" y="817908"/>
                    </a:lnTo>
                    <a:lnTo>
                      <a:pt x="971550" y="946496"/>
                    </a:lnTo>
                    <a:lnTo>
                      <a:pt x="752889" y="946496"/>
                    </a:lnTo>
                    <a:lnTo>
                      <a:pt x="749140" y="965065"/>
                    </a:lnTo>
                    <a:cubicBezTo>
                      <a:pt x="728897" y="1012926"/>
                      <a:pt x="681506" y="1046508"/>
                      <a:pt x="626271" y="1046508"/>
                    </a:cubicBezTo>
                    <a:lnTo>
                      <a:pt x="533770" y="1046508"/>
                    </a:lnTo>
                    <a:cubicBezTo>
                      <a:pt x="478536" y="1046508"/>
                      <a:pt x="431145" y="1012926"/>
                      <a:pt x="410901" y="965065"/>
                    </a:cubicBezTo>
                    <a:lnTo>
                      <a:pt x="407153" y="946496"/>
                    </a:lnTo>
                    <a:lnTo>
                      <a:pt x="190500" y="946496"/>
                    </a:lnTo>
                    <a:lnTo>
                      <a:pt x="59532" y="825052"/>
                    </a:lnTo>
                    <a:cubicBezTo>
                      <a:pt x="59499" y="786916"/>
                      <a:pt x="59465" y="748779"/>
                      <a:pt x="59432" y="710643"/>
                    </a:cubicBezTo>
                    <a:lnTo>
                      <a:pt x="48816" y="710643"/>
                    </a:lnTo>
                    <a:cubicBezTo>
                      <a:pt x="35336" y="710643"/>
                      <a:pt x="23132" y="705179"/>
                      <a:pt x="14298" y="696345"/>
                    </a:cubicBezTo>
                    <a:lnTo>
                      <a:pt x="0" y="661828"/>
                    </a:lnTo>
                    <a:lnTo>
                      <a:pt x="14298" y="627310"/>
                    </a:lnTo>
                    <a:cubicBezTo>
                      <a:pt x="23132" y="618476"/>
                      <a:pt x="35336" y="613012"/>
                      <a:pt x="48816" y="613012"/>
                    </a:cubicBezTo>
                    <a:lnTo>
                      <a:pt x="59346" y="613012"/>
                    </a:lnTo>
                    <a:cubicBezTo>
                      <a:pt x="59313" y="575724"/>
                      <a:pt x="59280" y="538435"/>
                      <a:pt x="59247" y="501147"/>
                    </a:cubicBezTo>
                    <a:lnTo>
                      <a:pt x="48816" y="501147"/>
                    </a:lnTo>
                    <a:cubicBezTo>
                      <a:pt x="35336" y="501147"/>
                      <a:pt x="23132" y="495683"/>
                      <a:pt x="14298" y="486849"/>
                    </a:cubicBezTo>
                    <a:lnTo>
                      <a:pt x="0" y="452332"/>
                    </a:lnTo>
                    <a:lnTo>
                      <a:pt x="14298" y="417814"/>
                    </a:lnTo>
                    <a:cubicBezTo>
                      <a:pt x="23132" y="408980"/>
                      <a:pt x="35336" y="403516"/>
                      <a:pt x="48816" y="403516"/>
                    </a:cubicBezTo>
                    <a:lnTo>
                      <a:pt x="59161" y="403516"/>
                    </a:lnTo>
                    <a:cubicBezTo>
                      <a:pt x="59128" y="366228"/>
                      <a:pt x="59096" y="328939"/>
                      <a:pt x="59063" y="291651"/>
                    </a:cubicBezTo>
                    <a:lnTo>
                      <a:pt x="48816" y="291651"/>
                    </a:lnTo>
                    <a:cubicBezTo>
                      <a:pt x="35336" y="291651"/>
                      <a:pt x="23132" y="286187"/>
                      <a:pt x="14298" y="277353"/>
                    </a:cubicBezTo>
                    <a:lnTo>
                      <a:pt x="0" y="242836"/>
                    </a:lnTo>
                    <a:lnTo>
                      <a:pt x="14298" y="208318"/>
                    </a:lnTo>
                    <a:cubicBezTo>
                      <a:pt x="23132" y="199484"/>
                      <a:pt x="35336" y="194020"/>
                      <a:pt x="48816" y="194020"/>
                    </a:cubicBezTo>
                    <a:lnTo>
                      <a:pt x="58977" y="194020"/>
                    </a:lnTo>
                    <a:lnTo>
                      <a:pt x="58806"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sp>
            <p:nvSpPr>
              <p:cNvPr id="201" name="Freeform 88">
                <a:extLst>
                  <a:ext uri="{FF2B5EF4-FFF2-40B4-BE49-F238E27FC236}">
                    <a16:creationId xmlns:a16="http://schemas.microsoft.com/office/drawing/2014/main" id="{71638FA9-4216-4778-814E-991C7DCA2553}"/>
                  </a:ext>
                </a:extLst>
              </p:cNvPr>
              <p:cNvSpPr/>
              <p:nvPr/>
            </p:nvSpPr>
            <p:spPr>
              <a:xfrm>
                <a:off x="4242295" y="1685754"/>
                <a:ext cx="3701002" cy="3743106"/>
              </a:xfrm>
              <a:custGeom>
                <a:avLst/>
                <a:gdLst>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0346 w 3701002"/>
                  <a:gd name="connsiteY11" fmla="*/ 3114359 h 3743106"/>
                  <a:gd name="connsiteX12" fmla="*/ 2659635 w 3701002"/>
                  <a:gd name="connsiteY12" fmla="*/ 3107286 h 3743106"/>
                  <a:gd name="connsiteX13" fmla="*/ 3122601 w 3701002"/>
                  <a:gd name="connsiteY13" fmla="*/ 2107732 h 3743106"/>
                  <a:gd name="connsiteX14" fmla="*/ 1850392 w 3701002"/>
                  <a:gd name="connsiteY14" fmla="*/ 812383 h 3743106"/>
                  <a:gd name="connsiteX15" fmla="*/ 578183 w 3701002"/>
                  <a:gd name="connsiteY15" fmla="*/ 2107732 h 3743106"/>
                  <a:gd name="connsiteX16" fmla="*/ 950805 w 3701002"/>
                  <a:gd name="connsiteY16" fmla="*/ 3023682 h 3743106"/>
                  <a:gd name="connsiteX17" fmla="*/ 1028685 w 3701002"/>
                  <a:gd name="connsiteY17" fmla="*/ 3095752 h 3743106"/>
                  <a:gd name="connsiteX18" fmla="*/ 1145044 w 3701002"/>
                  <a:gd name="connsiteY18" fmla="*/ 3252006 h 3743106"/>
                  <a:gd name="connsiteX19" fmla="*/ 1289824 w 3701002"/>
                  <a:gd name="connsiteY19" fmla="*/ 3549186 h 3743106"/>
                  <a:gd name="connsiteX20" fmla="*/ 1131709 w 3701002"/>
                  <a:gd name="connsiteY20" fmla="*/ 3739686 h 3743106"/>
                  <a:gd name="connsiteX21" fmla="*/ 881519 w 3701002"/>
                  <a:gd name="connsiteY21" fmla="*/ 3637451 h 3743106"/>
                  <a:gd name="connsiteX22" fmla="*/ 771664 w 3701002"/>
                  <a:gd name="connsiteY22" fmla="*/ 3290106 h 3743106"/>
                  <a:gd name="connsiteX23" fmla="*/ 377329 w 3701002"/>
                  <a:gd name="connsiteY23" fmla="*/ 3103416 h 3743106"/>
                  <a:gd name="connsiteX24" fmla="*/ 344944 w 3701002"/>
                  <a:gd name="connsiteY24" fmla="*/ 2482386 h 3743106"/>
                  <a:gd name="connsiteX25" fmla="*/ 139 w 3701002"/>
                  <a:gd name="connsiteY25" fmla="*/ 1970576 h 3743106"/>
                  <a:gd name="connsiteX26" fmla="*/ 451624 w 3701002"/>
                  <a:gd name="connsiteY26" fmla="*/ 1403521 h 3743106"/>
                  <a:gd name="connsiteX27" fmla="*/ 496709 w 3701002"/>
                  <a:gd name="connsiteY27" fmla="*/ 659301 h 3743106"/>
                  <a:gd name="connsiteX28" fmla="*/ 1199019 w 3701002"/>
                  <a:gd name="connsiteY28" fmla="*/ 517061 h 3743106"/>
                  <a:gd name="connsiteX29" fmla="*/ 1831479 w 3701002"/>
                  <a:gd name="connsiteY29"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028685 w 3701002"/>
                  <a:gd name="connsiteY16" fmla="*/ 3095752 h 3743106"/>
                  <a:gd name="connsiteX17" fmla="*/ 1145044 w 3701002"/>
                  <a:gd name="connsiteY17" fmla="*/ 3252006 h 3743106"/>
                  <a:gd name="connsiteX18" fmla="*/ 1289824 w 3701002"/>
                  <a:gd name="connsiteY18" fmla="*/ 3549186 h 3743106"/>
                  <a:gd name="connsiteX19" fmla="*/ 1131709 w 3701002"/>
                  <a:gd name="connsiteY19" fmla="*/ 3739686 h 3743106"/>
                  <a:gd name="connsiteX20" fmla="*/ 881519 w 3701002"/>
                  <a:gd name="connsiteY20" fmla="*/ 3637451 h 3743106"/>
                  <a:gd name="connsiteX21" fmla="*/ 771664 w 3701002"/>
                  <a:gd name="connsiteY21" fmla="*/ 3290106 h 3743106"/>
                  <a:gd name="connsiteX22" fmla="*/ 377329 w 3701002"/>
                  <a:gd name="connsiteY22" fmla="*/ 3103416 h 3743106"/>
                  <a:gd name="connsiteX23" fmla="*/ 344944 w 3701002"/>
                  <a:gd name="connsiteY23" fmla="*/ 2482386 h 3743106"/>
                  <a:gd name="connsiteX24" fmla="*/ 139 w 3701002"/>
                  <a:gd name="connsiteY24" fmla="*/ 1970576 h 3743106"/>
                  <a:gd name="connsiteX25" fmla="*/ 451624 w 3701002"/>
                  <a:gd name="connsiteY25" fmla="*/ 1403521 h 3743106"/>
                  <a:gd name="connsiteX26" fmla="*/ 496709 w 3701002"/>
                  <a:gd name="connsiteY26" fmla="*/ 659301 h 3743106"/>
                  <a:gd name="connsiteX27" fmla="*/ 1199019 w 3701002"/>
                  <a:gd name="connsiteY27" fmla="*/ 517061 h 3743106"/>
                  <a:gd name="connsiteX28" fmla="*/ 1831479 w 3701002"/>
                  <a:gd name="connsiteY28"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145044 w 3701002"/>
                  <a:gd name="connsiteY16" fmla="*/ 3252006 h 3743106"/>
                  <a:gd name="connsiteX17" fmla="*/ 1289824 w 3701002"/>
                  <a:gd name="connsiteY17" fmla="*/ 3549186 h 3743106"/>
                  <a:gd name="connsiteX18" fmla="*/ 1131709 w 3701002"/>
                  <a:gd name="connsiteY18" fmla="*/ 3739686 h 3743106"/>
                  <a:gd name="connsiteX19" fmla="*/ 881519 w 3701002"/>
                  <a:gd name="connsiteY19" fmla="*/ 3637451 h 3743106"/>
                  <a:gd name="connsiteX20" fmla="*/ 771664 w 3701002"/>
                  <a:gd name="connsiteY20" fmla="*/ 3290106 h 3743106"/>
                  <a:gd name="connsiteX21" fmla="*/ 377329 w 3701002"/>
                  <a:gd name="connsiteY21" fmla="*/ 3103416 h 3743106"/>
                  <a:gd name="connsiteX22" fmla="*/ 344944 w 3701002"/>
                  <a:gd name="connsiteY22" fmla="*/ 2482386 h 3743106"/>
                  <a:gd name="connsiteX23" fmla="*/ 139 w 3701002"/>
                  <a:gd name="connsiteY23" fmla="*/ 1970576 h 3743106"/>
                  <a:gd name="connsiteX24" fmla="*/ 451624 w 3701002"/>
                  <a:gd name="connsiteY24" fmla="*/ 1403521 h 3743106"/>
                  <a:gd name="connsiteX25" fmla="*/ 496709 w 3701002"/>
                  <a:gd name="connsiteY25" fmla="*/ 659301 h 3743106"/>
                  <a:gd name="connsiteX26" fmla="*/ 1199019 w 3701002"/>
                  <a:gd name="connsiteY26" fmla="*/ 517061 h 3743106"/>
                  <a:gd name="connsiteX27" fmla="*/ 1831479 w 3701002"/>
                  <a:gd name="connsiteY27" fmla="*/ 171 h 3743106"/>
                  <a:gd name="connsiteX0" fmla="*/ 1831479 w 3701002"/>
                  <a:gd name="connsiteY0" fmla="*/ 171 h 3743106"/>
                  <a:gd name="connsiteX1" fmla="*/ 2478544 w 3701002"/>
                  <a:gd name="connsiteY1" fmla="*/ 516426 h 3743106"/>
                  <a:gd name="connsiteX2" fmla="*/ 3214509 w 3701002"/>
                  <a:gd name="connsiteY2" fmla="*/ 673906 h 3743106"/>
                  <a:gd name="connsiteX3" fmla="*/ 3270389 w 3701002"/>
                  <a:gd name="connsiteY3" fmla="*/ 1425746 h 3743106"/>
                  <a:gd name="connsiteX4" fmla="*/ 3700601 w 3701002"/>
                  <a:gd name="connsiteY4" fmla="*/ 1942319 h 3743106"/>
                  <a:gd name="connsiteX5" fmla="*/ 3354844 w 3701002"/>
                  <a:gd name="connsiteY5" fmla="*/ 2512866 h 3743106"/>
                  <a:gd name="connsiteX6" fmla="*/ 3320872 w 3701002"/>
                  <a:gd name="connsiteY6" fmla="*/ 3113258 h 3743106"/>
                  <a:gd name="connsiteX7" fmla="*/ 2933839 w 3701002"/>
                  <a:gd name="connsiteY7" fmla="*/ 3291059 h 3743106"/>
                  <a:gd name="connsiteX8" fmla="*/ 2771914 w 3701002"/>
                  <a:gd name="connsiteY8" fmla="*/ 3691109 h 3743106"/>
                  <a:gd name="connsiteX9" fmla="*/ 2440444 w 3701002"/>
                  <a:gd name="connsiteY9" fmla="*/ 3640626 h 3743106"/>
                  <a:gd name="connsiteX10" fmla="*/ 2501404 w 3701002"/>
                  <a:gd name="connsiteY10" fmla="*/ 3320586 h 3743106"/>
                  <a:gd name="connsiteX11" fmla="*/ 2659635 w 3701002"/>
                  <a:gd name="connsiteY11" fmla="*/ 3107286 h 3743106"/>
                  <a:gd name="connsiteX12" fmla="*/ 3122601 w 3701002"/>
                  <a:gd name="connsiteY12" fmla="*/ 2107732 h 3743106"/>
                  <a:gd name="connsiteX13" fmla="*/ 1850392 w 3701002"/>
                  <a:gd name="connsiteY13" fmla="*/ 812383 h 3743106"/>
                  <a:gd name="connsiteX14" fmla="*/ 578183 w 3701002"/>
                  <a:gd name="connsiteY14" fmla="*/ 2107732 h 3743106"/>
                  <a:gd name="connsiteX15" fmla="*/ 950805 w 3701002"/>
                  <a:gd name="connsiteY15" fmla="*/ 3023682 h 3743106"/>
                  <a:gd name="connsiteX16" fmla="*/ 1145044 w 3701002"/>
                  <a:gd name="connsiteY16" fmla="*/ 3252006 h 3743106"/>
                  <a:gd name="connsiteX17" fmla="*/ 1289824 w 3701002"/>
                  <a:gd name="connsiteY17" fmla="*/ 3549186 h 3743106"/>
                  <a:gd name="connsiteX18" fmla="*/ 1131709 w 3701002"/>
                  <a:gd name="connsiteY18" fmla="*/ 3739686 h 3743106"/>
                  <a:gd name="connsiteX19" fmla="*/ 881519 w 3701002"/>
                  <a:gd name="connsiteY19" fmla="*/ 3637451 h 3743106"/>
                  <a:gd name="connsiteX20" fmla="*/ 771664 w 3701002"/>
                  <a:gd name="connsiteY20" fmla="*/ 3290106 h 3743106"/>
                  <a:gd name="connsiteX21" fmla="*/ 377329 w 3701002"/>
                  <a:gd name="connsiteY21" fmla="*/ 3103416 h 3743106"/>
                  <a:gd name="connsiteX22" fmla="*/ 344944 w 3701002"/>
                  <a:gd name="connsiteY22" fmla="*/ 2482386 h 3743106"/>
                  <a:gd name="connsiteX23" fmla="*/ 139 w 3701002"/>
                  <a:gd name="connsiteY23" fmla="*/ 1970576 h 3743106"/>
                  <a:gd name="connsiteX24" fmla="*/ 451624 w 3701002"/>
                  <a:gd name="connsiteY24" fmla="*/ 1403521 h 3743106"/>
                  <a:gd name="connsiteX25" fmla="*/ 496709 w 3701002"/>
                  <a:gd name="connsiteY25" fmla="*/ 659301 h 3743106"/>
                  <a:gd name="connsiteX26" fmla="*/ 1199019 w 3701002"/>
                  <a:gd name="connsiteY26" fmla="*/ 517061 h 3743106"/>
                  <a:gd name="connsiteX27" fmla="*/ 1831479 w 3701002"/>
                  <a:gd name="connsiteY27" fmla="*/ 171 h 3743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701002" h="3743106">
                    <a:moveTo>
                      <a:pt x="1831479" y="171"/>
                    </a:moveTo>
                    <a:cubicBezTo>
                      <a:pt x="2193958" y="-9460"/>
                      <a:pt x="2228989" y="388262"/>
                      <a:pt x="2478544" y="516426"/>
                    </a:cubicBezTo>
                    <a:cubicBezTo>
                      <a:pt x="2724924" y="638240"/>
                      <a:pt x="3031735" y="420753"/>
                      <a:pt x="3214509" y="673906"/>
                    </a:cubicBezTo>
                    <a:cubicBezTo>
                      <a:pt x="3397283" y="927059"/>
                      <a:pt x="3125874" y="1106394"/>
                      <a:pt x="3270389" y="1425746"/>
                    </a:cubicBezTo>
                    <a:cubicBezTo>
                      <a:pt x="3414904" y="1745098"/>
                      <a:pt x="3685678" y="1679112"/>
                      <a:pt x="3700601" y="1942319"/>
                    </a:cubicBezTo>
                    <a:cubicBezTo>
                      <a:pt x="3712349" y="2221401"/>
                      <a:pt x="3463112" y="2181714"/>
                      <a:pt x="3354844" y="2512866"/>
                    </a:cubicBezTo>
                    <a:cubicBezTo>
                      <a:pt x="3238639" y="2836081"/>
                      <a:pt x="3476765" y="2888309"/>
                      <a:pt x="3320872" y="3113258"/>
                    </a:cubicBezTo>
                    <a:cubicBezTo>
                      <a:pt x="3231655" y="3262007"/>
                      <a:pt x="3076132" y="3153476"/>
                      <a:pt x="2933839" y="3291059"/>
                    </a:cubicBezTo>
                    <a:cubicBezTo>
                      <a:pt x="2791546" y="3428642"/>
                      <a:pt x="2888756" y="3603161"/>
                      <a:pt x="2771914" y="3691109"/>
                    </a:cubicBezTo>
                    <a:cubicBezTo>
                      <a:pt x="2688410" y="3783819"/>
                      <a:pt x="2499817" y="3735717"/>
                      <a:pt x="2440444" y="3640626"/>
                    </a:cubicBezTo>
                    <a:cubicBezTo>
                      <a:pt x="2381071" y="3545535"/>
                      <a:pt x="2441714" y="3442506"/>
                      <a:pt x="2501404" y="3320586"/>
                    </a:cubicBezTo>
                    <a:lnTo>
                      <a:pt x="2659635" y="3107286"/>
                    </a:lnTo>
                    <a:cubicBezTo>
                      <a:pt x="2942380" y="2869700"/>
                      <a:pt x="3122601" y="2510145"/>
                      <a:pt x="3122601" y="2107732"/>
                    </a:cubicBezTo>
                    <a:cubicBezTo>
                      <a:pt x="3122601" y="1392331"/>
                      <a:pt x="2553014" y="812383"/>
                      <a:pt x="1850392" y="812383"/>
                    </a:cubicBezTo>
                    <a:cubicBezTo>
                      <a:pt x="1147770" y="812383"/>
                      <a:pt x="578183" y="1392331"/>
                      <a:pt x="578183" y="2107732"/>
                    </a:cubicBezTo>
                    <a:cubicBezTo>
                      <a:pt x="578183" y="2465433"/>
                      <a:pt x="720580" y="2789270"/>
                      <a:pt x="950805" y="3023682"/>
                    </a:cubicBezTo>
                    <a:cubicBezTo>
                      <a:pt x="1039364" y="3104553"/>
                      <a:pt x="1080298" y="3175898"/>
                      <a:pt x="1145044" y="3252006"/>
                    </a:cubicBezTo>
                    <a:cubicBezTo>
                      <a:pt x="1213624" y="3361226"/>
                      <a:pt x="1292047" y="3467906"/>
                      <a:pt x="1289824" y="3549186"/>
                    </a:cubicBezTo>
                    <a:cubicBezTo>
                      <a:pt x="1287602" y="3630466"/>
                      <a:pt x="1199760" y="3724975"/>
                      <a:pt x="1131709" y="3739686"/>
                    </a:cubicBezTo>
                    <a:cubicBezTo>
                      <a:pt x="1063658" y="3754397"/>
                      <a:pt x="935176" y="3721906"/>
                      <a:pt x="881519" y="3637451"/>
                    </a:cubicBezTo>
                    <a:cubicBezTo>
                      <a:pt x="827862" y="3552996"/>
                      <a:pt x="922371" y="3429912"/>
                      <a:pt x="771664" y="3290106"/>
                    </a:cubicBezTo>
                    <a:cubicBezTo>
                      <a:pt x="620957" y="3150300"/>
                      <a:pt x="489724" y="3259626"/>
                      <a:pt x="377329" y="3103416"/>
                    </a:cubicBezTo>
                    <a:cubicBezTo>
                      <a:pt x="245884" y="2847193"/>
                      <a:pt x="472103" y="2764062"/>
                      <a:pt x="344944" y="2482386"/>
                    </a:cubicBezTo>
                    <a:cubicBezTo>
                      <a:pt x="189211" y="2141178"/>
                      <a:pt x="8552" y="2246432"/>
                      <a:pt x="139" y="1970576"/>
                    </a:cubicBezTo>
                    <a:cubicBezTo>
                      <a:pt x="-7481" y="1701865"/>
                      <a:pt x="299012" y="1730017"/>
                      <a:pt x="451624" y="1403521"/>
                    </a:cubicBezTo>
                    <a:cubicBezTo>
                      <a:pt x="528036" y="943675"/>
                      <a:pt x="318168" y="908644"/>
                      <a:pt x="496709" y="659301"/>
                    </a:cubicBezTo>
                    <a:cubicBezTo>
                      <a:pt x="675250" y="409958"/>
                      <a:pt x="956978" y="650728"/>
                      <a:pt x="1199019" y="517061"/>
                    </a:cubicBezTo>
                    <a:cubicBezTo>
                      <a:pt x="1485510" y="418319"/>
                      <a:pt x="1469000" y="9802"/>
                      <a:pt x="1831479" y="171"/>
                    </a:cubicBez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mj-lt"/>
                  <a:ea typeface="+mn-ea"/>
                  <a:cs typeface="+mn-cs"/>
                </a:endParaRPr>
              </a:p>
            </p:txBody>
          </p:sp>
        </p:grpSp>
      </p:grpSp>
      <p:sp>
        <p:nvSpPr>
          <p:cNvPr id="202" name="Rectangle 201">
            <a:extLst>
              <a:ext uri="{FF2B5EF4-FFF2-40B4-BE49-F238E27FC236}">
                <a16:creationId xmlns:a16="http://schemas.microsoft.com/office/drawing/2014/main" id="{22683802-75F6-473A-8B94-953A62AFBFBC}"/>
              </a:ext>
            </a:extLst>
          </p:cNvPr>
          <p:cNvSpPr/>
          <p:nvPr/>
        </p:nvSpPr>
        <p:spPr>
          <a:xfrm>
            <a:off x="1817647" y="5069593"/>
            <a:ext cx="1722161" cy="307777"/>
          </a:xfrm>
          <a:prstGeom prst="rect">
            <a:avLst/>
          </a:prstGeom>
        </p:spPr>
        <p:txBody>
          <a:bodyPr wrap="square">
            <a:sp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prstClr val="black"/>
                </a:solidFill>
                <a:effectLst/>
                <a:uLnTx/>
                <a:uFillTx/>
                <a:latin typeface="+mj-lt"/>
                <a:ea typeface="+mn-ea"/>
                <a:cs typeface="Segoe UI Semilight" panose="020B0402040204020203" pitchFamily="34" charset="0"/>
              </a:rPr>
              <a:t>Effort Reduction</a:t>
            </a:r>
          </a:p>
        </p:txBody>
      </p:sp>
      <p:sp>
        <p:nvSpPr>
          <p:cNvPr id="203" name="TextBox 202">
            <a:extLst>
              <a:ext uri="{FF2B5EF4-FFF2-40B4-BE49-F238E27FC236}">
                <a16:creationId xmlns:a16="http://schemas.microsoft.com/office/drawing/2014/main" id="{3EE75F51-C7B9-42A5-B15F-9D9CDD9FEBDA}"/>
              </a:ext>
            </a:extLst>
          </p:cNvPr>
          <p:cNvSpPr txBox="1"/>
          <p:nvPr/>
        </p:nvSpPr>
        <p:spPr>
          <a:xfrm>
            <a:off x="2219457" y="4593860"/>
            <a:ext cx="875561" cy="523220"/>
          </a:xfrm>
          <a:prstGeom prst="rect">
            <a:avLst/>
          </a:prstGeom>
          <a:solidFill>
            <a:schemeClr val="bg1"/>
          </a:solidFill>
        </p:spPr>
        <p:txBody>
          <a:bodyPr wrap="none" rtlCol="0">
            <a:spAutoFit/>
          </a:bodyPr>
          <a:lstStyle>
            <a:defPPr>
              <a:defRPr lang="en-US"/>
            </a:defPPr>
            <a:lvl1pPr defTabSz="914377" fontAlgn="base">
              <a:spcBef>
                <a:spcPct val="0"/>
              </a:spcBef>
              <a:spcAft>
                <a:spcPct val="0"/>
              </a:spcAft>
              <a:defRPr sz="2000" b="1" kern="0">
                <a:solidFill>
                  <a:schemeClr val="accent1"/>
                </a:solidFill>
                <a:cs typeface="Arial" charset="0"/>
              </a:defRPr>
            </a:lvl1p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a:ln>
                  <a:noFill/>
                </a:ln>
                <a:solidFill>
                  <a:srgbClr val="0066A1"/>
                </a:solidFill>
                <a:effectLst/>
                <a:uLnTx/>
                <a:uFillTx/>
                <a:latin typeface="+mj-lt"/>
                <a:ea typeface="+mn-ea"/>
                <a:cs typeface="Arial" charset="0"/>
              </a:rPr>
              <a:t>50%</a:t>
            </a:r>
          </a:p>
        </p:txBody>
      </p:sp>
    </p:spTree>
    <p:extLst>
      <p:ext uri="{BB962C8B-B14F-4D97-AF65-F5344CB8AC3E}">
        <p14:creationId xmlns:p14="http://schemas.microsoft.com/office/powerpoint/2010/main" val="131099612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txBox="1">
            <a:spLocks noGrp="1"/>
          </p:cNvSpPr>
          <p:nvPr>
            <p:ph type="ctrTitle"/>
          </p:nvPr>
        </p:nvSpPr>
        <p:spPr>
          <a:prstGeom prst="rect">
            <a:avLst/>
          </a:prstGeom>
        </p:spPr>
        <p:txBody>
          <a:bodyPr vert="horz" wrap="square" lIns="0" tIns="12065" rIns="0" bIns="0" rtlCol="0">
            <a:spAutoFit/>
          </a:bodyPr>
          <a:lstStyle/>
          <a:p>
            <a:pPr marL="12700">
              <a:lnSpc>
                <a:spcPct val="100000"/>
              </a:lnSpc>
              <a:spcBef>
                <a:spcPts val="95"/>
              </a:spcBef>
            </a:pPr>
            <a:r>
              <a:rPr spc="-10"/>
              <a:t>Thank</a:t>
            </a:r>
            <a:r>
              <a:rPr spc="-75"/>
              <a:t> </a:t>
            </a:r>
            <a:r>
              <a:rPr spc="-25"/>
              <a:t>you</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3699BB3-79D5-45CD-B629-E13C4CDC4DA5}"/>
              </a:ext>
            </a:extLst>
          </p:cNvPr>
          <p:cNvSpPr>
            <a:spLocks noGrp="1"/>
          </p:cNvSpPr>
          <p:nvPr>
            <p:ph type="body" sz="quarter" idx="10"/>
          </p:nvPr>
        </p:nvSpPr>
        <p:spPr/>
        <p:txBody>
          <a:bodyPr/>
          <a:lstStyle/>
          <a:p>
            <a:r>
              <a:rPr lang="en-US"/>
              <a:t>Our Understanding of Requirements</a:t>
            </a:r>
            <a:endParaRPr lang="en-GB"/>
          </a:p>
        </p:txBody>
      </p:sp>
      <p:sp>
        <p:nvSpPr>
          <p:cNvPr id="5" name="Text Placeholder 4">
            <a:extLst>
              <a:ext uri="{FF2B5EF4-FFF2-40B4-BE49-F238E27FC236}">
                <a16:creationId xmlns:a16="http://schemas.microsoft.com/office/drawing/2014/main" id="{46F18EF0-DD07-443B-AA38-6509A481B8C0}"/>
              </a:ext>
            </a:extLst>
          </p:cNvPr>
          <p:cNvSpPr>
            <a:spLocks noGrp="1"/>
          </p:cNvSpPr>
          <p:nvPr>
            <p:ph type="body" sz="quarter" idx="16"/>
          </p:nvPr>
        </p:nvSpPr>
        <p:spPr>
          <a:xfrm>
            <a:off x="435577" y="2537691"/>
            <a:ext cx="658835" cy="574453"/>
          </a:xfrm>
        </p:spPr>
        <p:txBody>
          <a:bodyPr/>
          <a:lstStyle/>
          <a:p>
            <a:r>
              <a:rPr lang="en-GB"/>
              <a:t>02.</a:t>
            </a:r>
          </a:p>
        </p:txBody>
      </p:sp>
    </p:spTree>
    <p:extLst>
      <p:ext uri="{BB962C8B-B14F-4D97-AF65-F5344CB8AC3E}">
        <p14:creationId xmlns:p14="http://schemas.microsoft.com/office/powerpoint/2010/main" val="29283915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D5D78B8-9513-4DEF-A8E4-5A565CD10CA6}"/>
              </a:ext>
            </a:extLst>
          </p:cNvPr>
          <p:cNvSpPr>
            <a:spLocks noGrp="1"/>
          </p:cNvSpPr>
          <p:nvPr>
            <p:ph type="title"/>
          </p:nvPr>
        </p:nvSpPr>
        <p:spPr/>
        <p:txBody>
          <a:bodyPr/>
          <a:lstStyle/>
          <a:p>
            <a:r>
              <a:rPr lang="en-US"/>
              <a:t>Atos Understanding of Manulife Requirements</a:t>
            </a:r>
            <a:endParaRPr lang="en-GB"/>
          </a:p>
        </p:txBody>
      </p:sp>
      <p:grpSp>
        <p:nvGrpSpPr>
          <p:cNvPr id="12" name="Group 11">
            <a:extLst>
              <a:ext uri="{FF2B5EF4-FFF2-40B4-BE49-F238E27FC236}">
                <a16:creationId xmlns:a16="http://schemas.microsoft.com/office/drawing/2014/main" id="{2C35EADB-5EAB-4565-BB29-4074FD52E766}"/>
              </a:ext>
            </a:extLst>
          </p:cNvPr>
          <p:cNvGrpSpPr/>
          <p:nvPr/>
        </p:nvGrpSpPr>
        <p:grpSpPr>
          <a:xfrm>
            <a:off x="-23215" y="987752"/>
            <a:ext cx="11752761" cy="2407417"/>
            <a:chOff x="430634" y="805350"/>
            <a:chExt cx="11752761" cy="3185295"/>
          </a:xfrm>
        </p:grpSpPr>
        <p:sp>
          <p:nvSpPr>
            <p:cNvPr id="4" name="Freeform: Shape 3">
              <a:extLst>
                <a:ext uri="{FF2B5EF4-FFF2-40B4-BE49-F238E27FC236}">
                  <a16:creationId xmlns:a16="http://schemas.microsoft.com/office/drawing/2014/main" id="{B7B2E2E2-FBB0-480F-AE2D-1DD1483E82DF}"/>
                </a:ext>
              </a:extLst>
            </p:cNvPr>
            <p:cNvSpPr/>
            <p:nvPr/>
          </p:nvSpPr>
          <p:spPr>
            <a:xfrm>
              <a:off x="430634" y="2219797"/>
              <a:ext cx="1325403" cy="356400"/>
            </a:xfrm>
            <a:custGeom>
              <a:avLst/>
              <a:gdLst>
                <a:gd name="connsiteX0" fmla="*/ 0 w 2947147"/>
                <a:gd name="connsiteY0" fmla="*/ 0 h 356400"/>
                <a:gd name="connsiteX1" fmla="*/ 2947147 w 2947147"/>
                <a:gd name="connsiteY1" fmla="*/ 0 h 356400"/>
                <a:gd name="connsiteX2" fmla="*/ 2947147 w 2947147"/>
                <a:gd name="connsiteY2" fmla="*/ 356400 h 356400"/>
                <a:gd name="connsiteX3" fmla="*/ 0 w 2947147"/>
                <a:gd name="connsiteY3" fmla="*/ 356400 h 356400"/>
                <a:gd name="connsiteX4" fmla="*/ 0 w 2947147"/>
                <a:gd name="connsiteY4" fmla="*/ 0 h 356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7147" h="356400">
                  <a:moveTo>
                    <a:pt x="0" y="0"/>
                  </a:moveTo>
                  <a:lnTo>
                    <a:pt x="2947147" y="0"/>
                  </a:lnTo>
                  <a:lnTo>
                    <a:pt x="2947147" y="356400"/>
                  </a:lnTo>
                  <a:lnTo>
                    <a:pt x="0" y="3564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28016" tIns="45720" rIns="128016" bIns="45720" numCol="1" spcCol="1270" anchor="ctr" anchorCtr="0">
              <a:noAutofit/>
            </a:bodyPr>
            <a:lstStyle/>
            <a:p>
              <a:pPr marL="0" lvl="0" indent="0" algn="r" defTabSz="800100">
                <a:lnSpc>
                  <a:spcPct val="90000"/>
                </a:lnSpc>
                <a:spcBef>
                  <a:spcPct val="0"/>
                </a:spcBef>
                <a:spcAft>
                  <a:spcPct val="35000"/>
                </a:spcAft>
                <a:buNone/>
              </a:pPr>
              <a:r>
                <a:rPr lang="en-US" sz="1600" b="1" kern="1200"/>
                <a:t>Portfolio Facts</a:t>
              </a:r>
              <a:endParaRPr lang="en-GB" sz="1600" kern="1200"/>
            </a:p>
          </p:txBody>
        </p:sp>
        <p:sp>
          <p:nvSpPr>
            <p:cNvPr id="5" name="Left Brace 4">
              <a:extLst>
                <a:ext uri="{FF2B5EF4-FFF2-40B4-BE49-F238E27FC236}">
                  <a16:creationId xmlns:a16="http://schemas.microsoft.com/office/drawing/2014/main" id="{0F437534-F082-4204-B883-82301A1C6752}"/>
                </a:ext>
              </a:extLst>
            </p:cNvPr>
            <p:cNvSpPr/>
            <p:nvPr/>
          </p:nvSpPr>
          <p:spPr>
            <a:xfrm>
              <a:off x="1723003" y="805350"/>
              <a:ext cx="263839" cy="3185295"/>
            </a:xfrm>
            <a:prstGeom prst="leftBrace">
              <a:avLst>
                <a:gd name="adj1" fmla="val 35000"/>
                <a:gd name="adj2" fmla="val 50000"/>
              </a:avLst>
            </a:prstGeom>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9" name="Freeform: Shape 8">
              <a:extLst>
                <a:ext uri="{FF2B5EF4-FFF2-40B4-BE49-F238E27FC236}">
                  <a16:creationId xmlns:a16="http://schemas.microsoft.com/office/drawing/2014/main" id="{72793C49-296A-47BF-A6A0-966BF6BD09F0}"/>
                </a:ext>
              </a:extLst>
            </p:cNvPr>
            <p:cNvSpPr/>
            <p:nvPr/>
          </p:nvSpPr>
          <p:spPr>
            <a:xfrm>
              <a:off x="2057401" y="950136"/>
              <a:ext cx="10125994" cy="2895723"/>
            </a:xfrm>
            <a:custGeom>
              <a:avLst/>
              <a:gdLst>
                <a:gd name="connsiteX0" fmla="*/ 0 w 8016242"/>
                <a:gd name="connsiteY0" fmla="*/ 0 h 4900500"/>
                <a:gd name="connsiteX1" fmla="*/ 8016242 w 8016242"/>
                <a:gd name="connsiteY1" fmla="*/ 0 h 4900500"/>
                <a:gd name="connsiteX2" fmla="*/ 8016242 w 8016242"/>
                <a:gd name="connsiteY2" fmla="*/ 4900500 h 4900500"/>
                <a:gd name="connsiteX3" fmla="*/ 0 w 8016242"/>
                <a:gd name="connsiteY3" fmla="*/ 4900500 h 4900500"/>
                <a:gd name="connsiteX4" fmla="*/ 0 w 8016242"/>
                <a:gd name="connsiteY4" fmla="*/ 0 h 490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16242" h="4900500">
                  <a:moveTo>
                    <a:pt x="0" y="0"/>
                  </a:moveTo>
                  <a:lnTo>
                    <a:pt x="8016242" y="0"/>
                  </a:lnTo>
                  <a:lnTo>
                    <a:pt x="8016242" y="4900500"/>
                  </a:lnTo>
                  <a:lnTo>
                    <a:pt x="0" y="4900500"/>
                  </a:lnTo>
                  <a:lnTo>
                    <a:pt x="0" y="0"/>
                  </a:lnTo>
                  <a:close/>
                </a:path>
              </a:pathLst>
            </a:custGeom>
            <a:solidFill>
              <a:schemeClr val="bg1"/>
            </a:solidFill>
            <a:effectLst>
              <a:outerShdw blurRad="63500" sx="102000" sy="102000" algn="ctr" rotWithShape="0">
                <a:prstClr val="black">
                  <a:alpha val="40000"/>
                </a:prst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8580" tIns="68580" rIns="68580" bIns="68580" numCol="1" spcCol="1270" anchor="ctr" anchorCtr="0">
              <a:noAutofit/>
            </a:bodyPr>
            <a:lstStyle/>
            <a:p>
              <a:pPr marL="285750" lvl="1" indent="-285750" algn="l" defTabSz="800100">
                <a:lnSpc>
                  <a:spcPct val="90000"/>
                </a:lnSpc>
                <a:spcBef>
                  <a:spcPct val="0"/>
                </a:spcBef>
                <a:spcAft>
                  <a:spcPct val="15000"/>
                </a:spcAft>
                <a:buFont typeface="Wingdings" panose="05000000000000000000" pitchFamily="2" charset="2"/>
                <a:buChar char="§"/>
              </a:pPr>
              <a:r>
                <a:rPr lang="en-US" sz="1200" kern="1200">
                  <a:solidFill>
                    <a:schemeClr val="tx1"/>
                  </a:solidFill>
                </a:rPr>
                <a:t>SLX and MPS both support </a:t>
              </a:r>
              <a:r>
                <a:rPr lang="en-US" sz="1200" b="1" kern="1200">
                  <a:solidFill>
                    <a:schemeClr val="tx1"/>
                  </a:solidFill>
                </a:rPr>
                <a:t>Canada retirement </a:t>
              </a:r>
              <a:r>
                <a:rPr lang="en-US" sz="1200" kern="1200">
                  <a:solidFill>
                    <a:schemeClr val="tx1"/>
                  </a:solidFill>
                </a:rPr>
                <a:t>business only </a:t>
              </a:r>
              <a:endParaRPr lang="en-GB" sz="1200" kern="1200"/>
            </a:p>
            <a:p>
              <a:pPr marL="285750" lvl="1" indent="-285750" algn="l" defTabSz="800100">
                <a:lnSpc>
                  <a:spcPct val="90000"/>
                </a:lnSpc>
                <a:spcBef>
                  <a:spcPct val="0"/>
                </a:spcBef>
                <a:spcAft>
                  <a:spcPct val="15000"/>
                </a:spcAft>
                <a:buFont typeface="Wingdings" panose="05000000000000000000" pitchFamily="2" charset="2"/>
                <a:buChar char="§"/>
              </a:pPr>
              <a:r>
                <a:rPr lang="en-US" sz="1200" kern="1200">
                  <a:solidFill>
                    <a:schemeClr val="tx1"/>
                  </a:solidFill>
                </a:rPr>
                <a:t>Manulife is looking forward to </a:t>
              </a:r>
              <a:r>
                <a:rPr lang="en-US" sz="1200" b="1" kern="1200">
                  <a:solidFill>
                    <a:schemeClr val="tx1"/>
                  </a:solidFill>
                </a:rPr>
                <a:t>retire SLX </a:t>
              </a:r>
              <a:r>
                <a:rPr lang="en-US" sz="1200" kern="1200">
                  <a:solidFill>
                    <a:schemeClr val="tx1"/>
                  </a:solidFill>
                </a:rPr>
                <a:t>and migrate data/ functionality to MPS</a:t>
              </a:r>
            </a:p>
            <a:p>
              <a:pPr marL="285750" lvl="1" indent="-285750" algn="l" defTabSz="800100">
                <a:lnSpc>
                  <a:spcPct val="90000"/>
                </a:lnSpc>
                <a:spcBef>
                  <a:spcPct val="0"/>
                </a:spcBef>
                <a:spcAft>
                  <a:spcPct val="15000"/>
                </a:spcAft>
                <a:buFont typeface="Wingdings" panose="05000000000000000000" pitchFamily="2" charset="2"/>
                <a:buChar char="§"/>
              </a:pPr>
              <a:r>
                <a:rPr lang="en-US" sz="1200" kern="1200">
                  <a:solidFill>
                    <a:schemeClr val="tx1"/>
                  </a:solidFill>
                </a:rPr>
                <a:t>Manulife has already </a:t>
              </a:r>
              <a:r>
                <a:rPr lang="en-US" sz="1200" b="1" kern="1200">
                  <a:solidFill>
                    <a:schemeClr val="tx1"/>
                  </a:solidFill>
                </a:rPr>
                <a:t>executed 11 blocks </a:t>
              </a:r>
              <a:r>
                <a:rPr lang="en-US" sz="1200" kern="1200">
                  <a:solidFill>
                    <a:schemeClr val="tx1"/>
                  </a:solidFill>
                </a:rPr>
                <a:t>of conversion (simpler products and smaller policies), converted 652 clients, 12,868 members</a:t>
              </a:r>
            </a:p>
            <a:p>
              <a:pPr marL="285750" lvl="1" indent="-285750" algn="l" defTabSz="800100">
                <a:lnSpc>
                  <a:spcPct val="90000"/>
                </a:lnSpc>
                <a:spcBef>
                  <a:spcPct val="0"/>
                </a:spcBef>
                <a:spcAft>
                  <a:spcPct val="15000"/>
                </a:spcAft>
                <a:buFont typeface="Wingdings" panose="05000000000000000000" pitchFamily="2" charset="2"/>
                <a:buChar char="§"/>
              </a:pPr>
              <a:r>
                <a:rPr lang="en-US" sz="1200" kern="1200">
                  <a:solidFill>
                    <a:schemeClr val="tx1"/>
                  </a:solidFill>
                </a:rPr>
                <a:t>Approx. </a:t>
              </a:r>
              <a:r>
                <a:rPr lang="en-US" sz="1200" b="1" kern="1200">
                  <a:solidFill>
                    <a:schemeClr val="tx1"/>
                  </a:solidFill>
                </a:rPr>
                <a:t>1650 clients and 679,045 remaining </a:t>
              </a:r>
              <a:r>
                <a:rPr lang="en-US" sz="1200" kern="1200">
                  <a:solidFill>
                    <a:schemeClr val="tx1"/>
                  </a:solidFill>
                </a:rPr>
                <a:t>members on SLX need to be migrated to MPS</a:t>
              </a:r>
            </a:p>
            <a:p>
              <a:pPr marL="285750" lvl="1" indent="-285750" algn="l" defTabSz="800100">
                <a:lnSpc>
                  <a:spcPct val="90000"/>
                </a:lnSpc>
                <a:spcBef>
                  <a:spcPct val="0"/>
                </a:spcBef>
                <a:spcAft>
                  <a:spcPct val="15000"/>
                </a:spcAft>
                <a:buFont typeface="Wingdings" panose="05000000000000000000" pitchFamily="2" charset="2"/>
                <a:buChar char="§"/>
              </a:pPr>
              <a:r>
                <a:rPr lang="en-US" sz="1200" kern="1200">
                  <a:solidFill>
                    <a:schemeClr val="tx1"/>
                  </a:solidFill>
                </a:rPr>
                <a:t>Internal users are about 1000 for each system, potential external users are about 1.5M for MPS and 700,000 for SLX </a:t>
              </a:r>
            </a:p>
            <a:p>
              <a:pPr marL="285750" lvl="1" indent="-285750" algn="l" defTabSz="800100">
                <a:lnSpc>
                  <a:spcPct val="90000"/>
                </a:lnSpc>
                <a:spcBef>
                  <a:spcPct val="0"/>
                </a:spcBef>
                <a:spcAft>
                  <a:spcPct val="15000"/>
                </a:spcAft>
                <a:buFont typeface="Wingdings" panose="05000000000000000000" pitchFamily="2" charset="2"/>
                <a:buChar char="§"/>
              </a:pPr>
              <a:r>
                <a:rPr lang="en-US" sz="1200" kern="1200">
                  <a:solidFill>
                    <a:schemeClr val="tx1"/>
                  </a:solidFill>
                </a:rPr>
                <a:t>Product types: </a:t>
              </a:r>
              <a:r>
                <a:rPr lang="it-IT" sz="1200" kern="1200">
                  <a:solidFill>
                    <a:schemeClr val="tx1"/>
                  </a:solidFill>
                </a:rPr>
                <a:t>IO, IPP, NRIO, RRSP, TFSA, RPP, Non-reg (supported by existing conversion process) </a:t>
              </a:r>
            </a:p>
            <a:p>
              <a:pPr marL="285750" lvl="1" indent="-285750" algn="l" defTabSz="800100">
                <a:lnSpc>
                  <a:spcPct val="90000"/>
                </a:lnSpc>
                <a:spcBef>
                  <a:spcPct val="0"/>
                </a:spcBef>
                <a:spcAft>
                  <a:spcPct val="15000"/>
                </a:spcAft>
                <a:buFont typeface="Wingdings" panose="05000000000000000000" pitchFamily="2" charset="2"/>
                <a:buChar char="§"/>
              </a:pPr>
              <a:r>
                <a:rPr lang="en-US" sz="1200" kern="1200">
                  <a:solidFill>
                    <a:schemeClr val="tx1"/>
                  </a:solidFill>
                </a:rPr>
                <a:t>Product types: SPP, Non-reg (full analysis to verify for gaps to be done), EPSP, Stock, Unclaimed property, PIF, RIF, RCA, Notional SERP, Advantage </a:t>
              </a:r>
              <a:r>
                <a:rPr lang="it-IT" sz="1200" kern="1200">
                  <a:solidFill>
                    <a:schemeClr val="tx1"/>
                  </a:solidFill>
                </a:rPr>
                <a:t>(conversion process to be extended to support) </a:t>
              </a:r>
              <a:endParaRPr lang="en-US" sz="1200" kern="1200">
                <a:solidFill>
                  <a:schemeClr val="tx1"/>
                </a:solidFill>
              </a:endParaRPr>
            </a:p>
            <a:p>
              <a:pPr marL="285750" lvl="1" indent="-285750" algn="l" defTabSz="800100">
                <a:lnSpc>
                  <a:spcPct val="90000"/>
                </a:lnSpc>
                <a:spcBef>
                  <a:spcPct val="0"/>
                </a:spcBef>
                <a:spcAft>
                  <a:spcPct val="15000"/>
                </a:spcAft>
                <a:buFont typeface="Wingdings" panose="05000000000000000000" pitchFamily="2" charset="2"/>
                <a:buChar char="§"/>
              </a:pPr>
              <a:r>
                <a:rPr lang="en-US" sz="1200" kern="1200">
                  <a:solidFill>
                    <a:schemeClr val="tx1"/>
                  </a:solidFill>
                </a:rPr>
                <a:t>Source DB – </a:t>
              </a:r>
              <a:r>
                <a:rPr lang="en-US" sz="1200" b="1" kern="1200">
                  <a:solidFill>
                    <a:schemeClr val="tx1"/>
                  </a:solidFill>
                </a:rPr>
                <a:t>Oracle </a:t>
              </a:r>
              <a:r>
                <a:rPr lang="en-US" sz="1200" kern="1200">
                  <a:solidFill>
                    <a:schemeClr val="tx1"/>
                  </a:solidFill>
                </a:rPr>
                <a:t>19c ; Target DB – </a:t>
              </a:r>
              <a:r>
                <a:rPr lang="en-US" sz="1200" b="1" kern="1200">
                  <a:solidFill>
                    <a:schemeClr val="tx1"/>
                  </a:solidFill>
                </a:rPr>
                <a:t>SQL Server </a:t>
              </a:r>
              <a:r>
                <a:rPr lang="en-US" sz="1200" kern="1200">
                  <a:solidFill>
                    <a:schemeClr val="tx1"/>
                  </a:solidFill>
                </a:rPr>
                <a:t>2016</a:t>
              </a:r>
            </a:p>
            <a:p>
              <a:pPr marL="285750" lvl="1" indent="-285750" algn="l" defTabSz="800100">
                <a:lnSpc>
                  <a:spcPct val="90000"/>
                </a:lnSpc>
                <a:spcBef>
                  <a:spcPct val="0"/>
                </a:spcBef>
                <a:spcAft>
                  <a:spcPct val="15000"/>
                </a:spcAft>
                <a:buFont typeface="Wingdings" panose="05000000000000000000" pitchFamily="2" charset="2"/>
                <a:buChar char="§"/>
              </a:pPr>
              <a:r>
                <a:rPr lang="en-US" sz="1200" kern="1200">
                  <a:solidFill>
                    <a:schemeClr val="tx1"/>
                  </a:solidFill>
                </a:rPr>
                <a:t>Data size : </a:t>
              </a:r>
              <a:r>
                <a:rPr lang="en-US" sz="1200" b="1" kern="1200">
                  <a:solidFill>
                    <a:schemeClr val="tx1"/>
                  </a:solidFill>
                </a:rPr>
                <a:t>3TB</a:t>
              </a:r>
            </a:p>
            <a:p>
              <a:pPr marL="285750" lvl="1" indent="-285750" algn="l" defTabSz="800100">
                <a:lnSpc>
                  <a:spcPct val="90000"/>
                </a:lnSpc>
                <a:spcBef>
                  <a:spcPct val="0"/>
                </a:spcBef>
                <a:spcAft>
                  <a:spcPct val="15000"/>
                </a:spcAft>
                <a:buFont typeface="Wingdings" panose="05000000000000000000" pitchFamily="2" charset="2"/>
                <a:buChar char="§"/>
              </a:pPr>
              <a:r>
                <a:rPr lang="en-US" sz="1200" kern="1200">
                  <a:solidFill>
                    <a:schemeClr val="tx1"/>
                  </a:solidFill>
                </a:rPr>
                <a:t>Current environment is available 24x7x365 with outage windows between midnight and 8am on Sunday mornings</a:t>
              </a:r>
            </a:p>
          </p:txBody>
        </p:sp>
      </p:grpSp>
      <p:sp>
        <p:nvSpPr>
          <p:cNvPr id="23" name="Right Triangle 22">
            <a:extLst>
              <a:ext uri="{FF2B5EF4-FFF2-40B4-BE49-F238E27FC236}">
                <a16:creationId xmlns:a16="http://schemas.microsoft.com/office/drawing/2014/main" id="{F9A95BA7-4DA5-41C1-8993-AC03A5A59F56}"/>
              </a:ext>
            </a:extLst>
          </p:cNvPr>
          <p:cNvSpPr/>
          <p:nvPr/>
        </p:nvSpPr>
        <p:spPr>
          <a:xfrm rot="16200000" flipH="1" flipV="1">
            <a:off x="11334489" y="3863516"/>
            <a:ext cx="391188" cy="398925"/>
          </a:xfrm>
          <a:prstGeom prst="rtTriangl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Rectangle 13">
            <a:extLst>
              <a:ext uri="{FF2B5EF4-FFF2-40B4-BE49-F238E27FC236}">
                <a16:creationId xmlns:a16="http://schemas.microsoft.com/office/drawing/2014/main" id="{C0898728-91E2-4D9C-A7ED-5209F48A3BE0}"/>
              </a:ext>
            </a:extLst>
          </p:cNvPr>
          <p:cNvSpPr/>
          <p:nvPr/>
        </p:nvSpPr>
        <p:spPr>
          <a:xfrm>
            <a:off x="452356" y="3543513"/>
            <a:ext cx="5482308" cy="33556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320040" rtlCol="0" anchor="ctr"/>
          <a:lstStyle/>
          <a:p>
            <a:r>
              <a:rPr lang="en-US" sz="1600" b="1">
                <a:solidFill>
                  <a:prstClr val="white"/>
                </a:solidFill>
              </a:rPr>
              <a:t>Manulife Challenges</a:t>
            </a:r>
          </a:p>
        </p:txBody>
      </p:sp>
      <p:sp>
        <p:nvSpPr>
          <p:cNvPr id="16" name="Right Triangle 15">
            <a:extLst>
              <a:ext uri="{FF2B5EF4-FFF2-40B4-BE49-F238E27FC236}">
                <a16:creationId xmlns:a16="http://schemas.microsoft.com/office/drawing/2014/main" id="{C333C713-4FEF-4FA5-A081-8262BEB64CD8}"/>
              </a:ext>
            </a:extLst>
          </p:cNvPr>
          <p:cNvSpPr/>
          <p:nvPr/>
        </p:nvSpPr>
        <p:spPr>
          <a:xfrm rot="5400000" flipV="1">
            <a:off x="466329" y="3875204"/>
            <a:ext cx="391188" cy="398925"/>
          </a:xfrm>
          <a:prstGeom prst="rtTriangl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 name="Rectangle 16">
            <a:extLst>
              <a:ext uri="{FF2B5EF4-FFF2-40B4-BE49-F238E27FC236}">
                <a16:creationId xmlns:a16="http://schemas.microsoft.com/office/drawing/2014/main" id="{F8850415-7B47-47FF-9517-9DA57608F47B}"/>
              </a:ext>
            </a:extLst>
          </p:cNvPr>
          <p:cNvSpPr/>
          <p:nvPr/>
        </p:nvSpPr>
        <p:spPr>
          <a:xfrm>
            <a:off x="871490" y="3879071"/>
            <a:ext cx="4593391" cy="2304000"/>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1" fontAlgn="auto" latinLnBrk="0" hangingPunct="1">
              <a:lnSpc>
                <a:spcPct val="100000"/>
              </a:lnSpc>
              <a:spcAft>
                <a:spcPts val="300"/>
              </a:spcAft>
              <a:buClrTx/>
              <a:buSzTx/>
              <a:buFont typeface="Wingdings" panose="05000000000000000000" pitchFamily="2" charset="2"/>
              <a:buChar char="§"/>
              <a:tabLst/>
              <a:defRPr/>
            </a:pPr>
            <a:r>
              <a:rPr kumimoji="0" lang="en-US" sz="1200" b="1" i="0" u="none" strike="noStrike" kern="1200" cap="none" spc="0" normalizeH="0" baseline="0" noProof="0">
                <a:ln>
                  <a:noFill/>
                </a:ln>
                <a:solidFill>
                  <a:srgbClr val="0F0F0F"/>
                </a:solidFill>
                <a:effectLst/>
                <a:uLnTx/>
                <a:uFillTx/>
                <a:latin typeface="Raleway Light"/>
                <a:ea typeface="+mn-ea"/>
                <a:cs typeface="+mn-cs"/>
              </a:rPr>
              <a:t>High TCO </a:t>
            </a:r>
            <a:r>
              <a:rPr kumimoji="0" lang="en-US" sz="1200" b="0" i="0" u="none" strike="noStrike" kern="1200" cap="none" spc="0" normalizeH="0" baseline="0" noProof="0">
                <a:ln>
                  <a:noFill/>
                </a:ln>
                <a:solidFill>
                  <a:srgbClr val="0F0F0F"/>
                </a:solidFill>
                <a:effectLst/>
                <a:uLnTx/>
                <a:uFillTx/>
                <a:latin typeface="Raleway Light"/>
                <a:ea typeface="+mn-ea"/>
                <a:cs typeface="+mn-cs"/>
              </a:rPr>
              <a:t>– need to maintain both MPS and SLX systems</a:t>
            </a:r>
          </a:p>
          <a:p>
            <a:pPr marL="171450" marR="0" lvl="0" indent="-171450" algn="l" defTabSz="914400" rtl="0" eaLnBrk="1" fontAlgn="auto" latinLnBrk="0" hangingPunct="1">
              <a:lnSpc>
                <a:spcPct val="100000"/>
              </a:lnSpc>
              <a:spcAft>
                <a:spcPts val="300"/>
              </a:spcAft>
              <a:buClrTx/>
              <a:buSzTx/>
              <a:buFont typeface="Wingdings" panose="05000000000000000000" pitchFamily="2" charset="2"/>
              <a:buChar char="§"/>
              <a:tabLst/>
              <a:defRPr/>
            </a:pPr>
            <a:r>
              <a:rPr kumimoji="0" lang="en-US" sz="1200" b="1" i="0" u="none" strike="noStrike" kern="1200" cap="none" spc="0" normalizeH="0" baseline="0" noProof="0">
                <a:ln>
                  <a:noFill/>
                </a:ln>
                <a:solidFill>
                  <a:srgbClr val="0F0F0F"/>
                </a:solidFill>
                <a:effectLst/>
                <a:uLnTx/>
                <a:uFillTx/>
                <a:latin typeface="Raleway Light"/>
                <a:ea typeface="+mn-ea"/>
                <a:cs typeface="+mn-cs"/>
              </a:rPr>
              <a:t>Different data models</a:t>
            </a:r>
            <a:r>
              <a:rPr kumimoji="0" lang="en-US" sz="1200" b="0" i="0" u="none" strike="noStrike" kern="1200" cap="none" spc="0" normalizeH="0" baseline="0" noProof="0">
                <a:ln>
                  <a:noFill/>
                </a:ln>
                <a:solidFill>
                  <a:srgbClr val="0F0F0F"/>
                </a:solidFill>
                <a:effectLst/>
                <a:uLnTx/>
                <a:uFillTx/>
                <a:latin typeface="Raleway Light"/>
                <a:ea typeface="+mn-ea"/>
                <a:cs typeface="+mn-cs"/>
              </a:rPr>
              <a:t> at SLX and MPS – making data mapping and migration very complex</a:t>
            </a:r>
          </a:p>
          <a:p>
            <a:pPr marL="171450" marR="0" lvl="0" indent="-171450" algn="l" defTabSz="914400" rtl="0" eaLnBrk="1" fontAlgn="auto" latinLnBrk="0" hangingPunct="1">
              <a:lnSpc>
                <a:spcPct val="100000"/>
              </a:lnSpc>
              <a:spcAft>
                <a:spcPts val="300"/>
              </a:spcAft>
              <a:buClrTx/>
              <a:buSzTx/>
              <a:buFont typeface="Wingdings" panose="05000000000000000000" pitchFamily="2" charset="2"/>
              <a:buChar char="§"/>
              <a:tabLst/>
              <a:defRPr/>
            </a:pPr>
            <a:r>
              <a:rPr kumimoji="0" lang="en-US" sz="1200" b="1" i="0" u="none" strike="noStrike" kern="1200" cap="none" spc="0" normalizeH="0" baseline="0" noProof="0">
                <a:ln>
                  <a:noFill/>
                </a:ln>
                <a:solidFill>
                  <a:srgbClr val="0F0F0F"/>
                </a:solidFill>
                <a:effectLst/>
                <a:uLnTx/>
                <a:uFillTx/>
                <a:latin typeface="Raleway Light"/>
                <a:ea typeface="+mn-ea"/>
                <a:cs typeface="+mn-cs"/>
              </a:rPr>
              <a:t>Looking for partners </a:t>
            </a:r>
            <a:r>
              <a:rPr kumimoji="0" lang="en-US" sz="1200" b="0" i="0" u="none" strike="noStrike" kern="1200" cap="none" spc="0" normalizeH="0" baseline="0" noProof="0">
                <a:ln>
                  <a:noFill/>
                </a:ln>
                <a:solidFill>
                  <a:srgbClr val="0F0F0F"/>
                </a:solidFill>
                <a:effectLst/>
                <a:uLnTx/>
                <a:uFillTx/>
                <a:latin typeface="Raleway Light"/>
                <a:ea typeface="+mn-ea"/>
                <a:cs typeface="+mn-cs"/>
              </a:rPr>
              <a:t>to either revamp/ enhance and scale up existing processes or develop new processes for SLX data migration</a:t>
            </a:r>
          </a:p>
        </p:txBody>
      </p:sp>
      <p:sp>
        <p:nvSpPr>
          <p:cNvPr id="20" name="Rectangle 19">
            <a:extLst>
              <a:ext uri="{FF2B5EF4-FFF2-40B4-BE49-F238E27FC236}">
                <a16:creationId xmlns:a16="http://schemas.microsoft.com/office/drawing/2014/main" id="{05421D5A-DE9D-4DA0-B61F-B1D45AEEA0F5}"/>
              </a:ext>
            </a:extLst>
          </p:cNvPr>
          <p:cNvSpPr/>
          <p:nvPr/>
        </p:nvSpPr>
        <p:spPr>
          <a:xfrm>
            <a:off x="6257336" y="3543513"/>
            <a:ext cx="5482308" cy="33556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320040" rtlCol="0" anchor="ctr"/>
          <a:lstStyle/>
          <a:p>
            <a:r>
              <a:rPr lang="en-US" sz="1600" b="1">
                <a:solidFill>
                  <a:prstClr val="white"/>
                </a:solidFill>
              </a:rPr>
              <a:t>Manulife Requirements</a:t>
            </a:r>
          </a:p>
        </p:txBody>
      </p:sp>
      <p:sp>
        <p:nvSpPr>
          <p:cNvPr id="22" name="Rectangle 21">
            <a:extLst>
              <a:ext uri="{FF2B5EF4-FFF2-40B4-BE49-F238E27FC236}">
                <a16:creationId xmlns:a16="http://schemas.microsoft.com/office/drawing/2014/main" id="{FD69E403-3C8F-478F-9146-268021DCF775}"/>
              </a:ext>
            </a:extLst>
          </p:cNvPr>
          <p:cNvSpPr/>
          <p:nvPr/>
        </p:nvSpPr>
        <p:spPr>
          <a:xfrm>
            <a:off x="6631346" y="3879071"/>
            <a:ext cx="4699274" cy="2304000"/>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171450" marR="0" lvl="0" indent="-171450" algn="l" defTabSz="914400" rtl="0" eaLnBrk="1" fontAlgn="auto" latinLnBrk="0" hangingPunct="1">
              <a:lnSpc>
                <a:spcPct val="100000"/>
              </a:lnSpc>
              <a:spcAft>
                <a:spcPts val="300"/>
              </a:spcAft>
              <a:buClrTx/>
              <a:buSzTx/>
              <a:buFont typeface="Wingdings" panose="05000000000000000000" pitchFamily="2" charset="2"/>
              <a:buChar char="§"/>
              <a:tabLst/>
              <a:defRPr/>
            </a:pPr>
            <a:r>
              <a:rPr kumimoji="0" lang="en-US" sz="1200" b="1" i="0" u="none" strike="noStrike" kern="1200" cap="none" spc="0" normalizeH="0" baseline="0" noProof="0" dirty="0">
                <a:ln>
                  <a:noFill/>
                </a:ln>
                <a:solidFill>
                  <a:srgbClr val="0596FF"/>
                </a:solidFill>
                <a:effectLst/>
                <a:uLnTx/>
                <a:uFillTx/>
                <a:latin typeface="Raleway Light"/>
                <a:ea typeface="+mn-ea"/>
                <a:cs typeface="+mn-cs"/>
              </a:rPr>
              <a:t>[SCOPE 1] </a:t>
            </a:r>
            <a:r>
              <a:rPr kumimoji="0" lang="en-US" sz="1200" b="0" i="0" u="none" strike="noStrike" kern="1200" cap="none" spc="0" normalizeH="0" baseline="0" noProof="0" dirty="0">
                <a:ln>
                  <a:noFill/>
                </a:ln>
                <a:solidFill>
                  <a:srgbClr val="0F0F0F"/>
                </a:solidFill>
                <a:effectLst/>
                <a:uLnTx/>
                <a:uFillTx/>
                <a:latin typeface="Raleway Light"/>
                <a:ea typeface="+mn-ea"/>
                <a:cs typeface="+mn-cs"/>
              </a:rPr>
              <a:t>Complete </a:t>
            </a:r>
            <a:r>
              <a:rPr kumimoji="0" lang="en-US" sz="1200" b="1" i="0" u="none" strike="noStrike" kern="1200" cap="none" spc="0" normalizeH="0" baseline="0" noProof="0" dirty="0">
                <a:ln>
                  <a:noFill/>
                </a:ln>
                <a:solidFill>
                  <a:srgbClr val="0F0F0F"/>
                </a:solidFill>
                <a:effectLst/>
                <a:uLnTx/>
                <a:uFillTx/>
                <a:latin typeface="Raleway Light"/>
                <a:ea typeface="+mn-ea"/>
                <a:cs typeface="+mn-cs"/>
              </a:rPr>
              <a:t>data migration </a:t>
            </a:r>
            <a:r>
              <a:rPr kumimoji="0" lang="en-US" sz="1200" b="0" i="0" u="none" strike="noStrike" kern="1200" cap="none" spc="0" normalizeH="0" baseline="0" noProof="0" dirty="0">
                <a:ln>
                  <a:noFill/>
                </a:ln>
                <a:solidFill>
                  <a:srgbClr val="0F0F0F"/>
                </a:solidFill>
                <a:effectLst/>
                <a:uLnTx/>
                <a:uFillTx/>
                <a:latin typeface="Raleway Light"/>
                <a:ea typeface="+mn-ea"/>
                <a:cs typeface="+mn-cs"/>
              </a:rPr>
              <a:t>from SLX to MPS – Expects perfect/seamless conversion with no disruption</a:t>
            </a:r>
            <a:endParaRPr kumimoji="0" lang="en-US" sz="1200" b="1" i="0" u="none" strike="noStrike" kern="1200" cap="none" spc="0" normalizeH="0" baseline="0" noProof="0" dirty="0">
              <a:ln>
                <a:noFill/>
              </a:ln>
              <a:solidFill>
                <a:srgbClr val="0596FF"/>
              </a:solidFill>
              <a:effectLst/>
              <a:uLnTx/>
              <a:uFillTx/>
              <a:latin typeface="Raleway Light"/>
              <a:ea typeface="+mn-ea"/>
              <a:cs typeface="+mn-cs"/>
            </a:endParaRPr>
          </a:p>
          <a:p>
            <a:pPr marL="171450" indent="-171450">
              <a:spcAft>
                <a:spcPts val="300"/>
              </a:spcAft>
              <a:buFont typeface="Wingdings" panose="05000000000000000000" pitchFamily="2" charset="2"/>
              <a:buChar char="§"/>
              <a:defRPr/>
            </a:pPr>
            <a:r>
              <a:rPr kumimoji="0" lang="en-US" sz="1200" b="1" i="0" u="none" strike="noStrike" kern="1200" cap="none" spc="0" normalizeH="0" baseline="0" noProof="0" dirty="0">
                <a:ln>
                  <a:noFill/>
                </a:ln>
                <a:solidFill>
                  <a:srgbClr val="0596FF"/>
                </a:solidFill>
                <a:effectLst/>
                <a:uLnTx/>
                <a:uFillTx/>
                <a:latin typeface="Raleway Light"/>
                <a:ea typeface="+mn-ea"/>
                <a:cs typeface="+mn-cs"/>
              </a:rPr>
              <a:t>[SCOPE 2] </a:t>
            </a:r>
            <a:r>
              <a:rPr kumimoji="0" lang="en-US" sz="1200" b="1" i="0" u="none" strike="noStrike" kern="1200" cap="none" spc="0" normalizeH="0" baseline="0" noProof="0" dirty="0">
                <a:ln>
                  <a:noFill/>
                </a:ln>
                <a:solidFill>
                  <a:srgbClr val="0F0F0F"/>
                </a:solidFill>
                <a:effectLst/>
                <a:uLnTx/>
                <a:uFillTx/>
                <a:latin typeface="Raleway Light"/>
                <a:ea typeface="+mn-ea"/>
                <a:cs typeface="+mn-cs"/>
              </a:rPr>
              <a:t>New features and enhancements </a:t>
            </a:r>
            <a:r>
              <a:rPr kumimoji="0" lang="en-US" sz="1200" b="0" i="0" u="none" strike="noStrike" kern="1200" cap="none" spc="0" normalizeH="0" baseline="0" noProof="0" dirty="0">
                <a:ln>
                  <a:noFill/>
                </a:ln>
                <a:solidFill>
                  <a:srgbClr val="0F0F0F"/>
                </a:solidFill>
                <a:effectLst/>
                <a:uLnTx/>
                <a:uFillTx/>
                <a:latin typeface="Raleway Light"/>
                <a:ea typeface="+mn-ea"/>
                <a:cs typeface="+mn-cs"/>
              </a:rPr>
              <a:t>to MPS so that it is at par or better than SLX.</a:t>
            </a:r>
            <a:r>
              <a:rPr lang="en-US" sz="1200" dirty="0">
                <a:solidFill>
                  <a:srgbClr val="0F0F0F"/>
                </a:solidFill>
                <a:latin typeface="Raleway Light"/>
              </a:rPr>
              <a:t> </a:t>
            </a:r>
            <a:endParaRPr lang="en-US" sz="1200" b="0" i="0" u="none" strike="noStrike" kern="1200" cap="none" spc="0" normalizeH="0" baseline="0" noProof="0" dirty="0">
              <a:ln>
                <a:noFill/>
              </a:ln>
              <a:solidFill>
                <a:srgbClr val="0F0F0F"/>
              </a:solidFill>
              <a:effectLst/>
              <a:uLnTx/>
              <a:uFillTx/>
              <a:latin typeface="Raleway Light"/>
            </a:endParaRPr>
          </a:p>
          <a:p>
            <a:pPr marL="628650" lvl="1" indent="-171450">
              <a:spcAft>
                <a:spcPts val="300"/>
              </a:spcAft>
              <a:buFont typeface="Wingdings" panose="05000000000000000000" pitchFamily="2" charset="2"/>
              <a:buChar char="§"/>
              <a:defRPr/>
            </a:pPr>
            <a:r>
              <a:rPr kumimoji="0" lang="en-US" sz="1200" b="0" i="0" u="none" strike="noStrike" kern="1200" cap="none" spc="0" normalizeH="0" baseline="0" noProof="0" dirty="0">
                <a:ln>
                  <a:noFill/>
                </a:ln>
                <a:solidFill>
                  <a:srgbClr val="0F0F0F"/>
                </a:solidFill>
                <a:effectLst/>
                <a:uLnTx/>
                <a:uFillTx/>
                <a:latin typeface="Raleway Light"/>
                <a:ea typeface="+mn-ea"/>
                <a:cs typeface="+mn-cs"/>
              </a:rPr>
              <a:t>24 features only on SLX (8 high &amp; 16 low priority features)</a:t>
            </a:r>
            <a:r>
              <a:rPr lang="en-US" sz="1200" dirty="0">
                <a:solidFill>
                  <a:srgbClr val="0F0F0F"/>
                </a:solidFill>
                <a:latin typeface="Raleway Light"/>
              </a:rPr>
              <a:t> </a:t>
            </a:r>
            <a:endParaRPr lang="en-US" sz="1200" b="0" i="0" u="none" strike="noStrike" kern="1200" cap="none" spc="0" normalizeH="0" baseline="0" noProof="0" dirty="0">
              <a:ln>
                <a:noFill/>
              </a:ln>
              <a:solidFill>
                <a:srgbClr val="0F0F0F"/>
              </a:solidFill>
              <a:effectLst/>
              <a:uLnTx/>
              <a:uFillTx/>
              <a:latin typeface="Raleway Light"/>
            </a:endParaRPr>
          </a:p>
          <a:p>
            <a:pPr marL="628650" marR="0" lvl="1" indent="-171450" algn="l" defTabSz="914400" rtl="0" eaLnBrk="1" fontAlgn="auto" latinLnBrk="0" hangingPunct="1">
              <a:lnSpc>
                <a:spcPct val="100000"/>
              </a:lnSpc>
              <a:spcAft>
                <a:spcPts val="30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F0F0F"/>
                </a:solidFill>
                <a:effectLst/>
                <a:uLnTx/>
                <a:uFillTx/>
                <a:latin typeface="Raleway Light"/>
                <a:ea typeface="+mn-ea"/>
                <a:cs typeface="+mn-cs"/>
              </a:rPr>
              <a:t>21 features better on SLX vs. MPS (12 high, 9 low priority)</a:t>
            </a:r>
            <a:endParaRPr lang="en-US" sz="1200" b="0" i="0" u="none" strike="noStrike" kern="1200" cap="none" spc="0" normalizeH="0" baseline="0" noProof="0" dirty="0">
              <a:ln>
                <a:noFill/>
              </a:ln>
              <a:solidFill>
                <a:srgbClr val="0F0F0F"/>
              </a:solidFill>
              <a:effectLst/>
              <a:uLnTx/>
              <a:uFillTx/>
              <a:latin typeface="Raleway Light"/>
            </a:endParaRPr>
          </a:p>
          <a:p>
            <a:pPr marL="171450" marR="0" lvl="0" indent="-171450" algn="l" defTabSz="914400" rtl="0" eaLnBrk="1" fontAlgn="auto" latinLnBrk="0" hangingPunct="1">
              <a:lnSpc>
                <a:spcPct val="100000"/>
              </a:lnSpc>
              <a:spcAft>
                <a:spcPts val="300"/>
              </a:spcAft>
              <a:buClrTx/>
              <a:buSzTx/>
              <a:buFont typeface="Wingdings" panose="05000000000000000000" pitchFamily="2" charset="2"/>
              <a:buChar char="§"/>
              <a:tabLst/>
              <a:defRPr/>
            </a:pPr>
            <a:r>
              <a:rPr kumimoji="0" lang="en-US" sz="1200" b="1" i="0" u="none" strike="noStrike" kern="1200" cap="none" spc="0" normalizeH="0" baseline="0" noProof="0" dirty="0">
                <a:ln>
                  <a:noFill/>
                </a:ln>
                <a:solidFill>
                  <a:srgbClr val="0596FF"/>
                </a:solidFill>
                <a:effectLst/>
                <a:uLnTx/>
                <a:uFillTx/>
                <a:latin typeface="Raleway Light"/>
                <a:ea typeface="+mn-ea"/>
                <a:cs typeface="+mn-cs"/>
              </a:rPr>
              <a:t>[SCOPE 3] </a:t>
            </a:r>
            <a:r>
              <a:rPr kumimoji="0" lang="en-US" sz="1200" b="1" i="0" u="none" strike="noStrike" kern="1200" cap="none" spc="0" normalizeH="0" baseline="0" noProof="0" dirty="0">
                <a:ln>
                  <a:noFill/>
                </a:ln>
                <a:solidFill>
                  <a:srgbClr val="0F0F0F"/>
                </a:solidFill>
                <a:effectLst/>
                <a:uLnTx/>
                <a:uFillTx/>
                <a:latin typeface="Raleway Light"/>
                <a:ea typeface="+mn-ea"/>
                <a:cs typeface="+mn-cs"/>
              </a:rPr>
              <a:t>Customizations </a:t>
            </a:r>
            <a:r>
              <a:rPr kumimoji="0" lang="en-US" sz="1200" b="0" i="0" u="none" strike="noStrike" kern="1200" cap="none" spc="0" normalizeH="0" baseline="0" noProof="0" dirty="0">
                <a:ln>
                  <a:noFill/>
                </a:ln>
                <a:solidFill>
                  <a:srgbClr val="0F0F0F"/>
                </a:solidFill>
                <a:effectLst/>
                <a:uLnTx/>
                <a:uFillTx/>
                <a:latin typeface="Raleway Light"/>
                <a:ea typeface="+mn-ea"/>
                <a:cs typeface="+mn-cs"/>
              </a:rPr>
              <a:t>for large clients – This includes customizations for the top 25 clients from SLX</a:t>
            </a:r>
            <a:endParaRPr lang="en-US" sz="1200" b="0" i="0" u="none" strike="noStrike" kern="1200" cap="none" spc="0" normalizeH="0" baseline="0" noProof="0" dirty="0">
              <a:ln>
                <a:noFill/>
              </a:ln>
              <a:solidFill>
                <a:srgbClr val="0F0F0F"/>
              </a:solidFill>
              <a:effectLst/>
              <a:uLnTx/>
              <a:uFillTx/>
              <a:latin typeface="Raleway Light"/>
            </a:endParaRPr>
          </a:p>
          <a:p>
            <a:pPr marL="171450" indent="-171450">
              <a:spcAft>
                <a:spcPts val="300"/>
              </a:spcAft>
              <a:buFont typeface="Wingdings" panose="05000000000000000000" pitchFamily="2" charset="2"/>
              <a:buChar char="§"/>
              <a:defRPr/>
            </a:pPr>
            <a:r>
              <a:rPr kumimoji="0" lang="en-US" sz="1200" b="1" i="0" u="none" strike="noStrike" kern="1200" cap="none" spc="0" normalizeH="0" baseline="0" noProof="0" dirty="0">
                <a:ln>
                  <a:noFill/>
                </a:ln>
                <a:solidFill>
                  <a:srgbClr val="0596FF"/>
                </a:solidFill>
                <a:effectLst/>
                <a:uLnTx/>
                <a:uFillTx/>
                <a:latin typeface="Raleway Light"/>
                <a:ea typeface="+mn-ea"/>
                <a:cs typeface="+mn-cs"/>
              </a:rPr>
              <a:t>[SCOPE 4] </a:t>
            </a:r>
            <a:r>
              <a:rPr kumimoji="0" lang="en-US" sz="1200" b="1" i="0" u="none" strike="noStrike" kern="1200" cap="none" spc="0" normalizeH="0" baseline="0" noProof="0" dirty="0">
                <a:ln>
                  <a:noFill/>
                </a:ln>
                <a:solidFill>
                  <a:srgbClr val="0F0F0F"/>
                </a:solidFill>
                <a:effectLst/>
                <a:uLnTx/>
                <a:uFillTx/>
                <a:latin typeface="Raleway Light"/>
                <a:ea typeface="+mn-ea"/>
                <a:cs typeface="+mn-cs"/>
              </a:rPr>
              <a:t>Process automation</a:t>
            </a:r>
            <a:r>
              <a:rPr lang="en-US" sz="1200" b="1" dirty="0">
                <a:solidFill>
                  <a:srgbClr val="0F0F0F"/>
                </a:solidFill>
                <a:latin typeface="Raleway Light"/>
              </a:rPr>
              <a:t> </a:t>
            </a:r>
            <a:r>
              <a:rPr lang="en-US" sz="1200" dirty="0">
                <a:solidFill>
                  <a:srgbClr val="0F0F0F"/>
                </a:solidFill>
                <a:latin typeface="Raleway Light"/>
              </a:rPr>
              <a:t>like STP </a:t>
            </a:r>
            <a:endParaRPr kumimoji="0" lang="en-IN" sz="1200" i="0" u="none" strike="noStrike" kern="1200" cap="none" spc="0" normalizeH="0" baseline="0" noProof="0" dirty="0">
              <a:ln>
                <a:noFill/>
              </a:ln>
              <a:solidFill>
                <a:srgbClr val="0F0F0F"/>
              </a:solidFill>
              <a:effectLst/>
              <a:uLnTx/>
              <a:uFillTx/>
              <a:latin typeface="Raleway Light"/>
              <a:ea typeface="+mn-ea"/>
              <a:cs typeface="+mn-cs"/>
            </a:endParaRPr>
          </a:p>
        </p:txBody>
      </p:sp>
      <p:sp>
        <p:nvSpPr>
          <p:cNvPr id="15" name="Oval 14">
            <a:extLst>
              <a:ext uri="{FF2B5EF4-FFF2-40B4-BE49-F238E27FC236}">
                <a16:creationId xmlns:a16="http://schemas.microsoft.com/office/drawing/2014/main" id="{9257D4B0-ABC0-42A7-93B2-461A67383790}"/>
              </a:ext>
            </a:extLst>
          </p:cNvPr>
          <p:cNvSpPr/>
          <p:nvPr/>
        </p:nvSpPr>
        <p:spPr>
          <a:xfrm>
            <a:off x="5792051" y="3451234"/>
            <a:ext cx="520118" cy="520118"/>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b="1">
              <a:solidFill>
                <a:srgbClr val="3A5C84">
                  <a:lumMod val="75000"/>
                </a:srgbClr>
              </a:solidFill>
            </a:endParaRPr>
          </a:p>
        </p:txBody>
      </p:sp>
    </p:spTree>
    <p:extLst>
      <p:ext uri="{BB962C8B-B14F-4D97-AF65-F5344CB8AC3E}">
        <p14:creationId xmlns:p14="http://schemas.microsoft.com/office/powerpoint/2010/main" val="19803072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ouble Bracket 3">
            <a:extLst>
              <a:ext uri="{FF2B5EF4-FFF2-40B4-BE49-F238E27FC236}">
                <a16:creationId xmlns:a16="http://schemas.microsoft.com/office/drawing/2014/main" id="{0C5AD134-427F-4F73-B0AD-43BF5B7891FA}"/>
              </a:ext>
            </a:extLst>
          </p:cNvPr>
          <p:cNvSpPr/>
          <p:nvPr/>
        </p:nvSpPr>
        <p:spPr>
          <a:xfrm>
            <a:off x="430634" y="1158689"/>
            <a:ext cx="8594764" cy="4716000"/>
          </a:xfrm>
          <a:prstGeom prst="bracketPair">
            <a:avLst>
              <a:gd name="adj" fmla="val 2298"/>
            </a:avLst>
          </a:prstGeom>
          <a:noFill/>
          <a:ln w="9525" cap="flat" cmpd="sng" algn="ctr">
            <a:solidFill>
              <a:srgbClr val="0070C0"/>
            </a:solidFill>
            <a:prstDash val="solid"/>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504000" rIns="91440" bIns="45720" rtlCol="0" anchor="t"/>
          <a:lstStyle/>
          <a:p>
            <a:pPr algn="l">
              <a:spcBef>
                <a:spcPts val="200"/>
              </a:spcBef>
            </a:pPr>
            <a:r>
              <a:rPr lang="en-US" sz="1100" b="1" dirty="0">
                <a:solidFill>
                  <a:schemeClr val="accent1"/>
                </a:solidFill>
              </a:rPr>
              <a:t>[SCOPE 1] </a:t>
            </a:r>
            <a:r>
              <a:rPr lang="en-US" sz="1100" b="1" dirty="0">
                <a:solidFill>
                  <a:schemeClr val="tx1"/>
                </a:solidFill>
              </a:rPr>
              <a:t>Data Migration</a:t>
            </a:r>
          </a:p>
          <a:p>
            <a:pPr marL="171450" indent="-171450" algn="l">
              <a:spcBef>
                <a:spcPts val="200"/>
              </a:spcBef>
              <a:buFont typeface="Wingdings" panose="05000000000000000000" pitchFamily="2" charset="2"/>
              <a:buChar char="§"/>
            </a:pPr>
            <a:r>
              <a:rPr lang="en-US" sz="1100" dirty="0">
                <a:solidFill>
                  <a:schemeClr val="tx1"/>
                </a:solidFill>
              </a:rPr>
              <a:t>3 TB of Data Migration along with respective schema from SLX to MPS</a:t>
            </a:r>
          </a:p>
          <a:p>
            <a:pPr marL="171450" indent="-171450" algn="l">
              <a:spcBef>
                <a:spcPts val="200"/>
              </a:spcBef>
              <a:buFont typeface="Wingdings" panose="05000000000000000000" pitchFamily="2" charset="2"/>
              <a:buChar char="§"/>
            </a:pPr>
            <a:r>
              <a:rPr lang="en-US" sz="1100" dirty="0">
                <a:solidFill>
                  <a:schemeClr val="tx1"/>
                </a:solidFill>
              </a:rPr>
              <a:t>Data will include Plan, member info, policies and financial info</a:t>
            </a:r>
          </a:p>
          <a:p>
            <a:pPr marL="171450" indent="-171450">
              <a:spcBef>
                <a:spcPts val="200"/>
              </a:spcBef>
              <a:buFont typeface="Wingdings" panose="05000000000000000000" pitchFamily="2" charset="2"/>
              <a:buChar char="§"/>
            </a:pPr>
            <a:r>
              <a:rPr lang="en-US" sz="1100" dirty="0">
                <a:solidFill>
                  <a:schemeClr val="tx1"/>
                </a:solidFill>
              </a:rPr>
              <a:t>Data transformation including business rules, triggers, sequences, views and stored procedures </a:t>
            </a:r>
          </a:p>
          <a:p>
            <a:pPr marL="171450" indent="-171450" algn="l">
              <a:spcBef>
                <a:spcPts val="200"/>
              </a:spcBef>
              <a:buFont typeface="Wingdings" panose="05000000000000000000" pitchFamily="2" charset="2"/>
              <a:buChar char="§"/>
            </a:pPr>
            <a:r>
              <a:rPr lang="en-US" sz="1100" dirty="0">
                <a:solidFill>
                  <a:schemeClr val="tx1"/>
                </a:solidFill>
              </a:rPr>
              <a:t>Data validation on SQL staging and on production after transformation</a:t>
            </a:r>
          </a:p>
          <a:p>
            <a:pPr marL="171450" indent="-171450">
              <a:spcBef>
                <a:spcPts val="200"/>
              </a:spcBef>
              <a:buFont typeface="Wingdings" panose="05000000000000000000" pitchFamily="2" charset="2"/>
              <a:buChar char="§"/>
            </a:pPr>
            <a:r>
              <a:rPr lang="en-US" sz="1100" dirty="0">
                <a:solidFill>
                  <a:schemeClr val="tx1"/>
                </a:solidFill>
              </a:rPr>
              <a:t>Data profiling and data cleansing </a:t>
            </a:r>
          </a:p>
          <a:p>
            <a:pPr algn="l">
              <a:spcBef>
                <a:spcPts val="200"/>
              </a:spcBef>
            </a:pPr>
            <a:r>
              <a:rPr lang="en-US" sz="1100" b="1" dirty="0">
                <a:solidFill>
                  <a:schemeClr val="accent1"/>
                </a:solidFill>
              </a:rPr>
              <a:t>[SCOPE 2 &amp; 3] </a:t>
            </a:r>
            <a:r>
              <a:rPr lang="en-US" sz="1100" b="1" dirty="0">
                <a:solidFill>
                  <a:srgbClr val="000000"/>
                </a:solidFill>
              </a:rPr>
              <a:t>Features Enhancement &amp; </a:t>
            </a:r>
            <a:r>
              <a:rPr lang="en-US" sz="1100" dirty="0">
                <a:solidFill>
                  <a:schemeClr val="tx1"/>
                </a:solidFill>
              </a:rPr>
              <a:t>Customizations</a:t>
            </a:r>
          </a:p>
          <a:p>
            <a:pPr marL="171450" indent="-171450">
              <a:spcBef>
                <a:spcPts val="200"/>
              </a:spcBef>
              <a:buFont typeface="Wingdings" panose="05000000000000000000" pitchFamily="2" charset="2"/>
              <a:buChar char="§"/>
            </a:pPr>
            <a:r>
              <a:rPr lang="en-US" sz="1100" dirty="0">
                <a:solidFill>
                  <a:schemeClr val="tx1"/>
                </a:solidFill>
              </a:rPr>
              <a:t>Application Development and Unit Testing; Deployment</a:t>
            </a:r>
          </a:p>
          <a:p>
            <a:pPr marL="171450" indent="-171450">
              <a:spcBef>
                <a:spcPts val="200"/>
              </a:spcBef>
              <a:buFont typeface="Wingdings" panose="05000000000000000000" pitchFamily="2" charset="2"/>
              <a:buChar char="§"/>
            </a:pPr>
            <a:r>
              <a:rPr lang="en-US" sz="1100" dirty="0">
                <a:solidFill>
                  <a:schemeClr val="tx1"/>
                </a:solidFill>
              </a:rPr>
              <a:t>Customization – Large Clients</a:t>
            </a:r>
          </a:p>
          <a:p>
            <a:pPr marL="171450" lvl="0" indent="-171450">
              <a:spcBef>
                <a:spcPts val="200"/>
              </a:spcBef>
              <a:buFont typeface="Wingdings" panose="05000000000000000000" pitchFamily="2" charset="2"/>
              <a:buChar char="§"/>
              <a:tabLst>
                <a:tab pos="457200" algn="l"/>
              </a:tabLst>
            </a:pPr>
            <a:r>
              <a:rPr lang="en-US" sz="1100" dirty="0" err="1">
                <a:solidFill>
                  <a:schemeClr val="tx1"/>
                </a:solidFill>
              </a:rPr>
              <a:t>ContrastSecurity</a:t>
            </a:r>
            <a:r>
              <a:rPr lang="en-US" sz="1100" dirty="0">
                <a:solidFill>
                  <a:schemeClr val="tx1"/>
                </a:solidFill>
              </a:rPr>
              <a:t> to address security vulnerabilities in code and protect applications against attacks.</a:t>
            </a:r>
            <a:endParaRPr lang="en-IN" sz="1100" dirty="0">
              <a:solidFill>
                <a:schemeClr val="tx1"/>
              </a:solidFill>
            </a:endParaRPr>
          </a:p>
          <a:p>
            <a:pPr marL="171450" lvl="0" indent="-171450">
              <a:spcBef>
                <a:spcPts val="200"/>
              </a:spcBef>
              <a:buFont typeface="Wingdings" panose="05000000000000000000" pitchFamily="2" charset="2"/>
              <a:buChar char="§"/>
              <a:tabLst>
                <a:tab pos="457200" algn="l"/>
              </a:tabLst>
            </a:pPr>
            <a:r>
              <a:rPr lang="en-US" sz="1100" dirty="0" err="1">
                <a:solidFill>
                  <a:schemeClr val="tx1"/>
                </a:solidFill>
              </a:rPr>
              <a:t>Sonarqube</a:t>
            </a:r>
            <a:r>
              <a:rPr lang="en-US" sz="1100" dirty="0">
                <a:solidFill>
                  <a:schemeClr val="tx1"/>
                </a:solidFill>
              </a:rPr>
              <a:t>, Fortify tools to improve the code quality</a:t>
            </a:r>
            <a:endParaRPr lang="en-IN" sz="1100" dirty="0">
              <a:solidFill>
                <a:schemeClr val="tx1"/>
              </a:solidFill>
            </a:endParaRPr>
          </a:p>
          <a:p>
            <a:pPr marL="171450" lvl="0" indent="-171450">
              <a:spcBef>
                <a:spcPts val="200"/>
              </a:spcBef>
              <a:buFont typeface="Wingdings" panose="05000000000000000000" pitchFamily="2" charset="2"/>
              <a:buChar char="§"/>
              <a:tabLst>
                <a:tab pos="457200" algn="l"/>
              </a:tabLst>
            </a:pPr>
            <a:r>
              <a:rPr lang="en-US" sz="1100" dirty="0">
                <a:solidFill>
                  <a:schemeClr val="tx1"/>
                </a:solidFill>
              </a:rPr>
              <a:t>Post Warranty Support for the agreed warranty period.</a:t>
            </a:r>
            <a:endParaRPr lang="en-IN" sz="1100" dirty="0">
              <a:solidFill>
                <a:schemeClr val="tx1"/>
              </a:solidFill>
            </a:endParaRPr>
          </a:p>
          <a:p>
            <a:pPr algn="l">
              <a:spcBef>
                <a:spcPts val="200"/>
              </a:spcBef>
            </a:pPr>
            <a:r>
              <a:rPr lang="en-US" sz="1100" b="1" dirty="0">
                <a:solidFill>
                  <a:schemeClr val="tx1"/>
                </a:solidFill>
              </a:rPr>
              <a:t>Testing</a:t>
            </a:r>
          </a:p>
          <a:p>
            <a:pPr marL="171450" indent="-171450" algn="l">
              <a:spcBef>
                <a:spcPts val="200"/>
              </a:spcBef>
              <a:buFont typeface="Wingdings" panose="05000000000000000000" pitchFamily="2" charset="2"/>
              <a:buChar char="§"/>
            </a:pPr>
            <a:r>
              <a:rPr lang="en-US" sz="1100" dirty="0">
                <a:solidFill>
                  <a:schemeClr val="tx1"/>
                </a:solidFill>
              </a:rPr>
              <a:t>Data Migration Validation &amp; Testing- SLX to MPS</a:t>
            </a:r>
            <a:endParaRPr lang="en-US" sz="1100" dirty="0">
              <a:solidFill>
                <a:schemeClr val="tx1"/>
              </a:solidFill>
              <a:ea typeface="Verdana"/>
            </a:endParaRPr>
          </a:p>
          <a:p>
            <a:pPr marL="171450" indent="-171450" algn="l">
              <a:spcBef>
                <a:spcPts val="200"/>
              </a:spcBef>
              <a:buFont typeface="Wingdings" panose="05000000000000000000" pitchFamily="2" charset="2"/>
              <a:buChar char="§"/>
            </a:pPr>
            <a:r>
              <a:rPr lang="en-US" sz="1100" dirty="0">
                <a:solidFill>
                  <a:schemeClr val="tx1"/>
                </a:solidFill>
              </a:rPr>
              <a:t>Functional/System Testing- MPS enhancements &amp; new features</a:t>
            </a:r>
            <a:endParaRPr lang="en-US" sz="1100" dirty="0">
              <a:solidFill>
                <a:schemeClr val="tx1"/>
              </a:solidFill>
              <a:ea typeface="Verdana"/>
            </a:endParaRPr>
          </a:p>
          <a:p>
            <a:pPr marL="171450" indent="-171450" algn="l">
              <a:spcBef>
                <a:spcPts val="200"/>
              </a:spcBef>
              <a:buFont typeface="Wingdings" panose="05000000000000000000" pitchFamily="2" charset="2"/>
              <a:buChar char="§"/>
            </a:pPr>
            <a:r>
              <a:rPr lang="en-US" sz="1100" dirty="0">
                <a:solidFill>
                  <a:schemeClr val="tx1"/>
                </a:solidFill>
              </a:rPr>
              <a:t>System Integration Testing- MPS enhancements &amp; new features</a:t>
            </a:r>
            <a:endParaRPr lang="en-US" sz="1100" dirty="0">
              <a:solidFill>
                <a:schemeClr val="tx1"/>
              </a:solidFill>
              <a:ea typeface="Verdana"/>
            </a:endParaRPr>
          </a:p>
          <a:p>
            <a:pPr marL="171450" indent="-171450" algn="l">
              <a:spcBef>
                <a:spcPts val="200"/>
              </a:spcBef>
              <a:buFont typeface="Wingdings" panose="05000000000000000000" pitchFamily="2" charset="2"/>
              <a:buChar char="§"/>
            </a:pPr>
            <a:r>
              <a:rPr lang="en-US" sz="1100" dirty="0">
                <a:solidFill>
                  <a:schemeClr val="tx1"/>
                </a:solidFill>
              </a:rPr>
              <a:t>Regression Testing (Manual + Automation)- MPS</a:t>
            </a:r>
            <a:endParaRPr lang="en-US" sz="1100" dirty="0">
              <a:solidFill>
                <a:schemeClr val="tx1"/>
              </a:solidFill>
              <a:ea typeface="Verdana"/>
            </a:endParaRPr>
          </a:p>
          <a:p>
            <a:pPr marL="171450" indent="-171450" algn="l">
              <a:spcBef>
                <a:spcPts val="200"/>
              </a:spcBef>
              <a:buFont typeface="Wingdings" panose="05000000000000000000" pitchFamily="2" charset="2"/>
              <a:buChar char="§"/>
            </a:pPr>
            <a:r>
              <a:rPr lang="en-US" sz="1100" dirty="0">
                <a:solidFill>
                  <a:schemeClr val="tx1"/>
                </a:solidFill>
              </a:rPr>
              <a:t>Performance Testing- MPS ; </a:t>
            </a:r>
            <a:r>
              <a:rPr lang="en-US" sz="1100" dirty="0">
                <a:solidFill>
                  <a:schemeClr val="tx1"/>
                </a:solidFill>
                <a:ea typeface="Verdana"/>
              </a:rPr>
              <a:t>Parallel testing – SLX </a:t>
            </a:r>
            <a:endParaRPr lang="en-US" sz="1100" dirty="0">
              <a:solidFill>
                <a:schemeClr val="tx1"/>
              </a:solidFill>
            </a:endParaRPr>
          </a:p>
          <a:p>
            <a:pPr marL="171450" indent="-171450" algn="l">
              <a:spcBef>
                <a:spcPts val="200"/>
              </a:spcBef>
              <a:buFont typeface="Wingdings" panose="05000000000000000000" pitchFamily="2" charset="2"/>
              <a:buChar char="§"/>
            </a:pPr>
            <a:r>
              <a:rPr lang="en-US" sz="1100" dirty="0">
                <a:solidFill>
                  <a:schemeClr val="tx1"/>
                </a:solidFill>
              </a:rPr>
              <a:t>Test Data Management/Creation-MPS</a:t>
            </a:r>
          </a:p>
          <a:p>
            <a:pPr algn="l">
              <a:spcBef>
                <a:spcPts val="200"/>
              </a:spcBef>
            </a:pPr>
            <a:r>
              <a:rPr lang="en-US" sz="1100" b="1" dirty="0">
                <a:solidFill>
                  <a:schemeClr val="accent1"/>
                </a:solidFill>
              </a:rPr>
              <a:t>[SCOPE 4] </a:t>
            </a:r>
            <a:r>
              <a:rPr lang="en-US" sz="1100" b="1" dirty="0">
                <a:solidFill>
                  <a:schemeClr val="tx1"/>
                </a:solidFill>
              </a:rPr>
              <a:t>Process Automation</a:t>
            </a:r>
          </a:p>
          <a:p>
            <a:pPr marL="171450" indent="-171450">
              <a:spcBef>
                <a:spcPts val="200"/>
              </a:spcBef>
              <a:buFont typeface="Wingdings" panose="05000000000000000000" pitchFamily="2" charset="2"/>
              <a:buChar char="§"/>
            </a:pPr>
            <a:r>
              <a:rPr lang="en-US" sz="1100" dirty="0">
                <a:solidFill>
                  <a:schemeClr val="tx1"/>
                </a:solidFill>
              </a:rPr>
              <a:t>Analyze SLX &amp; MPS processes for STP – Change banking information, Target Age/Investor profile change, Beneficiary changes</a:t>
            </a:r>
            <a:endParaRPr lang="en-US" sz="1100" dirty="0">
              <a:solidFill>
                <a:schemeClr val="tx1"/>
              </a:solidFill>
              <a:ea typeface="Verdana"/>
            </a:endParaRPr>
          </a:p>
        </p:txBody>
      </p:sp>
      <p:sp>
        <p:nvSpPr>
          <p:cNvPr id="10" name="TextBox 9">
            <a:extLst>
              <a:ext uri="{FF2B5EF4-FFF2-40B4-BE49-F238E27FC236}">
                <a16:creationId xmlns:a16="http://schemas.microsoft.com/office/drawing/2014/main" id="{059915E8-2DB6-4561-AD80-C2E9AB46E655}"/>
              </a:ext>
            </a:extLst>
          </p:cNvPr>
          <p:cNvSpPr txBox="1"/>
          <p:nvPr/>
        </p:nvSpPr>
        <p:spPr>
          <a:xfrm>
            <a:off x="2629963" y="1201872"/>
            <a:ext cx="3438944" cy="354445"/>
          </a:xfrm>
          <a:prstGeom prst="rect">
            <a:avLst/>
          </a:prstGeom>
          <a:noFill/>
          <a:ln>
            <a:noFill/>
          </a:ln>
        </p:spPr>
        <p:txBody>
          <a:bodyPr wrap="square" lIns="0" tIns="0" rIns="0" bIns="0" rtlCol="0" anchor="ctr">
            <a:noAutofit/>
          </a:bodyPr>
          <a:lstStyle/>
          <a:p>
            <a:pPr marL="179388" algn="ctr"/>
            <a:r>
              <a:rPr lang="en-US" sz="1600" b="1" u="sng">
                <a:solidFill>
                  <a:srgbClr val="0070C0"/>
                </a:solidFill>
              </a:rPr>
              <a:t>IN-SCOPE</a:t>
            </a:r>
            <a:endParaRPr lang="en-IN" sz="1600" b="1" u="sng">
              <a:solidFill>
                <a:srgbClr val="0070C0"/>
              </a:solidFill>
            </a:endParaRPr>
          </a:p>
        </p:txBody>
      </p:sp>
      <p:sp>
        <p:nvSpPr>
          <p:cNvPr id="7" name="Double Bracket 6">
            <a:extLst>
              <a:ext uri="{FF2B5EF4-FFF2-40B4-BE49-F238E27FC236}">
                <a16:creationId xmlns:a16="http://schemas.microsoft.com/office/drawing/2014/main" id="{58D47E40-2525-4896-937B-768A02FDCC94}"/>
              </a:ext>
            </a:extLst>
          </p:cNvPr>
          <p:cNvSpPr/>
          <p:nvPr/>
        </p:nvSpPr>
        <p:spPr>
          <a:xfrm>
            <a:off x="9144000" y="1139997"/>
            <a:ext cx="2595644" cy="4716000"/>
          </a:xfrm>
          <a:prstGeom prst="bracketPair">
            <a:avLst>
              <a:gd name="adj" fmla="val 2216"/>
            </a:avLst>
          </a:prstGeom>
          <a:noFill/>
          <a:ln w="9525" cap="flat" cmpd="sng" algn="ctr">
            <a:solidFill>
              <a:srgbClr val="D54505"/>
            </a:solidFill>
            <a:prstDash val="solid"/>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504000" rIns="91440" bIns="45720" rtlCol="0" anchor="t"/>
          <a:lstStyle/>
          <a:p>
            <a:pPr algn="l"/>
            <a:r>
              <a:rPr lang="en-US" sz="1100" b="1">
                <a:solidFill>
                  <a:schemeClr val="tx1"/>
                </a:solidFill>
              </a:rPr>
              <a:t>Data Migration</a:t>
            </a:r>
          </a:p>
          <a:p>
            <a:pPr marL="171450" indent="-171450">
              <a:spcBef>
                <a:spcPts val="600"/>
              </a:spcBef>
              <a:spcAft>
                <a:spcPts val="600"/>
              </a:spcAft>
              <a:buFont typeface="Wingdings" panose="05000000000000000000" pitchFamily="2" charset="2"/>
              <a:buChar char="§"/>
            </a:pPr>
            <a:r>
              <a:rPr lang="en-US" sz="1100">
                <a:solidFill>
                  <a:schemeClr val="tx1"/>
                </a:solidFill>
              </a:rPr>
              <a:t>SQL staging server provisioning </a:t>
            </a:r>
          </a:p>
          <a:p>
            <a:pPr marL="171450" indent="-171450" algn="l">
              <a:spcBef>
                <a:spcPts val="600"/>
              </a:spcBef>
              <a:spcAft>
                <a:spcPts val="600"/>
              </a:spcAft>
              <a:buFont typeface="Wingdings" panose="05000000000000000000" pitchFamily="2" charset="2"/>
              <a:buChar char="§"/>
            </a:pPr>
            <a:r>
              <a:rPr lang="en-US" sz="1100">
                <a:solidFill>
                  <a:schemeClr val="tx1"/>
                </a:solidFill>
              </a:rPr>
              <a:t>User profiles migration</a:t>
            </a:r>
          </a:p>
          <a:p>
            <a:pPr algn="l"/>
            <a:endParaRPr lang="en-US" sz="1100" b="1">
              <a:solidFill>
                <a:schemeClr val="tx1"/>
              </a:solidFill>
            </a:endParaRPr>
          </a:p>
          <a:p>
            <a:pPr algn="l"/>
            <a:r>
              <a:rPr lang="en-US" sz="1100" b="1">
                <a:solidFill>
                  <a:srgbClr val="000000"/>
                </a:solidFill>
              </a:rPr>
              <a:t>Features Enhancement &amp; Customizations</a:t>
            </a:r>
          </a:p>
          <a:p>
            <a:pPr marL="171450" indent="-171450" algn="l">
              <a:spcBef>
                <a:spcPts val="600"/>
              </a:spcBef>
              <a:spcAft>
                <a:spcPts val="600"/>
              </a:spcAft>
              <a:buFont typeface="Wingdings" panose="05000000000000000000" pitchFamily="2" charset="2"/>
              <a:buChar char="§"/>
            </a:pPr>
            <a:r>
              <a:rPr lang="en-US" sz="1100">
                <a:solidFill>
                  <a:schemeClr val="tx1"/>
                </a:solidFill>
              </a:rPr>
              <a:t>User authentication and Role based access control</a:t>
            </a:r>
          </a:p>
          <a:p>
            <a:pPr marL="171450" indent="-171450" algn="l">
              <a:spcBef>
                <a:spcPts val="600"/>
              </a:spcBef>
              <a:spcAft>
                <a:spcPts val="600"/>
              </a:spcAft>
              <a:buFont typeface="Wingdings" panose="05000000000000000000" pitchFamily="2" charset="2"/>
              <a:buChar char="§"/>
            </a:pPr>
            <a:r>
              <a:rPr lang="en-US" sz="1100">
                <a:solidFill>
                  <a:schemeClr val="tx1"/>
                </a:solidFill>
              </a:rPr>
              <a:t>Production Support beyond Warranty Support</a:t>
            </a:r>
          </a:p>
          <a:p>
            <a:pPr algn="l"/>
            <a:endParaRPr lang="en-US" sz="1100" b="1">
              <a:solidFill>
                <a:schemeClr val="tx1"/>
              </a:solidFill>
            </a:endParaRPr>
          </a:p>
          <a:p>
            <a:pPr algn="l"/>
            <a:r>
              <a:rPr lang="en-US" sz="1100" b="1">
                <a:solidFill>
                  <a:schemeClr val="tx1"/>
                </a:solidFill>
              </a:rPr>
              <a:t>Testing</a:t>
            </a:r>
          </a:p>
          <a:p>
            <a:pPr marL="171450" indent="-171450" algn="l">
              <a:spcBef>
                <a:spcPts val="600"/>
              </a:spcBef>
              <a:spcAft>
                <a:spcPts val="600"/>
              </a:spcAft>
              <a:buFont typeface="Wingdings" panose="05000000000000000000" pitchFamily="2" charset="2"/>
              <a:buChar char="§"/>
            </a:pPr>
            <a:r>
              <a:rPr lang="en-US" sz="1100">
                <a:solidFill>
                  <a:schemeClr val="tx1"/>
                </a:solidFill>
              </a:rPr>
              <a:t>Security Testing</a:t>
            </a:r>
            <a:endParaRPr lang="en-US" sz="1100">
              <a:solidFill>
                <a:schemeClr val="tx1"/>
              </a:solidFill>
              <a:ea typeface="Verdana"/>
            </a:endParaRPr>
          </a:p>
          <a:p>
            <a:pPr marL="171450" indent="-171450" algn="l">
              <a:spcBef>
                <a:spcPts val="600"/>
              </a:spcBef>
              <a:spcAft>
                <a:spcPts val="600"/>
              </a:spcAft>
              <a:buFont typeface="Wingdings" panose="05000000000000000000" pitchFamily="2" charset="2"/>
              <a:buChar char="§"/>
            </a:pPr>
            <a:r>
              <a:rPr lang="en-US" sz="1100">
                <a:solidFill>
                  <a:schemeClr val="tx1"/>
                </a:solidFill>
              </a:rPr>
              <a:t>Accessibility Testing</a:t>
            </a:r>
            <a:endParaRPr lang="en-US" sz="1100">
              <a:solidFill>
                <a:schemeClr val="tx1"/>
              </a:solidFill>
              <a:ea typeface="Verdana"/>
            </a:endParaRPr>
          </a:p>
          <a:p>
            <a:pPr algn="l"/>
            <a:endParaRPr lang="en-US" sz="1100" b="1">
              <a:solidFill>
                <a:schemeClr val="tx1"/>
              </a:solidFill>
            </a:endParaRPr>
          </a:p>
          <a:p>
            <a:pPr algn="l"/>
            <a:r>
              <a:rPr lang="en-US" sz="1100" b="1">
                <a:solidFill>
                  <a:schemeClr val="tx1"/>
                </a:solidFill>
              </a:rPr>
              <a:t>General</a:t>
            </a:r>
          </a:p>
          <a:p>
            <a:pPr marL="171450" indent="-171450">
              <a:spcBef>
                <a:spcPts val="600"/>
              </a:spcBef>
              <a:spcAft>
                <a:spcPts val="600"/>
              </a:spcAft>
              <a:buFont typeface="Wingdings" panose="05000000000000000000" pitchFamily="2" charset="2"/>
              <a:buChar char="§"/>
            </a:pPr>
            <a:r>
              <a:rPr lang="en-US" sz="1100">
                <a:solidFill>
                  <a:schemeClr val="tx1"/>
                </a:solidFill>
                <a:ea typeface="Verdana"/>
              </a:rPr>
              <a:t>Vendor co-ordination (for any up-stream/downstream impacts).</a:t>
            </a:r>
          </a:p>
          <a:p>
            <a:pPr marL="171450" indent="-171450" algn="l">
              <a:spcBef>
                <a:spcPts val="600"/>
              </a:spcBef>
              <a:spcAft>
                <a:spcPts val="600"/>
              </a:spcAft>
              <a:buFont typeface="Wingdings" panose="05000000000000000000" pitchFamily="2" charset="2"/>
              <a:buChar char="§"/>
            </a:pPr>
            <a:endParaRPr lang="en-US" sz="1100">
              <a:solidFill>
                <a:schemeClr val="tx1"/>
              </a:solidFill>
            </a:endParaRPr>
          </a:p>
        </p:txBody>
      </p:sp>
      <p:sp>
        <p:nvSpPr>
          <p:cNvPr id="12" name="TextBox 11">
            <a:extLst>
              <a:ext uri="{FF2B5EF4-FFF2-40B4-BE49-F238E27FC236}">
                <a16:creationId xmlns:a16="http://schemas.microsoft.com/office/drawing/2014/main" id="{E5C48988-66BF-469B-A5A3-2D6D9A4C8012}"/>
              </a:ext>
            </a:extLst>
          </p:cNvPr>
          <p:cNvSpPr txBox="1"/>
          <p:nvPr/>
        </p:nvSpPr>
        <p:spPr>
          <a:xfrm>
            <a:off x="9262601" y="1201871"/>
            <a:ext cx="2358441" cy="354445"/>
          </a:xfrm>
          <a:prstGeom prst="rect">
            <a:avLst/>
          </a:prstGeom>
          <a:noFill/>
          <a:ln>
            <a:noFill/>
          </a:ln>
        </p:spPr>
        <p:txBody>
          <a:bodyPr wrap="square" lIns="0" tIns="0" rIns="0" bIns="0" rtlCol="0" anchor="ctr">
            <a:noAutofit/>
          </a:bodyPr>
          <a:lstStyle>
            <a:defPPr>
              <a:defRPr lang="en-US"/>
            </a:defPPr>
            <a:lvl1pPr marL="179388">
              <a:defRPr sz="1200" b="1"/>
            </a:lvl1pPr>
          </a:lstStyle>
          <a:p>
            <a:pPr algn="ctr"/>
            <a:r>
              <a:rPr lang="en-US" sz="1600" u="sng">
                <a:solidFill>
                  <a:srgbClr val="D54505"/>
                </a:solidFill>
              </a:rPr>
              <a:t>OUT-OF-SCOPE</a:t>
            </a:r>
            <a:endParaRPr lang="en-IN" sz="1600" u="sng">
              <a:solidFill>
                <a:srgbClr val="D54505"/>
              </a:solidFill>
            </a:endParaRPr>
          </a:p>
        </p:txBody>
      </p:sp>
      <p:sp>
        <p:nvSpPr>
          <p:cNvPr id="3" name="Title 2">
            <a:extLst>
              <a:ext uri="{FF2B5EF4-FFF2-40B4-BE49-F238E27FC236}">
                <a16:creationId xmlns:a16="http://schemas.microsoft.com/office/drawing/2014/main" id="{E041AB6B-F06D-4958-8955-12564AD5C251}"/>
              </a:ext>
            </a:extLst>
          </p:cNvPr>
          <p:cNvSpPr>
            <a:spLocks noGrp="1"/>
          </p:cNvSpPr>
          <p:nvPr>
            <p:ph type="title"/>
          </p:nvPr>
        </p:nvSpPr>
        <p:spPr/>
        <p:txBody>
          <a:bodyPr/>
          <a:lstStyle/>
          <a:p>
            <a:r>
              <a:rPr lang="en-US"/>
              <a:t>In-Scope, Out of Scope</a:t>
            </a:r>
            <a:endParaRPr lang="en-GB"/>
          </a:p>
        </p:txBody>
      </p:sp>
    </p:spTree>
    <p:extLst>
      <p:ext uri="{BB962C8B-B14F-4D97-AF65-F5344CB8AC3E}">
        <p14:creationId xmlns:p14="http://schemas.microsoft.com/office/powerpoint/2010/main" val="8825180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C2A5EF0-98A6-4B54-A522-9EBA0457BC1A}"/>
              </a:ext>
            </a:extLst>
          </p:cNvPr>
          <p:cNvSpPr>
            <a:spLocks noGrp="1"/>
          </p:cNvSpPr>
          <p:nvPr>
            <p:ph type="body" sz="quarter" idx="10"/>
          </p:nvPr>
        </p:nvSpPr>
        <p:spPr/>
        <p:txBody>
          <a:bodyPr/>
          <a:lstStyle/>
          <a:p>
            <a:r>
              <a:rPr lang="en-US"/>
              <a:t>Execution Approach</a:t>
            </a:r>
            <a:endParaRPr lang="en-GB"/>
          </a:p>
        </p:txBody>
      </p:sp>
      <p:sp>
        <p:nvSpPr>
          <p:cNvPr id="6" name="Text Placeholder 4">
            <a:extLst>
              <a:ext uri="{FF2B5EF4-FFF2-40B4-BE49-F238E27FC236}">
                <a16:creationId xmlns:a16="http://schemas.microsoft.com/office/drawing/2014/main" id="{C5BCE2CD-D10D-45DC-AEA5-5326C53BF730}"/>
              </a:ext>
            </a:extLst>
          </p:cNvPr>
          <p:cNvSpPr txBox="1">
            <a:spLocks/>
          </p:cNvSpPr>
          <p:nvPr/>
        </p:nvSpPr>
        <p:spPr bwMode="gray">
          <a:xfrm>
            <a:off x="587977" y="2471725"/>
            <a:ext cx="658835" cy="574453"/>
          </a:xfrm>
          <a:prstGeom prst="rect">
            <a:avLst/>
          </a:prstGeom>
        </p:spPr>
        <p:txBody>
          <a:bodyPr vert="horz" wrap="none" lIns="0" tIns="0" rIns="0" bIns="0" rtlCol="0">
            <a:spAutoFit/>
          </a:bodyPr>
          <a:lstStyle>
            <a:lvl1pPr marL="0" indent="0" algn="l" defTabSz="1219170" rtl="0" eaLnBrk="1" latinLnBrk="0" hangingPunct="1">
              <a:spcBef>
                <a:spcPts val="0"/>
              </a:spcBef>
              <a:spcAft>
                <a:spcPts val="533"/>
              </a:spcAft>
              <a:buClr>
                <a:schemeClr val="tx1"/>
              </a:buClr>
              <a:buSzPct val="100000"/>
              <a:buFont typeface="Arial" panose="020B0604020202020204" pitchFamily="34" charset="0"/>
              <a:buNone/>
              <a:defRPr sz="3733" kern="1200" baseline="0">
                <a:solidFill>
                  <a:schemeClr val="accent1"/>
                </a:solidFill>
                <a:latin typeface="+mj-lt"/>
                <a:ea typeface="Verdana" pitchFamily="34" charset="0"/>
                <a:cs typeface="Verdana" pitchFamily="34" charset="0"/>
              </a:defRPr>
            </a:lvl1pPr>
            <a:lvl2pPr marL="438901" indent="-219451" algn="l" defTabSz="1219170" rtl="0" eaLnBrk="1" latinLnBrk="0" hangingPunct="1">
              <a:spcBef>
                <a:spcPts val="0"/>
              </a:spcBef>
              <a:spcAft>
                <a:spcPts val="533"/>
              </a:spcAft>
              <a:buClr>
                <a:schemeClr val="tx1"/>
              </a:buClr>
              <a:buFont typeface="Arial" panose="020B0604020202020204" pitchFamily="34" charset="0"/>
              <a:buChar char="•"/>
              <a:defRPr sz="1600" kern="1200" baseline="0">
                <a:solidFill>
                  <a:schemeClr val="tx1"/>
                </a:solidFill>
                <a:latin typeface="Raleway Light" pitchFamily="2" charset="0"/>
                <a:ea typeface="Verdana" pitchFamily="34" charset="0"/>
                <a:cs typeface="Verdana" pitchFamily="34" charset="0"/>
              </a:defRPr>
            </a:lvl2pPr>
            <a:lvl3pPr marL="658352" indent="-219451" algn="l" defTabSz="1219170" rtl="0" eaLnBrk="1" latinLnBrk="0" hangingPunct="1">
              <a:spcBef>
                <a:spcPts val="0"/>
              </a:spcBef>
              <a:spcAft>
                <a:spcPts val="533"/>
              </a:spcAft>
              <a:buClr>
                <a:schemeClr val="tx1"/>
              </a:buClr>
              <a:buFont typeface="Arial" pitchFamily="34" charset="0"/>
              <a:buChar char="•"/>
              <a:defRPr sz="1467" kern="1200">
                <a:solidFill>
                  <a:schemeClr val="tx1"/>
                </a:solidFill>
                <a:latin typeface="Raleway Light" pitchFamily="2" charset="0"/>
                <a:ea typeface="Verdana" pitchFamily="34" charset="0"/>
                <a:cs typeface="Verdana" pitchFamily="34" charset="0"/>
              </a:defRPr>
            </a:lvl3pPr>
            <a:lvl4pPr marL="877802" indent="-219451" algn="l" defTabSz="1219170" rtl="0" eaLnBrk="1" latinLnBrk="0" hangingPunct="1">
              <a:spcBef>
                <a:spcPts val="0"/>
              </a:spcBef>
              <a:spcAft>
                <a:spcPts val="533"/>
              </a:spcAft>
              <a:buClr>
                <a:schemeClr val="tx1"/>
              </a:buClr>
              <a:buFont typeface="Arial" panose="020B0604020202020204" pitchFamily="34" charset="0"/>
              <a:buChar char="•"/>
              <a:defRPr sz="1333" kern="1200" baseline="0">
                <a:solidFill>
                  <a:schemeClr val="tx1"/>
                </a:solidFill>
                <a:latin typeface="+mn-lt"/>
                <a:ea typeface="Verdana" pitchFamily="34" charset="0"/>
                <a:cs typeface="Verdana" pitchFamily="34" charset="0"/>
              </a:defRPr>
            </a:lvl4pPr>
            <a:lvl5pPr marL="1799955" indent="-359991" algn="l" defTabSz="1219170" rtl="0" eaLnBrk="1" latinLnBrk="0" hangingPunct="1">
              <a:spcBef>
                <a:spcPct val="20000"/>
              </a:spcBef>
              <a:buClr>
                <a:schemeClr val="tx2"/>
              </a:buClr>
              <a:buFont typeface="Arial" pitchFamily="34" charset="0"/>
              <a:buChar char="»"/>
              <a:defRPr sz="2133" kern="1200">
                <a:solidFill>
                  <a:srgbClr val="FFFFFF"/>
                </a:solidFill>
                <a:latin typeface="Verdana" pitchFamily="34" charset="0"/>
                <a:ea typeface="Verdana" pitchFamily="34" charset="0"/>
                <a:cs typeface="Verdana"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r>
              <a:rPr lang="en-GB"/>
              <a:t>03.</a:t>
            </a:r>
          </a:p>
        </p:txBody>
      </p:sp>
    </p:spTree>
    <p:extLst>
      <p:ext uri="{BB962C8B-B14F-4D97-AF65-F5344CB8AC3E}">
        <p14:creationId xmlns:p14="http://schemas.microsoft.com/office/powerpoint/2010/main" val="5193160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54CD240-BB67-4C14-9FE6-4CEDF975F932}"/>
              </a:ext>
            </a:extLst>
          </p:cNvPr>
          <p:cNvSpPr>
            <a:spLocks noGrp="1"/>
          </p:cNvSpPr>
          <p:nvPr>
            <p:ph type="title"/>
          </p:nvPr>
        </p:nvSpPr>
        <p:spPr/>
        <p:txBody>
          <a:bodyPr/>
          <a:lstStyle/>
          <a:p>
            <a:r>
              <a:rPr lang="en-US"/>
              <a:t>S</a:t>
            </a:r>
            <a:r>
              <a:rPr lang="en-IN"/>
              <a:t>LX Migration – Implementation Roadmap</a:t>
            </a:r>
            <a:endParaRPr lang="en-GB"/>
          </a:p>
        </p:txBody>
      </p:sp>
      <p:sp>
        <p:nvSpPr>
          <p:cNvPr id="233" name="Pentagon 63">
            <a:extLst>
              <a:ext uri="{FF2B5EF4-FFF2-40B4-BE49-F238E27FC236}">
                <a16:creationId xmlns:a16="http://schemas.microsoft.com/office/drawing/2014/main" id="{383601D9-C93D-4614-B21D-AC8FCA01174A}"/>
              </a:ext>
            </a:extLst>
          </p:cNvPr>
          <p:cNvSpPr/>
          <p:nvPr/>
        </p:nvSpPr>
        <p:spPr>
          <a:xfrm>
            <a:off x="2267439" y="1188826"/>
            <a:ext cx="516582" cy="411480"/>
          </a:xfrm>
          <a:prstGeom prst="homePlate">
            <a:avLst>
              <a:gd name="adj" fmla="val 23270"/>
            </a:avLst>
          </a:prstGeom>
          <a:solidFill>
            <a:schemeClr val="accent1"/>
          </a:solidFill>
          <a:ln>
            <a:noFill/>
          </a:ln>
        </p:spPr>
        <p:txBody>
          <a:bodyPr lIns="27432" tIns="27432" rIns="27432" bIns="27432" anchor="ctr" anchorCtr="1"/>
          <a:lstStyle/>
          <a:p>
            <a:pPr marL="0" marR="0" lvl="0" indent="0" algn="ctr" defTabSz="609555" rtl="0" eaLnBrk="1" fontAlgn="base" latinLnBrk="0" hangingPunct="1">
              <a:lnSpc>
                <a:spcPct val="100000"/>
              </a:lnSpc>
              <a:spcBef>
                <a:spcPct val="0"/>
              </a:spcBef>
              <a:spcAft>
                <a:spcPct val="0"/>
              </a:spcAft>
              <a:buClrTx/>
              <a:buSzTx/>
              <a:buFontTx/>
              <a:buNone/>
              <a:tabLst/>
              <a:defRPr/>
            </a:pPr>
            <a:r>
              <a:rPr kumimoji="0" lang="en-US" sz="1067"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M0</a:t>
            </a:r>
          </a:p>
        </p:txBody>
      </p:sp>
      <p:sp>
        <p:nvSpPr>
          <p:cNvPr id="234" name="Pentagon 63">
            <a:extLst>
              <a:ext uri="{FF2B5EF4-FFF2-40B4-BE49-F238E27FC236}">
                <a16:creationId xmlns:a16="http://schemas.microsoft.com/office/drawing/2014/main" id="{05117A18-3E98-4A66-BDF0-9B9872B52B5F}"/>
              </a:ext>
            </a:extLst>
          </p:cNvPr>
          <p:cNvSpPr/>
          <p:nvPr/>
        </p:nvSpPr>
        <p:spPr>
          <a:xfrm>
            <a:off x="2931077" y="1188826"/>
            <a:ext cx="516582" cy="411480"/>
          </a:xfrm>
          <a:prstGeom prst="homePlate">
            <a:avLst>
              <a:gd name="adj" fmla="val 23270"/>
            </a:avLst>
          </a:prstGeom>
          <a:solidFill>
            <a:schemeClr val="accent1"/>
          </a:solidFill>
          <a:ln>
            <a:noFill/>
          </a:ln>
        </p:spPr>
        <p:txBody>
          <a:bodyPr lIns="27432" tIns="27432" rIns="27432" bIns="27432" anchor="ctr" anchorCtr="1"/>
          <a:lstStyle/>
          <a:p>
            <a:pPr marL="0" marR="0" lvl="0" indent="0" algn="ctr" defTabSz="609555" rtl="0" eaLnBrk="1" fontAlgn="base" latinLnBrk="0" hangingPunct="1">
              <a:lnSpc>
                <a:spcPct val="100000"/>
              </a:lnSpc>
              <a:spcBef>
                <a:spcPct val="0"/>
              </a:spcBef>
              <a:spcAft>
                <a:spcPct val="0"/>
              </a:spcAft>
              <a:buClrTx/>
              <a:buSzTx/>
              <a:buFontTx/>
              <a:buNone/>
              <a:tabLst/>
              <a:defRPr/>
            </a:pPr>
            <a:r>
              <a:rPr kumimoji="0" lang="en-US" sz="1067"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M2</a:t>
            </a:r>
          </a:p>
        </p:txBody>
      </p:sp>
      <p:sp>
        <p:nvSpPr>
          <p:cNvPr id="235" name="Pentagon 63">
            <a:extLst>
              <a:ext uri="{FF2B5EF4-FFF2-40B4-BE49-F238E27FC236}">
                <a16:creationId xmlns:a16="http://schemas.microsoft.com/office/drawing/2014/main" id="{F872180A-8F7B-4ACF-A6E3-92B60884B820}"/>
              </a:ext>
            </a:extLst>
          </p:cNvPr>
          <p:cNvSpPr/>
          <p:nvPr/>
        </p:nvSpPr>
        <p:spPr>
          <a:xfrm>
            <a:off x="3566579" y="1188826"/>
            <a:ext cx="516582" cy="411480"/>
          </a:xfrm>
          <a:prstGeom prst="homePlate">
            <a:avLst>
              <a:gd name="adj" fmla="val 23270"/>
            </a:avLst>
          </a:prstGeom>
          <a:solidFill>
            <a:schemeClr val="accent1"/>
          </a:solidFill>
          <a:ln>
            <a:noFill/>
          </a:ln>
        </p:spPr>
        <p:txBody>
          <a:bodyPr lIns="27432" tIns="27432" rIns="27432" bIns="27432" anchor="ctr" anchorCtr="1"/>
          <a:lstStyle/>
          <a:p>
            <a:pPr marL="0" marR="0" lvl="0" indent="0" algn="ctr" defTabSz="609555" rtl="0" eaLnBrk="1" fontAlgn="base" latinLnBrk="0" hangingPunct="1">
              <a:lnSpc>
                <a:spcPct val="100000"/>
              </a:lnSpc>
              <a:spcBef>
                <a:spcPct val="0"/>
              </a:spcBef>
              <a:spcAft>
                <a:spcPct val="0"/>
              </a:spcAft>
              <a:buClrTx/>
              <a:buSzTx/>
              <a:buFontTx/>
              <a:buNone/>
              <a:tabLst/>
              <a:defRPr/>
            </a:pPr>
            <a:r>
              <a:rPr kumimoji="0" lang="en-US" sz="1067"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M4</a:t>
            </a:r>
          </a:p>
        </p:txBody>
      </p:sp>
      <p:sp>
        <p:nvSpPr>
          <p:cNvPr id="255" name="Pentagon 63">
            <a:extLst>
              <a:ext uri="{FF2B5EF4-FFF2-40B4-BE49-F238E27FC236}">
                <a16:creationId xmlns:a16="http://schemas.microsoft.com/office/drawing/2014/main" id="{0FF6F8EC-C74F-4327-9694-264FE555EC01}"/>
              </a:ext>
            </a:extLst>
          </p:cNvPr>
          <p:cNvSpPr/>
          <p:nvPr/>
        </p:nvSpPr>
        <p:spPr>
          <a:xfrm>
            <a:off x="4202081" y="1188826"/>
            <a:ext cx="516582" cy="411480"/>
          </a:xfrm>
          <a:prstGeom prst="homePlate">
            <a:avLst>
              <a:gd name="adj" fmla="val 23270"/>
            </a:avLst>
          </a:prstGeom>
          <a:solidFill>
            <a:schemeClr val="accent1"/>
          </a:solidFill>
          <a:ln>
            <a:noFill/>
          </a:ln>
        </p:spPr>
        <p:txBody>
          <a:bodyPr lIns="27432" tIns="27432" rIns="27432" bIns="27432" anchor="ctr" anchorCtr="1"/>
          <a:lstStyle/>
          <a:p>
            <a:pPr marL="0" marR="0" lvl="0" indent="0" algn="ctr" defTabSz="609555" rtl="0" eaLnBrk="1" fontAlgn="base" latinLnBrk="0" hangingPunct="1">
              <a:lnSpc>
                <a:spcPct val="100000"/>
              </a:lnSpc>
              <a:spcBef>
                <a:spcPct val="0"/>
              </a:spcBef>
              <a:spcAft>
                <a:spcPct val="0"/>
              </a:spcAft>
              <a:buClrTx/>
              <a:buSzTx/>
              <a:buFontTx/>
              <a:buNone/>
              <a:tabLst/>
              <a:defRPr/>
            </a:pPr>
            <a:r>
              <a:rPr kumimoji="0" lang="en-US" sz="1067"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M6</a:t>
            </a:r>
          </a:p>
        </p:txBody>
      </p:sp>
      <p:sp>
        <p:nvSpPr>
          <p:cNvPr id="256" name="Pentagon 63">
            <a:extLst>
              <a:ext uri="{FF2B5EF4-FFF2-40B4-BE49-F238E27FC236}">
                <a16:creationId xmlns:a16="http://schemas.microsoft.com/office/drawing/2014/main" id="{500AA7CE-115D-4534-AE1C-CC80E5C0082F}"/>
              </a:ext>
            </a:extLst>
          </p:cNvPr>
          <p:cNvSpPr/>
          <p:nvPr/>
        </p:nvSpPr>
        <p:spPr>
          <a:xfrm>
            <a:off x="4851653" y="1188826"/>
            <a:ext cx="516582" cy="411480"/>
          </a:xfrm>
          <a:prstGeom prst="homePlate">
            <a:avLst>
              <a:gd name="adj" fmla="val 23270"/>
            </a:avLst>
          </a:prstGeom>
          <a:solidFill>
            <a:schemeClr val="accent1"/>
          </a:solidFill>
          <a:ln>
            <a:noFill/>
          </a:ln>
        </p:spPr>
        <p:txBody>
          <a:bodyPr lIns="27432" tIns="27432" rIns="27432" bIns="27432" anchor="ctr" anchorCtr="1"/>
          <a:lstStyle/>
          <a:p>
            <a:pPr marL="0" marR="0" lvl="0" indent="0" algn="ctr" defTabSz="609555" rtl="0" eaLnBrk="1" fontAlgn="base" latinLnBrk="0" hangingPunct="1">
              <a:lnSpc>
                <a:spcPct val="100000"/>
              </a:lnSpc>
              <a:spcBef>
                <a:spcPct val="0"/>
              </a:spcBef>
              <a:spcAft>
                <a:spcPct val="0"/>
              </a:spcAft>
              <a:buClrTx/>
              <a:buSzTx/>
              <a:buFontTx/>
              <a:buNone/>
              <a:tabLst/>
              <a:defRPr/>
            </a:pPr>
            <a:r>
              <a:rPr kumimoji="0" lang="en-US" sz="1067"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M8</a:t>
            </a:r>
          </a:p>
        </p:txBody>
      </p:sp>
      <p:sp>
        <p:nvSpPr>
          <p:cNvPr id="259" name="Pentagon 63">
            <a:extLst>
              <a:ext uri="{FF2B5EF4-FFF2-40B4-BE49-F238E27FC236}">
                <a16:creationId xmlns:a16="http://schemas.microsoft.com/office/drawing/2014/main" id="{4EE4A674-5880-4104-B990-F1104DAB0D91}"/>
              </a:ext>
            </a:extLst>
          </p:cNvPr>
          <p:cNvSpPr/>
          <p:nvPr/>
        </p:nvSpPr>
        <p:spPr>
          <a:xfrm>
            <a:off x="5501225" y="1188826"/>
            <a:ext cx="516582" cy="411480"/>
          </a:xfrm>
          <a:prstGeom prst="homePlate">
            <a:avLst>
              <a:gd name="adj" fmla="val 23270"/>
            </a:avLst>
          </a:prstGeom>
          <a:solidFill>
            <a:schemeClr val="accent1"/>
          </a:solidFill>
          <a:ln>
            <a:noFill/>
          </a:ln>
        </p:spPr>
        <p:txBody>
          <a:bodyPr lIns="27432" tIns="27432" rIns="27432" bIns="27432" anchor="ctr" anchorCtr="1"/>
          <a:lstStyle/>
          <a:p>
            <a:pPr marL="0" marR="0" lvl="0" indent="0" algn="ctr" defTabSz="609555" rtl="0" eaLnBrk="1" fontAlgn="base" latinLnBrk="0" hangingPunct="1">
              <a:lnSpc>
                <a:spcPct val="100000"/>
              </a:lnSpc>
              <a:spcBef>
                <a:spcPct val="0"/>
              </a:spcBef>
              <a:spcAft>
                <a:spcPct val="0"/>
              </a:spcAft>
              <a:buClrTx/>
              <a:buSzTx/>
              <a:buFontTx/>
              <a:buNone/>
              <a:tabLst/>
              <a:defRPr/>
            </a:pPr>
            <a:r>
              <a:rPr kumimoji="0" lang="en-US" sz="1067"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M10</a:t>
            </a:r>
          </a:p>
        </p:txBody>
      </p:sp>
      <p:sp>
        <p:nvSpPr>
          <p:cNvPr id="260" name="Pentagon 63">
            <a:extLst>
              <a:ext uri="{FF2B5EF4-FFF2-40B4-BE49-F238E27FC236}">
                <a16:creationId xmlns:a16="http://schemas.microsoft.com/office/drawing/2014/main" id="{9FE286AD-424A-4EEC-8B5A-38CA2CCBBB3C}"/>
              </a:ext>
            </a:extLst>
          </p:cNvPr>
          <p:cNvSpPr/>
          <p:nvPr/>
        </p:nvSpPr>
        <p:spPr>
          <a:xfrm>
            <a:off x="6150795" y="1188826"/>
            <a:ext cx="516582" cy="411480"/>
          </a:xfrm>
          <a:prstGeom prst="homePlate">
            <a:avLst>
              <a:gd name="adj" fmla="val 23270"/>
            </a:avLst>
          </a:prstGeom>
          <a:solidFill>
            <a:schemeClr val="accent1"/>
          </a:solidFill>
          <a:ln>
            <a:noFill/>
          </a:ln>
        </p:spPr>
        <p:txBody>
          <a:bodyPr lIns="27432" tIns="27432" rIns="27432" bIns="27432" anchor="ctr" anchorCtr="1"/>
          <a:lstStyle/>
          <a:p>
            <a:pPr marL="0" marR="0" lvl="0" indent="0" algn="ctr" defTabSz="609555" rtl="0" eaLnBrk="1" fontAlgn="base" latinLnBrk="0" hangingPunct="1">
              <a:lnSpc>
                <a:spcPct val="100000"/>
              </a:lnSpc>
              <a:spcBef>
                <a:spcPct val="0"/>
              </a:spcBef>
              <a:spcAft>
                <a:spcPct val="0"/>
              </a:spcAft>
              <a:buClrTx/>
              <a:buSzTx/>
              <a:buFontTx/>
              <a:buNone/>
              <a:tabLst/>
              <a:defRPr/>
            </a:pPr>
            <a:r>
              <a:rPr kumimoji="0" lang="en-US" sz="1067"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M12</a:t>
            </a:r>
          </a:p>
        </p:txBody>
      </p:sp>
      <p:sp>
        <p:nvSpPr>
          <p:cNvPr id="261" name="Pentagon 63">
            <a:extLst>
              <a:ext uri="{FF2B5EF4-FFF2-40B4-BE49-F238E27FC236}">
                <a16:creationId xmlns:a16="http://schemas.microsoft.com/office/drawing/2014/main" id="{459B0BC6-A3FE-4187-986C-E4C5BF7042B4}"/>
              </a:ext>
            </a:extLst>
          </p:cNvPr>
          <p:cNvSpPr/>
          <p:nvPr/>
        </p:nvSpPr>
        <p:spPr>
          <a:xfrm>
            <a:off x="6800369" y="1188826"/>
            <a:ext cx="516582" cy="411480"/>
          </a:xfrm>
          <a:prstGeom prst="homePlate">
            <a:avLst>
              <a:gd name="adj" fmla="val 23270"/>
            </a:avLst>
          </a:prstGeom>
          <a:solidFill>
            <a:schemeClr val="accent1"/>
          </a:solidFill>
          <a:ln>
            <a:noFill/>
          </a:ln>
        </p:spPr>
        <p:txBody>
          <a:bodyPr lIns="27432" tIns="27432" rIns="27432" bIns="27432" anchor="ctr" anchorCtr="1"/>
          <a:lstStyle/>
          <a:p>
            <a:pPr marL="0" marR="0" lvl="0" indent="0" algn="ctr" defTabSz="609555" rtl="0" eaLnBrk="1" fontAlgn="base" latinLnBrk="0" hangingPunct="1">
              <a:lnSpc>
                <a:spcPct val="100000"/>
              </a:lnSpc>
              <a:spcBef>
                <a:spcPct val="0"/>
              </a:spcBef>
              <a:spcAft>
                <a:spcPct val="0"/>
              </a:spcAft>
              <a:buClrTx/>
              <a:buSzTx/>
              <a:buFontTx/>
              <a:buNone/>
              <a:tabLst/>
              <a:defRPr/>
            </a:pPr>
            <a:r>
              <a:rPr kumimoji="0" lang="en-US" sz="1067"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M14</a:t>
            </a:r>
          </a:p>
        </p:txBody>
      </p:sp>
      <p:sp>
        <p:nvSpPr>
          <p:cNvPr id="262" name="Pentagon 63">
            <a:extLst>
              <a:ext uri="{FF2B5EF4-FFF2-40B4-BE49-F238E27FC236}">
                <a16:creationId xmlns:a16="http://schemas.microsoft.com/office/drawing/2014/main" id="{169F031F-4511-4932-BCBB-92A6D894F874}"/>
              </a:ext>
            </a:extLst>
          </p:cNvPr>
          <p:cNvSpPr/>
          <p:nvPr/>
        </p:nvSpPr>
        <p:spPr>
          <a:xfrm>
            <a:off x="7421807" y="1188826"/>
            <a:ext cx="516582" cy="411480"/>
          </a:xfrm>
          <a:prstGeom prst="homePlate">
            <a:avLst>
              <a:gd name="adj" fmla="val 23270"/>
            </a:avLst>
          </a:prstGeom>
          <a:solidFill>
            <a:schemeClr val="accent1"/>
          </a:solidFill>
          <a:ln>
            <a:noFill/>
          </a:ln>
        </p:spPr>
        <p:txBody>
          <a:bodyPr lIns="27432" tIns="27432" rIns="27432" bIns="27432" anchor="ctr" anchorCtr="1"/>
          <a:lstStyle/>
          <a:p>
            <a:pPr marL="0" marR="0" lvl="0" indent="0" algn="ctr" defTabSz="609555" rtl="0" eaLnBrk="1" fontAlgn="base" latinLnBrk="0" hangingPunct="1">
              <a:lnSpc>
                <a:spcPct val="100000"/>
              </a:lnSpc>
              <a:spcBef>
                <a:spcPct val="0"/>
              </a:spcBef>
              <a:spcAft>
                <a:spcPct val="0"/>
              </a:spcAft>
              <a:buClrTx/>
              <a:buSzTx/>
              <a:buFontTx/>
              <a:buNone/>
              <a:tabLst/>
              <a:defRPr/>
            </a:pPr>
            <a:r>
              <a:rPr kumimoji="0" lang="en-US" sz="1067"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M16</a:t>
            </a:r>
          </a:p>
        </p:txBody>
      </p:sp>
      <p:sp>
        <p:nvSpPr>
          <p:cNvPr id="263" name="Pentagon 63">
            <a:extLst>
              <a:ext uri="{FF2B5EF4-FFF2-40B4-BE49-F238E27FC236}">
                <a16:creationId xmlns:a16="http://schemas.microsoft.com/office/drawing/2014/main" id="{6066C077-FA5D-407C-B634-2D260B02670C}"/>
              </a:ext>
            </a:extLst>
          </p:cNvPr>
          <p:cNvSpPr/>
          <p:nvPr/>
        </p:nvSpPr>
        <p:spPr>
          <a:xfrm>
            <a:off x="8071379" y="1188826"/>
            <a:ext cx="516582" cy="411480"/>
          </a:xfrm>
          <a:prstGeom prst="homePlate">
            <a:avLst>
              <a:gd name="adj" fmla="val 23270"/>
            </a:avLst>
          </a:prstGeom>
          <a:solidFill>
            <a:schemeClr val="accent1"/>
          </a:solidFill>
          <a:ln>
            <a:noFill/>
          </a:ln>
        </p:spPr>
        <p:txBody>
          <a:bodyPr lIns="27432" tIns="27432" rIns="27432" bIns="27432" anchor="ctr" anchorCtr="1"/>
          <a:lstStyle/>
          <a:p>
            <a:pPr marL="0" marR="0" lvl="0" indent="0" algn="ctr" defTabSz="609555" rtl="0" eaLnBrk="1" fontAlgn="base" latinLnBrk="0" hangingPunct="1">
              <a:lnSpc>
                <a:spcPct val="100000"/>
              </a:lnSpc>
              <a:spcBef>
                <a:spcPct val="0"/>
              </a:spcBef>
              <a:spcAft>
                <a:spcPct val="0"/>
              </a:spcAft>
              <a:buClrTx/>
              <a:buSzTx/>
              <a:buFontTx/>
              <a:buNone/>
              <a:tabLst/>
              <a:defRPr/>
            </a:pPr>
            <a:r>
              <a:rPr kumimoji="0" lang="en-US" sz="1067"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M18</a:t>
            </a:r>
          </a:p>
        </p:txBody>
      </p:sp>
      <p:sp>
        <p:nvSpPr>
          <p:cNvPr id="264" name="Pentagon 63">
            <a:extLst>
              <a:ext uri="{FF2B5EF4-FFF2-40B4-BE49-F238E27FC236}">
                <a16:creationId xmlns:a16="http://schemas.microsoft.com/office/drawing/2014/main" id="{B3ADCE42-DEFD-4699-966E-6664975CE7B3}"/>
              </a:ext>
            </a:extLst>
          </p:cNvPr>
          <p:cNvSpPr/>
          <p:nvPr/>
        </p:nvSpPr>
        <p:spPr>
          <a:xfrm>
            <a:off x="8706881" y="1188826"/>
            <a:ext cx="516582" cy="411480"/>
          </a:xfrm>
          <a:prstGeom prst="homePlate">
            <a:avLst>
              <a:gd name="adj" fmla="val 23270"/>
            </a:avLst>
          </a:prstGeom>
          <a:solidFill>
            <a:schemeClr val="accent1"/>
          </a:solidFill>
          <a:ln>
            <a:noFill/>
          </a:ln>
        </p:spPr>
        <p:txBody>
          <a:bodyPr lIns="27432" tIns="27432" rIns="27432" bIns="27432" anchor="ctr" anchorCtr="1"/>
          <a:lstStyle/>
          <a:p>
            <a:pPr marL="0" marR="0" lvl="0" indent="0" algn="ctr" defTabSz="609555" rtl="0" eaLnBrk="1" fontAlgn="base" latinLnBrk="0" hangingPunct="1">
              <a:lnSpc>
                <a:spcPct val="100000"/>
              </a:lnSpc>
              <a:spcBef>
                <a:spcPct val="0"/>
              </a:spcBef>
              <a:spcAft>
                <a:spcPct val="0"/>
              </a:spcAft>
              <a:buClrTx/>
              <a:buSzTx/>
              <a:buFontTx/>
              <a:buNone/>
              <a:tabLst/>
              <a:defRPr/>
            </a:pPr>
            <a:r>
              <a:rPr kumimoji="0" lang="en-US" sz="1067"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M20</a:t>
            </a:r>
          </a:p>
        </p:txBody>
      </p:sp>
      <p:sp>
        <p:nvSpPr>
          <p:cNvPr id="265" name="Pentagon 63">
            <a:extLst>
              <a:ext uri="{FF2B5EF4-FFF2-40B4-BE49-F238E27FC236}">
                <a16:creationId xmlns:a16="http://schemas.microsoft.com/office/drawing/2014/main" id="{3686F1F0-E777-4B22-B949-1D51FD906FBC}"/>
              </a:ext>
            </a:extLst>
          </p:cNvPr>
          <p:cNvSpPr/>
          <p:nvPr/>
        </p:nvSpPr>
        <p:spPr>
          <a:xfrm>
            <a:off x="9372983" y="1188826"/>
            <a:ext cx="516582" cy="411480"/>
          </a:xfrm>
          <a:prstGeom prst="homePlate">
            <a:avLst>
              <a:gd name="adj" fmla="val 23270"/>
            </a:avLst>
          </a:prstGeom>
          <a:solidFill>
            <a:schemeClr val="accent1"/>
          </a:solidFill>
          <a:ln>
            <a:noFill/>
          </a:ln>
        </p:spPr>
        <p:txBody>
          <a:bodyPr lIns="27432" tIns="27432" rIns="27432" bIns="27432" anchor="ctr" anchorCtr="1"/>
          <a:lstStyle/>
          <a:p>
            <a:pPr marL="0" marR="0" lvl="0" indent="0" algn="ctr" defTabSz="609555" rtl="0" eaLnBrk="1" fontAlgn="base" latinLnBrk="0" hangingPunct="1">
              <a:lnSpc>
                <a:spcPct val="100000"/>
              </a:lnSpc>
              <a:spcBef>
                <a:spcPct val="0"/>
              </a:spcBef>
              <a:spcAft>
                <a:spcPct val="0"/>
              </a:spcAft>
              <a:buClrTx/>
              <a:buSzTx/>
              <a:buFontTx/>
              <a:buNone/>
              <a:tabLst/>
              <a:defRPr/>
            </a:pPr>
            <a:r>
              <a:rPr kumimoji="0" lang="en-US" sz="1067"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M22</a:t>
            </a:r>
          </a:p>
        </p:txBody>
      </p:sp>
      <p:sp>
        <p:nvSpPr>
          <p:cNvPr id="3" name="Rectangle: Rounded Corners 2">
            <a:extLst>
              <a:ext uri="{FF2B5EF4-FFF2-40B4-BE49-F238E27FC236}">
                <a16:creationId xmlns:a16="http://schemas.microsoft.com/office/drawing/2014/main" id="{98BB28DE-39C6-40E2-B454-E350269B7151}"/>
              </a:ext>
            </a:extLst>
          </p:cNvPr>
          <p:cNvSpPr/>
          <p:nvPr/>
        </p:nvSpPr>
        <p:spPr>
          <a:xfrm>
            <a:off x="182881" y="1674047"/>
            <a:ext cx="2015324" cy="360000"/>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rPr>
              <a:t>Planning</a:t>
            </a:r>
            <a:endParaRPr lang="en-IN" sz="1000" b="1">
              <a:solidFill>
                <a:schemeClr val="tx1"/>
              </a:solidFill>
            </a:endParaRPr>
          </a:p>
        </p:txBody>
      </p:sp>
      <p:sp>
        <p:nvSpPr>
          <p:cNvPr id="120" name="Rectangle: Rounded Corners 119">
            <a:extLst>
              <a:ext uri="{FF2B5EF4-FFF2-40B4-BE49-F238E27FC236}">
                <a16:creationId xmlns:a16="http://schemas.microsoft.com/office/drawing/2014/main" id="{D7300172-5E42-4110-81F5-E63958903580}"/>
              </a:ext>
            </a:extLst>
          </p:cNvPr>
          <p:cNvSpPr/>
          <p:nvPr/>
        </p:nvSpPr>
        <p:spPr>
          <a:xfrm>
            <a:off x="182880" y="2132365"/>
            <a:ext cx="2015324" cy="360000"/>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rPr>
              <a:t>Due Diligence</a:t>
            </a:r>
            <a:endParaRPr lang="en-IN" sz="1000" b="1">
              <a:solidFill>
                <a:schemeClr val="tx1"/>
              </a:solidFill>
            </a:endParaRPr>
          </a:p>
        </p:txBody>
      </p:sp>
      <p:sp>
        <p:nvSpPr>
          <p:cNvPr id="121" name="Rectangle: Rounded Corners 120">
            <a:extLst>
              <a:ext uri="{FF2B5EF4-FFF2-40B4-BE49-F238E27FC236}">
                <a16:creationId xmlns:a16="http://schemas.microsoft.com/office/drawing/2014/main" id="{FF8186E0-DC3C-48BF-B56D-5F18A82C4D0E}"/>
              </a:ext>
            </a:extLst>
          </p:cNvPr>
          <p:cNvSpPr/>
          <p:nvPr/>
        </p:nvSpPr>
        <p:spPr>
          <a:xfrm>
            <a:off x="182879" y="2789215"/>
            <a:ext cx="2015324" cy="360000"/>
          </a:xfrm>
          <a:prstGeom prst="roundRect">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rPr>
              <a:t>Data Migration</a:t>
            </a:r>
            <a:endParaRPr lang="en-IN" sz="1000" b="1">
              <a:solidFill>
                <a:schemeClr val="tx1"/>
              </a:solidFill>
            </a:endParaRPr>
          </a:p>
        </p:txBody>
      </p:sp>
      <p:sp>
        <p:nvSpPr>
          <p:cNvPr id="122" name="Rectangle: Rounded Corners 121">
            <a:extLst>
              <a:ext uri="{FF2B5EF4-FFF2-40B4-BE49-F238E27FC236}">
                <a16:creationId xmlns:a16="http://schemas.microsoft.com/office/drawing/2014/main" id="{FFFB0F7E-332B-4762-9BEF-D3ED4C808F51}"/>
              </a:ext>
            </a:extLst>
          </p:cNvPr>
          <p:cNvSpPr/>
          <p:nvPr/>
        </p:nvSpPr>
        <p:spPr>
          <a:xfrm>
            <a:off x="182879" y="3400107"/>
            <a:ext cx="2015324" cy="301049"/>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bg1"/>
                </a:solidFill>
              </a:rPr>
              <a:t>Feature Enhancement Phase-1</a:t>
            </a:r>
            <a:endParaRPr lang="en-IN" sz="1000" b="1">
              <a:solidFill>
                <a:schemeClr val="bg1"/>
              </a:solidFill>
            </a:endParaRPr>
          </a:p>
        </p:txBody>
      </p:sp>
      <p:sp>
        <p:nvSpPr>
          <p:cNvPr id="123" name="Rectangle: Rounded Corners 122">
            <a:extLst>
              <a:ext uri="{FF2B5EF4-FFF2-40B4-BE49-F238E27FC236}">
                <a16:creationId xmlns:a16="http://schemas.microsoft.com/office/drawing/2014/main" id="{431A7007-C4E4-43B0-8450-877EFA49A797}"/>
              </a:ext>
            </a:extLst>
          </p:cNvPr>
          <p:cNvSpPr/>
          <p:nvPr/>
        </p:nvSpPr>
        <p:spPr>
          <a:xfrm>
            <a:off x="193511" y="5750477"/>
            <a:ext cx="2015324" cy="360000"/>
          </a:xfrm>
          <a:prstGeom prst="roundRect">
            <a:avLst/>
          </a:prstGeom>
          <a:solidFill>
            <a:srgbClr val="8DE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rPr>
              <a:t>Process Automation</a:t>
            </a:r>
            <a:endParaRPr lang="en-IN" sz="1000" b="1">
              <a:solidFill>
                <a:schemeClr val="tx1"/>
              </a:solidFill>
            </a:endParaRPr>
          </a:p>
        </p:txBody>
      </p:sp>
      <p:cxnSp>
        <p:nvCxnSpPr>
          <p:cNvPr id="5" name="Straight Arrow Connector 4">
            <a:extLst>
              <a:ext uri="{FF2B5EF4-FFF2-40B4-BE49-F238E27FC236}">
                <a16:creationId xmlns:a16="http://schemas.microsoft.com/office/drawing/2014/main" id="{688D5AF9-D0C2-4B3F-9D18-F2BEBBD04A84}"/>
              </a:ext>
            </a:extLst>
          </p:cNvPr>
          <p:cNvCxnSpPr>
            <a:cxnSpLocks/>
          </p:cNvCxnSpPr>
          <p:nvPr/>
        </p:nvCxnSpPr>
        <p:spPr>
          <a:xfrm>
            <a:off x="2268541" y="1854047"/>
            <a:ext cx="216000" cy="0"/>
          </a:xfrm>
          <a:prstGeom prst="straightConnector1">
            <a:avLst/>
          </a:prstGeom>
          <a:ln w="38100">
            <a:solidFill>
              <a:schemeClr val="accent1">
                <a:lumMod val="20000"/>
                <a:lumOff val="8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7" name="Straight Arrow Connector 126">
            <a:extLst>
              <a:ext uri="{FF2B5EF4-FFF2-40B4-BE49-F238E27FC236}">
                <a16:creationId xmlns:a16="http://schemas.microsoft.com/office/drawing/2014/main" id="{E8F57C6C-7942-48FB-83BB-9B1351CA5772}"/>
              </a:ext>
            </a:extLst>
          </p:cNvPr>
          <p:cNvCxnSpPr>
            <a:cxnSpLocks/>
          </p:cNvCxnSpPr>
          <p:nvPr/>
        </p:nvCxnSpPr>
        <p:spPr>
          <a:xfrm>
            <a:off x="2289879" y="2309996"/>
            <a:ext cx="959758" cy="0"/>
          </a:xfrm>
          <a:prstGeom prst="straightConnector1">
            <a:avLst/>
          </a:prstGeom>
          <a:ln w="38100">
            <a:solidFill>
              <a:schemeClr val="accent1">
                <a:lumMod val="40000"/>
                <a:lumOff val="6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E7934B40-BC74-4E4C-A508-ABBD31870B08}"/>
              </a:ext>
            </a:extLst>
          </p:cNvPr>
          <p:cNvCxnSpPr>
            <a:cxnSpLocks/>
          </p:cNvCxnSpPr>
          <p:nvPr/>
        </p:nvCxnSpPr>
        <p:spPr>
          <a:xfrm>
            <a:off x="2945145" y="1842267"/>
            <a:ext cx="0" cy="4248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BE97A023-599D-4561-9904-238D49EFCA6A}"/>
              </a:ext>
            </a:extLst>
          </p:cNvPr>
          <p:cNvCxnSpPr>
            <a:cxnSpLocks/>
          </p:cNvCxnSpPr>
          <p:nvPr/>
        </p:nvCxnSpPr>
        <p:spPr>
          <a:xfrm>
            <a:off x="3566579" y="1842267"/>
            <a:ext cx="0" cy="4248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CDE59671-BFCE-40DE-83AB-7C0EDB9D22C9}"/>
              </a:ext>
            </a:extLst>
          </p:cNvPr>
          <p:cNvCxnSpPr>
            <a:cxnSpLocks/>
          </p:cNvCxnSpPr>
          <p:nvPr/>
        </p:nvCxnSpPr>
        <p:spPr>
          <a:xfrm>
            <a:off x="4216149" y="1842267"/>
            <a:ext cx="0" cy="4248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AC35131B-90CF-483B-903B-9A1F383793A4}"/>
              </a:ext>
            </a:extLst>
          </p:cNvPr>
          <p:cNvCxnSpPr>
            <a:cxnSpLocks/>
          </p:cNvCxnSpPr>
          <p:nvPr/>
        </p:nvCxnSpPr>
        <p:spPr>
          <a:xfrm>
            <a:off x="4865721" y="1842267"/>
            <a:ext cx="0" cy="4248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4BB8F8CE-A427-4309-BCE6-0C8FBEFEE08E}"/>
              </a:ext>
            </a:extLst>
          </p:cNvPr>
          <p:cNvCxnSpPr>
            <a:cxnSpLocks/>
          </p:cNvCxnSpPr>
          <p:nvPr/>
        </p:nvCxnSpPr>
        <p:spPr>
          <a:xfrm>
            <a:off x="5501225" y="1842267"/>
            <a:ext cx="0" cy="4248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151854F2-A177-4887-8858-FF2F6F47FA05}"/>
              </a:ext>
            </a:extLst>
          </p:cNvPr>
          <p:cNvCxnSpPr>
            <a:cxnSpLocks/>
          </p:cNvCxnSpPr>
          <p:nvPr/>
        </p:nvCxnSpPr>
        <p:spPr>
          <a:xfrm>
            <a:off x="6164863" y="1842267"/>
            <a:ext cx="0" cy="4248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2D2D2538-0F81-4D59-BC3C-0E16215C3905}"/>
              </a:ext>
            </a:extLst>
          </p:cNvPr>
          <p:cNvCxnSpPr>
            <a:cxnSpLocks/>
          </p:cNvCxnSpPr>
          <p:nvPr/>
        </p:nvCxnSpPr>
        <p:spPr>
          <a:xfrm>
            <a:off x="6814437" y="1842267"/>
            <a:ext cx="0" cy="4248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5C32A61A-C4C0-49FD-B361-E991FCCE4806}"/>
              </a:ext>
            </a:extLst>
          </p:cNvPr>
          <p:cNvCxnSpPr>
            <a:cxnSpLocks/>
          </p:cNvCxnSpPr>
          <p:nvPr/>
        </p:nvCxnSpPr>
        <p:spPr>
          <a:xfrm>
            <a:off x="7429960" y="1842267"/>
            <a:ext cx="0" cy="4248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6A833319-F524-43E1-A5DB-F914856BAC1B}"/>
              </a:ext>
            </a:extLst>
          </p:cNvPr>
          <p:cNvCxnSpPr>
            <a:cxnSpLocks/>
          </p:cNvCxnSpPr>
          <p:nvPr/>
        </p:nvCxnSpPr>
        <p:spPr>
          <a:xfrm>
            <a:off x="13704860" y="2457059"/>
            <a:ext cx="0" cy="4248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A893736B-7CE1-4F73-A061-23804E63D5D5}"/>
              </a:ext>
            </a:extLst>
          </p:cNvPr>
          <p:cNvCxnSpPr>
            <a:cxnSpLocks/>
          </p:cNvCxnSpPr>
          <p:nvPr/>
        </p:nvCxnSpPr>
        <p:spPr>
          <a:xfrm>
            <a:off x="8689361" y="1842267"/>
            <a:ext cx="0" cy="4248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F7FCBF07-D6AE-4D99-98DE-B32430ACF89F}"/>
              </a:ext>
            </a:extLst>
          </p:cNvPr>
          <p:cNvCxnSpPr>
            <a:cxnSpLocks/>
          </p:cNvCxnSpPr>
          <p:nvPr/>
        </p:nvCxnSpPr>
        <p:spPr>
          <a:xfrm>
            <a:off x="9387051" y="1842267"/>
            <a:ext cx="0" cy="4248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5" name="Straight Arrow Connector 174">
            <a:extLst>
              <a:ext uri="{FF2B5EF4-FFF2-40B4-BE49-F238E27FC236}">
                <a16:creationId xmlns:a16="http://schemas.microsoft.com/office/drawing/2014/main" id="{DE5A25DD-5D5A-49B4-8394-1AB15BC23449}"/>
              </a:ext>
            </a:extLst>
          </p:cNvPr>
          <p:cNvCxnSpPr>
            <a:cxnSpLocks/>
          </p:cNvCxnSpPr>
          <p:nvPr/>
        </p:nvCxnSpPr>
        <p:spPr>
          <a:xfrm flipV="1">
            <a:off x="3627761" y="3013704"/>
            <a:ext cx="1791137" cy="0"/>
          </a:xfrm>
          <a:prstGeom prst="straightConnector1">
            <a:avLst/>
          </a:prstGeom>
          <a:ln w="38100">
            <a:solidFill>
              <a:schemeClr val="accent1">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7" name="Straight Arrow Connector 176">
            <a:extLst>
              <a:ext uri="{FF2B5EF4-FFF2-40B4-BE49-F238E27FC236}">
                <a16:creationId xmlns:a16="http://schemas.microsoft.com/office/drawing/2014/main" id="{FACEF79B-25DF-4AE3-9E8C-5E50F3205F98}"/>
              </a:ext>
            </a:extLst>
          </p:cNvPr>
          <p:cNvCxnSpPr>
            <a:cxnSpLocks/>
          </p:cNvCxnSpPr>
          <p:nvPr/>
        </p:nvCxnSpPr>
        <p:spPr>
          <a:xfrm>
            <a:off x="5406299" y="3294749"/>
            <a:ext cx="641198" cy="0"/>
          </a:xfrm>
          <a:prstGeom prst="straightConnector1">
            <a:avLst/>
          </a:prstGeom>
          <a:ln w="38100">
            <a:solidFill>
              <a:schemeClr val="accent1">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8" name="Straight Arrow Connector 177">
            <a:extLst>
              <a:ext uri="{FF2B5EF4-FFF2-40B4-BE49-F238E27FC236}">
                <a16:creationId xmlns:a16="http://schemas.microsoft.com/office/drawing/2014/main" id="{6E889164-1106-4688-BF3D-13BDFD3D3B59}"/>
              </a:ext>
            </a:extLst>
          </p:cNvPr>
          <p:cNvCxnSpPr>
            <a:cxnSpLocks/>
          </p:cNvCxnSpPr>
          <p:nvPr/>
        </p:nvCxnSpPr>
        <p:spPr>
          <a:xfrm flipV="1">
            <a:off x="3597164" y="3487966"/>
            <a:ext cx="787971" cy="1"/>
          </a:xfrm>
          <a:prstGeom prst="straightConnector1">
            <a:avLst/>
          </a:prstGeom>
          <a:ln w="38100">
            <a:solidFill>
              <a:schemeClr val="accent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9" name="Straight Arrow Connector 178">
            <a:extLst>
              <a:ext uri="{FF2B5EF4-FFF2-40B4-BE49-F238E27FC236}">
                <a16:creationId xmlns:a16="http://schemas.microsoft.com/office/drawing/2014/main" id="{A9C3B05C-AEEC-4A7F-81F9-1894C06A48B7}"/>
              </a:ext>
            </a:extLst>
          </p:cNvPr>
          <p:cNvCxnSpPr>
            <a:cxnSpLocks/>
          </p:cNvCxnSpPr>
          <p:nvPr/>
        </p:nvCxnSpPr>
        <p:spPr>
          <a:xfrm>
            <a:off x="5515293" y="5940805"/>
            <a:ext cx="641198" cy="0"/>
          </a:xfrm>
          <a:prstGeom prst="straightConnector1">
            <a:avLst/>
          </a:prstGeom>
          <a:ln w="38100">
            <a:solidFill>
              <a:srgbClr val="47DC5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590E9489-922E-480F-B4E4-800D9C174D06}"/>
              </a:ext>
            </a:extLst>
          </p:cNvPr>
          <p:cNvSpPr txBox="1"/>
          <p:nvPr/>
        </p:nvSpPr>
        <p:spPr>
          <a:xfrm>
            <a:off x="3731050" y="2510129"/>
            <a:ext cx="1985055" cy="246221"/>
          </a:xfrm>
          <a:prstGeom prst="rect">
            <a:avLst/>
          </a:prstGeom>
          <a:noFill/>
        </p:spPr>
        <p:txBody>
          <a:bodyPr wrap="square" rtlCol="0">
            <a:spAutoFit/>
          </a:bodyPr>
          <a:lstStyle/>
          <a:p>
            <a:r>
              <a:rPr lang="en-US" sz="1000"/>
              <a:t>Schema &amp; Data extraction</a:t>
            </a:r>
            <a:endParaRPr lang="en-IN" sz="1000"/>
          </a:p>
        </p:txBody>
      </p:sp>
      <p:sp>
        <p:nvSpPr>
          <p:cNvPr id="180" name="TextBox 179">
            <a:extLst>
              <a:ext uri="{FF2B5EF4-FFF2-40B4-BE49-F238E27FC236}">
                <a16:creationId xmlns:a16="http://schemas.microsoft.com/office/drawing/2014/main" id="{32431058-1E4C-48E6-AFE0-2CC7CB474FC7}"/>
              </a:ext>
            </a:extLst>
          </p:cNvPr>
          <p:cNvSpPr txBox="1"/>
          <p:nvPr/>
        </p:nvSpPr>
        <p:spPr>
          <a:xfrm>
            <a:off x="3156395" y="2792118"/>
            <a:ext cx="1947188" cy="246221"/>
          </a:xfrm>
          <a:prstGeom prst="rect">
            <a:avLst/>
          </a:prstGeom>
          <a:noFill/>
        </p:spPr>
        <p:txBody>
          <a:bodyPr wrap="square" rtlCol="0">
            <a:spAutoFit/>
          </a:bodyPr>
          <a:lstStyle/>
          <a:p>
            <a:r>
              <a:rPr lang="en-US" sz="1000"/>
              <a:t>DB Design &amp; Data Profiling</a:t>
            </a:r>
            <a:endParaRPr lang="en-IN" sz="1000"/>
          </a:p>
        </p:txBody>
      </p:sp>
      <p:cxnSp>
        <p:nvCxnSpPr>
          <p:cNvPr id="181" name="Straight Connector 180">
            <a:extLst>
              <a:ext uri="{FF2B5EF4-FFF2-40B4-BE49-F238E27FC236}">
                <a16:creationId xmlns:a16="http://schemas.microsoft.com/office/drawing/2014/main" id="{4C198CF9-5112-4BAF-85CA-0920BBD7848B}"/>
              </a:ext>
            </a:extLst>
          </p:cNvPr>
          <p:cNvCxnSpPr>
            <a:cxnSpLocks/>
          </p:cNvCxnSpPr>
          <p:nvPr/>
        </p:nvCxnSpPr>
        <p:spPr>
          <a:xfrm>
            <a:off x="2267436" y="1819788"/>
            <a:ext cx="0" cy="4248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82" name="Rectangle: Rounded Corners 181">
            <a:extLst>
              <a:ext uri="{FF2B5EF4-FFF2-40B4-BE49-F238E27FC236}">
                <a16:creationId xmlns:a16="http://schemas.microsoft.com/office/drawing/2014/main" id="{892B9B4C-FAB4-4A17-B701-A39624E7B390}"/>
              </a:ext>
            </a:extLst>
          </p:cNvPr>
          <p:cNvSpPr/>
          <p:nvPr/>
        </p:nvSpPr>
        <p:spPr>
          <a:xfrm>
            <a:off x="182877" y="5196465"/>
            <a:ext cx="2015324" cy="360000"/>
          </a:xfrm>
          <a:prstGeom prst="round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rPr>
              <a:t>Testing</a:t>
            </a:r>
            <a:endParaRPr lang="en-IN" sz="1000" b="1">
              <a:solidFill>
                <a:schemeClr val="tx1"/>
              </a:solidFill>
            </a:endParaRPr>
          </a:p>
        </p:txBody>
      </p:sp>
      <p:cxnSp>
        <p:nvCxnSpPr>
          <p:cNvPr id="183" name="Straight Arrow Connector 182">
            <a:extLst>
              <a:ext uri="{FF2B5EF4-FFF2-40B4-BE49-F238E27FC236}">
                <a16:creationId xmlns:a16="http://schemas.microsoft.com/office/drawing/2014/main" id="{B4C44451-029B-47B2-B579-97220F68D773}"/>
              </a:ext>
            </a:extLst>
          </p:cNvPr>
          <p:cNvCxnSpPr>
            <a:cxnSpLocks/>
          </p:cNvCxnSpPr>
          <p:nvPr/>
        </p:nvCxnSpPr>
        <p:spPr>
          <a:xfrm>
            <a:off x="3589918" y="5443145"/>
            <a:ext cx="5798765" cy="50849"/>
          </a:xfrm>
          <a:prstGeom prst="straightConnector1">
            <a:avLst/>
          </a:prstGeom>
          <a:ln w="76200">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62616A06-6835-4380-A873-EA1EE0CE4BF6}"/>
              </a:ext>
            </a:extLst>
          </p:cNvPr>
          <p:cNvCxnSpPr>
            <a:cxnSpLocks/>
          </p:cNvCxnSpPr>
          <p:nvPr/>
        </p:nvCxnSpPr>
        <p:spPr>
          <a:xfrm>
            <a:off x="8071379" y="1842267"/>
            <a:ext cx="0" cy="4248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9" name="Straight Arrow Connector 208">
            <a:extLst>
              <a:ext uri="{FF2B5EF4-FFF2-40B4-BE49-F238E27FC236}">
                <a16:creationId xmlns:a16="http://schemas.microsoft.com/office/drawing/2014/main" id="{925F7A65-55AF-485A-9427-0BA05D6CA26E}"/>
              </a:ext>
            </a:extLst>
          </p:cNvPr>
          <p:cNvCxnSpPr>
            <a:cxnSpLocks/>
          </p:cNvCxnSpPr>
          <p:nvPr/>
        </p:nvCxnSpPr>
        <p:spPr>
          <a:xfrm>
            <a:off x="3938954" y="3595338"/>
            <a:ext cx="912699" cy="0"/>
          </a:xfrm>
          <a:prstGeom prst="straightConnector1">
            <a:avLst/>
          </a:prstGeom>
          <a:ln w="38100">
            <a:solidFill>
              <a:srgbClr val="24581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0" name="Straight Arrow Connector 209">
            <a:extLst>
              <a:ext uri="{FF2B5EF4-FFF2-40B4-BE49-F238E27FC236}">
                <a16:creationId xmlns:a16="http://schemas.microsoft.com/office/drawing/2014/main" id="{47E07820-24E9-46B0-B6D9-06E4D75E3F98}"/>
              </a:ext>
            </a:extLst>
          </p:cNvPr>
          <p:cNvCxnSpPr>
            <a:cxnSpLocks/>
          </p:cNvCxnSpPr>
          <p:nvPr/>
        </p:nvCxnSpPr>
        <p:spPr>
          <a:xfrm>
            <a:off x="4721782" y="3708411"/>
            <a:ext cx="432176" cy="1"/>
          </a:xfrm>
          <a:prstGeom prst="straightConnector1">
            <a:avLst/>
          </a:prstGeom>
          <a:ln w="38100">
            <a:solidFill>
              <a:srgbClr val="FA6119"/>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509989F5-CF96-46AB-AB75-7D0FA437FE53}"/>
              </a:ext>
            </a:extLst>
          </p:cNvPr>
          <p:cNvCxnSpPr>
            <a:cxnSpLocks/>
          </p:cNvCxnSpPr>
          <p:nvPr/>
        </p:nvCxnSpPr>
        <p:spPr>
          <a:xfrm flipV="1">
            <a:off x="2267435" y="2034047"/>
            <a:ext cx="7812000" cy="38395"/>
          </a:xfrm>
          <a:prstGeom prst="line">
            <a:avLst/>
          </a:prstGeom>
          <a:ln>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12" name="Straight Connector 211">
            <a:extLst>
              <a:ext uri="{FF2B5EF4-FFF2-40B4-BE49-F238E27FC236}">
                <a16:creationId xmlns:a16="http://schemas.microsoft.com/office/drawing/2014/main" id="{2E1061DD-25B2-4249-BF03-5A962CA396C8}"/>
              </a:ext>
            </a:extLst>
          </p:cNvPr>
          <p:cNvCxnSpPr>
            <a:cxnSpLocks/>
          </p:cNvCxnSpPr>
          <p:nvPr/>
        </p:nvCxnSpPr>
        <p:spPr>
          <a:xfrm flipV="1">
            <a:off x="2239942" y="2475615"/>
            <a:ext cx="7848000" cy="59149"/>
          </a:xfrm>
          <a:prstGeom prst="line">
            <a:avLst/>
          </a:prstGeom>
          <a:ln>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F31482A3-F31C-47C2-9207-1E7460408DEA}"/>
              </a:ext>
            </a:extLst>
          </p:cNvPr>
          <p:cNvCxnSpPr>
            <a:cxnSpLocks/>
          </p:cNvCxnSpPr>
          <p:nvPr/>
        </p:nvCxnSpPr>
        <p:spPr>
          <a:xfrm flipV="1">
            <a:off x="2267434" y="3378602"/>
            <a:ext cx="7776000" cy="26013"/>
          </a:xfrm>
          <a:prstGeom prst="line">
            <a:avLst/>
          </a:prstGeom>
          <a:ln>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88" name="Straight Connector 287">
            <a:extLst>
              <a:ext uri="{FF2B5EF4-FFF2-40B4-BE49-F238E27FC236}">
                <a16:creationId xmlns:a16="http://schemas.microsoft.com/office/drawing/2014/main" id="{FA1DD228-E328-4092-9E40-67F8E8F6BE0E}"/>
              </a:ext>
            </a:extLst>
          </p:cNvPr>
          <p:cNvCxnSpPr>
            <a:cxnSpLocks/>
          </p:cNvCxnSpPr>
          <p:nvPr/>
        </p:nvCxnSpPr>
        <p:spPr>
          <a:xfrm>
            <a:off x="2085194" y="5050514"/>
            <a:ext cx="7946630" cy="74226"/>
          </a:xfrm>
          <a:prstGeom prst="line">
            <a:avLst/>
          </a:prstGeom>
          <a:ln>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89" name="Straight Connector 288">
            <a:extLst>
              <a:ext uri="{FF2B5EF4-FFF2-40B4-BE49-F238E27FC236}">
                <a16:creationId xmlns:a16="http://schemas.microsoft.com/office/drawing/2014/main" id="{A68CA095-2672-41A4-A9A0-607F244AC496}"/>
              </a:ext>
            </a:extLst>
          </p:cNvPr>
          <p:cNvCxnSpPr>
            <a:cxnSpLocks/>
          </p:cNvCxnSpPr>
          <p:nvPr/>
        </p:nvCxnSpPr>
        <p:spPr>
          <a:xfrm flipV="1">
            <a:off x="2267434" y="5700659"/>
            <a:ext cx="7764390" cy="79133"/>
          </a:xfrm>
          <a:prstGeom prst="line">
            <a:avLst/>
          </a:prstGeom>
          <a:ln>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291" name="TextBox 290">
            <a:extLst>
              <a:ext uri="{FF2B5EF4-FFF2-40B4-BE49-F238E27FC236}">
                <a16:creationId xmlns:a16="http://schemas.microsoft.com/office/drawing/2014/main" id="{7582864B-B1FF-49B8-8F9D-F1277707E46C}"/>
              </a:ext>
            </a:extLst>
          </p:cNvPr>
          <p:cNvSpPr txBox="1"/>
          <p:nvPr/>
        </p:nvSpPr>
        <p:spPr>
          <a:xfrm>
            <a:off x="6055204" y="2901118"/>
            <a:ext cx="824301" cy="400110"/>
          </a:xfrm>
          <a:prstGeom prst="rect">
            <a:avLst/>
          </a:prstGeom>
          <a:noFill/>
        </p:spPr>
        <p:txBody>
          <a:bodyPr wrap="square" rtlCol="0">
            <a:spAutoFit/>
          </a:bodyPr>
          <a:lstStyle/>
          <a:p>
            <a:pPr algn="ctr"/>
            <a:r>
              <a:rPr lang="en-US" sz="1000"/>
              <a:t>Data validation</a:t>
            </a:r>
            <a:endParaRPr lang="en-IN" sz="1000"/>
          </a:p>
        </p:txBody>
      </p:sp>
      <p:cxnSp>
        <p:nvCxnSpPr>
          <p:cNvPr id="292" name="Straight Arrow Connector 291">
            <a:extLst>
              <a:ext uri="{FF2B5EF4-FFF2-40B4-BE49-F238E27FC236}">
                <a16:creationId xmlns:a16="http://schemas.microsoft.com/office/drawing/2014/main" id="{72086024-8593-46E2-A7F3-9B09A26C451C}"/>
              </a:ext>
            </a:extLst>
          </p:cNvPr>
          <p:cNvCxnSpPr>
            <a:cxnSpLocks/>
          </p:cNvCxnSpPr>
          <p:nvPr/>
        </p:nvCxnSpPr>
        <p:spPr>
          <a:xfrm>
            <a:off x="6091534" y="3303652"/>
            <a:ext cx="652410" cy="0"/>
          </a:xfrm>
          <a:prstGeom prst="straightConnector1">
            <a:avLst/>
          </a:prstGeom>
          <a:ln w="38100">
            <a:solidFill>
              <a:schemeClr val="accent1">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3" name="TextBox 292">
            <a:extLst>
              <a:ext uri="{FF2B5EF4-FFF2-40B4-BE49-F238E27FC236}">
                <a16:creationId xmlns:a16="http://schemas.microsoft.com/office/drawing/2014/main" id="{5243EF2E-43F2-4EE2-8871-E494F1C30865}"/>
              </a:ext>
            </a:extLst>
          </p:cNvPr>
          <p:cNvSpPr txBox="1"/>
          <p:nvPr/>
        </p:nvSpPr>
        <p:spPr>
          <a:xfrm>
            <a:off x="5310918" y="2907825"/>
            <a:ext cx="819898" cy="400110"/>
          </a:xfrm>
          <a:prstGeom prst="rect">
            <a:avLst/>
          </a:prstGeom>
          <a:noFill/>
        </p:spPr>
        <p:txBody>
          <a:bodyPr wrap="square" rtlCol="0">
            <a:spAutoFit/>
          </a:bodyPr>
          <a:lstStyle/>
          <a:p>
            <a:pPr algn="ctr"/>
            <a:r>
              <a:rPr lang="en-US" sz="1000"/>
              <a:t>Migration to Stage</a:t>
            </a:r>
            <a:endParaRPr lang="en-IN" sz="1000"/>
          </a:p>
        </p:txBody>
      </p:sp>
      <p:sp>
        <p:nvSpPr>
          <p:cNvPr id="61" name="TextBox 60">
            <a:extLst>
              <a:ext uri="{FF2B5EF4-FFF2-40B4-BE49-F238E27FC236}">
                <a16:creationId xmlns:a16="http://schemas.microsoft.com/office/drawing/2014/main" id="{FD203283-5E20-4E7B-93D7-BD1B23C2DE69}"/>
              </a:ext>
            </a:extLst>
          </p:cNvPr>
          <p:cNvSpPr txBox="1"/>
          <p:nvPr/>
        </p:nvSpPr>
        <p:spPr>
          <a:xfrm>
            <a:off x="3841617" y="5031976"/>
            <a:ext cx="1322847" cy="400110"/>
          </a:xfrm>
          <a:prstGeom prst="rect">
            <a:avLst/>
          </a:prstGeom>
          <a:noFill/>
        </p:spPr>
        <p:txBody>
          <a:bodyPr wrap="square" rtlCol="0">
            <a:spAutoFit/>
          </a:bodyPr>
          <a:lstStyle/>
          <a:p>
            <a:pPr algn="ctr"/>
            <a:r>
              <a:rPr lang="en-US" sz="1000"/>
              <a:t>Analysis and test strategy</a:t>
            </a:r>
            <a:endParaRPr lang="en-IN" sz="1000"/>
          </a:p>
        </p:txBody>
      </p:sp>
      <p:sp>
        <p:nvSpPr>
          <p:cNvPr id="62" name="TextBox 61">
            <a:extLst>
              <a:ext uri="{FF2B5EF4-FFF2-40B4-BE49-F238E27FC236}">
                <a16:creationId xmlns:a16="http://schemas.microsoft.com/office/drawing/2014/main" id="{7AE710F2-842A-48B7-A9E1-F0628F86D7C1}"/>
              </a:ext>
            </a:extLst>
          </p:cNvPr>
          <p:cNvSpPr txBox="1"/>
          <p:nvPr/>
        </p:nvSpPr>
        <p:spPr>
          <a:xfrm>
            <a:off x="5192475" y="5135799"/>
            <a:ext cx="1149314" cy="246221"/>
          </a:xfrm>
          <a:prstGeom prst="rect">
            <a:avLst/>
          </a:prstGeom>
          <a:noFill/>
        </p:spPr>
        <p:txBody>
          <a:bodyPr wrap="square" rtlCol="0">
            <a:spAutoFit/>
          </a:bodyPr>
          <a:lstStyle/>
          <a:p>
            <a:pPr algn="ctr"/>
            <a:r>
              <a:rPr lang="en-US" sz="1000"/>
              <a:t>Test env setup</a:t>
            </a:r>
            <a:endParaRPr lang="en-IN" sz="1000"/>
          </a:p>
        </p:txBody>
      </p:sp>
      <p:cxnSp>
        <p:nvCxnSpPr>
          <p:cNvPr id="64" name="Straight Arrow Connector 63">
            <a:extLst>
              <a:ext uri="{FF2B5EF4-FFF2-40B4-BE49-F238E27FC236}">
                <a16:creationId xmlns:a16="http://schemas.microsoft.com/office/drawing/2014/main" id="{DAA9317A-C797-4A9E-BCE8-B05586A735A7}"/>
              </a:ext>
            </a:extLst>
          </p:cNvPr>
          <p:cNvCxnSpPr>
            <a:cxnSpLocks/>
          </p:cNvCxnSpPr>
          <p:nvPr/>
        </p:nvCxnSpPr>
        <p:spPr>
          <a:xfrm flipV="1">
            <a:off x="6820823" y="3302056"/>
            <a:ext cx="1201447" cy="2424"/>
          </a:xfrm>
          <a:prstGeom prst="straightConnector1">
            <a:avLst/>
          </a:prstGeom>
          <a:ln w="38100">
            <a:solidFill>
              <a:schemeClr val="accent1">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5DBCA78A-F9AD-4CC5-BB8A-E5237B79E46D}"/>
              </a:ext>
            </a:extLst>
          </p:cNvPr>
          <p:cNvSpPr txBox="1"/>
          <p:nvPr/>
        </p:nvSpPr>
        <p:spPr>
          <a:xfrm>
            <a:off x="6791427" y="2857026"/>
            <a:ext cx="1103783" cy="400110"/>
          </a:xfrm>
          <a:prstGeom prst="rect">
            <a:avLst/>
          </a:prstGeom>
          <a:noFill/>
        </p:spPr>
        <p:txBody>
          <a:bodyPr wrap="square" rtlCol="0">
            <a:spAutoFit/>
          </a:bodyPr>
          <a:lstStyle/>
          <a:p>
            <a:pPr algn="ctr"/>
            <a:r>
              <a:rPr lang="en-US" sz="1000"/>
              <a:t>Migration to Prod</a:t>
            </a:r>
            <a:endParaRPr lang="en-IN" sz="1000"/>
          </a:p>
        </p:txBody>
      </p:sp>
      <p:sp>
        <p:nvSpPr>
          <p:cNvPr id="66" name="TextBox 65">
            <a:extLst>
              <a:ext uri="{FF2B5EF4-FFF2-40B4-BE49-F238E27FC236}">
                <a16:creationId xmlns:a16="http://schemas.microsoft.com/office/drawing/2014/main" id="{24FAAA98-A409-4DA0-B433-6E1349FF0210}"/>
              </a:ext>
            </a:extLst>
          </p:cNvPr>
          <p:cNvSpPr txBox="1"/>
          <p:nvPr/>
        </p:nvSpPr>
        <p:spPr>
          <a:xfrm>
            <a:off x="6227679" y="5129570"/>
            <a:ext cx="822549" cy="246221"/>
          </a:xfrm>
          <a:prstGeom prst="rect">
            <a:avLst/>
          </a:prstGeom>
          <a:noFill/>
        </p:spPr>
        <p:txBody>
          <a:bodyPr wrap="square" rtlCol="0">
            <a:spAutoFit/>
          </a:bodyPr>
          <a:lstStyle/>
          <a:p>
            <a:pPr algn="ctr"/>
            <a:r>
              <a:rPr lang="en-US" sz="1000"/>
              <a:t>ST, SIT</a:t>
            </a:r>
            <a:endParaRPr lang="en-IN" sz="1000"/>
          </a:p>
        </p:txBody>
      </p:sp>
      <p:cxnSp>
        <p:nvCxnSpPr>
          <p:cNvPr id="67" name="Straight Arrow Connector 66">
            <a:extLst>
              <a:ext uri="{FF2B5EF4-FFF2-40B4-BE49-F238E27FC236}">
                <a16:creationId xmlns:a16="http://schemas.microsoft.com/office/drawing/2014/main" id="{389D9483-A1D1-4905-88AD-FD422D63574F}"/>
              </a:ext>
            </a:extLst>
          </p:cNvPr>
          <p:cNvCxnSpPr>
            <a:cxnSpLocks/>
          </p:cNvCxnSpPr>
          <p:nvPr/>
        </p:nvCxnSpPr>
        <p:spPr>
          <a:xfrm>
            <a:off x="8086534" y="3322330"/>
            <a:ext cx="602827" cy="0"/>
          </a:xfrm>
          <a:prstGeom prst="straightConnector1">
            <a:avLst/>
          </a:prstGeom>
          <a:ln w="38100">
            <a:solidFill>
              <a:schemeClr val="accent1">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57D32EBA-2152-44F8-A638-EC41EE07AB8B}"/>
              </a:ext>
            </a:extLst>
          </p:cNvPr>
          <p:cNvSpPr txBox="1"/>
          <p:nvPr/>
        </p:nvSpPr>
        <p:spPr>
          <a:xfrm>
            <a:off x="7951327" y="2843605"/>
            <a:ext cx="787579" cy="400110"/>
          </a:xfrm>
          <a:prstGeom prst="rect">
            <a:avLst/>
          </a:prstGeom>
          <a:noFill/>
        </p:spPr>
        <p:txBody>
          <a:bodyPr wrap="square" rtlCol="0">
            <a:spAutoFit/>
          </a:bodyPr>
          <a:lstStyle/>
          <a:p>
            <a:pPr algn="ctr"/>
            <a:r>
              <a:rPr lang="en-US" sz="1000"/>
              <a:t>Warranty support</a:t>
            </a:r>
            <a:endParaRPr lang="en-IN" sz="1000"/>
          </a:p>
        </p:txBody>
      </p:sp>
      <p:sp>
        <p:nvSpPr>
          <p:cNvPr id="70" name="TextBox 69">
            <a:extLst>
              <a:ext uri="{FF2B5EF4-FFF2-40B4-BE49-F238E27FC236}">
                <a16:creationId xmlns:a16="http://schemas.microsoft.com/office/drawing/2014/main" id="{3635DD09-9F6D-4F8A-8926-5065DCB4AF05}"/>
              </a:ext>
            </a:extLst>
          </p:cNvPr>
          <p:cNvSpPr txBox="1"/>
          <p:nvPr/>
        </p:nvSpPr>
        <p:spPr>
          <a:xfrm>
            <a:off x="7803192" y="5056655"/>
            <a:ext cx="1050253" cy="400110"/>
          </a:xfrm>
          <a:prstGeom prst="rect">
            <a:avLst/>
          </a:prstGeom>
          <a:noFill/>
        </p:spPr>
        <p:txBody>
          <a:bodyPr wrap="square" rtlCol="0">
            <a:spAutoFit/>
          </a:bodyPr>
          <a:lstStyle/>
          <a:p>
            <a:pPr algn="ctr"/>
            <a:r>
              <a:rPr lang="en-US" sz="1000"/>
              <a:t>Performance Testing</a:t>
            </a:r>
            <a:endParaRPr lang="en-IN" sz="1000"/>
          </a:p>
        </p:txBody>
      </p:sp>
      <p:sp>
        <p:nvSpPr>
          <p:cNvPr id="71" name="TextBox 70">
            <a:extLst>
              <a:ext uri="{FF2B5EF4-FFF2-40B4-BE49-F238E27FC236}">
                <a16:creationId xmlns:a16="http://schemas.microsoft.com/office/drawing/2014/main" id="{014C8188-792A-40D1-BABE-6C2F46E7FEDC}"/>
              </a:ext>
            </a:extLst>
          </p:cNvPr>
          <p:cNvSpPr txBox="1"/>
          <p:nvPr/>
        </p:nvSpPr>
        <p:spPr>
          <a:xfrm>
            <a:off x="5400150" y="5682507"/>
            <a:ext cx="1071505" cy="246221"/>
          </a:xfrm>
          <a:prstGeom prst="rect">
            <a:avLst/>
          </a:prstGeom>
          <a:noFill/>
        </p:spPr>
        <p:txBody>
          <a:bodyPr wrap="square" rtlCol="0">
            <a:spAutoFit/>
          </a:bodyPr>
          <a:lstStyle/>
          <a:p>
            <a:pPr algn="ctr"/>
            <a:r>
              <a:rPr lang="en-US" sz="1000"/>
              <a:t>Planning</a:t>
            </a:r>
            <a:endParaRPr lang="en-IN" sz="1000"/>
          </a:p>
        </p:txBody>
      </p:sp>
      <p:cxnSp>
        <p:nvCxnSpPr>
          <p:cNvPr id="72" name="Straight Arrow Connector 71">
            <a:extLst>
              <a:ext uri="{FF2B5EF4-FFF2-40B4-BE49-F238E27FC236}">
                <a16:creationId xmlns:a16="http://schemas.microsoft.com/office/drawing/2014/main" id="{68A2AB73-69F5-4890-8278-7F03F779704A}"/>
              </a:ext>
            </a:extLst>
          </p:cNvPr>
          <p:cNvCxnSpPr>
            <a:cxnSpLocks/>
          </p:cNvCxnSpPr>
          <p:nvPr/>
        </p:nvCxnSpPr>
        <p:spPr>
          <a:xfrm>
            <a:off x="6157523" y="6017005"/>
            <a:ext cx="840459" cy="4372"/>
          </a:xfrm>
          <a:prstGeom prst="straightConnector1">
            <a:avLst/>
          </a:prstGeom>
          <a:ln w="38100">
            <a:solidFill>
              <a:srgbClr val="47DC5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951A62E2-023F-4B5A-84C3-8480264EFE04}"/>
              </a:ext>
            </a:extLst>
          </p:cNvPr>
          <p:cNvSpPr txBox="1"/>
          <p:nvPr/>
        </p:nvSpPr>
        <p:spPr>
          <a:xfrm>
            <a:off x="6145314" y="5821322"/>
            <a:ext cx="1071505" cy="400110"/>
          </a:xfrm>
          <a:prstGeom prst="rect">
            <a:avLst/>
          </a:prstGeom>
          <a:noFill/>
        </p:spPr>
        <p:txBody>
          <a:bodyPr wrap="square" rtlCol="0">
            <a:spAutoFit/>
          </a:bodyPr>
          <a:lstStyle/>
          <a:p>
            <a:pPr algn="ctr"/>
            <a:r>
              <a:rPr lang="en-US" sz="1000"/>
              <a:t>Process Analysis</a:t>
            </a:r>
            <a:endParaRPr lang="en-IN" sz="1000"/>
          </a:p>
        </p:txBody>
      </p:sp>
      <p:sp>
        <p:nvSpPr>
          <p:cNvPr id="74" name="TextBox 73">
            <a:extLst>
              <a:ext uri="{FF2B5EF4-FFF2-40B4-BE49-F238E27FC236}">
                <a16:creationId xmlns:a16="http://schemas.microsoft.com/office/drawing/2014/main" id="{8BA11B04-810A-4B84-BF7E-BC1E1CB87A7B}"/>
              </a:ext>
            </a:extLst>
          </p:cNvPr>
          <p:cNvSpPr txBox="1"/>
          <p:nvPr/>
        </p:nvSpPr>
        <p:spPr>
          <a:xfrm>
            <a:off x="7041427" y="5094776"/>
            <a:ext cx="913548" cy="250090"/>
          </a:xfrm>
          <a:prstGeom prst="rect">
            <a:avLst/>
          </a:prstGeom>
          <a:noFill/>
        </p:spPr>
        <p:txBody>
          <a:bodyPr wrap="square" rtlCol="0">
            <a:spAutoFit/>
          </a:bodyPr>
          <a:lstStyle/>
          <a:p>
            <a:pPr algn="ctr"/>
            <a:r>
              <a:rPr lang="en-US" sz="1000"/>
              <a:t>Regression</a:t>
            </a:r>
            <a:endParaRPr lang="en-IN" sz="1000"/>
          </a:p>
        </p:txBody>
      </p:sp>
      <p:sp>
        <p:nvSpPr>
          <p:cNvPr id="79" name="TextBox 78">
            <a:extLst>
              <a:ext uri="{FF2B5EF4-FFF2-40B4-BE49-F238E27FC236}">
                <a16:creationId xmlns:a16="http://schemas.microsoft.com/office/drawing/2014/main" id="{F732F155-FB7B-425B-98B1-191B96B640AE}"/>
              </a:ext>
            </a:extLst>
          </p:cNvPr>
          <p:cNvSpPr txBox="1"/>
          <p:nvPr/>
        </p:nvSpPr>
        <p:spPr>
          <a:xfrm>
            <a:off x="8605989" y="5206247"/>
            <a:ext cx="1050253" cy="246221"/>
          </a:xfrm>
          <a:prstGeom prst="rect">
            <a:avLst/>
          </a:prstGeom>
          <a:noFill/>
        </p:spPr>
        <p:txBody>
          <a:bodyPr wrap="square" rtlCol="0">
            <a:spAutoFit/>
          </a:bodyPr>
          <a:lstStyle/>
          <a:p>
            <a:pPr algn="ctr"/>
            <a:r>
              <a:rPr lang="en-US" sz="1000"/>
              <a:t>UAT Support</a:t>
            </a:r>
            <a:endParaRPr lang="en-IN" sz="1000"/>
          </a:p>
        </p:txBody>
      </p:sp>
      <p:sp>
        <p:nvSpPr>
          <p:cNvPr id="115" name="Pentagon 63">
            <a:extLst>
              <a:ext uri="{FF2B5EF4-FFF2-40B4-BE49-F238E27FC236}">
                <a16:creationId xmlns:a16="http://schemas.microsoft.com/office/drawing/2014/main" id="{701FAA4C-FA92-4F30-B747-5C3B698FC841}"/>
              </a:ext>
            </a:extLst>
          </p:cNvPr>
          <p:cNvSpPr/>
          <p:nvPr/>
        </p:nvSpPr>
        <p:spPr>
          <a:xfrm>
            <a:off x="10017756" y="1200546"/>
            <a:ext cx="516582" cy="411480"/>
          </a:xfrm>
          <a:prstGeom prst="homePlate">
            <a:avLst>
              <a:gd name="adj" fmla="val 23270"/>
            </a:avLst>
          </a:prstGeom>
          <a:solidFill>
            <a:schemeClr val="accent1"/>
          </a:solidFill>
          <a:ln>
            <a:noFill/>
          </a:ln>
        </p:spPr>
        <p:txBody>
          <a:bodyPr lIns="27432" tIns="27432" rIns="27432" bIns="27432" anchor="ctr" anchorCtr="1"/>
          <a:lstStyle/>
          <a:p>
            <a:pPr marL="0" marR="0" lvl="0" indent="0" algn="ctr" defTabSz="609555" rtl="0" eaLnBrk="1" fontAlgn="base" latinLnBrk="0" hangingPunct="1">
              <a:lnSpc>
                <a:spcPct val="100000"/>
              </a:lnSpc>
              <a:spcBef>
                <a:spcPct val="0"/>
              </a:spcBef>
              <a:spcAft>
                <a:spcPct val="0"/>
              </a:spcAft>
              <a:buClrTx/>
              <a:buSzTx/>
              <a:buFontTx/>
              <a:buNone/>
              <a:tabLst/>
              <a:defRPr/>
            </a:pPr>
            <a:r>
              <a:rPr kumimoji="0" lang="en-US" sz="1067"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M24</a:t>
            </a:r>
          </a:p>
        </p:txBody>
      </p:sp>
      <p:cxnSp>
        <p:nvCxnSpPr>
          <p:cNvPr id="116" name="Straight Connector 115">
            <a:extLst>
              <a:ext uri="{FF2B5EF4-FFF2-40B4-BE49-F238E27FC236}">
                <a16:creationId xmlns:a16="http://schemas.microsoft.com/office/drawing/2014/main" id="{086D972F-AB9D-46D1-882D-3B34A8B60532}"/>
              </a:ext>
            </a:extLst>
          </p:cNvPr>
          <p:cNvCxnSpPr>
            <a:cxnSpLocks/>
          </p:cNvCxnSpPr>
          <p:nvPr/>
        </p:nvCxnSpPr>
        <p:spPr>
          <a:xfrm>
            <a:off x="10031824" y="1853987"/>
            <a:ext cx="0" cy="4248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9" name="Rectangle: Rounded Corners 148">
            <a:extLst>
              <a:ext uri="{FF2B5EF4-FFF2-40B4-BE49-F238E27FC236}">
                <a16:creationId xmlns:a16="http://schemas.microsoft.com/office/drawing/2014/main" id="{948A4933-CD6A-49C4-98D5-5EE91125C5AB}"/>
              </a:ext>
            </a:extLst>
          </p:cNvPr>
          <p:cNvSpPr/>
          <p:nvPr/>
        </p:nvSpPr>
        <p:spPr>
          <a:xfrm>
            <a:off x="180451" y="3732808"/>
            <a:ext cx="2015324" cy="301049"/>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bg1"/>
                </a:solidFill>
              </a:rPr>
              <a:t>Feature Enhancement Phase-2</a:t>
            </a:r>
            <a:endParaRPr lang="en-IN" sz="1000" b="1">
              <a:solidFill>
                <a:schemeClr val="bg1"/>
              </a:solidFill>
            </a:endParaRPr>
          </a:p>
        </p:txBody>
      </p:sp>
      <p:sp>
        <p:nvSpPr>
          <p:cNvPr id="153" name="Rectangle: Rounded Corners 152">
            <a:extLst>
              <a:ext uri="{FF2B5EF4-FFF2-40B4-BE49-F238E27FC236}">
                <a16:creationId xmlns:a16="http://schemas.microsoft.com/office/drawing/2014/main" id="{4E35C044-8B6C-4AFF-8000-782062BFDA1E}"/>
              </a:ext>
            </a:extLst>
          </p:cNvPr>
          <p:cNvSpPr/>
          <p:nvPr/>
        </p:nvSpPr>
        <p:spPr>
          <a:xfrm>
            <a:off x="196539" y="4065510"/>
            <a:ext cx="2015324" cy="301049"/>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bg1"/>
                </a:solidFill>
              </a:rPr>
              <a:t>Feature Enhancement Phase-3</a:t>
            </a:r>
            <a:endParaRPr lang="en-IN" sz="1000" b="1">
              <a:solidFill>
                <a:schemeClr val="bg1"/>
              </a:solidFill>
            </a:endParaRPr>
          </a:p>
        </p:txBody>
      </p:sp>
      <p:sp>
        <p:nvSpPr>
          <p:cNvPr id="154" name="Rectangle: Rounded Corners 153">
            <a:extLst>
              <a:ext uri="{FF2B5EF4-FFF2-40B4-BE49-F238E27FC236}">
                <a16:creationId xmlns:a16="http://schemas.microsoft.com/office/drawing/2014/main" id="{0F8ADF21-E21C-4B89-A93E-87933CBD1784}"/>
              </a:ext>
            </a:extLst>
          </p:cNvPr>
          <p:cNvSpPr/>
          <p:nvPr/>
        </p:nvSpPr>
        <p:spPr>
          <a:xfrm>
            <a:off x="194111" y="4398211"/>
            <a:ext cx="2015324" cy="301049"/>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bg1"/>
                </a:solidFill>
              </a:rPr>
              <a:t>Feature Enhancement Phase-4</a:t>
            </a:r>
            <a:endParaRPr lang="en-IN" sz="1000" b="1">
              <a:solidFill>
                <a:schemeClr val="bg1"/>
              </a:solidFill>
            </a:endParaRPr>
          </a:p>
        </p:txBody>
      </p:sp>
      <p:cxnSp>
        <p:nvCxnSpPr>
          <p:cNvPr id="155" name="Straight Connector 154">
            <a:extLst>
              <a:ext uri="{FF2B5EF4-FFF2-40B4-BE49-F238E27FC236}">
                <a16:creationId xmlns:a16="http://schemas.microsoft.com/office/drawing/2014/main" id="{91328015-CEEE-4244-B78A-470438AFF425}"/>
              </a:ext>
            </a:extLst>
          </p:cNvPr>
          <p:cNvCxnSpPr>
            <a:cxnSpLocks/>
          </p:cNvCxnSpPr>
          <p:nvPr/>
        </p:nvCxnSpPr>
        <p:spPr>
          <a:xfrm>
            <a:off x="2239942" y="3736281"/>
            <a:ext cx="7600204" cy="0"/>
          </a:xfrm>
          <a:prstGeom prst="line">
            <a:avLst/>
          </a:prstGeom>
          <a:ln>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5C5DBDB1-B805-4E56-A640-2DCBCECE55C3}"/>
              </a:ext>
            </a:extLst>
          </p:cNvPr>
          <p:cNvCxnSpPr>
            <a:cxnSpLocks/>
          </p:cNvCxnSpPr>
          <p:nvPr/>
        </p:nvCxnSpPr>
        <p:spPr>
          <a:xfrm>
            <a:off x="2247395" y="4077183"/>
            <a:ext cx="7600204" cy="0"/>
          </a:xfrm>
          <a:prstGeom prst="line">
            <a:avLst/>
          </a:prstGeom>
          <a:ln>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7FC5DE38-9234-4D77-89A6-4B8D9F8BCC8C}"/>
              </a:ext>
            </a:extLst>
          </p:cNvPr>
          <p:cNvCxnSpPr>
            <a:cxnSpLocks/>
          </p:cNvCxnSpPr>
          <p:nvPr/>
        </p:nvCxnSpPr>
        <p:spPr>
          <a:xfrm>
            <a:off x="2267434" y="4437098"/>
            <a:ext cx="7600204" cy="0"/>
          </a:xfrm>
          <a:prstGeom prst="line">
            <a:avLst/>
          </a:prstGeom>
          <a:ln>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58" name="Straight Arrow Connector 157">
            <a:extLst>
              <a:ext uri="{FF2B5EF4-FFF2-40B4-BE49-F238E27FC236}">
                <a16:creationId xmlns:a16="http://schemas.microsoft.com/office/drawing/2014/main" id="{8E8C10A0-9F74-4328-B2A5-F8744B7E00E1}"/>
              </a:ext>
            </a:extLst>
          </p:cNvPr>
          <p:cNvCxnSpPr>
            <a:cxnSpLocks/>
          </p:cNvCxnSpPr>
          <p:nvPr/>
        </p:nvCxnSpPr>
        <p:spPr>
          <a:xfrm flipV="1">
            <a:off x="4762263" y="3808212"/>
            <a:ext cx="765656" cy="5491"/>
          </a:xfrm>
          <a:prstGeom prst="straightConnector1">
            <a:avLst/>
          </a:prstGeom>
          <a:ln w="38100">
            <a:solidFill>
              <a:schemeClr val="accent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9" name="Straight Arrow Connector 158">
            <a:extLst>
              <a:ext uri="{FF2B5EF4-FFF2-40B4-BE49-F238E27FC236}">
                <a16:creationId xmlns:a16="http://schemas.microsoft.com/office/drawing/2014/main" id="{8F154AE8-7894-4F18-827F-E03EA196C320}"/>
              </a:ext>
            </a:extLst>
          </p:cNvPr>
          <p:cNvCxnSpPr>
            <a:cxnSpLocks/>
          </p:cNvCxnSpPr>
          <p:nvPr/>
        </p:nvCxnSpPr>
        <p:spPr>
          <a:xfrm>
            <a:off x="5123419" y="3911131"/>
            <a:ext cx="1372935" cy="11304"/>
          </a:xfrm>
          <a:prstGeom prst="straightConnector1">
            <a:avLst/>
          </a:prstGeom>
          <a:ln w="38100">
            <a:solidFill>
              <a:srgbClr val="24581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0" name="Straight Arrow Connector 159">
            <a:extLst>
              <a:ext uri="{FF2B5EF4-FFF2-40B4-BE49-F238E27FC236}">
                <a16:creationId xmlns:a16="http://schemas.microsoft.com/office/drawing/2014/main" id="{98C51554-8AC0-4510-A7A1-26B0AB39755F}"/>
              </a:ext>
            </a:extLst>
          </p:cNvPr>
          <p:cNvCxnSpPr>
            <a:cxnSpLocks/>
          </p:cNvCxnSpPr>
          <p:nvPr/>
        </p:nvCxnSpPr>
        <p:spPr>
          <a:xfrm>
            <a:off x="6444833" y="3999294"/>
            <a:ext cx="374154" cy="0"/>
          </a:xfrm>
          <a:prstGeom prst="straightConnector1">
            <a:avLst/>
          </a:prstGeom>
          <a:ln w="38100">
            <a:solidFill>
              <a:srgbClr val="FA6119"/>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8" name="Straight Arrow Connector 167">
            <a:extLst>
              <a:ext uri="{FF2B5EF4-FFF2-40B4-BE49-F238E27FC236}">
                <a16:creationId xmlns:a16="http://schemas.microsoft.com/office/drawing/2014/main" id="{9F969E0C-A4BE-48B0-98CC-67F04107A3F1}"/>
              </a:ext>
            </a:extLst>
          </p:cNvPr>
          <p:cNvCxnSpPr>
            <a:cxnSpLocks/>
          </p:cNvCxnSpPr>
          <p:nvPr/>
        </p:nvCxnSpPr>
        <p:spPr>
          <a:xfrm>
            <a:off x="6489036" y="4156239"/>
            <a:ext cx="696391" cy="0"/>
          </a:xfrm>
          <a:prstGeom prst="straightConnector1">
            <a:avLst/>
          </a:prstGeom>
          <a:ln w="38100">
            <a:solidFill>
              <a:schemeClr val="accent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9" name="Straight Arrow Connector 168">
            <a:extLst>
              <a:ext uri="{FF2B5EF4-FFF2-40B4-BE49-F238E27FC236}">
                <a16:creationId xmlns:a16="http://schemas.microsoft.com/office/drawing/2014/main" id="{75D41974-3381-4876-BD4C-186779C30B3F}"/>
              </a:ext>
            </a:extLst>
          </p:cNvPr>
          <p:cNvCxnSpPr>
            <a:cxnSpLocks/>
          </p:cNvCxnSpPr>
          <p:nvPr/>
        </p:nvCxnSpPr>
        <p:spPr>
          <a:xfrm flipV="1">
            <a:off x="6738879" y="4256244"/>
            <a:ext cx="1359374" cy="15324"/>
          </a:xfrm>
          <a:prstGeom prst="straightConnector1">
            <a:avLst/>
          </a:prstGeom>
          <a:ln w="38100">
            <a:solidFill>
              <a:srgbClr val="24581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0" name="Straight Arrow Connector 169">
            <a:extLst>
              <a:ext uri="{FF2B5EF4-FFF2-40B4-BE49-F238E27FC236}">
                <a16:creationId xmlns:a16="http://schemas.microsoft.com/office/drawing/2014/main" id="{9A5C350C-86B7-4333-9BC5-B9DCF50F829A}"/>
              </a:ext>
            </a:extLst>
          </p:cNvPr>
          <p:cNvCxnSpPr>
            <a:cxnSpLocks/>
          </p:cNvCxnSpPr>
          <p:nvPr/>
        </p:nvCxnSpPr>
        <p:spPr>
          <a:xfrm>
            <a:off x="7902610" y="4377657"/>
            <a:ext cx="374154" cy="0"/>
          </a:xfrm>
          <a:prstGeom prst="straightConnector1">
            <a:avLst/>
          </a:prstGeom>
          <a:ln w="38100">
            <a:solidFill>
              <a:srgbClr val="FA6119"/>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4" name="Straight Arrow Connector 183">
            <a:extLst>
              <a:ext uri="{FF2B5EF4-FFF2-40B4-BE49-F238E27FC236}">
                <a16:creationId xmlns:a16="http://schemas.microsoft.com/office/drawing/2014/main" id="{27783B82-AF41-4D1E-BE7F-9052BC4A6BE4}"/>
              </a:ext>
            </a:extLst>
          </p:cNvPr>
          <p:cNvCxnSpPr>
            <a:cxnSpLocks/>
          </p:cNvCxnSpPr>
          <p:nvPr/>
        </p:nvCxnSpPr>
        <p:spPr>
          <a:xfrm flipV="1">
            <a:off x="7808460" y="4506023"/>
            <a:ext cx="880901" cy="1"/>
          </a:xfrm>
          <a:prstGeom prst="straightConnector1">
            <a:avLst/>
          </a:prstGeom>
          <a:ln w="38100">
            <a:solidFill>
              <a:schemeClr val="accent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5" name="Straight Arrow Connector 184">
            <a:extLst>
              <a:ext uri="{FF2B5EF4-FFF2-40B4-BE49-F238E27FC236}">
                <a16:creationId xmlns:a16="http://schemas.microsoft.com/office/drawing/2014/main" id="{0EEF2F8C-9949-44C9-853C-19906D39D275}"/>
              </a:ext>
            </a:extLst>
          </p:cNvPr>
          <p:cNvCxnSpPr>
            <a:cxnSpLocks/>
          </p:cNvCxnSpPr>
          <p:nvPr/>
        </p:nvCxnSpPr>
        <p:spPr>
          <a:xfrm>
            <a:off x="8063480" y="4579974"/>
            <a:ext cx="1309503" cy="0"/>
          </a:xfrm>
          <a:prstGeom prst="straightConnector1">
            <a:avLst/>
          </a:prstGeom>
          <a:ln w="38100">
            <a:solidFill>
              <a:srgbClr val="24581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6" name="Straight Arrow Connector 185">
            <a:extLst>
              <a:ext uri="{FF2B5EF4-FFF2-40B4-BE49-F238E27FC236}">
                <a16:creationId xmlns:a16="http://schemas.microsoft.com/office/drawing/2014/main" id="{81E9A52D-136F-4B32-8354-7B2608B543D3}"/>
              </a:ext>
            </a:extLst>
          </p:cNvPr>
          <p:cNvCxnSpPr>
            <a:cxnSpLocks/>
          </p:cNvCxnSpPr>
          <p:nvPr/>
        </p:nvCxnSpPr>
        <p:spPr>
          <a:xfrm>
            <a:off x="9117264" y="4688903"/>
            <a:ext cx="936000" cy="0"/>
          </a:xfrm>
          <a:prstGeom prst="straightConnector1">
            <a:avLst/>
          </a:prstGeom>
          <a:ln w="38100">
            <a:solidFill>
              <a:srgbClr val="FA6119"/>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0" name="Rectangle: Rounded Corners 99">
            <a:extLst>
              <a:ext uri="{FF2B5EF4-FFF2-40B4-BE49-F238E27FC236}">
                <a16:creationId xmlns:a16="http://schemas.microsoft.com/office/drawing/2014/main" id="{4407B8BD-89C4-46F0-883C-EE724331F217}"/>
              </a:ext>
            </a:extLst>
          </p:cNvPr>
          <p:cNvSpPr/>
          <p:nvPr/>
        </p:nvSpPr>
        <p:spPr>
          <a:xfrm>
            <a:off x="191763" y="4721884"/>
            <a:ext cx="2015324" cy="301049"/>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bg1"/>
                </a:solidFill>
              </a:rPr>
              <a:t>Customization Phase-5</a:t>
            </a:r>
            <a:endParaRPr lang="en-IN" sz="1000" b="1">
              <a:solidFill>
                <a:schemeClr val="bg1"/>
              </a:solidFill>
            </a:endParaRPr>
          </a:p>
        </p:txBody>
      </p:sp>
      <p:cxnSp>
        <p:nvCxnSpPr>
          <p:cNvPr id="101" name="Straight Arrow Connector 100">
            <a:extLst>
              <a:ext uri="{FF2B5EF4-FFF2-40B4-BE49-F238E27FC236}">
                <a16:creationId xmlns:a16="http://schemas.microsoft.com/office/drawing/2014/main" id="{93325B1C-45C9-4D33-B259-3A3F74E85B94}"/>
              </a:ext>
            </a:extLst>
          </p:cNvPr>
          <p:cNvCxnSpPr>
            <a:cxnSpLocks/>
          </p:cNvCxnSpPr>
          <p:nvPr/>
        </p:nvCxnSpPr>
        <p:spPr>
          <a:xfrm>
            <a:off x="4258789" y="4782693"/>
            <a:ext cx="1303943" cy="0"/>
          </a:xfrm>
          <a:prstGeom prst="straightConnector1">
            <a:avLst/>
          </a:prstGeom>
          <a:ln w="38100">
            <a:solidFill>
              <a:schemeClr val="accent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99396EC9-EFEC-4265-A393-2F21C7CDAA9E}"/>
              </a:ext>
            </a:extLst>
          </p:cNvPr>
          <p:cNvCxnSpPr>
            <a:cxnSpLocks/>
          </p:cNvCxnSpPr>
          <p:nvPr/>
        </p:nvCxnSpPr>
        <p:spPr>
          <a:xfrm flipV="1">
            <a:off x="4911956" y="4889642"/>
            <a:ext cx="2616312" cy="2"/>
          </a:xfrm>
          <a:prstGeom prst="straightConnector1">
            <a:avLst/>
          </a:prstGeom>
          <a:ln w="38100">
            <a:solidFill>
              <a:srgbClr val="24581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B788D239-555E-40ED-A591-B2699CDFA25B}"/>
              </a:ext>
            </a:extLst>
          </p:cNvPr>
          <p:cNvCxnSpPr>
            <a:cxnSpLocks/>
          </p:cNvCxnSpPr>
          <p:nvPr/>
        </p:nvCxnSpPr>
        <p:spPr>
          <a:xfrm>
            <a:off x="6643223" y="4969006"/>
            <a:ext cx="1431507" cy="0"/>
          </a:xfrm>
          <a:prstGeom prst="straightConnector1">
            <a:avLst/>
          </a:prstGeom>
          <a:ln w="38100">
            <a:solidFill>
              <a:srgbClr val="FA6119"/>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5C889B45-A931-4CD9-B795-AB875FFF3251}"/>
              </a:ext>
            </a:extLst>
          </p:cNvPr>
          <p:cNvCxnSpPr>
            <a:cxnSpLocks/>
          </p:cNvCxnSpPr>
          <p:nvPr/>
        </p:nvCxnSpPr>
        <p:spPr>
          <a:xfrm flipV="1">
            <a:off x="3313358" y="2729675"/>
            <a:ext cx="2894601" cy="6376"/>
          </a:xfrm>
          <a:prstGeom prst="straightConnector1">
            <a:avLst/>
          </a:prstGeom>
          <a:ln w="38100">
            <a:solidFill>
              <a:schemeClr val="accent1">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1" name="Straight Arrow Connector 160">
            <a:extLst>
              <a:ext uri="{FF2B5EF4-FFF2-40B4-BE49-F238E27FC236}">
                <a16:creationId xmlns:a16="http://schemas.microsoft.com/office/drawing/2014/main" id="{66F90C0D-3EA6-4A17-A268-9045DCEC7775}"/>
              </a:ext>
            </a:extLst>
          </p:cNvPr>
          <p:cNvCxnSpPr>
            <a:cxnSpLocks/>
          </p:cNvCxnSpPr>
          <p:nvPr/>
        </p:nvCxnSpPr>
        <p:spPr>
          <a:xfrm flipV="1">
            <a:off x="7043348" y="6090267"/>
            <a:ext cx="895041" cy="12463"/>
          </a:xfrm>
          <a:prstGeom prst="straightConnector1">
            <a:avLst/>
          </a:prstGeom>
          <a:ln w="38100">
            <a:solidFill>
              <a:srgbClr val="47DC5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2" name="TextBox 161">
            <a:extLst>
              <a:ext uri="{FF2B5EF4-FFF2-40B4-BE49-F238E27FC236}">
                <a16:creationId xmlns:a16="http://schemas.microsoft.com/office/drawing/2014/main" id="{DCD9DD0E-F37C-46D1-BA57-DEF36B01CD4D}"/>
              </a:ext>
            </a:extLst>
          </p:cNvPr>
          <p:cNvSpPr txBox="1"/>
          <p:nvPr/>
        </p:nvSpPr>
        <p:spPr>
          <a:xfrm>
            <a:off x="6949610" y="5752501"/>
            <a:ext cx="1305474" cy="400110"/>
          </a:xfrm>
          <a:prstGeom prst="rect">
            <a:avLst/>
          </a:prstGeom>
          <a:noFill/>
        </p:spPr>
        <p:txBody>
          <a:bodyPr wrap="square" rtlCol="0">
            <a:spAutoFit/>
          </a:bodyPr>
          <a:lstStyle/>
          <a:p>
            <a:pPr algn="ctr"/>
            <a:r>
              <a:rPr lang="en-US" sz="1000"/>
              <a:t>Use Case Implementation</a:t>
            </a:r>
            <a:endParaRPr lang="en-IN" sz="1000"/>
          </a:p>
        </p:txBody>
      </p:sp>
      <p:cxnSp>
        <p:nvCxnSpPr>
          <p:cNvPr id="165" name="Straight Connector 164">
            <a:extLst>
              <a:ext uri="{FF2B5EF4-FFF2-40B4-BE49-F238E27FC236}">
                <a16:creationId xmlns:a16="http://schemas.microsoft.com/office/drawing/2014/main" id="{4BFC4BDD-49A8-4F6C-9B8E-21B49F3A672D}"/>
              </a:ext>
            </a:extLst>
          </p:cNvPr>
          <p:cNvCxnSpPr>
            <a:cxnSpLocks/>
          </p:cNvCxnSpPr>
          <p:nvPr/>
        </p:nvCxnSpPr>
        <p:spPr>
          <a:xfrm>
            <a:off x="2267434" y="4731450"/>
            <a:ext cx="7600204" cy="0"/>
          </a:xfrm>
          <a:prstGeom prst="line">
            <a:avLst/>
          </a:prstGeom>
          <a:ln>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BA2233A-CE0C-458F-8B9C-F50577B2A91F}"/>
              </a:ext>
            </a:extLst>
          </p:cNvPr>
          <p:cNvPicPr>
            <a:picLocks noChangeAspect="1"/>
          </p:cNvPicPr>
          <p:nvPr/>
        </p:nvPicPr>
        <p:blipFill>
          <a:blip r:embed="rId2"/>
          <a:stretch>
            <a:fillRect/>
          </a:stretch>
        </p:blipFill>
        <p:spPr>
          <a:xfrm>
            <a:off x="10290115" y="23987"/>
            <a:ext cx="1878419" cy="1018337"/>
          </a:xfrm>
          <a:prstGeom prst="rect">
            <a:avLst/>
          </a:prstGeom>
        </p:spPr>
      </p:pic>
      <p:sp>
        <p:nvSpPr>
          <p:cNvPr id="6" name="TextBox 5">
            <a:extLst>
              <a:ext uri="{FF2B5EF4-FFF2-40B4-BE49-F238E27FC236}">
                <a16:creationId xmlns:a16="http://schemas.microsoft.com/office/drawing/2014/main" id="{02C9CB2E-FB53-4FA9-A6A7-136ED13D67DE}"/>
              </a:ext>
            </a:extLst>
          </p:cNvPr>
          <p:cNvSpPr txBox="1"/>
          <p:nvPr/>
        </p:nvSpPr>
        <p:spPr>
          <a:xfrm>
            <a:off x="8689361" y="323558"/>
            <a:ext cx="1495648" cy="261610"/>
          </a:xfrm>
          <a:prstGeom prst="rect">
            <a:avLst/>
          </a:prstGeom>
          <a:noFill/>
        </p:spPr>
        <p:txBody>
          <a:bodyPr wrap="square" rtlCol="0">
            <a:spAutoFit/>
          </a:bodyPr>
          <a:lstStyle/>
          <a:p>
            <a:pPr algn="r"/>
            <a:r>
              <a:rPr lang="en-US" sz="1050" i="1"/>
              <a:t>Legend</a:t>
            </a:r>
            <a:endParaRPr lang="en-IN" sz="1050" i="1" err="1"/>
          </a:p>
        </p:txBody>
      </p:sp>
    </p:spTree>
    <p:extLst>
      <p:ext uri="{BB962C8B-B14F-4D97-AF65-F5344CB8AC3E}">
        <p14:creationId xmlns:p14="http://schemas.microsoft.com/office/powerpoint/2010/main" val="1913355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_Mfzwv_S_Hnnka8GOfvMHA"/>
</p:tagLst>
</file>

<file path=ppt/theme/theme1.xml><?xml version="1.0" encoding="utf-8"?>
<a:theme xmlns:a="http://schemas.openxmlformats.org/drawingml/2006/main" name="Atos v4.0">
  <a:themeElements>
    <a:clrScheme name="Custom 1">
      <a:dk1>
        <a:sysClr val="windowText" lastClr="000000"/>
      </a:dk1>
      <a:lt1>
        <a:sysClr val="window" lastClr="FFFFFF"/>
      </a:lt1>
      <a:dk2>
        <a:srgbClr val="0066A1"/>
      </a:dk2>
      <a:lt2>
        <a:srgbClr val="FFFFFF"/>
      </a:lt2>
      <a:accent1>
        <a:srgbClr val="0066A1"/>
      </a:accent1>
      <a:accent2>
        <a:srgbClr val="0089C4"/>
      </a:accent2>
      <a:accent3>
        <a:srgbClr val="00AFD8"/>
      </a:accent3>
      <a:accent4>
        <a:srgbClr val="0066A1"/>
      </a:accent4>
      <a:accent5>
        <a:srgbClr val="0089C4"/>
      </a:accent5>
      <a:accent6>
        <a:srgbClr val="0066A1"/>
      </a:accent6>
      <a:hlink>
        <a:srgbClr val="0066A1"/>
      </a:hlink>
      <a:folHlink>
        <a:srgbClr val="00AFD8"/>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cap="flat" cmpd="sng" algn="ctr">
          <a:noFill/>
          <a:prstDash val="solid"/>
        </a:ln>
        <a:effectLst/>
      </a:spPr>
      <a:bodyPr rtlCol="0" anchor="t"/>
      <a:lstStyle>
        <a:defPPr algn="l">
          <a:defRPr sz="1200"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200" dirty="0" smtClean="0"/>
        </a:defPPr>
      </a:lstStyle>
    </a:txDef>
  </a:objectDefaults>
  <a:extraClrSchemeLst/>
  <a:custClrLst>
    <a:custClr name="Atos Primary Color Atos Blue">
      <a:srgbClr val="0066A1"/>
    </a:custClr>
    <a:custClr name="Atos Primary Color White">
      <a:srgbClr val="FFFFFF"/>
    </a:custClr>
    <a:custClr name="Atos Primary Color Grey">
      <a:srgbClr val="808080"/>
    </a:custClr>
    <a:custClr name="Atos Primary Color Black">
      <a:srgbClr val="000000"/>
    </a:custClr>
    <a:custClr name="Atos Secondary Color Orange">
      <a:srgbClr val="FA6119"/>
    </a:custClr>
    <a:custClr name="Atos Secondary Color Yellow">
      <a:srgbClr val="9E9500"/>
    </a:custClr>
    <a:custClr name="Atos Secondary Color Dark purple">
      <a:srgbClr val="6639B7"/>
    </a:custClr>
    <a:custClr name="Atos Secondary Color Light purple">
      <a:srgbClr val="A626AA"/>
    </a:custClr>
    <a:custClr name="Atos Secondary Color Teal">
      <a:srgbClr val="00A59C"/>
    </a:custClr>
    <a:custClr name="Atos Complementary Color Green">
      <a:srgbClr val="3F9C35"/>
    </a:custClr>
    <a:custClr name="Atos Complementary Color Pink">
      <a:srgbClr val="D71F85"/>
    </a:custClr>
    <a:custClr name="Atos Complementary Color Dark grey">
      <a:srgbClr val="898D8D"/>
    </a:custClr>
    <a:custClr name="Atos Complementary Color Light blue">
      <a:srgbClr val="00AFD8"/>
    </a:custClr>
    <a:custClr name="Atos Complementary Color Blue">
      <a:srgbClr val="0089C4"/>
    </a:custClr>
  </a:custClrLst>
  <a:extLst>
    <a:ext uri="{05A4C25C-085E-4340-85A3-A5531E510DB2}">
      <thm15:themeFamily xmlns:thm15="http://schemas.microsoft.com/office/thememl/2012/main" name="Atos_Sales_V6.01" id="{37BABECA-1645-4D61-A261-30A318149FF7}" vid="{47E82033-1F26-4BFC-A7A5-4F079C3DA9E5}"/>
    </a:ext>
  </a:extLst>
</a:theme>
</file>

<file path=ppt/theme/theme2.xml><?xml version="1.0" encoding="utf-8"?>
<a:theme xmlns:a="http://schemas.openxmlformats.org/drawingml/2006/main" name="Group_External_Light">
  <a:themeElements>
    <a:clrScheme name="New Atos Colors">
      <a:dk1>
        <a:srgbClr val="0F0F0F"/>
      </a:dk1>
      <a:lt1>
        <a:sysClr val="window" lastClr="FFFFFF"/>
      </a:lt1>
      <a:dk2>
        <a:srgbClr val="0F0F0F"/>
      </a:dk2>
      <a:lt2>
        <a:srgbClr val="FFFFFF"/>
      </a:lt2>
      <a:accent1>
        <a:srgbClr val="0596FF"/>
      </a:accent1>
      <a:accent2>
        <a:srgbClr val="A375FF"/>
      </a:accent2>
      <a:accent3>
        <a:srgbClr val="FF5269"/>
      </a:accent3>
      <a:accent4>
        <a:srgbClr val="00A39B"/>
      </a:accent4>
      <a:accent5>
        <a:srgbClr val="B88D00"/>
      </a:accent5>
      <a:accent6>
        <a:srgbClr val="2B2B2B"/>
      </a:accent6>
      <a:hlink>
        <a:srgbClr val="0596FF"/>
      </a:hlink>
      <a:folHlink>
        <a:srgbClr val="68C0FF"/>
      </a:folHlink>
    </a:clrScheme>
    <a:fontScheme name="Atos Black">
      <a:majorFont>
        <a:latin typeface="Raleway SemiBold"/>
        <a:ea typeface=""/>
        <a:cs typeface=""/>
      </a:majorFont>
      <a:minorFont>
        <a:latin typeface="Raleway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dirty="0" err="1" smtClean="0"/>
        </a:defPPr>
      </a:lstStyle>
    </a:txDef>
  </a:objectDefaults>
  <a:extraClrSchemeLst/>
  <a:custClrLst>
    <a:custClr name="Atos Blue">
      <a:srgbClr val="0596FF"/>
    </a:custClr>
    <a:custClr name="Atos Purple">
      <a:srgbClr val="A375FF"/>
    </a:custClr>
    <a:custClr name="Atos Red">
      <a:srgbClr val="FF5269"/>
    </a:custClr>
    <a:custClr name="Atos Green">
      <a:srgbClr val="00A39B"/>
    </a:custClr>
    <a:custClr name="Atos Yellow">
      <a:srgbClr val="B88D00"/>
    </a:custClr>
    <a:custClr name="Atos Grey">
      <a:srgbClr val="2B2B2B"/>
    </a:custClr>
  </a:custClrLst>
  <a:extLst>
    <a:ext uri="{05A4C25C-085E-4340-85A3-A5531E510DB2}">
      <thm15:themeFamily xmlns:thm15="http://schemas.microsoft.com/office/thememl/2012/main" name="Presentation2" id="{C7F0F05D-E351-4E56-8AE1-0CB0B0114433}" vid="{D61DD651-28CB-4637-A3CE-D0C9F692051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9AF927BADE0354FB803CAB2BBE719AA" ma:contentTypeVersion="6" ma:contentTypeDescription="Create a new document." ma:contentTypeScope="" ma:versionID="688f2b105bca7e256af580fb23f1d446">
  <xsd:schema xmlns:xsd="http://www.w3.org/2001/XMLSchema" xmlns:xs="http://www.w3.org/2001/XMLSchema" xmlns:p="http://schemas.microsoft.com/office/2006/metadata/properties" xmlns:ns2="959f6962-bf41-4c64-a935-565313e48129" targetNamespace="http://schemas.microsoft.com/office/2006/metadata/properties" ma:root="true" ma:fieldsID="778b9f82292c3f26178ee70a1b9794bd" ns2:_="">
    <xsd:import namespace="959f6962-bf41-4c64-a935-565313e48129"/>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9f6962-bf41-4c64-a935-565313e4812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A1FA63C-0478-455D-8D4F-FEB76A6C1BF6}">
  <ds:schemaRefs>
    <ds:schemaRef ds:uri="http://schemas.microsoft.com/sharepoint/v3/contenttype/forms"/>
  </ds:schemaRefs>
</ds:datastoreItem>
</file>

<file path=customXml/itemProps2.xml><?xml version="1.0" encoding="utf-8"?>
<ds:datastoreItem xmlns:ds="http://schemas.openxmlformats.org/officeDocument/2006/customXml" ds:itemID="{37D75EFD-F141-4966-B29A-2408F9D5FA92}">
  <ds:schemaRefs>
    <ds:schemaRef ds:uri="959f6962-bf41-4c64-a935-565313e4812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AFC8ACE3-27A5-4AA5-B78C-2E2EA334A8B7}">
  <ds:schemaRefs>
    <ds:schemaRef ds:uri="959f6962-bf41-4c64-a935-565313e4812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magic_slide_9july_onlineSSP</Template>
  <TotalTime>22</TotalTime>
  <Words>7795</Words>
  <Application>Microsoft Office PowerPoint</Application>
  <PresentationFormat>Widescreen</PresentationFormat>
  <Paragraphs>1353</Paragraphs>
  <Slides>49</Slides>
  <Notes>7</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49</vt:i4>
      </vt:variant>
    </vt:vector>
  </HeadingPairs>
  <TitlesOfParts>
    <vt:vector size="63" baseType="lpstr">
      <vt:lpstr>Arial</vt:lpstr>
      <vt:lpstr>Arial Black</vt:lpstr>
      <vt:lpstr>Calibri</vt:lpstr>
      <vt:lpstr>Courier New</vt:lpstr>
      <vt:lpstr>Lucida Sans Unicode</vt:lpstr>
      <vt:lpstr>Raleway Light</vt:lpstr>
      <vt:lpstr>Raleway Medium</vt:lpstr>
      <vt:lpstr>Raleway SemiBold</vt:lpstr>
      <vt:lpstr>Verdana</vt:lpstr>
      <vt:lpstr>Wingdings</vt:lpstr>
      <vt:lpstr>Wingdings 2</vt:lpstr>
      <vt:lpstr>Atos v4.0</vt:lpstr>
      <vt:lpstr>Group_External_Light</vt:lpstr>
      <vt:lpstr>think-cell Folie</vt:lpstr>
      <vt:lpstr>PowerPoint Presentation</vt:lpstr>
      <vt:lpstr>Agenda</vt:lpstr>
      <vt:lpstr>Atos Solution Summary </vt:lpstr>
      <vt:lpstr>Atos Value Proposition</vt:lpstr>
      <vt:lpstr>PowerPoint Presentation</vt:lpstr>
      <vt:lpstr>Atos Understanding of Manulife Requirements</vt:lpstr>
      <vt:lpstr>In-Scope, Out of Scope</vt:lpstr>
      <vt:lpstr>PowerPoint Presentation</vt:lpstr>
      <vt:lpstr>SLX Migration – Implementation Roadmap</vt:lpstr>
      <vt:lpstr>Due Diligence Approach</vt:lpstr>
      <vt:lpstr>Due Diligence – SLX Critical Areas </vt:lpstr>
      <vt:lpstr>PowerPoint Presentation</vt:lpstr>
      <vt:lpstr>PowerPoint Presentation</vt:lpstr>
      <vt:lpstr>Details of Proposed Methodology - Option 1</vt:lpstr>
      <vt:lpstr>Data Migration Solution – Option 2</vt:lpstr>
      <vt:lpstr>Details of Proposed Methodology – Option 2</vt:lpstr>
      <vt:lpstr>Data Migration – Solution Options </vt:lpstr>
      <vt:lpstr>PowerPoint Presentation</vt:lpstr>
      <vt:lpstr>Scope 2 &amp; Scope 3 – Features Implementation</vt:lpstr>
      <vt:lpstr>PowerPoint Presentation</vt:lpstr>
      <vt:lpstr>Atos’ Process Assessment Framework</vt:lpstr>
      <vt:lpstr>IP: Process Recorder Intelligent Recording and Process Mapping</vt:lpstr>
      <vt:lpstr>PowerPoint Presentation</vt:lpstr>
      <vt:lpstr>Approach - Data Migration Testing</vt:lpstr>
      <vt:lpstr>Data Validator – Key Features</vt:lpstr>
      <vt:lpstr>Approach – Features Enhancement Testing</vt:lpstr>
      <vt:lpstr>Regression Testing Approach (Manual + Automation)  </vt:lpstr>
      <vt:lpstr>Approach -Performance Testing </vt:lpstr>
      <vt:lpstr>PowerPoint Presentation</vt:lpstr>
      <vt:lpstr>Atos Governance Model aligned with Manulife</vt:lpstr>
      <vt:lpstr>Proposed Engagement Model</vt:lpstr>
      <vt:lpstr>Sprint Execution – Onsite/Offshore Model</vt:lpstr>
      <vt:lpstr>Key Assumptions</vt:lpstr>
      <vt:lpstr>Typical Migration Risks and Mitigation Strategy</vt:lpstr>
      <vt:lpstr>PowerPoint Presentation</vt:lpstr>
      <vt:lpstr>Indicative Profiles</vt:lpstr>
      <vt:lpstr>Indicative Profiles</vt:lpstr>
      <vt:lpstr>Indicative Profiles</vt:lpstr>
      <vt:lpstr>Indicative Profiles</vt:lpstr>
      <vt:lpstr>Indicative Profiles </vt:lpstr>
      <vt:lpstr>Indicative Profiles</vt:lpstr>
      <vt:lpstr>PowerPoint Presentation</vt:lpstr>
      <vt:lpstr>Select Data Migration Experience Snapshot</vt:lpstr>
      <vt:lpstr>Consolidation of Annuities Payout &amp; PAS @ US based Life and Annuity Services provider</vt:lpstr>
      <vt:lpstr>Management of Closed Book @ Global life insurer</vt:lpstr>
      <vt:lpstr>Core System Modernization @ Leading Life and Annuities Services provider</vt:lpstr>
      <vt:lpstr>TCO Reduction Through Re-platforming @ UK based Life Insurer</vt:lpstr>
      <vt:lpstr>Modernization of Legacy Print Policy System @ NY based Mutual Insurer</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tos</dc:creator>
  <cp:lastModifiedBy>Ajay Nampally</cp:lastModifiedBy>
  <cp:revision>53</cp:revision>
  <dcterms:created xsi:type="dcterms:W3CDTF">2020-07-14T20:38:51Z</dcterms:created>
  <dcterms:modified xsi:type="dcterms:W3CDTF">2021-11-22T18:21: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112e00b9-34e2-4b26-a577-af1fd0f9f7ee_Enabled">
    <vt:lpwstr>True</vt:lpwstr>
  </property>
  <property fmtid="{D5CDD505-2E9C-101B-9397-08002B2CF9AE}" pid="3" name="MSIP_Label_112e00b9-34e2-4b26-a577-af1fd0f9f7ee_SiteId">
    <vt:lpwstr>33440fc6-b7c7-412c-bb73-0e70b0198d5a</vt:lpwstr>
  </property>
  <property fmtid="{D5CDD505-2E9C-101B-9397-08002B2CF9AE}" pid="4" name="MSIP_Label_112e00b9-34e2-4b26-a577-af1fd0f9f7ee_Owner">
    <vt:lpwstr>joan.2.prempeh@atos.net</vt:lpwstr>
  </property>
  <property fmtid="{D5CDD505-2E9C-101B-9397-08002B2CF9AE}" pid="5" name="MSIP_Label_112e00b9-34e2-4b26-a577-af1fd0f9f7ee_SetDate">
    <vt:lpwstr>2020-07-14T20:47:39.2567628Z</vt:lpwstr>
  </property>
  <property fmtid="{D5CDD505-2E9C-101B-9397-08002B2CF9AE}" pid="6" name="MSIP_Label_112e00b9-34e2-4b26-a577-af1fd0f9f7ee_Name">
    <vt:lpwstr>Atos For Internal Use</vt:lpwstr>
  </property>
  <property fmtid="{D5CDD505-2E9C-101B-9397-08002B2CF9AE}" pid="7" name="MSIP_Label_112e00b9-34e2-4b26-a577-af1fd0f9f7ee_Application">
    <vt:lpwstr>Microsoft Azure Information Protection</vt:lpwstr>
  </property>
  <property fmtid="{D5CDD505-2E9C-101B-9397-08002B2CF9AE}" pid="8" name="MSIP_Label_112e00b9-34e2-4b26-a577-af1fd0f9f7ee_ActionId">
    <vt:lpwstr>1c52e78c-65b5-4293-8b7f-fea909979fbf</vt:lpwstr>
  </property>
  <property fmtid="{D5CDD505-2E9C-101B-9397-08002B2CF9AE}" pid="9" name="MSIP_Label_112e00b9-34e2-4b26-a577-af1fd0f9f7ee_Extended_MSFT_Method">
    <vt:lpwstr>Automatic</vt:lpwstr>
  </property>
  <property fmtid="{D5CDD505-2E9C-101B-9397-08002B2CF9AE}" pid="10" name="MSIP_Label_e463cba9-5f6c-478d-9329-7b2295e4e8ed_Enabled">
    <vt:lpwstr>True</vt:lpwstr>
  </property>
  <property fmtid="{D5CDD505-2E9C-101B-9397-08002B2CF9AE}" pid="11" name="MSIP_Label_e463cba9-5f6c-478d-9329-7b2295e4e8ed_SiteId">
    <vt:lpwstr>33440fc6-b7c7-412c-bb73-0e70b0198d5a</vt:lpwstr>
  </property>
  <property fmtid="{D5CDD505-2E9C-101B-9397-08002B2CF9AE}" pid="12" name="MSIP_Label_e463cba9-5f6c-478d-9329-7b2295e4e8ed_SetDate">
    <vt:lpwstr>2020-07-14T20:47:39.2567628Z</vt:lpwstr>
  </property>
  <property fmtid="{D5CDD505-2E9C-101B-9397-08002B2CF9AE}" pid="13" name="MSIP_Label_e463cba9-5f6c-478d-9329-7b2295e4e8ed_Name">
    <vt:lpwstr>Atos For Internal Use - All Employees</vt:lpwstr>
  </property>
  <property fmtid="{D5CDD505-2E9C-101B-9397-08002B2CF9AE}" pid="14" name="MSIP_Label_e463cba9-5f6c-478d-9329-7b2295e4e8ed_ActionId">
    <vt:lpwstr>1c52e78c-65b5-4293-8b7f-fea909979fbf</vt:lpwstr>
  </property>
  <property fmtid="{D5CDD505-2E9C-101B-9397-08002B2CF9AE}" pid="15" name="MSIP_Label_e463cba9-5f6c-478d-9329-7b2295e4e8ed_Extended_MSFT_Method">
    <vt:lpwstr>Automatic</vt:lpwstr>
  </property>
  <property fmtid="{D5CDD505-2E9C-101B-9397-08002B2CF9AE}" pid="16" name="ContentTypeId">
    <vt:lpwstr>0x01010069AF927BADE0354FB803CAB2BBE719AA</vt:lpwstr>
  </property>
  <property fmtid="{D5CDD505-2E9C-101B-9397-08002B2CF9AE}" pid="17" name="MSIP_Label_0dd5db4b-78fb-42ac-8616-2bbd1a698c72_Enabled">
    <vt:lpwstr>true</vt:lpwstr>
  </property>
  <property fmtid="{D5CDD505-2E9C-101B-9397-08002B2CF9AE}" pid="18" name="MSIP_Label_0dd5db4b-78fb-42ac-8616-2bbd1a698c72_SetDate">
    <vt:lpwstr>2021-11-18T21:22:14Z</vt:lpwstr>
  </property>
  <property fmtid="{D5CDD505-2E9C-101B-9397-08002B2CF9AE}" pid="19" name="MSIP_Label_0dd5db4b-78fb-42ac-8616-2bbd1a698c72_Method">
    <vt:lpwstr>Privileged</vt:lpwstr>
  </property>
  <property fmtid="{D5CDD505-2E9C-101B-9397-08002B2CF9AE}" pid="20" name="MSIP_Label_0dd5db4b-78fb-42ac-8616-2bbd1a698c72_Name">
    <vt:lpwstr>EXTERNAL</vt:lpwstr>
  </property>
  <property fmtid="{D5CDD505-2E9C-101B-9397-08002B2CF9AE}" pid="21" name="MSIP_Label_0dd5db4b-78fb-42ac-8616-2bbd1a698c72_SiteId">
    <vt:lpwstr>5d3e2773-e07f-4432-a630-1a0f68a28a05</vt:lpwstr>
  </property>
  <property fmtid="{D5CDD505-2E9C-101B-9397-08002B2CF9AE}" pid="22" name="MSIP_Label_0dd5db4b-78fb-42ac-8616-2bbd1a698c72_ActionId">
    <vt:lpwstr>a2705687-e121-498c-aca6-92007e8a2e03</vt:lpwstr>
  </property>
  <property fmtid="{D5CDD505-2E9C-101B-9397-08002B2CF9AE}" pid="23" name="MSIP_Label_0dd5db4b-78fb-42ac-8616-2bbd1a698c72_ContentBits">
    <vt:lpwstr>0</vt:lpwstr>
  </property>
</Properties>
</file>